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8"/>
  </p:notesMasterIdLst>
  <p:sldIdLst>
    <p:sldId id="5176" r:id="rId2"/>
    <p:sldId id="5178" r:id="rId3"/>
    <p:sldId id="5177" r:id="rId4"/>
    <p:sldId id="5179" r:id="rId5"/>
    <p:sldId id="5180" r:id="rId6"/>
    <p:sldId id="5181" r:id="rId7"/>
    <p:sldId id="5182" r:id="rId8"/>
    <p:sldId id="5183" r:id="rId9"/>
    <p:sldId id="5184" r:id="rId10"/>
    <p:sldId id="5185" r:id="rId11"/>
    <p:sldId id="5186" r:id="rId12"/>
    <p:sldId id="5188" r:id="rId13"/>
    <p:sldId id="5189" r:id="rId14"/>
    <p:sldId id="5190" r:id="rId15"/>
    <p:sldId id="5191" r:id="rId16"/>
    <p:sldId id="5192" r:id="rId17"/>
    <p:sldId id="5193" r:id="rId18"/>
    <p:sldId id="5194" r:id="rId19"/>
    <p:sldId id="5195" r:id="rId20"/>
    <p:sldId id="5196" r:id="rId21"/>
    <p:sldId id="5197" r:id="rId22"/>
    <p:sldId id="5198" r:id="rId23"/>
    <p:sldId id="5199" r:id="rId24"/>
    <p:sldId id="5200" r:id="rId25"/>
    <p:sldId id="5201" r:id="rId26"/>
    <p:sldId id="5202" r:id="rId27"/>
    <p:sldId id="5203" r:id="rId28"/>
    <p:sldId id="2145707674" r:id="rId29"/>
    <p:sldId id="2145707676" r:id="rId30"/>
    <p:sldId id="2145707677" r:id="rId31"/>
    <p:sldId id="2145707678" r:id="rId32"/>
    <p:sldId id="2145707679" r:id="rId33"/>
    <p:sldId id="2145707680" r:id="rId34"/>
    <p:sldId id="2145707681" r:id="rId35"/>
    <p:sldId id="2145707682" r:id="rId36"/>
    <p:sldId id="2145707683" r:id="rId37"/>
    <p:sldId id="2145707684" r:id="rId38"/>
    <p:sldId id="2145707685" r:id="rId39"/>
    <p:sldId id="2145707686" r:id="rId40"/>
    <p:sldId id="2145707687" r:id="rId41"/>
    <p:sldId id="2145707688" r:id="rId42"/>
    <p:sldId id="2145707689" r:id="rId43"/>
    <p:sldId id="2145707691" r:id="rId44"/>
    <p:sldId id="2145707692" r:id="rId45"/>
    <p:sldId id="2145707693" r:id="rId46"/>
    <p:sldId id="2145707694" r:id="rId47"/>
    <p:sldId id="2145707695" r:id="rId48"/>
    <p:sldId id="2145707696" r:id="rId49"/>
    <p:sldId id="2145707697" r:id="rId50"/>
    <p:sldId id="2145707698" r:id="rId51"/>
    <p:sldId id="2145707700" r:id="rId52"/>
    <p:sldId id="2145707699" r:id="rId53"/>
    <p:sldId id="2145707701" r:id="rId54"/>
    <p:sldId id="2145707702" r:id="rId55"/>
    <p:sldId id="2145707703" r:id="rId56"/>
    <p:sldId id="2145707704" r:id="rId57"/>
    <p:sldId id="2145707705" r:id="rId58"/>
    <p:sldId id="2145707706" r:id="rId59"/>
    <p:sldId id="2145707707" r:id="rId60"/>
    <p:sldId id="2145707708" r:id="rId61"/>
    <p:sldId id="2145707709" r:id="rId62"/>
    <p:sldId id="2145707710" r:id="rId63"/>
    <p:sldId id="2145707711" r:id="rId64"/>
    <p:sldId id="2145707712" r:id="rId65"/>
    <p:sldId id="2145707713" r:id="rId66"/>
    <p:sldId id="2145707714" r:id="rId67"/>
    <p:sldId id="2145707715" r:id="rId68"/>
    <p:sldId id="2145707716" r:id="rId69"/>
    <p:sldId id="2145707717" r:id="rId70"/>
    <p:sldId id="2145707718" r:id="rId71"/>
    <p:sldId id="2145707719" r:id="rId72"/>
    <p:sldId id="2145707720" r:id="rId73"/>
    <p:sldId id="2145707722" r:id="rId74"/>
    <p:sldId id="2145707725" r:id="rId75"/>
    <p:sldId id="2145707724" r:id="rId76"/>
    <p:sldId id="2145707727" r:id="rId77"/>
    <p:sldId id="2145707728" r:id="rId78"/>
    <p:sldId id="2145707729" r:id="rId79"/>
    <p:sldId id="2145707731" r:id="rId80"/>
    <p:sldId id="2145707732" r:id="rId81"/>
    <p:sldId id="2145707733" r:id="rId82"/>
    <p:sldId id="2145707735" r:id="rId83"/>
    <p:sldId id="2145707736" r:id="rId84"/>
    <p:sldId id="2145707737" r:id="rId85"/>
    <p:sldId id="2145707738" r:id="rId86"/>
    <p:sldId id="2145707739" r:id="rId8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8" userDrawn="1">
          <p15:clr>
            <a:srgbClr val="A4A3A4"/>
          </p15:clr>
        </p15:guide>
        <p15:guide id="3" pos="7310" userDrawn="1">
          <p15:clr>
            <a:srgbClr val="A4A3A4"/>
          </p15:clr>
        </p15:guide>
        <p15:guide id="4" orient="horz" pos="4088" userDrawn="1">
          <p15:clr>
            <a:srgbClr val="A4A3A4"/>
          </p15:clr>
        </p15:guide>
        <p15:guide id="5" pos="182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20CFD"/>
    <a:srgbClr val="620CD2"/>
    <a:srgbClr val="A16DFE"/>
    <a:srgbClr val="64DCEB"/>
    <a:srgbClr val="C0DCFD"/>
    <a:srgbClr val="6EA64B"/>
    <a:srgbClr val="8BD05C"/>
    <a:srgbClr val="005E1F"/>
    <a:srgbClr val="620CBA"/>
    <a:srgbClr val="620C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53"/>
    <p:restoredTop sz="94572"/>
  </p:normalViewPr>
  <p:slideViewPr>
    <p:cSldViewPr snapToGrid="0" showGuides="1">
      <p:cViewPr varScale="1">
        <p:scale>
          <a:sx n="107" d="100"/>
          <a:sy n="107" d="100"/>
        </p:scale>
        <p:origin x="592" y="-16"/>
      </p:cViewPr>
      <p:guideLst>
        <p:guide orient="horz" pos="368"/>
        <p:guide pos="7310"/>
        <p:guide orient="horz" pos="4088"/>
        <p:guide pos="182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presProps" Target="presProp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viewProps" Target="viewProps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notesMaster" Target="notesMasters/notesMaster1.xml"/><Relationship Id="rId9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tableStyles" Target="tableStyles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A0F1D8-8FFF-9C49-8FE7-D613D937E080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858971-0E45-F44E-9A13-891813BEC5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7514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03636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57520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71649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51040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13240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32691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41590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82445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18280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69470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564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67584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62344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107293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313430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648060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566516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434066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009422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718945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534524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53862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678525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55770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067228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263425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362099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619947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502600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010828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674136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13522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4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08702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590798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885081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4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032304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4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376096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4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659692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4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632635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4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226237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4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641594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5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0973520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5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1879516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5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51177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9740876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5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1423979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5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528079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5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6918170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5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868394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5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616038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5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346560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5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4891565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6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023948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6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7090453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6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66663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840054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6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256518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6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4033926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6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3923578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6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0600225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6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6180264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6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7548049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6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951086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7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8853359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7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8439937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7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99642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996281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7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1227189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7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251120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7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4158842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7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2209313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7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0164044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7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9711712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7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8554969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8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096317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8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8687102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8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20962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9568364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8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1063135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8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7968032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8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0846374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8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51540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1445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CD2CF5A-1F25-38E9-8AC4-4AF2B982B6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9B2A87A-040B-FAA3-F2E7-3005B1F5D6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C8A9285-4232-EA68-C297-C2BAE10E0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B0BA8-1D9D-EF41-BFD6-D94E4AA9A8B6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90596D2-28CE-2597-8EC2-A54A0535A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070BB39-6CC8-FACA-1828-93AAAD73F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8E0CD-56B8-5B42-A6C3-AC474FD1C0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25635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251BDC-8C3E-3093-34E3-C73834983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7A3CCEF-B9B3-5CDF-63CA-94DD49D268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3599D38-F117-51B7-A368-91D3BAEB4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B0BA8-1D9D-EF41-BFD6-D94E4AA9A8B6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C608FAB-CE11-AAEB-7A16-EFCAE6D13C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1AF1705-C45D-8F8C-A61A-E7CA4D4E1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8E0CD-56B8-5B42-A6C3-AC474FD1C0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65073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BED6D6D-A41B-479C-9448-4AA7109EC99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FC532A9-6626-42D8-736B-BB35DEFBE2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3DDB9AE-3A17-8125-67C0-C21486006A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B0BA8-1D9D-EF41-BFD6-D94E4AA9A8B6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E72A822-F3FA-3E94-2024-877772940B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0D594EA-9059-8C43-D11A-2ED7022B6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8E0CD-56B8-5B42-A6C3-AC474FD1C0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61153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3BBFCE40-965D-DC47-A698-AA221DE104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908" y="837013"/>
            <a:ext cx="4215439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CB3B7A8C-74C4-B047-AB4D-4D563D293B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908" y="2601004"/>
            <a:ext cx="4215439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Номер слайда 1">
            <a:extLst>
              <a:ext uri="{FF2B5EF4-FFF2-40B4-BE49-F238E27FC236}">
                <a16:creationId xmlns:a16="http://schemas.microsoft.com/office/drawing/2014/main" id="{2EFAF8AE-FE3C-7642-96DC-04A7F34F13A7}"/>
              </a:ext>
            </a:extLst>
          </p:cNvPr>
          <p:cNvSpPr txBox="1">
            <a:spLocks/>
          </p:cNvSpPr>
          <p:nvPr userDrawn="1"/>
        </p:nvSpPr>
        <p:spPr>
          <a:xfrm>
            <a:off x="10956620" y="6325901"/>
            <a:ext cx="1246152" cy="409215"/>
          </a:xfrm>
          <a:prstGeom prst="rect">
            <a:avLst/>
          </a:prstGeom>
        </p:spPr>
        <p:txBody>
          <a:bodyPr rIns="215975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11646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матический разделитель свет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9">
            <a:extLst>
              <a:ext uri="{FF2B5EF4-FFF2-40B4-BE49-F238E27FC236}">
                <a16:creationId xmlns:a16="http://schemas.microsoft.com/office/drawing/2014/main" id="{566A7925-5E07-FB4F-94BF-A378C52DC672}"/>
              </a:ext>
            </a:extLst>
          </p:cNvPr>
          <p:cNvSpPr txBox="1">
            <a:spLocks/>
          </p:cNvSpPr>
          <p:nvPr userDrawn="1"/>
        </p:nvSpPr>
        <p:spPr>
          <a:xfrm>
            <a:off x="11581326" y="6487810"/>
            <a:ext cx="452588" cy="24938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sz="1200" i="0" kern="1200">
                <a:solidFill>
                  <a:schemeClr val="bg2">
                    <a:lumMod val="50000"/>
                  </a:schemeClr>
                </a:solidFill>
                <a:latin typeface="Akrobat" panose="00000600000000000000" pitchFamily="50" charset="-52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B53C04-3B30-40CD-822B-24505748B2B4}" type="slidenum">
              <a:rPr lang="ru-RU" sz="1200" smtClean="0">
                <a:solidFill>
                  <a:schemeClr val="bg2">
                    <a:lumMod val="75000"/>
                  </a:schemeClr>
                </a:solidFill>
                <a:latin typeface="Cera CY" pitchFamily="2" charset="0"/>
              </a:rPr>
              <a:pPr/>
              <a:t>‹#›</a:t>
            </a:fld>
            <a:endParaRPr lang="ru-RU" sz="1200" dirty="0">
              <a:solidFill>
                <a:schemeClr val="bg2">
                  <a:lumMod val="75000"/>
                </a:schemeClr>
              </a:solidFill>
              <a:latin typeface="Cera CY" pitchFamily="2" charset="0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EA4F6436-3782-464F-8E0A-633442B53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231" y="693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0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20589" algn="l"/>
              </a:tabLst>
              <a:defRPr lang="ru-RU" sz="4800" b="1" kern="1200" dirty="0">
                <a:solidFill>
                  <a:schemeClr val="tx1"/>
                </a:solidFill>
                <a:latin typeface="Bebas Neue Regular" panose="00000500000000000000" pitchFamily="2" charset="-52"/>
                <a:ea typeface="+mn-ea"/>
                <a:cs typeface="+mn-cs"/>
              </a:defRPr>
            </a:lvl1pPr>
          </a:lstStyle>
          <a:p>
            <a:r>
              <a:rPr lang="en-US" dirty="0"/>
              <a:t>NAME OF YOUR TOP</a:t>
            </a:r>
            <a:r>
              <a:rPr lang="ru-RU" dirty="0"/>
              <a:t> </a:t>
            </a:r>
            <a:r>
              <a:rPr lang="en-US" dirty="0"/>
              <a:t>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73263528-1727-6D4C-90DA-21259E6E01A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8231" y="2457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200" kern="1200" dirty="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3549851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>
          <p15:clr>
            <a:srgbClr val="547EBF"/>
          </p15:clr>
        </p15:guide>
        <p15:guide id="2" orient="horz" pos="935">
          <p15:clr>
            <a:srgbClr val="547EBF"/>
          </p15:clr>
        </p15:guide>
        <p15:guide id="3" pos="824">
          <p15:clr>
            <a:srgbClr val="547EBF"/>
          </p15:clr>
        </p15:guide>
        <p15:guide id="4" pos="1141">
          <p15:clr>
            <a:srgbClr val="547EBF"/>
          </p15:clr>
        </p15:guide>
        <p15:guide id="5" orient="horz" pos="1570">
          <p15:clr>
            <a:srgbClr val="547EBF"/>
          </p15:clr>
        </p15:guide>
        <p15:guide id="6" orient="horz" pos="1253">
          <p15:clr>
            <a:srgbClr val="547EB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829A26-E7A8-BA51-BA1F-3BFA29601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53D230F-F49D-500E-052E-9207147FAB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BFA7AA2-E45D-ACBE-BEEE-D6DFECF917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B0BA8-1D9D-EF41-BFD6-D94E4AA9A8B6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FC4C008-0489-32E6-1374-2965A258C4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BD212FB-38C9-A108-6505-5EB385361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8E0CD-56B8-5B42-A6C3-AC474FD1C0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71762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D4DD0D9-8BD7-CE0D-546B-D9000F4D9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B4B4574-6145-05F5-BDEF-9047883ED5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B656388-4FEF-B111-1557-2565CC5C08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B0BA8-1D9D-EF41-BFD6-D94E4AA9A8B6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2CECFC0-DC5D-3BB3-E577-C688EEB764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238492B-501D-3172-50FB-506F04AA0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8E0CD-56B8-5B42-A6C3-AC474FD1C0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84870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65A3B15-4170-F01F-8ED6-240651B749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996F06D-E013-1332-9E45-2A3FE80D37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FAC20BF-CA9B-2125-79B1-236DFEEC2D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9457741-2056-3D78-B8BE-D530EE47A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B0BA8-1D9D-EF41-BFD6-D94E4AA9A8B6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418057E-0684-2F79-0B4E-A8EE2BAC4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0ECDE78-6005-4B41-9AF3-8E4BE9E17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8E0CD-56B8-5B42-A6C3-AC474FD1C0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03962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277DA31-D791-C26A-62BA-6C764D7A27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B843781-7267-D434-83AF-F70E5A938A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D5BCB05-E110-6595-5A63-E17B96B557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319B610-849C-5F21-7FC4-F8DFAA8D4AF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4EE7BCF1-0BD4-DBDF-37CD-8CB222A95C1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0C81DC52-BFA2-CE2C-1CFE-CC39F7EDBE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B0BA8-1D9D-EF41-BFD6-D94E4AA9A8B6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A3102E61-5A30-65AD-9653-DABCD0F545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1B01AE53-717B-1126-47DE-787E051E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8E0CD-56B8-5B42-A6C3-AC474FD1C0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7825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EE0228-42A3-5869-D8EE-CD7024F900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4A00664-A01D-FC6B-396D-4A5C00617D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B0BA8-1D9D-EF41-BFD6-D94E4AA9A8B6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AD86DF5-ADE9-35F3-B3C5-49C2E46CF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1A7A174-BB28-2886-37CC-CDEE61A975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8E0CD-56B8-5B42-A6C3-AC474FD1C0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19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A317B801-5F1E-3398-60C1-8B56D7E79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B0BA8-1D9D-EF41-BFD6-D94E4AA9A8B6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B9CB000-BB93-8180-7BBF-9E3D002A36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52EC289-D9FD-FBCB-C139-A51679403A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8E0CD-56B8-5B42-A6C3-AC474FD1C0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1080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B305C3C-852E-24FF-77CF-3FD483C98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6DE6652-514D-12DC-E182-DBFD79FA1F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3E4D052-4317-9C48-2C52-16706133B3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986FE33-E742-D341-69B6-3DC6ECDF74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B0BA8-1D9D-EF41-BFD6-D94E4AA9A8B6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4E8757B-A0D9-72D2-924A-8D0E15AF5C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149072E-7DDA-7C2E-786C-83C21660EF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8E0CD-56B8-5B42-A6C3-AC474FD1C0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46585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640015-233A-0A8C-2E79-795082285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B50B65A-4ED2-1F7E-700D-F1BFC27D86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A4C72D7-988F-551C-CA96-CDDC97BF51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FEAFD57-6FBB-86B7-9E15-24CC13F162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B0BA8-1D9D-EF41-BFD6-D94E4AA9A8B6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DC3B831-6D01-F38E-8222-888A5180DD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AEF1768-8DCE-BBED-BB84-B7362D8CC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8E0CD-56B8-5B42-A6C3-AC474FD1C0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38575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5622304-C115-D9FD-1811-7F26E0832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DDAB289-CD99-7A5C-7735-EE48410507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D7700FF-DC64-B80D-532A-6E955BF08B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7B0BA8-1D9D-EF41-BFD6-D94E4AA9A8B6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0239072-5821-20FA-2536-12D4AAFB7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9FDE097-F1E5-24BE-A419-905316857E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D8E0CD-56B8-5B42-A6C3-AC474FD1C0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9544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4" Type="http://schemas.openxmlformats.org/officeDocument/2006/relationships/image" Target="../media/image19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4" Type="http://schemas.openxmlformats.org/officeDocument/2006/relationships/image" Target="../media/image19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4" Type="http://schemas.openxmlformats.org/officeDocument/2006/relationships/image" Target="../media/image19.emf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5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5.jpe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jpeg"/><Relationship Id="rId9" Type="http://schemas.openxmlformats.org/officeDocument/2006/relationships/image" Target="../media/image30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32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jpe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10" Type="http://schemas.openxmlformats.org/officeDocument/2006/relationships/image" Target="../media/image38.png"/><Relationship Id="rId4" Type="http://schemas.openxmlformats.org/officeDocument/2006/relationships/image" Target="../media/image33.png"/><Relationship Id="rId9" Type="http://schemas.openxmlformats.org/officeDocument/2006/relationships/image" Target="../media/image27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Relationship Id="rId9" Type="http://schemas.openxmlformats.org/officeDocument/2006/relationships/image" Target="../media/image38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11" Type="http://schemas.openxmlformats.org/officeDocument/2006/relationships/image" Target="../media/image40.jpeg"/><Relationship Id="rId5" Type="http://schemas.openxmlformats.org/officeDocument/2006/relationships/image" Target="../media/image35.png"/><Relationship Id="rId10" Type="http://schemas.openxmlformats.org/officeDocument/2006/relationships/image" Target="../media/image39.jpeg"/><Relationship Id="rId4" Type="http://schemas.openxmlformats.org/officeDocument/2006/relationships/image" Target="../media/image34.png"/><Relationship Id="rId9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0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3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7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7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7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7.png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3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4.png"/><Relationship Id="rId5" Type="http://schemas.openxmlformats.org/officeDocument/2006/relationships/image" Target="../media/image56.png"/><Relationship Id="rId4" Type="http://schemas.openxmlformats.org/officeDocument/2006/relationships/image" Target="../media/image51.png"/><Relationship Id="rId9" Type="http://schemas.openxmlformats.org/officeDocument/2006/relationships/image" Target="../media/image55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58.png"/><Relationship Id="rId4" Type="http://schemas.openxmlformats.org/officeDocument/2006/relationships/notesSlide" Target="../notesSlides/notesSlide71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1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1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1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5.svg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10" Type="http://schemas.openxmlformats.org/officeDocument/2006/relationships/image" Target="../media/image65.svg"/><Relationship Id="rId4" Type="http://schemas.openxmlformats.org/officeDocument/2006/relationships/notesSlide" Target="../notesSlides/notesSlide81.xml"/><Relationship Id="rId9" Type="http://schemas.openxmlformats.org/officeDocument/2006/relationships/image" Target="../media/image64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5.svg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10" Type="http://schemas.openxmlformats.org/officeDocument/2006/relationships/image" Target="../media/image65.svg"/><Relationship Id="rId4" Type="http://schemas.openxmlformats.org/officeDocument/2006/relationships/notesSlide" Target="../notesSlides/notesSlide83.xml"/><Relationship Id="rId9" Type="http://schemas.openxmlformats.org/officeDocument/2006/relationships/image" Target="../media/image6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53B8E41-42E0-7E42-881A-F133F990B9FF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D6060DB4-0F01-0B4C-9220-FA022056DB40}"/>
              </a:ext>
            </a:extLst>
          </p:cNvPr>
          <p:cNvSpPr/>
          <p:nvPr/>
        </p:nvSpPr>
        <p:spPr>
          <a:xfrm>
            <a:off x="1384596" y="131497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6FC6CD61-C8E2-1840-B545-18445EFDEB81}"/>
              </a:ext>
            </a:extLst>
          </p:cNvPr>
          <p:cNvSpPr/>
          <p:nvPr/>
        </p:nvSpPr>
        <p:spPr>
          <a:xfrm>
            <a:off x="-703394" y="-56200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C71B5425-872C-DD41-8B9E-F1798F09F6E7}"/>
              </a:ext>
            </a:extLst>
          </p:cNvPr>
          <p:cNvSpPr/>
          <p:nvPr/>
        </p:nvSpPr>
        <p:spPr>
          <a:xfrm>
            <a:off x="4660581" y="132408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310D618A-B4B7-034E-B73A-C121C1C0BE50}"/>
              </a:ext>
            </a:extLst>
          </p:cNvPr>
          <p:cNvSpPr/>
          <p:nvPr/>
        </p:nvSpPr>
        <p:spPr>
          <a:xfrm>
            <a:off x="5792288" y="-53818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6C40936F-D36D-FA48-A8C3-7BA561AC4874}"/>
              </a:ext>
            </a:extLst>
          </p:cNvPr>
          <p:cNvSpPr/>
          <p:nvPr/>
        </p:nvSpPr>
        <p:spPr>
          <a:xfrm>
            <a:off x="11099977" y="1309990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613DA252-4CF3-C744-9A08-DADA0FE63D2A}"/>
              </a:ext>
            </a:extLst>
          </p:cNvPr>
          <p:cNvSpPr/>
          <p:nvPr/>
        </p:nvSpPr>
        <p:spPr>
          <a:xfrm>
            <a:off x="9011986" y="-566982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FFECE060-9699-E144-AC26-9BF9717D9003}"/>
              </a:ext>
            </a:extLst>
          </p:cNvPr>
          <p:cNvSpPr/>
          <p:nvPr/>
        </p:nvSpPr>
        <p:spPr>
          <a:xfrm>
            <a:off x="-975099" y="381462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0DFB3F8E-46F8-4945-A1DE-D85D09671761}"/>
              </a:ext>
            </a:extLst>
          </p:cNvPr>
          <p:cNvSpPr/>
          <p:nvPr/>
        </p:nvSpPr>
        <p:spPr>
          <a:xfrm>
            <a:off x="5520584" y="383844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488C54A6-E50D-284F-A23A-3C1FE397932D}"/>
              </a:ext>
            </a:extLst>
          </p:cNvPr>
          <p:cNvSpPr/>
          <p:nvPr/>
        </p:nvSpPr>
        <p:spPr>
          <a:xfrm>
            <a:off x="-1563397" y="1596492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15DD9C33-2ACE-9249-93D1-504E86586B24}"/>
              </a:ext>
            </a:extLst>
          </p:cNvPr>
          <p:cNvSpPr/>
          <p:nvPr/>
        </p:nvSpPr>
        <p:spPr>
          <a:xfrm>
            <a:off x="2572591" y="-55288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02BC4B67-72BC-394B-839C-35E53E97C3A2}"/>
              </a:ext>
            </a:extLst>
          </p:cNvPr>
          <p:cNvSpPr/>
          <p:nvPr/>
        </p:nvSpPr>
        <p:spPr>
          <a:xfrm>
            <a:off x="7880279" y="1338788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3AA47CF2-18A3-6F42-8716-B7645120992B}"/>
              </a:ext>
            </a:extLst>
          </p:cNvPr>
          <p:cNvSpPr/>
          <p:nvPr/>
        </p:nvSpPr>
        <p:spPr>
          <a:xfrm>
            <a:off x="8527425" y="4115829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88B7C0BF-4578-AE42-A26E-E310C95FFA6A}"/>
              </a:ext>
            </a:extLst>
          </p:cNvPr>
          <p:cNvSpPr/>
          <p:nvPr/>
        </p:nvSpPr>
        <p:spPr>
          <a:xfrm>
            <a:off x="2088030" y="412992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0A138D62-A848-C647-A10B-CDD14293FDFF}"/>
              </a:ext>
            </a:extLst>
          </p:cNvPr>
          <p:cNvSpPr/>
          <p:nvPr/>
        </p:nvSpPr>
        <p:spPr>
          <a:xfrm>
            <a:off x="4443032" y="79009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67C7B3F4-4796-364E-9F51-78443E67CFAD}"/>
              </a:ext>
            </a:extLst>
          </p:cNvPr>
          <p:cNvSpPr/>
          <p:nvPr/>
        </p:nvSpPr>
        <p:spPr>
          <a:xfrm>
            <a:off x="9968269" y="597781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93D5810F-8B17-9D41-A846-EF1B312E0FA6}"/>
              </a:ext>
            </a:extLst>
          </p:cNvPr>
          <p:cNvSpPr/>
          <p:nvPr/>
        </p:nvSpPr>
        <p:spPr>
          <a:xfrm>
            <a:off x="4495997" y="5077187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8DFA698-38E6-03BB-332C-E1CF55AA2EA3}"/>
              </a:ext>
            </a:extLst>
          </p:cNvPr>
          <p:cNvGrpSpPr/>
          <p:nvPr/>
        </p:nvGrpSpPr>
        <p:grpSpPr>
          <a:xfrm>
            <a:off x="623888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5A60490B-4325-0161-B20C-B88B12AE90BB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2F391B36-BE1D-E8D4-256B-A74A3155DB3E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" name="Рисунок 3">
            <a:extLst>
              <a:ext uri="{FF2B5EF4-FFF2-40B4-BE49-F238E27FC236}">
                <a16:creationId xmlns:a16="http://schemas.microsoft.com/office/drawing/2014/main" id="{3161A2EE-E4FE-9EFF-E54E-BBFE2738AE74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11" name="Полилиния 10">
              <a:extLst>
                <a:ext uri="{FF2B5EF4-FFF2-40B4-BE49-F238E27FC236}">
                  <a16:creationId xmlns:a16="http://schemas.microsoft.com/office/drawing/2014/main" id="{D5317DD2-416D-CAF5-6A74-2DC83FBED045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id="{D86E0946-D873-603A-EEED-A8AC44B862A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C10C4818-7638-E966-E7FD-3627A9462C5C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id="{1C82B3CC-C076-0AB5-1827-686EDE07B7CC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FE017B9F-C139-C5E7-684F-4B6A955E91A7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 16">
              <a:extLst>
                <a:ext uri="{FF2B5EF4-FFF2-40B4-BE49-F238E27FC236}">
                  <a16:creationId xmlns:a16="http://schemas.microsoft.com/office/drawing/2014/main" id="{A7EBA4C5-3227-2992-F35A-0F5D61BB83D1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ABED481D-93F3-36B8-D3F6-560BB8145AE9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 19">
              <a:extLst>
                <a:ext uri="{FF2B5EF4-FFF2-40B4-BE49-F238E27FC236}">
                  <a16:creationId xmlns:a16="http://schemas.microsoft.com/office/drawing/2014/main" id="{0BF81DE4-B694-E375-7460-B52134B4D520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 24">
              <a:extLst>
                <a:ext uri="{FF2B5EF4-FFF2-40B4-BE49-F238E27FC236}">
                  <a16:creationId xmlns:a16="http://schemas.microsoft.com/office/drawing/2014/main" id="{33A67B84-0B90-C9A1-984E-BE9F7500EEE3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7A3CB6ED-34ED-940C-E167-41AE91068E0E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AECC1CE8-C9B0-EF33-CBFC-069B3953E2F2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53788A5A-AAB6-6A52-08DE-9BF7A6BD8E4A}"/>
              </a:ext>
            </a:extLst>
          </p:cNvPr>
          <p:cNvSpPr txBox="1"/>
          <p:nvPr/>
        </p:nvSpPr>
        <p:spPr>
          <a:xfrm>
            <a:off x="527074" y="1521175"/>
            <a:ext cx="8193338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7200"/>
              </a:lnSpc>
            </a:pPr>
            <a:r>
              <a:rPr lang="ru-RU" sz="6000" b="1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effectLst/>
                <a:latin typeface="Unbounded SemiBold" panose="020B0305040102020103" pitchFamily="34" charset="0"/>
              </a:rPr>
              <a:t>ЭФФЕКТИВНАЯ </a:t>
            </a:r>
            <a:br>
              <a:rPr lang="ru-RU" sz="6000" b="1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effectLst/>
                <a:latin typeface="Unbounded SemiBold" panose="020B0305040102020103" pitchFamily="34" charset="0"/>
              </a:rPr>
            </a:br>
            <a:r>
              <a:rPr lang="ru-RU" sz="6000" b="1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effectLst/>
                <a:latin typeface="Unbounded SemiBold" panose="020B0305040102020103" pitchFamily="34" charset="0"/>
              </a:rPr>
              <a:t>ПРЕЗЕНТАЦИЯ СЕГОДНЯ</a:t>
            </a:r>
            <a:endParaRPr lang="ru-RU" sz="5400" b="1" dirty="0">
              <a:gradFill>
                <a:gsLst>
                  <a:gs pos="0">
                    <a:schemeClr val="bg1"/>
                  </a:gs>
                  <a:gs pos="98000">
                    <a:schemeClr val="bg1"/>
                  </a:gs>
                </a:gsLst>
                <a:path path="circle">
                  <a:fillToRect l="100000" b="100000"/>
                </a:path>
              </a:gra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6A16CDE-A77F-A446-3EEE-4857752E2692}"/>
              </a:ext>
            </a:extLst>
          </p:cNvPr>
          <p:cNvSpPr txBox="1"/>
          <p:nvPr/>
        </p:nvSpPr>
        <p:spPr>
          <a:xfrm>
            <a:off x="1300560" y="4414635"/>
            <a:ext cx="6796863" cy="10434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8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effectLst/>
                <a:latin typeface="Unbounded Medium" panose="020B0305040102020103" pitchFamily="34" charset="0"/>
              </a:rPr>
              <a:t>Говорим с бизнесом </a:t>
            </a:r>
            <a:br>
              <a:rPr lang="ru-RU" sz="28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effectLst/>
                <a:latin typeface="Unbounded Medium" panose="020B0305040102020103" pitchFamily="34" charset="0"/>
              </a:rPr>
            </a:br>
            <a:r>
              <a:rPr lang="ru-RU" sz="28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effectLst/>
                <a:latin typeface="Unbounded Medium" panose="020B0305040102020103" pitchFamily="34" charset="0"/>
              </a:rPr>
              <a:t>и молодыми на одном языке</a:t>
            </a:r>
            <a:endParaRPr lang="ru-RU" sz="2400" dirty="0">
              <a:gradFill>
                <a:gsLst>
                  <a:gs pos="0">
                    <a:schemeClr val="bg1"/>
                  </a:gs>
                  <a:gs pos="98000">
                    <a:schemeClr val="bg1"/>
                  </a:gs>
                </a:gsLst>
                <a:path path="circle">
                  <a:fillToRect l="100000" b="100000"/>
                </a:path>
              </a:gradFill>
              <a:effectLst/>
              <a:latin typeface="Unbounded Medium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346AADDF-9773-2155-CAD1-C8C8F824F35A}"/>
              </a:ext>
            </a:extLst>
          </p:cNvPr>
          <p:cNvGrpSpPr/>
          <p:nvPr/>
        </p:nvGrpSpPr>
        <p:grpSpPr>
          <a:xfrm>
            <a:off x="-20459602" y="3429000"/>
            <a:ext cx="16369553" cy="2655607"/>
            <a:chOff x="-8380656" y="3711125"/>
            <a:chExt cx="39283186" cy="6372850"/>
          </a:xfrm>
        </p:grpSpPr>
        <p:sp>
          <p:nvSpPr>
            <p:cNvPr id="4" name="Полилиния 3">
              <a:extLst>
                <a:ext uri="{FF2B5EF4-FFF2-40B4-BE49-F238E27FC236}">
                  <a16:creationId xmlns:a16="http://schemas.microsoft.com/office/drawing/2014/main" id="{9F66FA7E-2874-FD0A-B8DC-861C20A8124B}"/>
                </a:ext>
              </a:extLst>
            </p:cNvPr>
            <p:cNvSpPr/>
            <p:nvPr/>
          </p:nvSpPr>
          <p:spPr>
            <a:xfrm>
              <a:off x="-1343917" y="3711125"/>
              <a:ext cx="7973327" cy="1673803"/>
            </a:xfrm>
            <a:custGeom>
              <a:avLst/>
              <a:gdLst>
                <a:gd name="connsiteX0" fmla="*/ 2618174 w 5360120"/>
                <a:gd name="connsiteY0" fmla="*/ 0 h 1115727"/>
                <a:gd name="connsiteX1" fmla="*/ 2679502 w 5360120"/>
                <a:gd name="connsiteY1" fmla="*/ 0 h 1115727"/>
                <a:gd name="connsiteX2" fmla="*/ 2740830 w 5360120"/>
                <a:gd name="connsiteY2" fmla="*/ 0 h 1115727"/>
                <a:gd name="connsiteX3" fmla="*/ 2803273 w 5360120"/>
                <a:gd name="connsiteY3" fmla="*/ 3340 h 1115727"/>
                <a:gd name="connsiteX4" fmla="*/ 2864601 w 5360120"/>
                <a:gd name="connsiteY4" fmla="*/ 7793 h 1115727"/>
                <a:gd name="connsiteX5" fmla="*/ 2923699 w 5360120"/>
                <a:gd name="connsiteY5" fmla="*/ 14473 h 1115727"/>
                <a:gd name="connsiteX6" fmla="*/ 2985027 w 5360120"/>
                <a:gd name="connsiteY6" fmla="*/ 23379 h 1115727"/>
                <a:gd name="connsiteX7" fmla="*/ 3043010 w 5360120"/>
                <a:gd name="connsiteY7" fmla="*/ 33399 h 1115727"/>
                <a:gd name="connsiteX8" fmla="*/ 3102109 w 5360120"/>
                <a:gd name="connsiteY8" fmla="*/ 46758 h 1115727"/>
                <a:gd name="connsiteX9" fmla="*/ 3160091 w 5360120"/>
                <a:gd name="connsiteY9" fmla="*/ 61231 h 1115727"/>
                <a:gd name="connsiteX10" fmla="*/ 3215843 w 5360120"/>
                <a:gd name="connsiteY10" fmla="*/ 77930 h 1115727"/>
                <a:gd name="connsiteX11" fmla="*/ 3270481 w 5360120"/>
                <a:gd name="connsiteY11" fmla="*/ 95743 h 1115727"/>
                <a:gd name="connsiteX12" fmla="*/ 3325119 w 5360120"/>
                <a:gd name="connsiteY12" fmla="*/ 116895 h 1115727"/>
                <a:gd name="connsiteX13" fmla="*/ 3376411 w 5360120"/>
                <a:gd name="connsiteY13" fmla="*/ 139161 h 1115727"/>
                <a:gd name="connsiteX14" fmla="*/ 3427704 w 5360120"/>
                <a:gd name="connsiteY14" fmla="*/ 163653 h 1115727"/>
                <a:gd name="connsiteX15" fmla="*/ 3477881 w 5360120"/>
                <a:gd name="connsiteY15" fmla="*/ 189259 h 1115727"/>
                <a:gd name="connsiteX16" fmla="*/ 3524713 w 5360120"/>
                <a:gd name="connsiteY16" fmla="*/ 215978 h 1115727"/>
                <a:gd name="connsiteX17" fmla="*/ 3569315 w 5360120"/>
                <a:gd name="connsiteY17" fmla="*/ 247150 h 1115727"/>
                <a:gd name="connsiteX18" fmla="*/ 3570430 w 5360120"/>
                <a:gd name="connsiteY18" fmla="*/ 248263 h 1115727"/>
                <a:gd name="connsiteX19" fmla="*/ 3581581 w 5360120"/>
                <a:gd name="connsiteY19" fmla="*/ 256056 h 1115727"/>
                <a:gd name="connsiteX20" fmla="*/ 3612802 w 5360120"/>
                <a:gd name="connsiteY20" fmla="*/ 277209 h 1115727"/>
                <a:gd name="connsiteX21" fmla="*/ 3671900 w 5360120"/>
                <a:gd name="connsiteY21" fmla="*/ 318401 h 1115727"/>
                <a:gd name="connsiteX22" fmla="*/ 3767795 w 5360120"/>
                <a:gd name="connsiteY22" fmla="*/ 386311 h 1115727"/>
                <a:gd name="connsiteX23" fmla="*/ 3912752 w 5360120"/>
                <a:gd name="connsiteY23" fmla="*/ 487620 h 1115727"/>
                <a:gd name="connsiteX24" fmla="*/ 4114577 w 5360120"/>
                <a:gd name="connsiteY24" fmla="*/ 627895 h 1115727"/>
                <a:gd name="connsiteX25" fmla="*/ 4383305 w 5360120"/>
                <a:gd name="connsiteY25" fmla="*/ 817154 h 1115727"/>
                <a:gd name="connsiteX26" fmla="*/ 4434597 w 5360120"/>
                <a:gd name="connsiteY26" fmla="*/ 851666 h 1115727"/>
                <a:gd name="connsiteX27" fmla="*/ 4490350 w 5360120"/>
                <a:gd name="connsiteY27" fmla="*/ 885065 h 1115727"/>
                <a:gd name="connsiteX28" fmla="*/ 4548333 w 5360120"/>
                <a:gd name="connsiteY28" fmla="*/ 915123 h 1115727"/>
                <a:gd name="connsiteX29" fmla="*/ 4608546 w 5360120"/>
                <a:gd name="connsiteY29" fmla="*/ 944069 h 1115727"/>
                <a:gd name="connsiteX30" fmla="*/ 4670989 w 5360120"/>
                <a:gd name="connsiteY30" fmla="*/ 971901 h 1115727"/>
                <a:gd name="connsiteX31" fmla="*/ 4736777 w 5360120"/>
                <a:gd name="connsiteY31" fmla="*/ 995280 h 1115727"/>
                <a:gd name="connsiteX32" fmla="*/ 4802565 w 5360120"/>
                <a:gd name="connsiteY32" fmla="*/ 1017546 h 1115727"/>
                <a:gd name="connsiteX33" fmla="*/ 4871699 w 5360120"/>
                <a:gd name="connsiteY33" fmla="*/ 1038698 h 1115727"/>
                <a:gd name="connsiteX34" fmla="*/ 4940832 w 5360120"/>
                <a:gd name="connsiteY34" fmla="*/ 1056511 h 1115727"/>
                <a:gd name="connsiteX35" fmla="*/ 5012195 w 5360120"/>
                <a:gd name="connsiteY35" fmla="*/ 1072097 h 1115727"/>
                <a:gd name="connsiteX36" fmla="*/ 5086904 w 5360120"/>
                <a:gd name="connsiteY36" fmla="*/ 1086570 h 1115727"/>
                <a:gd name="connsiteX37" fmla="*/ 5160497 w 5360120"/>
                <a:gd name="connsiteY37" fmla="*/ 1097703 h 1115727"/>
                <a:gd name="connsiteX38" fmla="*/ 5236321 w 5360120"/>
                <a:gd name="connsiteY38" fmla="*/ 1106609 h 1115727"/>
                <a:gd name="connsiteX39" fmla="*/ 5311030 w 5360120"/>
                <a:gd name="connsiteY39" fmla="*/ 1112176 h 1115727"/>
                <a:gd name="connsiteX40" fmla="*/ 5360120 w 5360120"/>
                <a:gd name="connsiteY40" fmla="*/ 1115727 h 1115727"/>
                <a:gd name="connsiteX41" fmla="*/ 0 w 5360120"/>
                <a:gd name="connsiteY41" fmla="*/ 1115727 h 1115727"/>
                <a:gd name="connsiteX42" fmla="*/ 49090 w 5360120"/>
                <a:gd name="connsiteY42" fmla="*/ 1112176 h 1115727"/>
                <a:gd name="connsiteX43" fmla="*/ 124914 w 5360120"/>
                <a:gd name="connsiteY43" fmla="*/ 1106609 h 1115727"/>
                <a:gd name="connsiteX44" fmla="*/ 200738 w 5360120"/>
                <a:gd name="connsiteY44" fmla="*/ 1097703 h 1115727"/>
                <a:gd name="connsiteX45" fmla="*/ 275446 w 5360120"/>
                <a:gd name="connsiteY45" fmla="*/ 1086570 h 1115727"/>
                <a:gd name="connsiteX46" fmla="*/ 347925 w 5360120"/>
                <a:gd name="connsiteY46" fmla="*/ 1072097 h 1115727"/>
                <a:gd name="connsiteX47" fmla="*/ 420403 w 5360120"/>
                <a:gd name="connsiteY47" fmla="*/ 1056511 h 1115727"/>
                <a:gd name="connsiteX48" fmla="*/ 489537 w 5360120"/>
                <a:gd name="connsiteY48" fmla="*/ 1038698 h 1115727"/>
                <a:gd name="connsiteX49" fmla="*/ 558670 w 5360120"/>
                <a:gd name="connsiteY49" fmla="*/ 1017546 h 1115727"/>
                <a:gd name="connsiteX50" fmla="*/ 624458 w 5360120"/>
                <a:gd name="connsiteY50" fmla="*/ 995280 h 1115727"/>
                <a:gd name="connsiteX51" fmla="*/ 690246 w 5360120"/>
                <a:gd name="connsiteY51" fmla="*/ 971901 h 1115727"/>
                <a:gd name="connsiteX52" fmla="*/ 751574 w 5360120"/>
                <a:gd name="connsiteY52" fmla="*/ 944069 h 1115727"/>
                <a:gd name="connsiteX53" fmla="*/ 811787 w 5360120"/>
                <a:gd name="connsiteY53" fmla="*/ 915123 h 1115727"/>
                <a:gd name="connsiteX54" fmla="*/ 869770 w 5360120"/>
                <a:gd name="connsiteY54" fmla="*/ 885065 h 1115727"/>
                <a:gd name="connsiteX55" fmla="*/ 924408 w 5360120"/>
                <a:gd name="connsiteY55" fmla="*/ 851666 h 1115727"/>
                <a:gd name="connsiteX56" fmla="*/ 977930 w 5360120"/>
                <a:gd name="connsiteY56" fmla="*/ 817154 h 1115727"/>
                <a:gd name="connsiteX57" fmla="*/ 979045 w 5360120"/>
                <a:gd name="connsiteY57" fmla="*/ 816041 h 1115727"/>
                <a:gd name="connsiteX58" fmla="*/ 990196 w 5360120"/>
                <a:gd name="connsiteY58" fmla="*/ 808248 h 1115727"/>
                <a:gd name="connsiteX59" fmla="*/ 1021417 w 5360120"/>
                <a:gd name="connsiteY59" fmla="*/ 787095 h 1115727"/>
                <a:gd name="connsiteX60" fmla="*/ 1078285 w 5360120"/>
                <a:gd name="connsiteY60" fmla="*/ 745904 h 1115727"/>
                <a:gd name="connsiteX61" fmla="*/ 1176410 w 5360120"/>
                <a:gd name="connsiteY61" fmla="*/ 677993 h 1115727"/>
                <a:gd name="connsiteX62" fmla="*/ 1321367 w 5360120"/>
                <a:gd name="connsiteY62" fmla="*/ 576684 h 1115727"/>
                <a:gd name="connsiteX63" fmla="*/ 1522076 w 5360120"/>
                <a:gd name="connsiteY63" fmla="*/ 434183 h 1115727"/>
                <a:gd name="connsiteX64" fmla="*/ 1789689 w 5360120"/>
                <a:gd name="connsiteY64" fmla="*/ 247150 h 1115727"/>
                <a:gd name="connsiteX65" fmla="*/ 1836522 w 5360120"/>
                <a:gd name="connsiteY65" fmla="*/ 215978 h 1115727"/>
                <a:gd name="connsiteX66" fmla="*/ 1883354 w 5360120"/>
                <a:gd name="connsiteY66" fmla="*/ 189259 h 1115727"/>
                <a:gd name="connsiteX67" fmla="*/ 1931301 w 5360120"/>
                <a:gd name="connsiteY67" fmla="*/ 163653 h 1115727"/>
                <a:gd name="connsiteX68" fmla="*/ 1982594 w 5360120"/>
                <a:gd name="connsiteY68" fmla="*/ 139161 h 1115727"/>
                <a:gd name="connsiteX69" fmla="*/ 2036116 w 5360120"/>
                <a:gd name="connsiteY69" fmla="*/ 116895 h 1115727"/>
                <a:gd name="connsiteX70" fmla="*/ 2088524 w 5360120"/>
                <a:gd name="connsiteY70" fmla="*/ 95743 h 1115727"/>
                <a:gd name="connsiteX71" fmla="*/ 2145392 w 5360120"/>
                <a:gd name="connsiteY71" fmla="*/ 77930 h 1115727"/>
                <a:gd name="connsiteX72" fmla="*/ 2201144 w 5360120"/>
                <a:gd name="connsiteY72" fmla="*/ 61231 h 1115727"/>
                <a:gd name="connsiteX73" fmla="*/ 2259127 w 5360120"/>
                <a:gd name="connsiteY73" fmla="*/ 46758 h 1115727"/>
                <a:gd name="connsiteX74" fmla="*/ 2317110 w 5360120"/>
                <a:gd name="connsiteY74" fmla="*/ 33399 h 1115727"/>
                <a:gd name="connsiteX75" fmla="*/ 2376208 w 5360120"/>
                <a:gd name="connsiteY75" fmla="*/ 23379 h 1115727"/>
                <a:gd name="connsiteX76" fmla="*/ 2435305 w 5360120"/>
                <a:gd name="connsiteY76" fmla="*/ 14473 h 1115727"/>
                <a:gd name="connsiteX77" fmla="*/ 2496633 w 5360120"/>
                <a:gd name="connsiteY77" fmla="*/ 7793 h 1115727"/>
                <a:gd name="connsiteX78" fmla="*/ 2557961 w 5360120"/>
                <a:gd name="connsiteY78" fmla="*/ 3340 h 11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60120" h="1115727">
                  <a:moveTo>
                    <a:pt x="2618174" y="0"/>
                  </a:moveTo>
                  <a:lnTo>
                    <a:pt x="2679502" y="0"/>
                  </a:lnTo>
                  <a:lnTo>
                    <a:pt x="2740830" y="0"/>
                  </a:lnTo>
                  <a:lnTo>
                    <a:pt x="2803273" y="3340"/>
                  </a:lnTo>
                  <a:lnTo>
                    <a:pt x="2864601" y="7793"/>
                  </a:lnTo>
                  <a:lnTo>
                    <a:pt x="2923699" y="14473"/>
                  </a:lnTo>
                  <a:lnTo>
                    <a:pt x="2985027" y="23379"/>
                  </a:lnTo>
                  <a:lnTo>
                    <a:pt x="3043010" y="33399"/>
                  </a:lnTo>
                  <a:lnTo>
                    <a:pt x="3102109" y="46758"/>
                  </a:lnTo>
                  <a:lnTo>
                    <a:pt x="3160091" y="61231"/>
                  </a:lnTo>
                  <a:lnTo>
                    <a:pt x="3215843" y="77930"/>
                  </a:lnTo>
                  <a:lnTo>
                    <a:pt x="3270481" y="95743"/>
                  </a:lnTo>
                  <a:lnTo>
                    <a:pt x="3325119" y="116895"/>
                  </a:lnTo>
                  <a:lnTo>
                    <a:pt x="3376411" y="139161"/>
                  </a:lnTo>
                  <a:lnTo>
                    <a:pt x="3427704" y="163653"/>
                  </a:lnTo>
                  <a:lnTo>
                    <a:pt x="3477881" y="189259"/>
                  </a:lnTo>
                  <a:lnTo>
                    <a:pt x="3524713" y="215978"/>
                  </a:lnTo>
                  <a:lnTo>
                    <a:pt x="3569315" y="247150"/>
                  </a:lnTo>
                  <a:lnTo>
                    <a:pt x="3570430" y="248263"/>
                  </a:lnTo>
                  <a:lnTo>
                    <a:pt x="3581581" y="256056"/>
                  </a:lnTo>
                  <a:lnTo>
                    <a:pt x="3612802" y="277209"/>
                  </a:lnTo>
                  <a:lnTo>
                    <a:pt x="3671900" y="318401"/>
                  </a:lnTo>
                  <a:lnTo>
                    <a:pt x="3767795" y="386311"/>
                  </a:lnTo>
                  <a:lnTo>
                    <a:pt x="3912752" y="487620"/>
                  </a:lnTo>
                  <a:lnTo>
                    <a:pt x="4114577" y="627895"/>
                  </a:lnTo>
                  <a:lnTo>
                    <a:pt x="4383305" y="817154"/>
                  </a:lnTo>
                  <a:lnTo>
                    <a:pt x="4434597" y="851666"/>
                  </a:lnTo>
                  <a:lnTo>
                    <a:pt x="4490350" y="885065"/>
                  </a:lnTo>
                  <a:lnTo>
                    <a:pt x="4548333" y="915123"/>
                  </a:lnTo>
                  <a:lnTo>
                    <a:pt x="4608546" y="944069"/>
                  </a:lnTo>
                  <a:lnTo>
                    <a:pt x="4670989" y="971901"/>
                  </a:lnTo>
                  <a:lnTo>
                    <a:pt x="4736777" y="995280"/>
                  </a:lnTo>
                  <a:lnTo>
                    <a:pt x="4802565" y="1017546"/>
                  </a:lnTo>
                  <a:lnTo>
                    <a:pt x="4871699" y="1038698"/>
                  </a:lnTo>
                  <a:lnTo>
                    <a:pt x="4940832" y="1056511"/>
                  </a:lnTo>
                  <a:lnTo>
                    <a:pt x="5012195" y="1072097"/>
                  </a:lnTo>
                  <a:lnTo>
                    <a:pt x="5086904" y="1086570"/>
                  </a:lnTo>
                  <a:lnTo>
                    <a:pt x="5160497" y="1097703"/>
                  </a:lnTo>
                  <a:lnTo>
                    <a:pt x="5236321" y="1106609"/>
                  </a:lnTo>
                  <a:lnTo>
                    <a:pt x="5311030" y="1112176"/>
                  </a:lnTo>
                  <a:lnTo>
                    <a:pt x="5360120" y="1115727"/>
                  </a:lnTo>
                  <a:lnTo>
                    <a:pt x="0" y="1115727"/>
                  </a:lnTo>
                  <a:lnTo>
                    <a:pt x="49090" y="1112176"/>
                  </a:lnTo>
                  <a:lnTo>
                    <a:pt x="124914" y="1106609"/>
                  </a:lnTo>
                  <a:lnTo>
                    <a:pt x="200738" y="1097703"/>
                  </a:lnTo>
                  <a:lnTo>
                    <a:pt x="275446" y="1086570"/>
                  </a:lnTo>
                  <a:lnTo>
                    <a:pt x="347925" y="1072097"/>
                  </a:lnTo>
                  <a:lnTo>
                    <a:pt x="420403" y="1056511"/>
                  </a:lnTo>
                  <a:lnTo>
                    <a:pt x="489537" y="1038698"/>
                  </a:lnTo>
                  <a:lnTo>
                    <a:pt x="558670" y="1017546"/>
                  </a:lnTo>
                  <a:lnTo>
                    <a:pt x="624458" y="995280"/>
                  </a:lnTo>
                  <a:lnTo>
                    <a:pt x="690246" y="971901"/>
                  </a:lnTo>
                  <a:lnTo>
                    <a:pt x="751574" y="944069"/>
                  </a:lnTo>
                  <a:lnTo>
                    <a:pt x="811787" y="915123"/>
                  </a:lnTo>
                  <a:lnTo>
                    <a:pt x="869770" y="885065"/>
                  </a:lnTo>
                  <a:lnTo>
                    <a:pt x="924408" y="851666"/>
                  </a:lnTo>
                  <a:lnTo>
                    <a:pt x="977930" y="817154"/>
                  </a:lnTo>
                  <a:lnTo>
                    <a:pt x="979045" y="816041"/>
                  </a:lnTo>
                  <a:lnTo>
                    <a:pt x="990196" y="808248"/>
                  </a:lnTo>
                  <a:lnTo>
                    <a:pt x="1021417" y="787095"/>
                  </a:lnTo>
                  <a:lnTo>
                    <a:pt x="1078285" y="745904"/>
                  </a:lnTo>
                  <a:lnTo>
                    <a:pt x="1176410" y="677993"/>
                  </a:lnTo>
                  <a:lnTo>
                    <a:pt x="1321367" y="576684"/>
                  </a:lnTo>
                  <a:lnTo>
                    <a:pt x="1522076" y="434183"/>
                  </a:lnTo>
                  <a:lnTo>
                    <a:pt x="1789689" y="247150"/>
                  </a:lnTo>
                  <a:lnTo>
                    <a:pt x="1836522" y="215978"/>
                  </a:lnTo>
                  <a:lnTo>
                    <a:pt x="1883354" y="189259"/>
                  </a:lnTo>
                  <a:lnTo>
                    <a:pt x="1931301" y="163653"/>
                  </a:lnTo>
                  <a:lnTo>
                    <a:pt x="1982594" y="139161"/>
                  </a:lnTo>
                  <a:lnTo>
                    <a:pt x="2036116" y="116895"/>
                  </a:lnTo>
                  <a:lnTo>
                    <a:pt x="2088524" y="95743"/>
                  </a:lnTo>
                  <a:lnTo>
                    <a:pt x="2145392" y="77930"/>
                  </a:lnTo>
                  <a:lnTo>
                    <a:pt x="2201144" y="61231"/>
                  </a:lnTo>
                  <a:lnTo>
                    <a:pt x="2259127" y="46758"/>
                  </a:lnTo>
                  <a:lnTo>
                    <a:pt x="2317110" y="33399"/>
                  </a:lnTo>
                  <a:lnTo>
                    <a:pt x="2376208" y="23379"/>
                  </a:lnTo>
                  <a:lnTo>
                    <a:pt x="2435305" y="14473"/>
                  </a:lnTo>
                  <a:lnTo>
                    <a:pt x="2496633" y="7793"/>
                  </a:lnTo>
                  <a:lnTo>
                    <a:pt x="2557961" y="334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44FD296D-0C44-1407-4D1B-3319C9A8EC82}"/>
                </a:ext>
              </a:extLst>
            </p:cNvPr>
            <p:cNvSpPr/>
            <p:nvPr/>
          </p:nvSpPr>
          <p:spPr>
            <a:xfrm>
              <a:off x="-8380656" y="5339478"/>
              <a:ext cx="39283186" cy="4744497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4D9CF40C-BC59-F959-C9C4-C87D7FE23108}"/>
                </a:ext>
              </a:extLst>
            </p:cNvPr>
            <p:cNvSpPr/>
            <p:nvPr/>
          </p:nvSpPr>
          <p:spPr>
            <a:xfrm>
              <a:off x="884305" y="4299818"/>
              <a:ext cx="4952525" cy="1039660"/>
            </a:xfrm>
            <a:custGeom>
              <a:avLst/>
              <a:gdLst>
                <a:gd name="connsiteX0" fmla="*/ 2618174 w 5360120"/>
                <a:gd name="connsiteY0" fmla="*/ 0 h 1115727"/>
                <a:gd name="connsiteX1" fmla="*/ 2679502 w 5360120"/>
                <a:gd name="connsiteY1" fmla="*/ 0 h 1115727"/>
                <a:gd name="connsiteX2" fmla="*/ 2740830 w 5360120"/>
                <a:gd name="connsiteY2" fmla="*/ 0 h 1115727"/>
                <a:gd name="connsiteX3" fmla="*/ 2803273 w 5360120"/>
                <a:gd name="connsiteY3" fmla="*/ 3340 h 1115727"/>
                <a:gd name="connsiteX4" fmla="*/ 2864601 w 5360120"/>
                <a:gd name="connsiteY4" fmla="*/ 7793 h 1115727"/>
                <a:gd name="connsiteX5" fmla="*/ 2923699 w 5360120"/>
                <a:gd name="connsiteY5" fmla="*/ 14473 h 1115727"/>
                <a:gd name="connsiteX6" fmla="*/ 2985027 w 5360120"/>
                <a:gd name="connsiteY6" fmla="*/ 23379 h 1115727"/>
                <a:gd name="connsiteX7" fmla="*/ 3043010 w 5360120"/>
                <a:gd name="connsiteY7" fmla="*/ 33399 h 1115727"/>
                <a:gd name="connsiteX8" fmla="*/ 3102109 w 5360120"/>
                <a:gd name="connsiteY8" fmla="*/ 46758 h 1115727"/>
                <a:gd name="connsiteX9" fmla="*/ 3160091 w 5360120"/>
                <a:gd name="connsiteY9" fmla="*/ 61231 h 1115727"/>
                <a:gd name="connsiteX10" fmla="*/ 3215843 w 5360120"/>
                <a:gd name="connsiteY10" fmla="*/ 77930 h 1115727"/>
                <a:gd name="connsiteX11" fmla="*/ 3270481 w 5360120"/>
                <a:gd name="connsiteY11" fmla="*/ 95743 h 1115727"/>
                <a:gd name="connsiteX12" fmla="*/ 3325119 w 5360120"/>
                <a:gd name="connsiteY12" fmla="*/ 116895 h 1115727"/>
                <a:gd name="connsiteX13" fmla="*/ 3376411 w 5360120"/>
                <a:gd name="connsiteY13" fmla="*/ 139161 h 1115727"/>
                <a:gd name="connsiteX14" fmla="*/ 3427704 w 5360120"/>
                <a:gd name="connsiteY14" fmla="*/ 163653 h 1115727"/>
                <a:gd name="connsiteX15" fmla="*/ 3477881 w 5360120"/>
                <a:gd name="connsiteY15" fmla="*/ 189259 h 1115727"/>
                <a:gd name="connsiteX16" fmla="*/ 3524713 w 5360120"/>
                <a:gd name="connsiteY16" fmla="*/ 215978 h 1115727"/>
                <a:gd name="connsiteX17" fmla="*/ 3569315 w 5360120"/>
                <a:gd name="connsiteY17" fmla="*/ 247150 h 1115727"/>
                <a:gd name="connsiteX18" fmla="*/ 3570430 w 5360120"/>
                <a:gd name="connsiteY18" fmla="*/ 248263 h 1115727"/>
                <a:gd name="connsiteX19" fmla="*/ 3581581 w 5360120"/>
                <a:gd name="connsiteY19" fmla="*/ 256056 h 1115727"/>
                <a:gd name="connsiteX20" fmla="*/ 3612802 w 5360120"/>
                <a:gd name="connsiteY20" fmla="*/ 277209 h 1115727"/>
                <a:gd name="connsiteX21" fmla="*/ 3671900 w 5360120"/>
                <a:gd name="connsiteY21" fmla="*/ 318401 h 1115727"/>
                <a:gd name="connsiteX22" fmla="*/ 3767795 w 5360120"/>
                <a:gd name="connsiteY22" fmla="*/ 386311 h 1115727"/>
                <a:gd name="connsiteX23" fmla="*/ 3912752 w 5360120"/>
                <a:gd name="connsiteY23" fmla="*/ 487620 h 1115727"/>
                <a:gd name="connsiteX24" fmla="*/ 4114577 w 5360120"/>
                <a:gd name="connsiteY24" fmla="*/ 627895 h 1115727"/>
                <a:gd name="connsiteX25" fmla="*/ 4383305 w 5360120"/>
                <a:gd name="connsiteY25" fmla="*/ 817154 h 1115727"/>
                <a:gd name="connsiteX26" fmla="*/ 4434597 w 5360120"/>
                <a:gd name="connsiteY26" fmla="*/ 851666 h 1115727"/>
                <a:gd name="connsiteX27" fmla="*/ 4490350 w 5360120"/>
                <a:gd name="connsiteY27" fmla="*/ 885065 h 1115727"/>
                <a:gd name="connsiteX28" fmla="*/ 4548333 w 5360120"/>
                <a:gd name="connsiteY28" fmla="*/ 915123 h 1115727"/>
                <a:gd name="connsiteX29" fmla="*/ 4608546 w 5360120"/>
                <a:gd name="connsiteY29" fmla="*/ 944069 h 1115727"/>
                <a:gd name="connsiteX30" fmla="*/ 4670989 w 5360120"/>
                <a:gd name="connsiteY30" fmla="*/ 971901 h 1115727"/>
                <a:gd name="connsiteX31" fmla="*/ 4736777 w 5360120"/>
                <a:gd name="connsiteY31" fmla="*/ 995280 h 1115727"/>
                <a:gd name="connsiteX32" fmla="*/ 4802565 w 5360120"/>
                <a:gd name="connsiteY32" fmla="*/ 1017546 h 1115727"/>
                <a:gd name="connsiteX33" fmla="*/ 4871699 w 5360120"/>
                <a:gd name="connsiteY33" fmla="*/ 1038698 h 1115727"/>
                <a:gd name="connsiteX34" fmla="*/ 4940832 w 5360120"/>
                <a:gd name="connsiteY34" fmla="*/ 1056511 h 1115727"/>
                <a:gd name="connsiteX35" fmla="*/ 5012195 w 5360120"/>
                <a:gd name="connsiteY35" fmla="*/ 1072097 h 1115727"/>
                <a:gd name="connsiteX36" fmla="*/ 5086904 w 5360120"/>
                <a:gd name="connsiteY36" fmla="*/ 1086570 h 1115727"/>
                <a:gd name="connsiteX37" fmla="*/ 5160497 w 5360120"/>
                <a:gd name="connsiteY37" fmla="*/ 1097703 h 1115727"/>
                <a:gd name="connsiteX38" fmla="*/ 5236321 w 5360120"/>
                <a:gd name="connsiteY38" fmla="*/ 1106609 h 1115727"/>
                <a:gd name="connsiteX39" fmla="*/ 5311030 w 5360120"/>
                <a:gd name="connsiteY39" fmla="*/ 1112176 h 1115727"/>
                <a:gd name="connsiteX40" fmla="*/ 5360120 w 5360120"/>
                <a:gd name="connsiteY40" fmla="*/ 1115727 h 1115727"/>
                <a:gd name="connsiteX41" fmla="*/ 0 w 5360120"/>
                <a:gd name="connsiteY41" fmla="*/ 1115727 h 1115727"/>
                <a:gd name="connsiteX42" fmla="*/ 49090 w 5360120"/>
                <a:gd name="connsiteY42" fmla="*/ 1112176 h 1115727"/>
                <a:gd name="connsiteX43" fmla="*/ 124914 w 5360120"/>
                <a:gd name="connsiteY43" fmla="*/ 1106609 h 1115727"/>
                <a:gd name="connsiteX44" fmla="*/ 200738 w 5360120"/>
                <a:gd name="connsiteY44" fmla="*/ 1097703 h 1115727"/>
                <a:gd name="connsiteX45" fmla="*/ 275446 w 5360120"/>
                <a:gd name="connsiteY45" fmla="*/ 1086570 h 1115727"/>
                <a:gd name="connsiteX46" fmla="*/ 347925 w 5360120"/>
                <a:gd name="connsiteY46" fmla="*/ 1072097 h 1115727"/>
                <a:gd name="connsiteX47" fmla="*/ 420403 w 5360120"/>
                <a:gd name="connsiteY47" fmla="*/ 1056511 h 1115727"/>
                <a:gd name="connsiteX48" fmla="*/ 489537 w 5360120"/>
                <a:gd name="connsiteY48" fmla="*/ 1038698 h 1115727"/>
                <a:gd name="connsiteX49" fmla="*/ 558670 w 5360120"/>
                <a:gd name="connsiteY49" fmla="*/ 1017546 h 1115727"/>
                <a:gd name="connsiteX50" fmla="*/ 624458 w 5360120"/>
                <a:gd name="connsiteY50" fmla="*/ 995280 h 1115727"/>
                <a:gd name="connsiteX51" fmla="*/ 690246 w 5360120"/>
                <a:gd name="connsiteY51" fmla="*/ 971901 h 1115727"/>
                <a:gd name="connsiteX52" fmla="*/ 751574 w 5360120"/>
                <a:gd name="connsiteY52" fmla="*/ 944069 h 1115727"/>
                <a:gd name="connsiteX53" fmla="*/ 811787 w 5360120"/>
                <a:gd name="connsiteY53" fmla="*/ 915123 h 1115727"/>
                <a:gd name="connsiteX54" fmla="*/ 869770 w 5360120"/>
                <a:gd name="connsiteY54" fmla="*/ 885065 h 1115727"/>
                <a:gd name="connsiteX55" fmla="*/ 924408 w 5360120"/>
                <a:gd name="connsiteY55" fmla="*/ 851666 h 1115727"/>
                <a:gd name="connsiteX56" fmla="*/ 977930 w 5360120"/>
                <a:gd name="connsiteY56" fmla="*/ 817154 h 1115727"/>
                <a:gd name="connsiteX57" fmla="*/ 979045 w 5360120"/>
                <a:gd name="connsiteY57" fmla="*/ 816041 h 1115727"/>
                <a:gd name="connsiteX58" fmla="*/ 990196 w 5360120"/>
                <a:gd name="connsiteY58" fmla="*/ 808248 h 1115727"/>
                <a:gd name="connsiteX59" fmla="*/ 1021417 w 5360120"/>
                <a:gd name="connsiteY59" fmla="*/ 787095 h 1115727"/>
                <a:gd name="connsiteX60" fmla="*/ 1078285 w 5360120"/>
                <a:gd name="connsiteY60" fmla="*/ 745904 h 1115727"/>
                <a:gd name="connsiteX61" fmla="*/ 1176410 w 5360120"/>
                <a:gd name="connsiteY61" fmla="*/ 677993 h 1115727"/>
                <a:gd name="connsiteX62" fmla="*/ 1321367 w 5360120"/>
                <a:gd name="connsiteY62" fmla="*/ 576684 h 1115727"/>
                <a:gd name="connsiteX63" fmla="*/ 1522076 w 5360120"/>
                <a:gd name="connsiteY63" fmla="*/ 434183 h 1115727"/>
                <a:gd name="connsiteX64" fmla="*/ 1789689 w 5360120"/>
                <a:gd name="connsiteY64" fmla="*/ 247150 h 1115727"/>
                <a:gd name="connsiteX65" fmla="*/ 1836522 w 5360120"/>
                <a:gd name="connsiteY65" fmla="*/ 215978 h 1115727"/>
                <a:gd name="connsiteX66" fmla="*/ 1883354 w 5360120"/>
                <a:gd name="connsiteY66" fmla="*/ 189259 h 1115727"/>
                <a:gd name="connsiteX67" fmla="*/ 1931301 w 5360120"/>
                <a:gd name="connsiteY67" fmla="*/ 163653 h 1115727"/>
                <a:gd name="connsiteX68" fmla="*/ 1982594 w 5360120"/>
                <a:gd name="connsiteY68" fmla="*/ 139161 h 1115727"/>
                <a:gd name="connsiteX69" fmla="*/ 2036116 w 5360120"/>
                <a:gd name="connsiteY69" fmla="*/ 116895 h 1115727"/>
                <a:gd name="connsiteX70" fmla="*/ 2088524 w 5360120"/>
                <a:gd name="connsiteY70" fmla="*/ 95743 h 1115727"/>
                <a:gd name="connsiteX71" fmla="*/ 2145392 w 5360120"/>
                <a:gd name="connsiteY71" fmla="*/ 77930 h 1115727"/>
                <a:gd name="connsiteX72" fmla="*/ 2201144 w 5360120"/>
                <a:gd name="connsiteY72" fmla="*/ 61231 h 1115727"/>
                <a:gd name="connsiteX73" fmla="*/ 2259127 w 5360120"/>
                <a:gd name="connsiteY73" fmla="*/ 46758 h 1115727"/>
                <a:gd name="connsiteX74" fmla="*/ 2317110 w 5360120"/>
                <a:gd name="connsiteY74" fmla="*/ 33399 h 1115727"/>
                <a:gd name="connsiteX75" fmla="*/ 2376208 w 5360120"/>
                <a:gd name="connsiteY75" fmla="*/ 23379 h 1115727"/>
                <a:gd name="connsiteX76" fmla="*/ 2435305 w 5360120"/>
                <a:gd name="connsiteY76" fmla="*/ 14473 h 1115727"/>
                <a:gd name="connsiteX77" fmla="*/ 2496633 w 5360120"/>
                <a:gd name="connsiteY77" fmla="*/ 7793 h 1115727"/>
                <a:gd name="connsiteX78" fmla="*/ 2557961 w 5360120"/>
                <a:gd name="connsiteY78" fmla="*/ 3340 h 11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60120" h="1115727">
                  <a:moveTo>
                    <a:pt x="2618174" y="0"/>
                  </a:moveTo>
                  <a:lnTo>
                    <a:pt x="2679502" y="0"/>
                  </a:lnTo>
                  <a:lnTo>
                    <a:pt x="2740830" y="0"/>
                  </a:lnTo>
                  <a:lnTo>
                    <a:pt x="2803273" y="3340"/>
                  </a:lnTo>
                  <a:lnTo>
                    <a:pt x="2864601" y="7793"/>
                  </a:lnTo>
                  <a:lnTo>
                    <a:pt x="2923699" y="14473"/>
                  </a:lnTo>
                  <a:lnTo>
                    <a:pt x="2985027" y="23379"/>
                  </a:lnTo>
                  <a:lnTo>
                    <a:pt x="3043010" y="33399"/>
                  </a:lnTo>
                  <a:lnTo>
                    <a:pt x="3102109" y="46758"/>
                  </a:lnTo>
                  <a:lnTo>
                    <a:pt x="3160091" y="61231"/>
                  </a:lnTo>
                  <a:lnTo>
                    <a:pt x="3215843" y="77930"/>
                  </a:lnTo>
                  <a:lnTo>
                    <a:pt x="3270481" y="95743"/>
                  </a:lnTo>
                  <a:lnTo>
                    <a:pt x="3325119" y="116895"/>
                  </a:lnTo>
                  <a:lnTo>
                    <a:pt x="3376411" y="139161"/>
                  </a:lnTo>
                  <a:lnTo>
                    <a:pt x="3427704" y="163653"/>
                  </a:lnTo>
                  <a:lnTo>
                    <a:pt x="3477881" y="189259"/>
                  </a:lnTo>
                  <a:lnTo>
                    <a:pt x="3524713" y="215978"/>
                  </a:lnTo>
                  <a:lnTo>
                    <a:pt x="3569315" y="247150"/>
                  </a:lnTo>
                  <a:lnTo>
                    <a:pt x="3570430" y="248263"/>
                  </a:lnTo>
                  <a:lnTo>
                    <a:pt x="3581581" y="256056"/>
                  </a:lnTo>
                  <a:lnTo>
                    <a:pt x="3612802" y="277209"/>
                  </a:lnTo>
                  <a:lnTo>
                    <a:pt x="3671900" y="318401"/>
                  </a:lnTo>
                  <a:lnTo>
                    <a:pt x="3767795" y="386311"/>
                  </a:lnTo>
                  <a:lnTo>
                    <a:pt x="3912752" y="487620"/>
                  </a:lnTo>
                  <a:lnTo>
                    <a:pt x="4114577" y="627895"/>
                  </a:lnTo>
                  <a:lnTo>
                    <a:pt x="4383305" y="817154"/>
                  </a:lnTo>
                  <a:lnTo>
                    <a:pt x="4434597" y="851666"/>
                  </a:lnTo>
                  <a:lnTo>
                    <a:pt x="4490350" y="885065"/>
                  </a:lnTo>
                  <a:lnTo>
                    <a:pt x="4548333" y="915123"/>
                  </a:lnTo>
                  <a:lnTo>
                    <a:pt x="4608546" y="944069"/>
                  </a:lnTo>
                  <a:lnTo>
                    <a:pt x="4670989" y="971901"/>
                  </a:lnTo>
                  <a:lnTo>
                    <a:pt x="4736777" y="995280"/>
                  </a:lnTo>
                  <a:lnTo>
                    <a:pt x="4802565" y="1017546"/>
                  </a:lnTo>
                  <a:lnTo>
                    <a:pt x="4871699" y="1038698"/>
                  </a:lnTo>
                  <a:lnTo>
                    <a:pt x="4940832" y="1056511"/>
                  </a:lnTo>
                  <a:lnTo>
                    <a:pt x="5012195" y="1072097"/>
                  </a:lnTo>
                  <a:lnTo>
                    <a:pt x="5086904" y="1086570"/>
                  </a:lnTo>
                  <a:lnTo>
                    <a:pt x="5160497" y="1097703"/>
                  </a:lnTo>
                  <a:lnTo>
                    <a:pt x="5236321" y="1106609"/>
                  </a:lnTo>
                  <a:lnTo>
                    <a:pt x="5311030" y="1112176"/>
                  </a:lnTo>
                  <a:lnTo>
                    <a:pt x="5360120" y="1115727"/>
                  </a:lnTo>
                  <a:lnTo>
                    <a:pt x="0" y="1115727"/>
                  </a:lnTo>
                  <a:lnTo>
                    <a:pt x="49090" y="1112176"/>
                  </a:lnTo>
                  <a:lnTo>
                    <a:pt x="124914" y="1106609"/>
                  </a:lnTo>
                  <a:lnTo>
                    <a:pt x="200738" y="1097703"/>
                  </a:lnTo>
                  <a:lnTo>
                    <a:pt x="275446" y="1086570"/>
                  </a:lnTo>
                  <a:lnTo>
                    <a:pt x="347925" y="1072097"/>
                  </a:lnTo>
                  <a:lnTo>
                    <a:pt x="420403" y="1056511"/>
                  </a:lnTo>
                  <a:lnTo>
                    <a:pt x="489537" y="1038698"/>
                  </a:lnTo>
                  <a:lnTo>
                    <a:pt x="558670" y="1017546"/>
                  </a:lnTo>
                  <a:lnTo>
                    <a:pt x="624458" y="995280"/>
                  </a:lnTo>
                  <a:lnTo>
                    <a:pt x="690246" y="971901"/>
                  </a:lnTo>
                  <a:lnTo>
                    <a:pt x="751574" y="944069"/>
                  </a:lnTo>
                  <a:lnTo>
                    <a:pt x="811787" y="915123"/>
                  </a:lnTo>
                  <a:lnTo>
                    <a:pt x="869770" y="885065"/>
                  </a:lnTo>
                  <a:lnTo>
                    <a:pt x="924408" y="851666"/>
                  </a:lnTo>
                  <a:lnTo>
                    <a:pt x="977930" y="817154"/>
                  </a:lnTo>
                  <a:lnTo>
                    <a:pt x="979045" y="816041"/>
                  </a:lnTo>
                  <a:lnTo>
                    <a:pt x="990196" y="808248"/>
                  </a:lnTo>
                  <a:lnTo>
                    <a:pt x="1021417" y="787095"/>
                  </a:lnTo>
                  <a:lnTo>
                    <a:pt x="1078285" y="745904"/>
                  </a:lnTo>
                  <a:lnTo>
                    <a:pt x="1176410" y="677993"/>
                  </a:lnTo>
                  <a:lnTo>
                    <a:pt x="1321367" y="576684"/>
                  </a:lnTo>
                  <a:lnTo>
                    <a:pt x="1522076" y="434183"/>
                  </a:lnTo>
                  <a:lnTo>
                    <a:pt x="1789689" y="247150"/>
                  </a:lnTo>
                  <a:lnTo>
                    <a:pt x="1836522" y="215978"/>
                  </a:lnTo>
                  <a:lnTo>
                    <a:pt x="1883354" y="189259"/>
                  </a:lnTo>
                  <a:lnTo>
                    <a:pt x="1931301" y="163653"/>
                  </a:lnTo>
                  <a:lnTo>
                    <a:pt x="1982594" y="139161"/>
                  </a:lnTo>
                  <a:lnTo>
                    <a:pt x="2036116" y="116895"/>
                  </a:lnTo>
                  <a:lnTo>
                    <a:pt x="2088524" y="95743"/>
                  </a:lnTo>
                  <a:lnTo>
                    <a:pt x="2145392" y="77930"/>
                  </a:lnTo>
                  <a:lnTo>
                    <a:pt x="2201144" y="61231"/>
                  </a:lnTo>
                  <a:lnTo>
                    <a:pt x="2259127" y="46758"/>
                  </a:lnTo>
                  <a:lnTo>
                    <a:pt x="2317110" y="33399"/>
                  </a:lnTo>
                  <a:lnTo>
                    <a:pt x="2376208" y="23379"/>
                  </a:lnTo>
                  <a:lnTo>
                    <a:pt x="2435305" y="14473"/>
                  </a:lnTo>
                  <a:lnTo>
                    <a:pt x="2496633" y="7793"/>
                  </a:lnTo>
                  <a:lnTo>
                    <a:pt x="2557961" y="3340"/>
                  </a:ln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</p:grpSp>
    </p:spTree>
    <p:extLst>
      <p:ext uri="{BB962C8B-B14F-4D97-AF65-F5344CB8AC3E}">
        <p14:creationId xmlns:p14="http://schemas.microsoft.com/office/powerpoint/2010/main" val="971537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3000" fill="hold"/>
                                        <p:tgtEl>
                                          <p:spTgt spid="1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8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5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8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2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8" dur="8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" dur="5000" fill="hold"/>
                                        <p:tgtEl>
                                          <p:spTgt spid="2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2" dur="8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3000" fill="hold"/>
                                        <p:tgtEl>
                                          <p:spTgt spid="2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6" dur="8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2000" fill="hold"/>
                                        <p:tgtEl>
                                          <p:spTgt spid="2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0" dur="8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5000" fill="hold"/>
                                        <p:tgtEl>
                                          <p:spTgt spid="3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4" dur="3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6" dur="5000" fill="hold"/>
                                        <p:tgtEl>
                                          <p:spTgt spid="3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8" dur="8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0" dur="2000" fill="hold"/>
                                        <p:tgtEl>
                                          <p:spTgt spid="3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2" dur="8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4" dur="5000" fill="hold"/>
                                        <p:tgtEl>
                                          <p:spTgt spid="3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6" dur="5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8" dur="2000" fill="hold"/>
                                        <p:tgtEl>
                                          <p:spTgt spid="3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0" dur="8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2" dur="3000" fill="hold"/>
                                        <p:tgtEl>
                                          <p:spTgt spid="2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4" dur="8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6" dur="5000" fill="hold"/>
                                        <p:tgtEl>
                                          <p:spTgt spid="2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8" dur="5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0" dur="3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2" dur="8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4" dur="5000" fill="hold"/>
                                        <p:tgtEl>
                                          <p:spTgt spid="2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6" dur="8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8" dur="3000" fill="hold"/>
                                        <p:tgtEl>
                                          <p:spTgt spid="3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9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4.07407E-6 L 0.06575 -4.07407E-6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4401 -0.00093 L 0.06914 -0.00093 " pathEditMode="relative" rAng="0" ptsTypes="AA">
                                      <p:cBhvr>
                                        <p:cTn id="72" dur="2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65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15" grpId="0" animBg="1"/>
      <p:bldP spid="15" grpId="1" animBg="1"/>
      <p:bldP spid="26" grpId="0" animBg="1"/>
      <p:bldP spid="26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4" grpId="0" animBg="1"/>
      <p:bldP spid="34" grpId="1" animBg="1"/>
      <p:bldP spid="36" grpId="0" animBg="1"/>
      <p:bldP spid="36" grpId="1" animBg="1"/>
      <p:bldP spid="27" grpId="0" animBg="1"/>
      <p:bldP spid="27" grpId="1" animBg="1"/>
      <p:bldP spid="28" grpId="0" animBg="1"/>
      <p:bldP spid="28" grpId="1" animBg="1"/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4" grpId="1" animBg="1"/>
      <p:bldP spid="39" grpId="0" animBg="1"/>
      <p:bldP spid="39" grpId="1" animBg="1"/>
      <p:bldP spid="41" grpId="0"/>
      <p:bldP spid="4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513614" y="1220703"/>
            <a:ext cx="11389623" cy="15029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5500"/>
              </a:lnSpc>
            </a:pP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ЧЕЛОВЕК</a:t>
            </a:r>
            <a:b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</a:b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ЗАПОМИНАЕТ</a:t>
            </a:r>
          </a:p>
        </p:txBody>
      </p:sp>
      <p:sp>
        <p:nvSpPr>
          <p:cNvPr id="3" name="Oval 132">
            <a:extLst>
              <a:ext uri="{FF2B5EF4-FFF2-40B4-BE49-F238E27FC236}">
                <a16:creationId xmlns:a16="http://schemas.microsoft.com/office/drawing/2014/main" id="{0FCC6B9E-C89F-637C-4374-B8BA7742A6F8}"/>
              </a:ext>
            </a:extLst>
          </p:cNvPr>
          <p:cNvSpPr/>
          <p:nvPr/>
        </p:nvSpPr>
        <p:spPr>
          <a:xfrm>
            <a:off x="-5019015" y="4081265"/>
            <a:ext cx="4116282" cy="4116282"/>
          </a:xfrm>
          <a:prstGeom prst="ellipse">
            <a:avLst/>
          </a:prstGeom>
          <a:gradFill flip="none" rotWithShape="1">
            <a:gsLst>
              <a:gs pos="100000">
                <a:schemeClr val="accent2">
                  <a:lumMod val="20000"/>
                  <a:lumOff val="80000"/>
                  <a:alpha val="0"/>
                </a:schemeClr>
              </a:gs>
              <a:gs pos="0">
                <a:srgbClr val="C0DCFD"/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Oval 131">
            <a:extLst>
              <a:ext uri="{FF2B5EF4-FFF2-40B4-BE49-F238E27FC236}">
                <a16:creationId xmlns:a16="http://schemas.microsoft.com/office/drawing/2014/main" id="{276EEF5D-F78C-B26E-DECD-C77D3F1482D1}"/>
              </a:ext>
            </a:extLst>
          </p:cNvPr>
          <p:cNvSpPr/>
          <p:nvPr/>
        </p:nvSpPr>
        <p:spPr>
          <a:xfrm>
            <a:off x="7084494" y="-1500448"/>
            <a:ext cx="6485696" cy="6485696"/>
          </a:xfrm>
          <a:prstGeom prst="ellipse">
            <a:avLst/>
          </a:prstGeom>
          <a:gradFill flip="none" rotWithShape="1">
            <a:gsLst>
              <a:gs pos="100000">
                <a:srgbClr val="C0DCFD">
                  <a:alpha val="0"/>
                </a:srgbClr>
              </a:gs>
              <a:gs pos="0">
                <a:srgbClr val="620CFD">
                  <a:alpha val="28632"/>
                </a:srgbClr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9" name="Group 73">
            <a:extLst>
              <a:ext uri="{FF2B5EF4-FFF2-40B4-BE49-F238E27FC236}">
                <a16:creationId xmlns:a16="http://schemas.microsoft.com/office/drawing/2014/main" id="{35E67D2F-B7C3-B295-35E6-FC63796E3A00}"/>
              </a:ext>
            </a:extLst>
          </p:cNvPr>
          <p:cNvGrpSpPr/>
          <p:nvPr/>
        </p:nvGrpSpPr>
        <p:grpSpPr>
          <a:xfrm>
            <a:off x="7507895" y="0"/>
            <a:ext cx="9429752" cy="6858000"/>
            <a:chOff x="-2" y="0"/>
            <a:chExt cx="6428641" cy="6858000"/>
          </a:xfrm>
        </p:grpSpPr>
        <p:sp>
          <p:nvSpPr>
            <p:cNvPr id="30" name="Rectangle 36">
              <a:extLst>
                <a:ext uri="{FF2B5EF4-FFF2-40B4-BE49-F238E27FC236}">
                  <a16:creationId xmlns:a16="http://schemas.microsoft.com/office/drawing/2014/main" id="{6B639D09-947B-C295-89E5-D3A7FED4C562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C53A0486-4FEC-606C-49B2-3FDFBA486CDC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CB477ED-8E12-B1BF-B8A7-3C0791AD06EE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941091D-EDDA-A164-26A5-C572323EC7A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200F815-13CC-7E6B-07CF-6C3058F6FC6E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128BDE-2C15-EEFD-DC03-849CC99CC0F5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F04D5FF-393F-4F2F-7D30-44C7741775D5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7" name="Rectangle 37">
              <a:extLst>
                <a:ext uri="{FF2B5EF4-FFF2-40B4-BE49-F238E27FC236}">
                  <a16:creationId xmlns:a16="http://schemas.microsoft.com/office/drawing/2014/main" id="{E77182A8-0D9D-1D4B-7DE2-D3C02E6B9837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8" name="Rectangle 48">
              <a:extLst>
                <a:ext uri="{FF2B5EF4-FFF2-40B4-BE49-F238E27FC236}">
                  <a16:creationId xmlns:a16="http://schemas.microsoft.com/office/drawing/2014/main" id="{2D657C40-FF42-B366-A67D-3943F761017E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9" name="Rectangle 49">
              <a:extLst>
                <a:ext uri="{FF2B5EF4-FFF2-40B4-BE49-F238E27FC236}">
                  <a16:creationId xmlns:a16="http://schemas.microsoft.com/office/drawing/2014/main" id="{A4E5D924-F2E5-0073-3EFE-88569B3773E2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sp>
        <p:nvSpPr>
          <p:cNvPr id="45" name="Rectangle: Rounded Corners 70">
            <a:extLst>
              <a:ext uri="{FF2B5EF4-FFF2-40B4-BE49-F238E27FC236}">
                <a16:creationId xmlns:a16="http://schemas.microsoft.com/office/drawing/2014/main" id="{8A62F481-7B00-FDFB-AFA5-6899929C5A13}"/>
              </a:ext>
            </a:extLst>
          </p:cNvPr>
          <p:cNvSpPr/>
          <p:nvPr/>
        </p:nvSpPr>
        <p:spPr>
          <a:xfrm rot="10800000">
            <a:off x="11541687" y="2126974"/>
            <a:ext cx="2583322" cy="3729962"/>
          </a:xfrm>
          <a:prstGeom prst="roundRect">
            <a:avLst>
              <a:gd name="adj" fmla="val 13536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9AFDD577-E4C7-ECF0-3995-8A85BA1E1B64}"/>
              </a:ext>
            </a:extLst>
          </p:cNvPr>
          <p:cNvSpPr/>
          <p:nvPr/>
        </p:nvSpPr>
        <p:spPr>
          <a:xfrm>
            <a:off x="4417926" y="5740165"/>
            <a:ext cx="284229" cy="284229"/>
          </a:xfrm>
          <a:prstGeom prst="ellipse">
            <a:avLst/>
          </a:prstGeom>
          <a:solidFill>
            <a:srgbClr val="A16D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Овал 46">
            <a:extLst>
              <a:ext uri="{FF2B5EF4-FFF2-40B4-BE49-F238E27FC236}">
                <a16:creationId xmlns:a16="http://schemas.microsoft.com/office/drawing/2014/main" id="{643D3635-EF8F-0234-F307-27FF2F248B9A}"/>
              </a:ext>
            </a:extLst>
          </p:cNvPr>
          <p:cNvSpPr/>
          <p:nvPr/>
        </p:nvSpPr>
        <p:spPr>
          <a:xfrm>
            <a:off x="468479" y="4393189"/>
            <a:ext cx="284229" cy="284229"/>
          </a:xfrm>
          <a:prstGeom prst="ellipse">
            <a:avLst/>
          </a:prstGeom>
          <a:solidFill>
            <a:srgbClr val="A16D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B9DD599F-25FF-6A6B-8A34-F033DC21A19C}"/>
              </a:ext>
            </a:extLst>
          </p:cNvPr>
          <p:cNvCxnSpPr>
            <a:stCxn id="46" idx="4"/>
          </p:cNvCxnSpPr>
          <p:nvPr/>
        </p:nvCxnSpPr>
        <p:spPr>
          <a:xfrm flipH="1">
            <a:off x="4560040" y="6024394"/>
            <a:ext cx="1" cy="2173153"/>
          </a:xfrm>
          <a:prstGeom prst="line">
            <a:avLst/>
          </a:prstGeom>
          <a:ln w="28575">
            <a:solidFill>
              <a:srgbClr val="A16D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700AA3C1-EDD6-A498-5800-43ABA44EB283}"/>
              </a:ext>
            </a:extLst>
          </p:cNvPr>
          <p:cNvCxnSpPr>
            <a:cxnSpLocks/>
          </p:cNvCxnSpPr>
          <p:nvPr/>
        </p:nvCxnSpPr>
        <p:spPr>
          <a:xfrm flipH="1">
            <a:off x="-1486560" y="4539167"/>
            <a:ext cx="1955039" cy="0"/>
          </a:xfrm>
          <a:prstGeom prst="line">
            <a:avLst/>
          </a:prstGeom>
          <a:ln w="28575">
            <a:solidFill>
              <a:srgbClr val="A16D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09F263B4-A41B-1992-6A80-B6930BC0AC2D}"/>
              </a:ext>
            </a:extLst>
          </p:cNvPr>
          <p:cNvGrpSpPr/>
          <p:nvPr/>
        </p:nvGrpSpPr>
        <p:grpSpPr>
          <a:xfrm>
            <a:off x="-9566021" y="3121242"/>
            <a:ext cx="8028864" cy="2800382"/>
            <a:chOff x="611774" y="3135112"/>
            <a:chExt cx="8028864" cy="2800382"/>
          </a:xfrm>
        </p:grpSpPr>
        <p:sp>
          <p:nvSpPr>
            <p:cNvPr id="21" name="Rectangle: Rounded Corners 70">
              <a:extLst>
                <a:ext uri="{FF2B5EF4-FFF2-40B4-BE49-F238E27FC236}">
                  <a16:creationId xmlns:a16="http://schemas.microsoft.com/office/drawing/2014/main" id="{7C46770B-3BBD-D1DE-1F04-3AFC434040F7}"/>
                </a:ext>
              </a:extLst>
            </p:cNvPr>
            <p:cNvSpPr/>
            <p:nvPr/>
          </p:nvSpPr>
          <p:spPr>
            <a:xfrm rot="10800000">
              <a:off x="611774" y="3189949"/>
              <a:ext cx="8028864" cy="266698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F067BAA-254A-A0CA-2804-1730D7C5B020}"/>
                </a:ext>
              </a:extLst>
            </p:cNvPr>
            <p:cNvSpPr txBox="1"/>
            <p:nvPr/>
          </p:nvSpPr>
          <p:spPr>
            <a:xfrm>
              <a:off x="856599" y="3135112"/>
              <a:ext cx="5328966" cy="28003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166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0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B57033B-F114-6D16-8E79-5F97F362ACD5}"/>
                </a:ext>
              </a:extLst>
            </p:cNvPr>
            <p:cNvSpPr txBox="1"/>
            <p:nvPr/>
          </p:nvSpPr>
          <p:spPr>
            <a:xfrm>
              <a:off x="4391383" y="3397454"/>
              <a:ext cx="1562915" cy="10711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60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9010182-DACD-3D2F-03C8-35A2580A52B3}"/>
                </a:ext>
              </a:extLst>
            </p:cNvPr>
            <p:cNvSpPr txBox="1"/>
            <p:nvPr/>
          </p:nvSpPr>
          <p:spPr>
            <a:xfrm>
              <a:off x="5311385" y="4207474"/>
              <a:ext cx="3166727" cy="13569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5080"/>
                </a:lnSpc>
              </a:pPr>
              <a:r>
                <a:rPr lang="ru-RU" sz="40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</a:t>
              </a: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гда </a:t>
              </a:r>
              <a:b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смотрит</a:t>
              </a:r>
            </a:p>
          </p:txBody>
        </p:sp>
      </p:grp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D8766249-999E-29FC-098D-16D78942CCEB}"/>
              </a:ext>
            </a:extLst>
          </p:cNvPr>
          <p:cNvGrpSpPr/>
          <p:nvPr/>
        </p:nvGrpSpPr>
        <p:grpSpPr>
          <a:xfrm>
            <a:off x="658018" y="3110996"/>
            <a:ext cx="10875964" cy="2800382"/>
            <a:chOff x="611773" y="3135112"/>
            <a:chExt cx="10875964" cy="2800382"/>
          </a:xfrm>
        </p:grpSpPr>
        <p:sp>
          <p:nvSpPr>
            <p:cNvPr id="53" name="Rectangle: Rounded Corners 70">
              <a:extLst>
                <a:ext uri="{FF2B5EF4-FFF2-40B4-BE49-F238E27FC236}">
                  <a16:creationId xmlns:a16="http://schemas.microsoft.com/office/drawing/2014/main" id="{3FF84A70-42FD-4422-62EF-F7074C030F00}"/>
                </a:ext>
              </a:extLst>
            </p:cNvPr>
            <p:cNvSpPr/>
            <p:nvPr/>
          </p:nvSpPr>
          <p:spPr>
            <a:xfrm rot="10800000">
              <a:off x="611773" y="3189948"/>
              <a:ext cx="10612187" cy="266698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7C6D1BA1-EE13-29A0-21FB-4899C5E0303C}"/>
                </a:ext>
              </a:extLst>
            </p:cNvPr>
            <p:cNvSpPr txBox="1"/>
            <p:nvPr/>
          </p:nvSpPr>
          <p:spPr>
            <a:xfrm>
              <a:off x="856599" y="3135112"/>
              <a:ext cx="5328966" cy="28003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166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60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DBBB2A20-185E-AB36-4224-25161B6EF3DA}"/>
                </a:ext>
              </a:extLst>
            </p:cNvPr>
            <p:cNvSpPr txBox="1"/>
            <p:nvPr/>
          </p:nvSpPr>
          <p:spPr>
            <a:xfrm>
              <a:off x="4391383" y="3397454"/>
              <a:ext cx="1562915" cy="10711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60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28567F86-97E2-281B-AB19-D9308CB07872}"/>
                </a:ext>
              </a:extLst>
            </p:cNvPr>
            <p:cNvSpPr txBox="1"/>
            <p:nvPr/>
          </p:nvSpPr>
          <p:spPr>
            <a:xfrm>
              <a:off x="5311385" y="4207474"/>
              <a:ext cx="6176352" cy="13569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5080"/>
                </a:lnSpc>
              </a:pPr>
              <a:r>
                <a:rPr lang="ru-RU" sz="40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</a:t>
              </a: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гда </a:t>
              </a:r>
              <a:b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взаимодействует</a:t>
              </a:r>
            </a:p>
          </p:txBody>
        </p:sp>
      </p:grpSp>
      <p:grpSp>
        <p:nvGrpSpPr>
          <p:cNvPr id="5" name="!!22">
            <a:extLst>
              <a:ext uri="{FF2B5EF4-FFF2-40B4-BE49-F238E27FC236}">
                <a16:creationId xmlns:a16="http://schemas.microsoft.com/office/drawing/2014/main" id="{B86831B3-F3D4-2C22-43A2-9D458A5883DA}"/>
              </a:ext>
            </a:extLst>
          </p:cNvPr>
          <p:cNvGrpSpPr/>
          <p:nvPr/>
        </p:nvGrpSpPr>
        <p:grpSpPr>
          <a:xfrm>
            <a:off x="10350425" y="1723920"/>
            <a:ext cx="1795281" cy="3868379"/>
            <a:chOff x="345639" y="156592"/>
            <a:chExt cx="2962322" cy="6383061"/>
          </a:xfrm>
          <a:solidFill>
            <a:srgbClr val="620CFD"/>
          </a:solidFill>
        </p:grpSpPr>
        <p:sp>
          <p:nvSpPr>
            <p:cNvPr id="6" name="Shape 664">
              <a:extLst>
                <a:ext uri="{FF2B5EF4-FFF2-40B4-BE49-F238E27FC236}">
                  <a16:creationId xmlns:a16="http://schemas.microsoft.com/office/drawing/2014/main" id="{59157E02-DB06-1775-A98A-954BD5B0C5C5}"/>
                </a:ext>
              </a:extLst>
            </p:cNvPr>
            <p:cNvSpPr/>
            <p:nvPr/>
          </p:nvSpPr>
          <p:spPr>
            <a:xfrm>
              <a:off x="976851" y="6266149"/>
              <a:ext cx="1291984" cy="2735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grpFill/>
            <a:ln w="12700" cap="flat">
              <a:solidFill>
                <a:srgbClr val="620CFD"/>
              </a:solidFill>
              <a:miter lim="400000"/>
            </a:ln>
            <a:effectLst/>
          </p:spPr>
          <p:txBody>
            <a:bodyPr lIns="67733" tIns="67733" rIns="67733" bIns="67733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>
                  <a:solidFill>
                    <a:srgbClr val="FFFFFF"/>
                  </a:solidFill>
                </a:defRPr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13" name="Shape 665">
              <a:extLst>
                <a:ext uri="{FF2B5EF4-FFF2-40B4-BE49-F238E27FC236}">
                  <a16:creationId xmlns:a16="http://schemas.microsoft.com/office/drawing/2014/main" id="{C86F2CA8-3FF2-B1F6-11DC-86CE369F4E7F}"/>
                </a:ext>
              </a:extLst>
            </p:cNvPr>
            <p:cNvSpPr/>
            <p:nvPr/>
          </p:nvSpPr>
          <p:spPr>
            <a:xfrm>
              <a:off x="1605475" y="3274714"/>
              <a:ext cx="160568" cy="31647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88" h="21600" extrusionOk="0">
                  <a:moveTo>
                    <a:pt x="13136" y="0"/>
                  </a:moveTo>
                  <a:cubicBezTo>
                    <a:pt x="21373" y="4124"/>
                    <a:pt x="21600" y="8287"/>
                    <a:pt x="13811" y="12414"/>
                  </a:cubicBezTo>
                  <a:cubicBezTo>
                    <a:pt x="9182" y="14867"/>
                    <a:pt x="1701" y="17314"/>
                    <a:pt x="2799" y="19787"/>
                  </a:cubicBezTo>
                  <a:cubicBezTo>
                    <a:pt x="2876" y="19962"/>
                    <a:pt x="2996" y="20136"/>
                    <a:pt x="2967" y="20311"/>
                  </a:cubicBezTo>
                  <a:cubicBezTo>
                    <a:pt x="2895" y="20746"/>
                    <a:pt x="1899" y="21178"/>
                    <a:pt x="0" y="21600"/>
                  </a:cubicBezTo>
                </a:path>
              </a:pathLst>
            </a:custGeom>
            <a:grpFill/>
            <a:ln w="76200" cap="flat">
              <a:solidFill>
                <a:srgbClr val="620CFD"/>
              </a:solidFill>
              <a:prstDash val="solid"/>
              <a:miter lim="400000"/>
            </a:ln>
            <a:effectLst/>
          </p:spPr>
          <p:txBody>
            <a:bodyPr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/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14" name="Shape 666">
              <a:extLst>
                <a:ext uri="{FF2B5EF4-FFF2-40B4-BE49-F238E27FC236}">
                  <a16:creationId xmlns:a16="http://schemas.microsoft.com/office/drawing/2014/main" id="{3D90AEC0-BCE6-A51E-82BB-01A05213B806}"/>
                </a:ext>
              </a:extLst>
            </p:cNvPr>
            <p:cNvSpPr/>
            <p:nvPr/>
          </p:nvSpPr>
          <p:spPr>
            <a:xfrm rot="1980000">
              <a:off x="1749008" y="5219580"/>
              <a:ext cx="323934" cy="7596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34" h="21600" extrusionOk="0">
                  <a:moveTo>
                    <a:pt x="6073" y="21422"/>
                  </a:moveTo>
                  <a:cubicBezTo>
                    <a:pt x="1992" y="18123"/>
                    <a:pt x="-94" y="14441"/>
                    <a:pt x="3" y="10711"/>
                  </a:cubicBezTo>
                  <a:cubicBezTo>
                    <a:pt x="101" y="6957"/>
                    <a:pt x="2407" y="3275"/>
                    <a:pt x="6709" y="0"/>
                  </a:cubicBezTo>
                  <a:cubicBezTo>
                    <a:pt x="15604" y="2159"/>
                    <a:pt x="21164" y="6163"/>
                    <a:pt x="21331" y="10528"/>
                  </a:cubicBezTo>
                  <a:cubicBezTo>
                    <a:pt x="21506" y="15126"/>
                    <a:pt x="15701" y="19388"/>
                    <a:pt x="6249" y="21600"/>
                  </a:cubicBezTo>
                  <a:lnTo>
                    <a:pt x="6073" y="21422"/>
                  </a:lnTo>
                  <a:close/>
                </a:path>
              </a:pathLst>
            </a:custGeom>
            <a:grpFill/>
            <a:ln w="12700" cap="flat">
              <a:solidFill>
                <a:srgbClr val="620CFD"/>
              </a:solidFill>
              <a:miter lim="400000"/>
            </a:ln>
            <a:effectLst/>
          </p:spPr>
          <p:txBody>
            <a:bodyPr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/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grpSp>
          <p:nvGrpSpPr>
            <p:cNvPr id="15" name="Group 669">
              <a:extLst>
                <a:ext uri="{FF2B5EF4-FFF2-40B4-BE49-F238E27FC236}">
                  <a16:creationId xmlns:a16="http://schemas.microsoft.com/office/drawing/2014/main" id="{FA5CACF7-CEAE-8485-75E3-D7EB1876251C}"/>
                </a:ext>
              </a:extLst>
            </p:cNvPr>
            <p:cNvGrpSpPr/>
            <p:nvPr/>
          </p:nvGrpSpPr>
          <p:grpSpPr>
            <a:xfrm rot="322341">
              <a:off x="345639" y="156592"/>
              <a:ext cx="2021603" cy="3851930"/>
              <a:chOff x="162949" y="55399"/>
              <a:chExt cx="2021603" cy="3851930"/>
            </a:xfrm>
            <a:grpFill/>
          </p:grpSpPr>
          <p:sp>
            <p:nvSpPr>
              <p:cNvPr id="28" name="Shape 667">
                <a:extLst>
                  <a:ext uri="{FF2B5EF4-FFF2-40B4-BE49-F238E27FC236}">
                    <a16:creationId xmlns:a16="http://schemas.microsoft.com/office/drawing/2014/main" id="{527AC613-5F89-D976-4193-7A6218BAE5CA}"/>
                  </a:ext>
                </a:extLst>
              </p:cNvPr>
              <p:cNvSpPr/>
              <p:nvPr/>
            </p:nvSpPr>
            <p:spPr>
              <a:xfrm rot="21300000" flipH="1">
                <a:off x="162949" y="80330"/>
                <a:ext cx="2010523" cy="382699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34" h="21600" extrusionOk="0">
                    <a:moveTo>
                      <a:pt x="6073" y="21422"/>
                    </a:moveTo>
                    <a:cubicBezTo>
                      <a:pt x="1992" y="18123"/>
                      <a:pt x="-94" y="14441"/>
                      <a:pt x="3" y="10711"/>
                    </a:cubicBezTo>
                    <a:cubicBezTo>
                      <a:pt x="101" y="6957"/>
                      <a:pt x="2407" y="3275"/>
                      <a:pt x="6709" y="0"/>
                    </a:cubicBezTo>
                    <a:cubicBezTo>
                      <a:pt x="15604" y="2159"/>
                      <a:pt x="21164" y="6163"/>
                      <a:pt x="21331" y="10528"/>
                    </a:cubicBezTo>
                    <a:cubicBezTo>
                      <a:pt x="21506" y="15126"/>
                      <a:pt x="15701" y="19388"/>
                      <a:pt x="6249" y="21600"/>
                    </a:cubicBezTo>
                    <a:lnTo>
                      <a:pt x="6073" y="21422"/>
                    </a:lnTo>
                    <a:close/>
                  </a:path>
                </a:pathLst>
              </a:custGeom>
              <a:grpFill/>
              <a:ln w="12700" cap="flat">
                <a:solidFill>
                  <a:srgbClr val="620CFD"/>
                </a:solidFill>
                <a:miter lim="400000"/>
              </a:ln>
              <a:effectLst/>
            </p:spPr>
            <p:txBody>
              <a:bodyPr lIns="0" tIns="0" rIns="0" bIns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 sz="3200"/>
                </a:pPr>
                <a:endParaRPr sz="4267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57" name="Shape 668">
                <a:extLst>
                  <a:ext uri="{FF2B5EF4-FFF2-40B4-BE49-F238E27FC236}">
                    <a16:creationId xmlns:a16="http://schemas.microsoft.com/office/drawing/2014/main" id="{29184D12-8A30-9093-EF65-244EA999A10A}"/>
                  </a:ext>
                </a:extLst>
              </p:cNvPr>
              <p:cNvSpPr/>
              <p:nvPr/>
            </p:nvSpPr>
            <p:spPr>
              <a:xfrm>
                <a:off x="1304720" y="55399"/>
                <a:ext cx="879832" cy="380856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182" h="21600" extrusionOk="0">
                    <a:moveTo>
                      <a:pt x="1571" y="0"/>
                    </a:moveTo>
                    <a:cubicBezTo>
                      <a:pt x="1295" y="39"/>
                      <a:pt x="1058" y="85"/>
                      <a:pt x="786" y="124"/>
                    </a:cubicBezTo>
                    <a:cubicBezTo>
                      <a:pt x="-136" y="2929"/>
                      <a:pt x="-261" y="5746"/>
                      <a:pt x="484" y="8555"/>
                    </a:cubicBezTo>
                    <a:cubicBezTo>
                      <a:pt x="1656" y="12978"/>
                      <a:pt x="4882" y="17351"/>
                      <a:pt x="10106" y="21590"/>
                    </a:cubicBezTo>
                    <a:cubicBezTo>
                      <a:pt x="10141" y="21593"/>
                      <a:pt x="10171" y="21597"/>
                      <a:pt x="10206" y="21600"/>
                    </a:cubicBezTo>
                    <a:lnTo>
                      <a:pt x="10528" y="21411"/>
                    </a:lnTo>
                    <a:cubicBezTo>
                      <a:pt x="18148" y="17918"/>
                      <a:pt x="21339" y="14136"/>
                      <a:pt x="19808" y="10407"/>
                    </a:cubicBezTo>
                    <a:cubicBezTo>
                      <a:pt x="18267" y="6654"/>
                      <a:pt x="11994" y="3077"/>
                      <a:pt x="1571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rgbClr val="620CFD"/>
                </a:solidFill>
                <a:miter lim="400000"/>
              </a:ln>
              <a:effectLst/>
            </p:spPr>
            <p:txBody>
              <a:bodyPr lIns="0" tIns="0" rIns="0" bIns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 sz="3200"/>
                </a:pPr>
                <a:endParaRPr sz="4267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endParaRPr>
              </a:p>
            </p:txBody>
          </p:sp>
        </p:grpSp>
        <p:grpSp>
          <p:nvGrpSpPr>
            <p:cNvPr id="16" name="Group 672">
              <a:extLst>
                <a:ext uri="{FF2B5EF4-FFF2-40B4-BE49-F238E27FC236}">
                  <a16:creationId xmlns:a16="http://schemas.microsoft.com/office/drawing/2014/main" id="{60D9D2BE-7A4C-0140-BAE3-3B60A32FDE75}"/>
                </a:ext>
              </a:extLst>
            </p:cNvPr>
            <p:cNvGrpSpPr/>
            <p:nvPr/>
          </p:nvGrpSpPr>
          <p:grpSpPr>
            <a:xfrm rot="3973889">
              <a:off x="1877914" y="3503411"/>
              <a:ext cx="1056654" cy="1803440"/>
              <a:chOff x="0" y="0"/>
              <a:chExt cx="1056654" cy="1803439"/>
            </a:xfrm>
            <a:grpFill/>
          </p:grpSpPr>
          <p:sp>
            <p:nvSpPr>
              <p:cNvPr id="19" name="Shape 670">
                <a:extLst>
                  <a:ext uri="{FF2B5EF4-FFF2-40B4-BE49-F238E27FC236}">
                    <a16:creationId xmlns:a16="http://schemas.microsoft.com/office/drawing/2014/main" id="{BFE32A6C-1CE1-E308-7292-2AD92A0640CD}"/>
                  </a:ext>
                </a:extLst>
              </p:cNvPr>
              <p:cNvSpPr/>
              <p:nvPr/>
            </p:nvSpPr>
            <p:spPr>
              <a:xfrm rot="21300000" flipH="1">
                <a:off x="73693" y="36330"/>
                <a:ext cx="909268" cy="173077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34" h="21600" extrusionOk="0">
                    <a:moveTo>
                      <a:pt x="6073" y="21422"/>
                    </a:moveTo>
                    <a:cubicBezTo>
                      <a:pt x="1992" y="18123"/>
                      <a:pt x="-94" y="14441"/>
                      <a:pt x="3" y="10711"/>
                    </a:cubicBezTo>
                    <a:cubicBezTo>
                      <a:pt x="101" y="6957"/>
                      <a:pt x="2407" y="3275"/>
                      <a:pt x="6709" y="0"/>
                    </a:cubicBezTo>
                    <a:cubicBezTo>
                      <a:pt x="15604" y="2159"/>
                      <a:pt x="21164" y="6163"/>
                      <a:pt x="21331" y="10528"/>
                    </a:cubicBezTo>
                    <a:cubicBezTo>
                      <a:pt x="21506" y="15126"/>
                      <a:pt x="15701" y="19388"/>
                      <a:pt x="6249" y="21600"/>
                    </a:cubicBezTo>
                    <a:lnTo>
                      <a:pt x="6073" y="21422"/>
                    </a:lnTo>
                    <a:close/>
                  </a:path>
                </a:pathLst>
              </a:custGeom>
              <a:grpFill/>
              <a:ln w="12700" cap="flat">
                <a:solidFill>
                  <a:srgbClr val="620CFD"/>
                </a:solidFill>
                <a:miter lim="400000"/>
              </a:ln>
              <a:effectLst/>
            </p:spPr>
            <p:txBody>
              <a:bodyPr lIns="0" tIns="0" rIns="0" bIns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 sz="3200"/>
                </a:pPr>
                <a:endParaRPr sz="4267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27" name="Shape 671">
                <a:extLst>
                  <a:ext uri="{FF2B5EF4-FFF2-40B4-BE49-F238E27FC236}">
                    <a16:creationId xmlns:a16="http://schemas.microsoft.com/office/drawing/2014/main" id="{1BDE75AB-700A-35B5-0FFE-D217219E797E}"/>
                  </a:ext>
                </a:extLst>
              </p:cNvPr>
              <p:cNvSpPr/>
              <p:nvPr/>
            </p:nvSpPr>
            <p:spPr>
              <a:xfrm>
                <a:off x="590065" y="25055"/>
                <a:ext cx="397908" cy="172243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182" h="21600" extrusionOk="0">
                    <a:moveTo>
                      <a:pt x="1571" y="0"/>
                    </a:moveTo>
                    <a:cubicBezTo>
                      <a:pt x="1295" y="39"/>
                      <a:pt x="1058" y="85"/>
                      <a:pt x="786" y="124"/>
                    </a:cubicBezTo>
                    <a:cubicBezTo>
                      <a:pt x="-136" y="2929"/>
                      <a:pt x="-261" y="5746"/>
                      <a:pt x="484" y="8555"/>
                    </a:cubicBezTo>
                    <a:cubicBezTo>
                      <a:pt x="1656" y="12978"/>
                      <a:pt x="4882" y="17351"/>
                      <a:pt x="10106" y="21590"/>
                    </a:cubicBezTo>
                    <a:cubicBezTo>
                      <a:pt x="10141" y="21593"/>
                      <a:pt x="10171" y="21597"/>
                      <a:pt x="10206" y="21600"/>
                    </a:cubicBezTo>
                    <a:lnTo>
                      <a:pt x="10528" y="21411"/>
                    </a:lnTo>
                    <a:cubicBezTo>
                      <a:pt x="18148" y="17918"/>
                      <a:pt x="21339" y="14136"/>
                      <a:pt x="19808" y="10407"/>
                    </a:cubicBezTo>
                    <a:cubicBezTo>
                      <a:pt x="18267" y="6654"/>
                      <a:pt x="11994" y="3077"/>
                      <a:pt x="1571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rgbClr val="620CFD"/>
                </a:solidFill>
                <a:miter lim="400000"/>
              </a:ln>
              <a:effectLst/>
            </p:spPr>
            <p:txBody>
              <a:bodyPr lIns="0" tIns="0" rIns="0" bIns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 sz="3200"/>
                </a:pPr>
                <a:endParaRPr sz="4267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endParaRPr>
              </a:p>
            </p:txBody>
          </p:sp>
        </p:grpSp>
        <p:sp>
          <p:nvSpPr>
            <p:cNvPr id="17" name="Shape 673">
              <a:extLst>
                <a:ext uri="{FF2B5EF4-FFF2-40B4-BE49-F238E27FC236}">
                  <a16:creationId xmlns:a16="http://schemas.microsoft.com/office/drawing/2014/main" id="{CBBADC5F-A128-F7ED-C387-38F90A0833BB}"/>
                </a:ext>
              </a:extLst>
            </p:cNvPr>
            <p:cNvSpPr/>
            <p:nvPr/>
          </p:nvSpPr>
          <p:spPr>
            <a:xfrm rot="6663929">
              <a:off x="1164930" y="5072297"/>
              <a:ext cx="323934" cy="7596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34" h="21600" extrusionOk="0">
                  <a:moveTo>
                    <a:pt x="6073" y="21422"/>
                  </a:moveTo>
                  <a:cubicBezTo>
                    <a:pt x="1992" y="18123"/>
                    <a:pt x="-94" y="14441"/>
                    <a:pt x="3" y="10711"/>
                  </a:cubicBezTo>
                  <a:cubicBezTo>
                    <a:pt x="101" y="6957"/>
                    <a:pt x="2407" y="3275"/>
                    <a:pt x="6709" y="0"/>
                  </a:cubicBezTo>
                  <a:cubicBezTo>
                    <a:pt x="15604" y="2159"/>
                    <a:pt x="21164" y="6163"/>
                    <a:pt x="21331" y="10528"/>
                  </a:cubicBezTo>
                  <a:cubicBezTo>
                    <a:pt x="21506" y="15126"/>
                    <a:pt x="15701" y="19388"/>
                    <a:pt x="6249" y="21600"/>
                  </a:cubicBezTo>
                  <a:lnTo>
                    <a:pt x="6073" y="21422"/>
                  </a:lnTo>
                  <a:close/>
                </a:path>
              </a:pathLst>
            </a:custGeom>
            <a:grpFill/>
            <a:ln w="12700" cap="flat">
              <a:solidFill>
                <a:srgbClr val="620CFD"/>
              </a:solidFill>
              <a:miter lim="400000"/>
            </a:ln>
            <a:effectLst/>
          </p:spPr>
          <p:txBody>
            <a:bodyPr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/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18" name="Shape 674">
              <a:extLst>
                <a:ext uri="{FF2B5EF4-FFF2-40B4-BE49-F238E27FC236}">
                  <a16:creationId xmlns:a16="http://schemas.microsoft.com/office/drawing/2014/main" id="{477616E4-EE30-38E1-689A-6B284A2BEFFC}"/>
                </a:ext>
              </a:extLst>
            </p:cNvPr>
            <p:cNvSpPr/>
            <p:nvPr/>
          </p:nvSpPr>
          <p:spPr>
            <a:xfrm rot="6663929">
              <a:off x="921566" y="3996443"/>
              <a:ext cx="495995" cy="11630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34" h="21600" extrusionOk="0">
                  <a:moveTo>
                    <a:pt x="6073" y="21422"/>
                  </a:moveTo>
                  <a:cubicBezTo>
                    <a:pt x="1992" y="18123"/>
                    <a:pt x="-94" y="14441"/>
                    <a:pt x="3" y="10711"/>
                  </a:cubicBezTo>
                  <a:cubicBezTo>
                    <a:pt x="101" y="6957"/>
                    <a:pt x="2407" y="3275"/>
                    <a:pt x="6709" y="0"/>
                  </a:cubicBezTo>
                  <a:cubicBezTo>
                    <a:pt x="15604" y="2159"/>
                    <a:pt x="21164" y="6163"/>
                    <a:pt x="21331" y="10528"/>
                  </a:cubicBezTo>
                  <a:cubicBezTo>
                    <a:pt x="21506" y="15126"/>
                    <a:pt x="15701" y="19388"/>
                    <a:pt x="6249" y="21600"/>
                  </a:cubicBezTo>
                  <a:lnTo>
                    <a:pt x="6073" y="21422"/>
                  </a:lnTo>
                  <a:close/>
                </a:path>
              </a:pathLst>
            </a:custGeom>
            <a:grpFill/>
            <a:ln w="12700" cap="flat">
              <a:solidFill>
                <a:srgbClr val="620CFD"/>
              </a:solidFill>
              <a:miter lim="400000"/>
            </a:ln>
            <a:effectLst/>
          </p:spPr>
          <p:txBody>
            <a:bodyPr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/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</p:grp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F7DFFB70-BFD6-AB7D-A4EA-4BB2BFB05A38}"/>
              </a:ext>
            </a:extLst>
          </p:cNvPr>
          <p:cNvGrpSpPr/>
          <p:nvPr/>
        </p:nvGrpSpPr>
        <p:grpSpPr>
          <a:xfrm>
            <a:off x="658018" y="7580888"/>
            <a:ext cx="10875964" cy="2800382"/>
            <a:chOff x="611773" y="3135112"/>
            <a:chExt cx="10875964" cy="2800382"/>
          </a:xfrm>
        </p:grpSpPr>
        <p:sp>
          <p:nvSpPr>
            <p:cNvPr id="59" name="Rectangle: Rounded Corners 70">
              <a:extLst>
                <a:ext uri="{FF2B5EF4-FFF2-40B4-BE49-F238E27FC236}">
                  <a16:creationId xmlns:a16="http://schemas.microsoft.com/office/drawing/2014/main" id="{C4C3C857-19E7-0960-EF29-51BDC653EC59}"/>
                </a:ext>
              </a:extLst>
            </p:cNvPr>
            <p:cNvSpPr/>
            <p:nvPr/>
          </p:nvSpPr>
          <p:spPr>
            <a:xfrm rot="10800000">
              <a:off x="611773" y="3189948"/>
              <a:ext cx="10612187" cy="266698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FDD7F8CF-0BBD-2DF8-E9D6-2E9BF4C0A6FE}"/>
                </a:ext>
              </a:extLst>
            </p:cNvPr>
            <p:cNvSpPr txBox="1"/>
            <p:nvPr/>
          </p:nvSpPr>
          <p:spPr>
            <a:xfrm>
              <a:off x="856599" y="3135112"/>
              <a:ext cx="5328966" cy="28003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166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80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2E515DD-CE12-B4C1-A858-1045D0A3D368}"/>
                </a:ext>
              </a:extLst>
            </p:cNvPr>
            <p:cNvSpPr txBox="1"/>
            <p:nvPr/>
          </p:nvSpPr>
          <p:spPr>
            <a:xfrm>
              <a:off x="4391383" y="3397454"/>
              <a:ext cx="1562915" cy="10711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60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43C9885B-EC31-4D2B-46E9-CC550E9BDEF0}"/>
                </a:ext>
              </a:extLst>
            </p:cNvPr>
            <p:cNvSpPr txBox="1"/>
            <p:nvPr/>
          </p:nvSpPr>
          <p:spPr>
            <a:xfrm>
              <a:off x="5311385" y="4207474"/>
              <a:ext cx="6176352" cy="13569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5080"/>
                </a:lnSpc>
              </a:pPr>
              <a:r>
                <a:rPr lang="ru-RU" sz="40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</a:t>
              </a: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гда видит</a:t>
              </a:r>
              <a:b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значимость</a:t>
              </a:r>
            </a:p>
          </p:txBody>
        </p:sp>
      </p:grpSp>
      <p:pic>
        <p:nvPicPr>
          <p:cNvPr id="63" name="Рисунок 62">
            <a:extLst>
              <a:ext uri="{FF2B5EF4-FFF2-40B4-BE49-F238E27FC236}">
                <a16:creationId xmlns:a16="http://schemas.microsoft.com/office/drawing/2014/main" id="{BD259BD0-C01A-4E2D-F80A-2B86ED38B95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0745" y="3176078"/>
            <a:ext cx="2938919" cy="2969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053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1.11111E-6 L 0.06576 1.11111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!!Oval 131">
            <a:extLst>
              <a:ext uri="{FF2B5EF4-FFF2-40B4-BE49-F238E27FC236}">
                <a16:creationId xmlns:a16="http://schemas.microsoft.com/office/drawing/2014/main" id="{B5887F6B-E537-DC1E-4516-A946C1B839A1}"/>
              </a:ext>
            </a:extLst>
          </p:cNvPr>
          <p:cNvSpPr/>
          <p:nvPr/>
        </p:nvSpPr>
        <p:spPr>
          <a:xfrm rot="20184041">
            <a:off x="3923704" y="-2803773"/>
            <a:ext cx="6485696" cy="6485696"/>
          </a:xfrm>
          <a:prstGeom prst="ellipse">
            <a:avLst/>
          </a:prstGeom>
          <a:gradFill flip="none" rotWithShape="1">
            <a:gsLst>
              <a:gs pos="100000">
                <a:srgbClr val="C0DCFD">
                  <a:alpha val="0"/>
                </a:srgbClr>
              </a:gs>
              <a:gs pos="0">
                <a:srgbClr val="620CFD">
                  <a:alpha val="28632"/>
                </a:srgbClr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23" name="Рисунок 122">
            <a:extLst>
              <a:ext uri="{FF2B5EF4-FFF2-40B4-BE49-F238E27FC236}">
                <a16:creationId xmlns:a16="http://schemas.microsoft.com/office/drawing/2014/main" id="{6C27A580-C841-D9B3-FC66-9F419ED00DB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023" y="989190"/>
            <a:ext cx="5103642" cy="5155899"/>
          </a:xfrm>
          <a:prstGeom prst="rect">
            <a:avLst/>
          </a:prstGeom>
        </p:spPr>
      </p:pic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8" name="Рисунок 3">
            <a:extLst>
              <a:ext uri="{FF2B5EF4-FFF2-40B4-BE49-F238E27FC236}">
                <a16:creationId xmlns:a16="http://schemas.microsoft.com/office/drawing/2014/main" id="{B63F4BEE-48AE-F06A-6DA6-C8982BFE428C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306BE464-478F-81B6-3B64-29F8F5EF6AB8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86F94626-DE5D-5CDE-C5AB-08EC87502FA9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27D32363-4996-BC63-62AD-37B68BDCEF3B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0CF7CFDB-7A74-EC0A-6085-A444E06E742E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6612FEDD-013B-92AC-4475-870F7116F32C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B2EBED1A-9481-C73D-3E09-821A49346615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AD1CBA0D-CF7C-181F-0780-454F30ADFE2C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29262002-7FA6-242C-1F7F-5498AD6537FA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B1BADB8A-087E-8EF7-C819-4DA4B76178C8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E75AA717-1E66-FF94-A1E7-B9B27F4A6897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46F477F9-AF6E-52E4-CB25-A418271737C3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0" name="!!22">
            <a:extLst>
              <a:ext uri="{FF2B5EF4-FFF2-40B4-BE49-F238E27FC236}">
                <a16:creationId xmlns:a16="http://schemas.microsoft.com/office/drawing/2014/main" id="{C9621C34-A03E-23AA-01BD-14249AED9B34}"/>
              </a:ext>
            </a:extLst>
          </p:cNvPr>
          <p:cNvGrpSpPr/>
          <p:nvPr/>
        </p:nvGrpSpPr>
        <p:grpSpPr>
          <a:xfrm rot="1281712">
            <a:off x="-5019404" y="-1650047"/>
            <a:ext cx="20171400" cy="43464293"/>
            <a:chOff x="345639" y="156592"/>
            <a:chExt cx="2962322" cy="6383061"/>
          </a:xfrm>
          <a:solidFill>
            <a:srgbClr val="620CFD"/>
          </a:solidFill>
        </p:grpSpPr>
        <p:sp>
          <p:nvSpPr>
            <p:cNvPr id="101" name="Shape 664">
              <a:extLst>
                <a:ext uri="{FF2B5EF4-FFF2-40B4-BE49-F238E27FC236}">
                  <a16:creationId xmlns:a16="http://schemas.microsoft.com/office/drawing/2014/main" id="{AB77B2ED-A132-B37C-A4C5-7BE57BE21E4C}"/>
                </a:ext>
              </a:extLst>
            </p:cNvPr>
            <p:cNvSpPr/>
            <p:nvPr/>
          </p:nvSpPr>
          <p:spPr>
            <a:xfrm>
              <a:off x="976851" y="6266149"/>
              <a:ext cx="1291984" cy="2735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grpFill/>
            <a:ln w="12700" cap="flat">
              <a:solidFill>
                <a:srgbClr val="620CFD"/>
              </a:solidFill>
              <a:miter lim="400000"/>
            </a:ln>
            <a:effectLst/>
          </p:spPr>
          <p:txBody>
            <a:bodyPr lIns="67733" tIns="67733" rIns="67733" bIns="67733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>
                  <a:solidFill>
                    <a:srgbClr val="FFFFFF"/>
                  </a:solidFill>
                </a:defRPr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102" name="Shape 665">
              <a:extLst>
                <a:ext uri="{FF2B5EF4-FFF2-40B4-BE49-F238E27FC236}">
                  <a16:creationId xmlns:a16="http://schemas.microsoft.com/office/drawing/2014/main" id="{A7073511-7A95-5AD9-8C7B-035CA364736A}"/>
                </a:ext>
              </a:extLst>
            </p:cNvPr>
            <p:cNvSpPr/>
            <p:nvPr/>
          </p:nvSpPr>
          <p:spPr>
            <a:xfrm>
              <a:off x="1605475" y="3274714"/>
              <a:ext cx="160568" cy="31647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88" h="21600" extrusionOk="0">
                  <a:moveTo>
                    <a:pt x="13136" y="0"/>
                  </a:moveTo>
                  <a:cubicBezTo>
                    <a:pt x="21373" y="4124"/>
                    <a:pt x="21600" y="8287"/>
                    <a:pt x="13811" y="12414"/>
                  </a:cubicBezTo>
                  <a:cubicBezTo>
                    <a:pt x="9182" y="14867"/>
                    <a:pt x="1701" y="17314"/>
                    <a:pt x="2799" y="19787"/>
                  </a:cubicBezTo>
                  <a:cubicBezTo>
                    <a:pt x="2876" y="19962"/>
                    <a:pt x="2996" y="20136"/>
                    <a:pt x="2967" y="20311"/>
                  </a:cubicBezTo>
                  <a:cubicBezTo>
                    <a:pt x="2895" y="20746"/>
                    <a:pt x="1899" y="21178"/>
                    <a:pt x="0" y="21600"/>
                  </a:cubicBezTo>
                </a:path>
              </a:pathLst>
            </a:custGeom>
            <a:grpFill/>
            <a:ln w="76200" cap="flat">
              <a:solidFill>
                <a:srgbClr val="620CFD"/>
              </a:solidFill>
              <a:prstDash val="solid"/>
              <a:miter lim="400000"/>
            </a:ln>
            <a:effectLst/>
          </p:spPr>
          <p:txBody>
            <a:bodyPr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/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103" name="Shape 666">
              <a:extLst>
                <a:ext uri="{FF2B5EF4-FFF2-40B4-BE49-F238E27FC236}">
                  <a16:creationId xmlns:a16="http://schemas.microsoft.com/office/drawing/2014/main" id="{1C33B3F5-F389-ABD5-55E2-9103CBD83313}"/>
                </a:ext>
              </a:extLst>
            </p:cNvPr>
            <p:cNvSpPr/>
            <p:nvPr/>
          </p:nvSpPr>
          <p:spPr>
            <a:xfrm rot="1980000">
              <a:off x="1749008" y="5219580"/>
              <a:ext cx="323934" cy="7596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34" h="21600" extrusionOk="0">
                  <a:moveTo>
                    <a:pt x="6073" y="21422"/>
                  </a:moveTo>
                  <a:cubicBezTo>
                    <a:pt x="1992" y="18123"/>
                    <a:pt x="-94" y="14441"/>
                    <a:pt x="3" y="10711"/>
                  </a:cubicBezTo>
                  <a:cubicBezTo>
                    <a:pt x="101" y="6957"/>
                    <a:pt x="2407" y="3275"/>
                    <a:pt x="6709" y="0"/>
                  </a:cubicBezTo>
                  <a:cubicBezTo>
                    <a:pt x="15604" y="2159"/>
                    <a:pt x="21164" y="6163"/>
                    <a:pt x="21331" y="10528"/>
                  </a:cubicBezTo>
                  <a:cubicBezTo>
                    <a:pt x="21506" y="15126"/>
                    <a:pt x="15701" y="19388"/>
                    <a:pt x="6249" y="21600"/>
                  </a:cubicBezTo>
                  <a:lnTo>
                    <a:pt x="6073" y="21422"/>
                  </a:lnTo>
                  <a:close/>
                </a:path>
              </a:pathLst>
            </a:custGeom>
            <a:grpFill/>
            <a:ln w="12700" cap="flat">
              <a:solidFill>
                <a:srgbClr val="620CFD"/>
              </a:solidFill>
              <a:miter lim="400000"/>
            </a:ln>
            <a:effectLst/>
          </p:spPr>
          <p:txBody>
            <a:bodyPr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/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grpSp>
          <p:nvGrpSpPr>
            <p:cNvPr id="104" name="Group 669">
              <a:extLst>
                <a:ext uri="{FF2B5EF4-FFF2-40B4-BE49-F238E27FC236}">
                  <a16:creationId xmlns:a16="http://schemas.microsoft.com/office/drawing/2014/main" id="{026366B6-4B26-63D8-CE4D-3FE80236B0EB}"/>
                </a:ext>
              </a:extLst>
            </p:cNvPr>
            <p:cNvGrpSpPr/>
            <p:nvPr/>
          </p:nvGrpSpPr>
          <p:grpSpPr>
            <a:xfrm rot="322341">
              <a:off x="345639" y="156592"/>
              <a:ext cx="2021603" cy="3851930"/>
              <a:chOff x="162949" y="55399"/>
              <a:chExt cx="2021603" cy="3851930"/>
            </a:xfrm>
            <a:grpFill/>
          </p:grpSpPr>
          <p:sp>
            <p:nvSpPr>
              <p:cNvPr id="110" name="Shape 667">
                <a:extLst>
                  <a:ext uri="{FF2B5EF4-FFF2-40B4-BE49-F238E27FC236}">
                    <a16:creationId xmlns:a16="http://schemas.microsoft.com/office/drawing/2014/main" id="{919E87CC-3F5B-5F3E-552D-DF25CBD0AE45}"/>
                  </a:ext>
                </a:extLst>
              </p:cNvPr>
              <p:cNvSpPr/>
              <p:nvPr/>
            </p:nvSpPr>
            <p:spPr>
              <a:xfrm rot="21300000" flipH="1">
                <a:off x="162949" y="80330"/>
                <a:ext cx="2010523" cy="382699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34" h="21600" extrusionOk="0">
                    <a:moveTo>
                      <a:pt x="6073" y="21422"/>
                    </a:moveTo>
                    <a:cubicBezTo>
                      <a:pt x="1992" y="18123"/>
                      <a:pt x="-94" y="14441"/>
                      <a:pt x="3" y="10711"/>
                    </a:cubicBezTo>
                    <a:cubicBezTo>
                      <a:pt x="101" y="6957"/>
                      <a:pt x="2407" y="3275"/>
                      <a:pt x="6709" y="0"/>
                    </a:cubicBezTo>
                    <a:cubicBezTo>
                      <a:pt x="15604" y="2159"/>
                      <a:pt x="21164" y="6163"/>
                      <a:pt x="21331" y="10528"/>
                    </a:cubicBezTo>
                    <a:cubicBezTo>
                      <a:pt x="21506" y="15126"/>
                      <a:pt x="15701" y="19388"/>
                      <a:pt x="6249" y="21600"/>
                    </a:cubicBezTo>
                    <a:lnTo>
                      <a:pt x="6073" y="21422"/>
                    </a:lnTo>
                    <a:close/>
                  </a:path>
                </a:pathLst>
              </a:custGeom>
              <a:grpFill/>
              <a:ln w="12700" cap="flat">
                <a:solidFill>
                  <a:srgbClr val="620CFD"/>
                </a:solidFill>
                <a:miter lim="400000"/>
              </a:ln>
              <a:effectLst/>
            </p:spPr>
            <p:txBody>
              <a:bodyPr lIns="0" tIns="0" rIns="0" bIns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 sz="3200"/>
                </a:pPr>
                <a:endParaRPr sz="4267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111" name="Shape 668">
                <a:extLst>
                  <a:ext uri="{FF2B5EF4-FFF2-40B4-BE49-F238E27FC236}">
                    <a16:creationId xmlns:a16="http://schemas.microsoft.com/office/drawing/2014/main" id="{77FCCF23-704D-DFC7-0B60-ABDB4D8B82FD}"/>
                  </a:ext>
                </a:extLst>
              </p:cNvPr>
              <p:cNvSpPr/>
              <p:nvPr/>
            </p:nvSpPr>
            <p:spPr>
              <a:xfrm>
                <a:off x="1304720" y="55399"/>
                <a:ext cx="879832" cy="380856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182" h="21600" extrusionOk="0">
                    <a:moveTo>
                      <a:pt x="1571" y="0"/>
                    </a:moveTo>
                    <a:cubicBezTo>
                      <a:pt x="1295" y="39"/>
                      <a:pt x="1058" y="85"/>
                      <a:pt x="786" y="124"/>
                    </a:cubicBezTo>
                    <a:cubicBezTo>
                      <a:pt x="-136" y="2929"/>
                      <a:pt x="-261" y="5746"/>
                      <a:pt x="484" y="8555"/>
                    </a:cubicBezTo>
                    <a:cubicBezTo>
                      <a:pt x="1656" y="12978"/>
                      <a:pt x="4882" y="17351"/>
                      <a:pt x="10106" y="21590"/>
                    </a:cubicBezTo>
                    <a:cubicBezTo>
                      <a:pt x="10141" y="21593"/>
                      <a:pt x="10171" y="21597"/>
                      <a:pt x="10206" y="21600"/>
                    </a:cubicBezTo>
                    <a:lnTo>
                      <a:pt x="10528" y="21411"/>
                    </a:lnTo>
                    <a:cubicBezTo>
                      <a:pt x="18148" y="17918"/>
                      <a:pt x="21339" y="14136"/>
                      <a:pt x="19808" y="10407"/>
                    </a:cubicBezTo>
                    <a:cubicBezTo>
                      <a:pt x="18267" y="6654"/>
                      <a:pt x="11994" y="3077"/>
                      <a:pt x="1571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rgbClr val="620CFD"/>
                </a:solidFill>
                <a:miter lim="400000"/>
              </a:ln>
              <a:effectLst/>
            </p:spPr>
            <p:txBody>
              <a:bodyPr lIns="0" tIns="0" rIns="0" bIns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 sz="3200"/>
                </a:pPr>
                <a:endParaRPr sz="4267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endParaRPr>
              </a:p>
            </p:txBody>
          </p:sp>
        </p:grpSp>
        <p:grpSp>
          <p:nvGrpSpPr>
            <p:cNvPr id="105" name="Group 672">
              <a:extLst>
                <a:ext uri="{FF2B5EF4-FFF2-40B4-BE49-F238E27FC236}">
                  <a16:creationId xmlns:a16="http://schemas.microsoft.com/office/drawing/2014/main" id="{E5A64260-1A04-ED12-66F0-B9AD20DA2666}"/>
                </a:ext>
              </a:extLst>
            </p:cNvPr>
            <p:cNvGrpSpPr/>
            <p:nvPr/>
          </p:nvGrpSpPr>
          <p:grpSpPr>
            <a:xfrm rot="3973889">
              <a:off x="1877914" y="3503411"/>
              <a:ext cx="1056654" cy="1803440"/>
              <a:chOff x="0" y="0"/>
              <a:chExt cx="1056654" cy="1803439"/>
            </a:xfrm>
            <a:grpFill/>
          </p:grpSpPr>
          <p:sp>
            <p:nvSpPr>
              <p:cNvPr id="108" name="Shape 670">
                <a:extLst>
                  <a:ext uri="{FF2B5EF4-FFF2-40B4-BE49-F238E27FC236}">
                    <a16:creationId xmlns:a16="http://schemas.microsoft.com/office/drawing/2014/main" id="{5ACF519B-DD5C-7ECF-ADF4-D9F52605C358}"/>
                  </a:ext>
                </a:extLst>
              </p:cNvPr>
              <p:cNvSpPr/>
              <p:nvPr/>
            </p:nvSpPr>
            <p:spPr>
              <a:xfrm rot="21300000" flipH="1">
                <a:off x="73693" y="36330"/>
                <a:ext cx="909268" cy="173077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34" h="21600" extrusionOk="0">
                    <a:moveTo>
                      <a:pt x="6073" y="21422"/>
                    </a:moveTo>
                    <a:cubicBezTo>
                      <a:pt x="1992" y="18123"/>
                      <a:pt x="-94" y="14441"/>
                      <a:pt x="3" y="10711"/>
                    </a:cubicBezTo>
                    <a:cubicBezTo>
                      <a:pt x="101" y="6957"/>
                      <a:pt x="2407" y="3275"/>
                      <a:pt x="6709" y="0"/>
                    </a:cubicBezTo>
                    <a:cubicBezTo>
                      <a:pt x="15604" y="2159"/>
                      <a:pt x="21164" y="6163"/>
                      <a:pt x="21331" y="10528"/>
                    </a:cubicBezTo>
                    <a:cubicBezTo>
                      <a:pt x="21506" y="15126"/>
                      <a:pt x="15701" y="19388"/>
                      <a:pt x="6249" y="21600"/>
                    </a:cubicBezTo>
                    <a:lnTo>
                      <a:pt x="6073" y="21422"/>
                    </a:lnTo>
                    <a:close/>
                  </a:path>
                </a:pathLst>
              </a:custGeom>
              <a:grpFill/>
              <a:ln w="12700" cap="flat">
                <a:solidFill>
                  <a:srgbClr val="620CFD"/>
                </a:solidFill>
                <a:miter lim="400000"/>
              </a:ln>
              <a:effectLst/>
            </p:spPr>
            <p:txBody>
              <a:bodyPr lIns="0" tIns="0" rIns="0" bIns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 sz="3200"/>
                </a:pPr>
                <a:endParaRPr sz="4267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109" name="Shape 671">
                <a:extLst>
                  <a:ext uri="{FF2B5EF4-FFF2-40B4-BE49-F238E27FC236}">
                    <a16:creationId xmlns:a16="http://schemas.microsoft.com/office/drawing/2014/main" id="{86BCE01C-F908-6531-BA3A-660899C05D82}"/>
                  </a:ext>
                </a:extLst>
              </p:cNvPr>
              <p:cNvSpPr/>
              <p:nvPr/>
            </p:nvSpPr>
            <p:spPr>
              <a:xfrm>
                <a:off x="590065" y="25055"/>
                <a:ext cx="397908" cy="172243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182" h="21600" extrusionOk="0">
                    <a:moveTo>
                      <a:pt x="1571" y="0"/>
                    </a:moveTo>
                    <a:cubicBezTo>
                      <a:pt x="1295" y="39"/>
                      <a:pt x="1058" y="85"/>
                      <a:pt x="786" y="124"/>
                    </a:cubicBezTo>
                    <a:cubicBezTo>
                      <a:pt x="-136" y="2929"/>
                      <a:pt x="-261" y="5746"/>
                      <a:pt x="484" y="8555"/>
                    </a:cubicBezTo>
                    <a:cubicBezTo>
                      <a:pt x="1656" y="12978"/>
                      <a:pt x="4882" y="17351"/>
                      <a:pt x="10106" y="21590"/>
                    </a:cubicBezTo>
                    <a:cubicBezTo>
                      <a:pt x="10141" y="21593"/>
                      <a:pt x="10171" y="21597"/>
                      <a:pt x="10206" y="21600"/>
                    </a:cubicBezTo>
                    <a:lnTo>
                      <a:pt x="10528" y="21411"/>
                    </a:lnTo>
                    <a:cubicBezTo>
                      <a:pt x="18148" y="17918"/>
                      <a:pt x="21339" y="14136"/>
                      <a:pt x="19808" y="10407"/>
                    </a:cubicBezTo>
                    <a:cubicBezTo>
                      <a:pt x="18267" y="6654"/>
                      <a:pt x="11994" y="3077"/>
                      <a:pt x="1571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rgbClr val="620CFD"/>
                </a:solidFill>
                <a:miter lim="400000"/>
              </a:ln>
              <a:effectLst/>
            </p:spPr>
            <p:txBody>
              <a:bodyPr lIns="0" tIns="0" rIns="0" bIns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 sz="3200"/>
                </a:pPr>
                <a:endParaRPr sz="4267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endParaRPr>
              </a:p>
            </p:txBody>
          </p:sp>
        </p:grpSp>
        <p:sp>
          <p:nvSpPr>
            <p:cNvPr id="106" name="Shape 673">
              <a:extLst>
                <a:ext uri="{FF2B5EF4-FFF2-40B4-BE49-F238E27FC236}">
                  <a16:creationId xmlns:a16="http://schemas.microsoft.com/office/drawing/2014/main" id="{D8D183E2-3658-5C63-BA41-0C021B8BA9C4}"/>
                </a:ext>
              </a:extLst>
            </p:cNvPr>
            <p:cNvSpPr/>
            <p:nvPr/>
          </p:nvSpPr>
          <p:spPr>
            <a:xfrm rot="6663929">
              <a:off x="1164930" y="5072297"/>
              <a:ext cx="323934" cy="7596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34" h="21600" extrusionOk="0">
                  <a:moveTo>
                    <a:pt x="6073" y="21422"/>
                  </a:moveTo>
                  <a:cubicBezTo>
                    <a:pt x="1992" y="18123"/>
                    <a:pt x="-94" y="14441"/>
                    <a:pt x="3" y="10711"/>
                  </a:cubicBezTo>
                  <a:cubicBezTo>
                    <a:pt x="101" y="6957"/>
                    <a:pt x="2407" y="3275"/>
                    <a:pt x="6709" y="0"/>
                  </a:cubicBezTo>
                  <a:cubicBezTo>
                    <a:pt x="15604" y="2159"/>
                    <a:pt x="21164" y="6163"/>
                    <a:pt x="21331" y="10528"/>
                  </a:cubicBezTo>
                  <a:cubicBezTo>
                    <a:pt x="21506" y="15126"/>
                    <a:pt x="15701" y="19388"/>
                    <a:pt x="6249" y="21600"/>
                  </a:cubicBezTo>
                  <a:lnTo>
                    <a:pt x="6073" y="21422"/>
                  </a:lnTo>
                  <a:close/>
                </a:path>
              </a:pathLst>
            </a:custGeom>
            <a:grpFill/>
            <a:ln w="12700" cap="flat">
              <a:solidFill>
                <a:srgbClr val="620CFD"/>
              </a:solidFill>
              <a:miter lim="400000"/>
            </a:ln>
            <a:effectLst/>
          </p:spPr>
          <p:txBody>
            <a:bodyPr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/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107" name="Shape 674">
              <a:extLst>
                <a:ext uri="{FF2B5EF4-FFF2-40B4-BE49-F238E27FC236}">
                  <a16:creationId xmlns:a16="http://schemas.microsoft.com/office/drawing/2014/main" id="{A3B99713-FDCD-7A32-7580-3020B0E11035}"/>
                </a:ext>
              </a:extLst>
            </p:cNvPr>
            <p:cNvSpPr/>
            <p:nvPr/>
          </p:nvSpPr>
          <p:spPr>
            <a:xfrm rot="6663929">
              <a:off x="921566" y="3996443"/>
              <a:ext cx="495995" cy="11630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34" h="21600" extrusionOk="0">
                  <a:moveTo>
                    <a:pt x="6073" y="21422"/>
                  </a:moveTo>
                  <a:cubicBezTo>
                    <a:pt x="1992" y="18123"/>
                    <a:pt x="-94" y="14441"/>
                    <a:pt x="3" y="10711"/>
                  </a:cubicBezTo>
                  <a:cubicBezTo>
                    <a:pt x="101" y="6957"/>
                    <a:pt x="2407" y="3275"/>
                    <a:pt x="6709" y="0"/>
                  </a:cubicBezTo>
                  <a:cubicBezTo>
                    <a:pt x="15604" y="2159"/>
                    <a:pt x="21164" y="6163"/>
                    <a:pt x="21331" y="10528"/>
                  </a:cubicBezTo>
                  <a:cubicBezTo>
                    <a:pt x="21506" y="15126"/>
                    <a:pt x="15701" y="19388"/>
                    <a:pt x="6249" y="21600"/>
                  </a:cubicBezTo>
                  <a:lnTo>
                    <a:pt x="6073" y="21422"/>
                  </a:lnTo>
                  <a:close/>
                </a:path>
              </a:pathLst>
            </a:custGeom>
            <a:grpFill/>
            <a:ln w="12700" cap="flat">
              <a:solidFill>
                <a:srgbClr val="620CFD"/>
              </a:solidFill>
              <a:miter lim="400000"/>
            </a:ln>
            <a:effectLst/>
          </p:spPr>
          <p:txBody>
            <a:bodyPr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/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</p:grpSp>
      <p:grpSp>
        <p:nvGrpSpPr>
          <p:cNvPr id="112" name="Group 73">
            <a:extLst>
              <a:ext uri="{FF2B5EF4-FFF2-40B4-BE49-F238E27FC236}">
                <a16:creationId xmlns:a16="http://schemas.microsoft.com/office/drawing/2014/main" id="{71F88F2E-6794-C5E0-4B8D-EF67541701AC}"/>
              </a:ext>
            </a:extLst>
          </p:cNvPr>
          <p:cNvGrpSpPr/>
          <p:nvPr/>
        </p:nvGrpSpPr>
        <p:grpSpPr>
          <a:xfrm>
            <a:off x="-4904430" y="-111040"/>
            <a:ext cx="9429752" cy="6858000"/>
            <a:chOff x="-2" y="0"/>
            <a:chExt cx="6428641" cy="6858000"/>
          </a:xfrm>
        </p:grpSpPr>
        <p:sp>
          <p:nvSpPr>
            <p:cNvPr id="113" name="Rectangle 36">
              <a:extLst>
                <a:ext uri="{FF2B5EF4-FFF2-40B4-BE49-F238E27FC236}">
                  <a16:creationId xmlns:a16="http://schemas.microsoft.com/office/drawing/2014/main" id="{52AEAA28-301F-61B5-EADE-2197694DC56B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4" name="Rectangle 9">
              <a:extLst>
                <a:ext uri="{FF2B5EF4-FFF2-40B4-BE49-F238E27FC236}">
                  <a16:creationId xmlns:a16="http://schemas.microsoft.com/office/drawing/2014/main" id="{C06FFEC3-A92D-0242-086A-62CA89C54FDC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5" name="Rectangle 31">
              <a:extLst>
                <a:ext uri="{FF2B5EF4-FFF2-40B4-BE49-F238E27FC236}">
                  <a16:creationId xmlns:a16="http://schemas.microsoft.com/office/drawing/2014/main" id="{5D8CC394-E886-0527-E36B-094F3775A003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6" name="Rectangle 32">
              <a:extLst>
                <a:ext uri="{FF2B5EF4-FFF2-40B4-BE49-F238E27FC236}">
                  <a16:creationId xmlns:a16="http://schemas.microsoft.com/office/drawing/2014/main" id="{5A3D4B90-E54F-F908-50B5-BD92CDFB027C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7" name="Rectangle 33">
              <a:extLst>
                <a:ext uri="{FF2B5EF4-FFF2-40B4-BE49-F238E27FC236}">
                  <a16:creationId xmlns:a16="http://schemas.microsoft.com/office/drawing/2014/main" id="{D137678F-8417-06C8-54B5-B16931C7773D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8" name="Rectangle 34">
              <a:extLst>
                <a:ext uri="{FF2B5EF4-FFF2-40B4-BE49-F238E27FC236}">
                  <a16:creationId xmlns:a16="http://schemas.microsoft.com/office/drawing/2014/main" id="{936FC55E-9338-3E3C-89D5-C02838251995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9" name="Rectangle 35">
              <a:extLst>
                <a:ext uri="{FF2B5EF4-FFF2-40B4-BE49-F238E27FC236}">
                  <a16:creationId xmlns:a16="http://schemas.microsoft.com/office/drawing/2014/main" id="{ABE97AAB-C610-ACDA-E7B6-182A5ABC0715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0" name="Rectangle 37">
              <a:extLst>
                <a:ext uri="{FF2B5EF4-FFF2-40B4-BE49-F238E27FC236}">
                  <a16:creationId xmlns:a16="http://schemas.microsoft.com/office/drawing/2014/main" id="{BF74E5EF-56AC-2EF5-305C-C483EA8CD43E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1" name="Rectangle 48">
              <a:extLst>
                <a:ext uri="{FF2B5EF4-FFF2-40B4-BE49-F238E27FC236}">
                  <a16:creationId xmlns:a16="http://schemas.microsoft.com/office/drawing/2014/main" id="{B43A9A34-7807-31F0-88F4-D46650E65CAD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2" name="Rectangle 49">
              <a:extLst>
                <a:ext uri="{FF2B5EF4-FFF2-40B4-BE49-F238E27FC236}">
                  <a16:creationId xmlns:a16="http://schemas.microsoft.com/office/drawing/2014/main" id="{3680679D-D3BD-6470-F5A8-6228133792A1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sp>
        <p:nvSpPr>
          <p:cNvPr id="124" name="TextBox 123">
            <a:extLst>
              <a:ext uri="{FF2B5EF4-FFF2-40B4-BE49-F238E27FC236}">
                <a16:creationId xmlns:a16="http://schemas.microsoft.com/office/drawing/2014/main" id="{27F4F65E-EE33-5EE7-DAE1-FBE3C47BC781}"/>
              </a:ext>
            </a:extLst>
          </p:cNvPr>
          <p:cNvSpPr txBox="1"/>
          <p:nvPr/>
        </p:nvSpPr>
        <p:spPr>
          <a:xfrm>
            <a:off x="3729844" y="3143725"/>
            <a:ext cx="7873671" cy="31114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6000"/>
              </a:lnSpc>
            </a:pPr>
            <a:r>
              <a:rPr lang="ru-RU" sz="44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ММУНИКАЦИЯ</a:t>
            </a:r>
            <a:br>
              <a:rPr lang="ru-RU" sz="44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44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РОИТСЯ </a:t>
            </a:r>
            <a:br>
              <a:rPr lang="ru-RU" sz="44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44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ДОНЕСЕНИЕ </a:t>
            </a:r>
            <a:br>
              <a:rPr lang="ru-RU" sz="44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44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ННОСТИ</a:t>
            </a:r>
            <a:endParaRPr lang="ru-RU" sz="4400" b="1" dirty="0">
              <a:solidFill>
                <a:schemeClr val="bg1"/>
              </a:solidFill>
              <a:latin typeface="Unbounded SemiBold" panose="020B0305040102020103" pitchFamily="34" charset="0"/>
            </a:endParaRPr>
          </a:p>
        </p:txBody>
      </p:sp>
      <p:sp>
        <p:nvSpPr>
          <p:cNvPr id="126" name="Овал 125">
            <a:extLst>
              <a:ext uri="{FF2B5EF4-FFF2-40B4-BE49-F238E27FC236}">
                <a16:creationId xmlns:a16="http://schemas.microsoft.com/office/drawing/2014/main" id="{4F2A4BBA-C983-1D32-C5CC-D2E69152BB9A}"/>
              </a:ext>
            </a:extLst>
          </p:cNvPr>
          <p:cNvSpPr/>
          <p:nvPr/>
        </p:nvSpPr>
        <p:spPr>
          <a:xfrm>
            <a:off x="10857292" y="1644736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30" name="Овал 129">
            <a:extLst>
              <a:ext uri="{FF2B5EF4-FFF2-40B4-BE49-F238E27FC236}">
                <a16:creationId xmlns:a16="http://schemas.microsoft.com/office/drawing/2014/main" id="{3285E857-D890-68D4-0F51-42922A504A90}"/>
              </a:ext>
            </a:extLst>
          </p:cNvPr>
          <p:cNvSpPr/>
          <p:nvPr/>
        </p:nvSpPr>
        <p:spPr>
          <a:xfrm rot="9193773">
            <a:off x="8991739" y="747992"/>
            <a:ext cx="2358816" cy="2358816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grpSp>
        <p:nvGrpSpPr>
          <p:cNvPr id="131" name="Группа 130">
            <a:extLst>
              <a:ext uri="{FF2B5EF4-FFF2-40B4-BE49-F238E27FC236}">
                <a16:creationId xmlns:a16="http://schemas.microsoft.com/office/drawing/2014/main" id="{2770D4D5-1820-72ED-25AB-A0F6275BC2E0}"/>
              </a:ext>
            </a:extLst>
          </p:cNvPr>
          <p:cNvGrpSpPr/>
          <p:nvPr/>
        </p:nvGrpSpPr>
        <p:grpSpPr>
          <a:xfrm>
            <a:off x="-3608961" y="1440722"/>
            <a:ext cx="4439311" cy="1479765"/>
            <a:chOff x="230964" y="1440722"/>
            <a:chExt cx="4439311" cy="1479765"/>
          </a:xfrm>
        </p:grpSpPr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5105D9A0-25C6-5C57-19C9-B41484FEE4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133" name="Straight Connector 85">
              <a:extLst>
                <a:ext uri="{FF2B5EF4-FFF2-40B4-BE49-F238E27FC236}">
                  <a16:creationId xmlns:a16="http://schemas.microsoft.com/office/drawing/2014/main" id="{34CF0653-C968-CF7F-C9D0-52ADFA106DD0}"/>
                </a:ext>
              </a:extLst>
            </p:cNvPr>
            <p:cNvCxnSpPr>
              <a:cxnSpLocks/>
            </p:cNvCxnSpPr>
            <p:nvPr/>
          </p:nvCxnSpPr>
          <p:spPr>
            <a:xfrm>
              <a:off x="643370" y="2920487"/>
              <a:ext cx="2404872" cy="0"/>
            </a:xfrm>
            <a:prstGeom prst="line">
              <a:avLst/>
            </a:prstGeom>
            <a:ln w="25400">
              <a:gradFill flip="none" rotWithShape="1">
                <a:gsLst>
                  <a:gs pos="100000">
                    <a:srgbClr val="620CD2">
                      <a:alpha val="0"/>
                    </a:srgbClr>
                  </a:gs>
                  <a:gs pos="0">
                    <a:srgbClr val="620CEA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891F11EB-CF06-8656-D1CD-C6351568B5E0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бработка </a:t>
              </a:r>
              <a:b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потенциальных</a:t>
              </a:r>
              <a:b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лиентов</a:t>
              </a:r>
              <a:endParaRPr lang="ru-RU" sz="2400" dirty="0">
                <a:effectLst/>
                <a:latin typeface="Unbounde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35" name="!!Oval 131">
            <a:extLst>
              <a:ext uri="{FF2B5EF4-FFF2-40B4-BE49-F238E27FC236}">
                <a16:creationId xmlns:a16="http://schemas.microsoft.com/office/drawing/2014/main" id="{A5A471C8-8BF0-05F7-64C3-7121E2865C8D}"/>
              </a:ext>
            </a:extLst>
          </p:cNvPr>
          <p:cNvGrpSpPr/>
          <p:nvPr/>
        </p:nvGrpSpPr>
        <p:grpSpPr>
          <a:xfrm rot="16200000">
            <a:off x="5306534" y="-1280733"/>
            <a:ext cx="1118862" cy="460071"/>
            <a:chOff x="5170912" y="1177870"/>
            <a:chExt cx="1846174" cy="759138"/>
          </a:xfrm>
        </p:grpSpPr>
        <p:sp>
          <p:nvSpPr>
            <p:cNvPr id="136" name="Freeform 5">
              <a:extLst>
                <a:ext uri="{FF2B5EF4-FFF2-40B4-BE49-F238E27FC236}">
                  <a16:creationId xmlns:a16="http://schemas.microsoft.com/office/drawing/2014/main" id="{BF9680CB-E341-B8A5-C439-499161C9D1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4916" y="1177870"/>
              <a:ext cx="1842169" cy="573607"/>
            </a:xfrm>
            <a:custGeom>
              <a:avLst/>
              <a:gdLst>
                <a:gd name="T0" fmla="*/ 195 w 390"/>
                <a:gd name="T1" fmla="*/ 0 h 105"/>
                <a:gd name="T2" fmla="*/ 0 w 390"/>
                <a:gd name="T3" fmla="*/ 53 h 105"/>
                <a:gd name="T4" fmla="*/ 10 w 390"/>
                <a:gd name="T5" fmla="*/ 69 h 105"/>
                <a:gd name="T6" fmla="*/ 100 w 390"/>
                <a:gd name="T7" fmla="*/ 98 h 105"/>
                <a:gd name="T8" fmla="*/ 195 w 390"/>
                <a:gd name="T9" fmla="*/ 105 h 105"/>
                <a:gd name="T10" fmla="*/ 290 w 390"/>
                <a:gd name="T11" fmla="*/ 98 h 105"/>
                <a:gd name="T12" fmla="*/ 380 w 390"/>
                <a:gd name="T13" fmla="*/ 69 h 105"/>
                <a:gd name="T14" fmla="*/ 390 w 390"/>
                <a:gd name="T15" fmla="*/ 53 h 105"/>
                <a:gd name="T16" fmla="*/ 195 w 390"/>
                <a:gd name="T1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05">
                  <a:moveTo>
                    <a:pt x="195" y="0"/>
                  </a:moveTo>
                  <a:cubicBezTo>
                    <a:pt x="87" y="0"/>
                    <a:pt x="0" y="24"/>
                    <a:pt x="0" y="53"/>
                  </a:cubicBezTo>
                  <a:cubicBezTo>
                    <a:pt x="0" y="58"/>
                    <a:pt x="3" y="64"/>
                    <a:pt x="10" y="69"/>
                  </a:cubicBezTo>
                  <a:cubicBezTo>
                    <a:pt x="25" y="82"/>
                    <a:pt x="58" y="92"/>
                    <a:pt x="100" y="98"/>
                  </a:cubicBezTo>
                  <a:cubicBezTo>
                    <a:pt x="128" y="103"/>
                    <a:pt x="160" y="105"/>
                    <a:pt x="195" y="105"/>
                  </a:cubicBezTo>
                  <a:cubicBezTo>
                    <a:pt x="229" y="105"/>
                    <a:pt x="262" y="103"/>
                    <a:pt x="290" y="98"/>
                  </a:cubicBezTo>
                  <a:cubicBezTo>
                    <a:pt x="332" y="92"/>
                    <a:pt x="364" y="82"/>
                    <a:pt x="380" y="69"/>
                  </a:cubicBezTo>
                  <a:cubicBezTo>
                    <a:pt x="386" y="64"/>
                    <a:pt x="390" y="58"/>
                    <a:pt x="390" y="53"/>
                  </a:cubicBezTo>
                  <a:cubicBezTo>
                    <a:pt x="390" y="24"/>
                    <a:pt x="302" y="0"/>
                    <a:pt x="195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6">
              <a:extLst>
                <a:ext uri="{FF2B5EF4-FFF2-40B4-BE49-F238E27FC236}">
                  <a16:creationId xmlns:a16="http://schemas.microsoft.com/office/drawing/2014/main" id="{94034F3B-985A-5FFD-7086-8D6168932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912" y="1466992"/>
              <a:ext cx="1846174" cy="470016"/>
            </a:xfrm>
            <a:custGeom>
              <a:avLst/>
              <a:gdLst>
                <a:gd name="T0" fmla="*/ 391 w 391"/>
                <a:gd name="T1" fmla="*/ 30 h 86"/>
                <a:gd name="T2" fmla="*/ 391 w 391"/>
                <a:gd name="T3" fmla="*/ 0 h 86"/>
                <a:gd name="T4" fmla="*/ 381 w 391"/>
                <a:gd name="T5" fmla="*/ 16 h 86"/>
                <a:gd name="T6" fmla="*/ 291 w 391"/>
                <a:gd name="T7" fmla="*/ 45 h 86"/>
                <a:gd name="T8" fmla="*/ 196 w 391"/>
                <a:gd name="T9" fmla="*/ 52 h 86"/>
                <a:gd name="T10" fmla="*/ 101 w 391"/>
                <a:gd name="T11" fmla="*/ 45 h 86"/>
                <a:gd name="T12" fmla="*/ 11 w 391"/>
                <a:gd name="T13" fmla="*/ 16 h 86"/>
                <a:gd name="T14" fmla="*/ 1 w 391"/>
                <a:gd name="T15" fmla="*/ 0 h 86"/>
                <a:gd name="T16" fmla="*/ 1 w 391"/>
                <a:gd name="T17" fmla="*/ 30 h 86"/>
                <a:gd name="T18" fmla="*/ 0 w 391"/>
                <a:gd name="T19" fmla="*/ 33 h 86"/>
                <a:gd name="T20" fmla="*/ 21 w 391"/>
                <a:gd name="T21" fmla="*/ 57 h 86"/>
                <a:gd name="T22" fmla="*/ 101 w 391"/>
                <a:gd name="T23" fmla="*/ 79 h 86"/>
                <a:gd name="T24" fmla="*/ 196 w 391"/>
                <a:gd name="T25" fmla="*/ 86 h 86"/>
                <a:gd name="T26" fmla="*/ 290 w 391"/>
                <a:gd name="T27" fmla="*/ 79 h 86"/>
                <a:gd name="T28" fmla="*/ 371 w 391"/>
                <a:gd name="T29" fmla="*/ 57 h 86"/>
                <a:gd name="T30" fmla="*/ 391 w 391"/>
                <a:gd name="T31" fmla="*/ 33 h 86"/>
                <a:gd name="T32" fmla="*/ 391 w 391"/>
                <a:gd name="T33" fmla="*/ 3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1" h="86">
                  <a:moveTo>
                    <a:pt x="391" y="30"/>
                  </a:moveTo>
                  <a:cubicBezTo>
                    <a:pt x="391" y="0"/>
                    <a:pt x="391" y="0"/>
                    <a:pt x="391" y="0"/>
                  </a:cubicBezTo>
                  <a:cubicBezTo>
                    <a:pt x="391" y="5"/>
                    <a:pt x="387" y="11"/>
                    <a:pt x="381" y="16"/>
                  </a:cubicBezTo>
                  <a:cubicBezTo>
                    <a:pt x="365" y="29"/>
                    <a:pt x="333" y="39"/>
                    <a:pt x="291" y="45"/>
                  </a:cubicBezTo>
                  <a:cubicBezTo>
                    <a:pt x="263" y="50"/>
                    <a:pt x="230" y="52"/>
                    <a:pt x="196" y="52"/>
                  </a:cubicBezTo>
                  <a:cubicBezTo>
                    <a:pt x="161" y="52"/>
                    <a:pt x="129" y="50"/>
                    <a:pt x="101" y="45"/>
                  </a:cubicBezTo>
                  <a:cubicBezTo>
                    <a:pt x="59" y="39"/>
                    <a:pt x="26" y="29"/>
                    <a:pt x="11" y="16"/>
                  </a:cubicBezTo>
                  <a:cubicBezTo>
                    <a:pt x="4" y="11"/>
                    <a:pt x="1" y="5"/>
                    <a:pt x="1" y="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1"/>
                    <a:pt x="0" y="32"/>
                    <a:pt x="0" y="33"/>
                  </a:cubicBezTo>
                  <a:cubicBezTo>
                    <a:pt x="0" y="42"/>
                    <a:pt x="7" y="49"/>
                    <a:pt x="21" y="57"/>
                  </a:cubicBezTo>
                  <a:cubicBezTo>
                    <a:pt x="38" y="66"/>
                    <a:pt x="66" y="74"/>
                    <a:pt x="101" y="79"/>
                  </a:cubicBezTo>
                  <a:cubicBezTo>
                    <a:pt x="129" y="83"/>
                    <a:pt x="161" y="86"/>
                    <a:pt x="196" y="86"/>
                  </a:cubicBezTo>
                  <a:cubicBezTo>
                    <a:pt x="230" y="86"/>
                    <a:pt x="262" y="83"/>
                    <a:pt x="290" y="79"/>
                  </a:cubicBezTo>
                  <a:cubicBezTo>
                    <a:pt x="325" y="74"/>
                    <a:pt x="353" y="66"/>
                    <a:pt x="371" y="57"/>
                  </a:cubicBezTo>
                  <a:cubicBezTo>
                    <a:pt x="384" y="49"/>
                    <a:pt x="391" y="42"/>
                    <a:pt x="391" y="33"/>
                  </a:cubicBezTo>
                  <a:cubicBezTo>
                    <a:pt x="391" y="32"/>
                    <a:pt x="391" y="31"/>
                    <a:pt x="391" y="30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35766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1.11111E-6 L 0.06576 1.11111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30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5000" fill="hold"/>
                                        <p:tgtEl>
                                          <p:spTgt spid="12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30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5000" fill="hold"/>
                                        <p:tgtEl>
                                          <p:spTgt spid="13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9167E-6 4.44444E-6 L 0.06575 4.44444E-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9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4" grpId="0"/>
      <p:bldP spid="126" grpId="0" animBg="1"/>
      <p:bldP spid="126" grpId="1" animBg="1"/>
      <p:bldP spid="130" grpId="0" animBg="1"/>
      <p:bldP spid="130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8" name="Рисунок 3">
            <a:extLst>
              <a:ext uri="{FF2B5EF4-FFF2-40B4-BE49-F238E27FC236}">
                <a16:creationId xmlns:a16="http://schemas.microsoft.com/office/drawing/2014/main" id="{B63F4BEE-48AE-F06A-6DA6-C8982BFE428C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306BE464-478F-81B6-3B64-29F8F5EF6AB8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86F94626-DE5D-5CDE-C5AB-08EC87502FA9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27D32363-4996-BC63-62AD-37B68BDCEF3B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0CF7CFDB-7A74-EC0A-6085-A444E06E742E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6612FEDD-013B-92AC-4475-870F7116F32C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B2EBED1A-9481-C73D-3E09-821A49346615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AD1CBA0D-CF7C-181F-0780-454F30ADFE2C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29262002-7FA6-242C-1F7F-5498AD6537FA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B1BADB8A-087E-8EF7-C819-4DA4B76178C8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E75AA717-1E66-FF94-A1E7-B9B27F4A6897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46F477F9-AF6E-52E4-CB25-A418271737C3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1" name="!!Oval 131">
            <a:extLst>
              <a:ext uri="{FF2B5EF4-FFF2-40B4-BE49-F238E27FC236}">
                <a16:creationId xmlns:a16="http://schemas.microsoft.com/office/drawing/2014/main" id="{4245BDFE-C8E8-07C6-A46D-D232960778D2}"/>
              </a:ext>
            </a:extLst>
          </p:cNvPr>
          <p:cNvGrpSpPr/>
          <p:nvPr/>
        </p:nvGrpSpPr>
        <p:grpSpPr>
          <a:xfrm>
            <a:off x="5170912" y="1177870"/>
            <a:ext cx="1846174" cy="759138"/>
            <a:chOff x="5170912" y="1177870"/>
            <a:chExt cx="1846174" cy="759138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0C1C4287-4318-F0FF-B328-5E46695B9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4916" y="1177870"/>
              <a:ext cx="1842169" cy="573607"/>
            </a:xfrm>
            <a:custGeom>
              <a:avLst/>
              <a:gdLst>
                <a:gd name="T0" fmla="*/ 195 w 390"/>
                <a:gd name="T1" fmla="*/ 0 h 105"/>
                <a:gd name="T2" fmla="*/ 0 w 390"/>
                <a:gd name="T3" fmla="*/ 53 h 105"/>
                <a:gd name="T4" fmla="*/ 10 w 390"/>
                <a:gd name="T5" fmla="*/ 69 h 105"/>
                <a:gd name="T6" fmla="*/ 100 w 390"/>
                <a:gd name="T7" fmla="*/ 98 h 105"/>
                <a:gd name="T8" fmla="*/ 195 w 390"/>
                <a:gd name="T9" fmla="*/ 105 h 105"/>
                <a:gd name="T10" fmla="*/ 290 w 390"/>
                <a:gd name="T11" fmla="*/ 98 h 105"/>
                <a:gd name="T12" fmla="*/ 380 w 390"/>
                <a:gd name="T13" fmla="*/ 69 h 105"/>
                <a:gd name="T14" fmla="*/ 390 w 390"/>
                <a:gd name="T15" fmla="*/ 53 h 105"/>
                <a:gd name="T16" fmla="*/ 195 w 390"/>
                <a:gd name="T1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05">
                  <a:moveTo>
                    <a:pt x="195" y="0"/>
                  </a:moveTo>
                  <a:cubicBezTo>
                    <a:pt x="87" y="0"/>
                    <a:pt x="0" y="24"/>
                    <a:pt x="0" y="53"/>
                  </a:cubicBezTo>
                  <a:cubicBezTo>
                    <a:pt x="0" y="58"/>
                    <a:pt x="3" y="64"/>
                    <a:pt x="10" y="69"/>
                  </a:cubicBezTo>
                  <a:cubicBezTo>
                    <a:pt x="25" y="82"/>
                    <a:pt x="58" y="92"/>
                    <a:pt x="100" y="98"/>
                  </a:cubicBezTo>
                  <a:cubicBezTo>
                    <a:pt x="128" y="103"/>
                    <a:pt x="160" y="105"/>
                    <a:pt x="195" y="105"/>
                  </a:cubicBezTo>
                  <a:cubicBezTo>
                    <a:pt x="229" y="105"/>
                    <a:pt x="262" y="103"/>
                    <a:pt x="290" y="98"/>
                  </a:cubicBezTo>
                  <a:cubicBezTo>
                    <a:pt x="332" y="92"/>
                    <a:pt x="364" y="82"/>
                    <a:pt x="380" y="69"/>
                  </a:cubicBezTo>
                  <a:cubicBezTo>
                    <a:pt x="386" y="64"/>
                    <a:pt x="390" y="58"/>
                    <a:pt x="390" y="53"/>
                  </a:cubicBezTo>
                  <a:cubicBezTo>
                    <a:pt x="390" y="24"/>
                    <a:pt x="302" y="0"/>
                    <a:pt x="195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0FEED456-374C-3949-CBC0-E41F3D9A6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912" y="1466992"/>
              <a:ext cx="1846174" cy="470016"/>
            </a:xfrm>
            <a:custGeom>
              <a:avLst/>
              <a:gdLst>
                <a:gd name="T0" fmla="*/ 391 w 391"/>
                <a:gd name="T1" fmla="*/ 30 h 86"/>
                <a:gd name="T2" fmla="*/ 391 w 391"/>
                <a:gd name="T3" fmla="*/ 0 h 86"/>
                <a:gd name="T4" fmla="*/ 381 w 391"/>
                <a:gd name="T5" fmla="*/ 16 h 86"/>
                <a:gd name="T6" fmla="*/ 291 w 391"/>
                <a:gd name="T7" fmla="*/ 45 h 86"/>
                <a:gd name="T8" fmla="*/ 196 w 391"/>
                <a:gd name="T9" fmla="*/ 52 h 86"/>
                <a:gd name="T10" fmla="*/ 101 w 391"/>
                <a:gd name="T11" fmla="*/ 45 h 86"/>
                <a:gd name="T12" fmla="*/ 11 w 391"/>
                <a:gd name="T13" fmla="*/ 16 h 86"/>
                <a:gd name="T14" fmla="*/ 1 w 391"/>
                <a:gd name="T15" fmla="*/ 0 h 86"/>
                <a:gd name="T16" fmla="*/ 1 w 391"/>
                <a:gd name="T17" fmla="*/ 30 h 86"/>
                <a:gd name="T18" fmla="*/ 0 w 391"/>
                <a:gd name="T19" fmla="*/ 33 h 86"/>
                <a:gd name="T20" fmla="*/ 21 w 391"/>
                <a:gd name="T21" fmla="*/ 57 h 86"/>
                <a:gd name="T22" fmla="*/ 101 w 391"/>
                <a:gd name="T23" fmla="*/ 79 h 86"/>
                <a:gd name="T24" fmla="*/ 196 w 391"/>
                <a:gd name="T25" fmla="*/ 86 h 86"/>
                <a:gd name="T26" fmla="*/ 290 w 391"/>
                <a:gd name="T27" fmla="*/ 79 h 86"/>
                <a:gd name="T28" fmla="*/ 371 w 391"/>
                <a:gd name="T29" fmla="*/ 57 h 86"/>
                <a:gd name="T30" fmla="*/ 391 w 391"/>
                <a:gd name="T31" fmla="*/ 33 h 86"/>
                <a:gd name="T32" fmla="*/ 391 w 391"/>
                <a:gd name="T33" fmla="*/ 3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1" h="86">
                  <a:moveTo>
                    <a:pt x="391" y="30"/>
                  </a:moveTo>
                  <a:cubicBezTo>
                    <a:pt x="391" y="0"/>
                    <a:pt x="391" y="0"/>
                    <a:pt x="391" y="0"/>
                  </a:cubicBezTo>
                  <a:cubicBezTo>
                    <a:pt x="391" y="5"/>
                    <a:pt x="387" y="11"/>
                    <a:pt x="381" y="16"/>
                  </a:cubicBezTo>
                  <a:cubicBezTo>
                    <a:pt x="365" y="29"/>
                    <a:pt x="333" y="39"/>
                    <a:pt x="291" y="45"/>
                  </a:cubicBezTo>
                  <a:cubicBezTo>
                    <a:pt x="263" y="50"/>
                    <a:pt x="230" y="52"/>
                    <a:pt x="196" y="52"/>
                  </a:cubicBezTo>
                  <a:cubicBezTo>
                    <a:pt x="161" y="52"/>
                    <a:pt x="129" y="50"/>
                    <a:pt x="101" y="45"/>
                  </a:cubicBezTo>
                  <a:cubicBezTo>
                    <a:pt x="59" y="39"/>
                    <a:pt x="26" y="29"/>
                    <a:pt x="11" y="16"/>
                  </a:cubicBezTo>
                  <a:cubicBezTo>
                    <a:pt x="4" y="11"/>
                    <a:pt x="1" y="5"/>
                    <a:pt x="1" y="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1"/>
                    <a:pt x="0" y="32"/>
                    <a:pt x="0" y="33"/>
                  </a:cubicBezTo>
                  <a:cubicBezTo>
                    <a:pt x="0" y="42"/>
                    <a:pt x="7" y="49"/>
                    <a:pt x="21" y="57"/>
                  </a:cubicBezTo>
                  <a:cubicBezTo>
                    <a:pt x="38" y="66"/>
                    <a:pt x="66" y="74"/>
                    <a:pt x="101" y="79"/>
                  </a:cubicBezTo>
                  <a:cubicBezTo>
                    <a:pt x="129" y="83"/>
                    <a:pt x="161" y="86"/>
                    <a:pt x="196" y="86"/>
                  </a:cubicBezTo>
                  <a:cubicBezTo>
                    <a:pt x="230" y="86"/>
                    <a:pt x="262" y="83"/>
                    <a:pt x="290" y="79"/>
                  </a:cubicBezTo>
                  <a:cubicBezTo>
                    <a:pt x="325" y="74"/>
                    <a:pt x="353" y="66"/>
                    <a:pt x="371" y="57"/>
                  </a:cubicBezTo>
                  <a:cubicBezTo>
                    <a:pt x="384" y="49"/>
                    <a:pt x="391" y="42"/>
                    <a:pt x="391" y="33"/>
                  </a:cubicBezTo>
                  <a:cubicBezTo>
                    <a:pt x="391" y="32"/>
                    <a:pt x="391" y="31"/>
                    <a:pt x="391" y="30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A0084A9-34C2-AE3C-8834-2E072324A228}"/>
              </a:ext>
            </a:extLst>
          </p:cNvPr>
          <p:cNvGrpSpPr/>
          <p:nvPr/>
        </p:nvGrpSpPr>
        <p:grpSpPr>
          <a:xfrm>
            <a:off x="4685006" y="7442170"/>
            <a:ext cx="2817984" cy="974047"/>
            <a:chOff x="4685006" y="1779306"/>
            <a:chExt cx="2817984" cy="974047"/>
          </a:xfrm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64177196-523E-63F2-0869-F20F1E037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1779306"/>
              <a:ext cx="2817984" cy="786969"/>
            </a:xfrm>
            <a:custGeom>
              <a:avLst/>
              <a:gdLst>
                <a:gd name="T0" fmla="*/ 474 w 597"/>
                <a:gd name="T1" fmla="*/ 0 h 144"/>
                <a:gd name="T2" fmla="*/ 393 w 597"/>
                <a:gd name="T3" fmla="*/ 22 h 144"/>
                <a:gd name="T4" fmla="*/ 299 w 597"/>
                <a:gd name="T5" fmla="*/ 29 h 144"/>
                <a:gd name="T6" fmla="*/ 204 w 597"/>
                <a:gd name="T7" fmla="*/ 22 h 144"/>
                <a:gd name="T8" fmla="*/ 124 w 597"/>
                <a:gd name="T9" fmla="*/ 0 h 144"/>
                <a:gd name="T10" fmla="*/ 0 w 597"/>
                <a:gd name="T11" fmla="*/ 64 h 144"/>
                <a:gd name="T12" fmla="*/ 7 w 597"/>
                <a:gd name="T13" fmla="*/ 81 h 144"/>
                <a:gd name="T14" fmla="*/ 41 w 597"/>
                <a:gd name="T15" fmla="*/ 104 h 144"/>
                <a:gd name="T16" fmla="*/ 122 w 597"/>
                <a:gd name="T17" fmla="*/ 128 h 144"/>
                <a:gd name="T18" fmla="*/ 299 w 597"/>
                <a:gd name="T19" fmla="*/ 144 h 144"/>
                <a:gd name="T20" fmla="*/ 476 w 597"/>
                <a:gd name="T21" fmla="*/ 128 h 144"/>
                <a:gd name="T22" fmla="*/ 556 w 597"/>
                <a:gd name="T23" fmla="*/ 104 h 144"/>
                <a:gd name="T24" fmla="*/ 590 w 597"/>
                <a:gd name="T25" fmla="*/ 81 h 144"/>
                <a:gd name="T26" fmla="*/ 597 w 597"/>
                <a:gd name="T27" fmla="*/ 64 h 144"/>
                <a:gd name="T28" fmla="*/ 474 w 597"/>
                <a:gd name="T29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7" h="144">
                  <a:moveTo>
                    <a:pt x="474" y="0"/>
                  </a:moveTo>
                  <a:cubicBezTo>
                    <a:pt x="456" y="9"/>
                    <a:pt x="428" y="17"/>
                    <a:pt x="393" y="22"/>
                  </a:cubicBezTo>
                  <a:cubicBezTo>
                    <a:pt x="365" y="26"/>
                    <a:pt x="333" y="29"/>
                    <a:pt x="299" y="29"/>
                  </a:cubicBezTo>
                  <a:cubicBezTo>
                    <a:pt x="264" y="29"/>
                    <a:pt x="232" y="26"/>
                    <a:pt x="204" y="22"/>
                  </a:cubicBezTo>
                  <a:cubicBezTo>
                    <a:pt x="169" y="17"/>
                    <a:pt x="141" y="9"/>
                    <a:pt x="124" y="0"/>
                  </a:cubicBezTo>
                  <a:cubicBezTo>
                    <a:pt x="49" y="14"/>
                    <a:pt x="0" y="38"/>
                    <a:pt x="0" y="64"/>
                  </a:cubicBezTo>
                  <a:cubicBezTo>
                    <a:pt x="0" y="70"/>
                    <a:pt x="3" y="76"/>
                    <a:pt x="7" y="81"/>
                  </a:cubicBezTo>
                  <a:cubicBezTo>
                    <a:pt x="14" y="89"/>
                    <a:pt x="25" y="97"/>
                    <a:pt x="41" y="104"/>
                  </a:cubicBezTo>
                  <a:cubicBezTo>
                    <a:pt x="62" y="114"/>
                    <a:pt x="89" y="122"/>
                    <a:pt x="122" y="128"/>
                  </a:cubicBezTo>
                  <a:cubicBezTo>
                    <a:pt x="171" y="138"/>
                    <a:pt x="232" y="144"/>
                    <a:pt x="299" y="144"/>
                  </a:cubicBezTo>
                  <a:cubicBezTo>
                    <a:pt x="365" y="144"/>
                    <a:pt x="426" y="138"/>
                    <a:pt x="476" y="128"/>
                  </a:cubicBezTo>
                  <a:cubicBezTo>
                    <a:pt x="508" y="122"/>
                    <a:pt x="536" y="114"/>
                    <a:pt x="556" y="104"/>
                  </a:cubicBezTo>
                  <a:cubicBezTo>
                    <a:pt x="572" y="97"/>
                    <a:pt x="584" y="89"/>
                    <a:pt x="590" y="81"/>
                  </a:cubicBezTo>
                  <a:cubicBezTo>
                    <a:pt x="595" y="76"/>
                    <a:pt x="597" y="70"/>
                    <a:pt x="597" y="64"/>
                  </a:cubicBezTo>
                  <a:cubicBezTo>
                    <a:pt x="597" y="38"/>
                    <a:pt x="548" y="14"/>
                    <a:pt x="47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6B728246-8BD5-22C5-BA41-6F3E6F9AC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2128726"/>
              <a:ext cx="2817984" cy="624627"/>
            </a:xfrm>
            <a:custGeom>
              <a:avLst/>
              <a:gdLst>
                <a:gd name="T0" fmla="*/ 590 w 597"/>
                <a:gd name="T1" fmla="*/ 17 h 114"/>
                <a:gd name="T2" fmla="*/ 556 w 597"/>
                <a:gd name="T3" fmla="*/ 40 h 114"/>
                <a:gd name="T4" fmla="*/ 476 w 597"/>
                <a:gd name="T5" fmla="*/ 64 h 114"/>
                <a:gd name="T6" fmla="*/ 299 w 597"/>
                <a:gd name="T7" fmla="*/ 80 h 114"/>
                <a:gd name="T8" fmla="*/ 122 w 597"/>
                <a:gd name="T9" fmla="*/ 64 h 114"/>
                <a:gd name="T10" fmla="*/ 41 w 597"/>
                <a:gd name="T11" fmla="*/ 40 h 114"/>
                <a:gd name="T12" fmla="*/ 7 w 597"/>
                <a:gd name="T13" fmla="*/ 17 h 114"/>
                <a:gd name="T14" fmla="*/ 0 w 597"/>
                <a:gd name="T15" fmla="*/ 0 h 114"/>
                <a:gd name="T16" fmla="*/ 0 w 597"/>
                <a:gd name="T17" fmla="*/ 34 h 114"/>
                <a:gd name="T18" fmla="*/ 6 w 597"/>
                <a:gd name="T19" fmla="*/ 49 h 114"/>
                <a:gd name="T20" fmla="*/ 47 w 597"/>
                <a:gd name="T21" fmla="*/ 77 h 114"/>
                <a:gd name="T22" fmla="*/ 181 w 597"/>
                <a:gd name="T23" fmla="*/ 107 h 114"/>
                <a:gd name="T24" fmla="*/ 299 w 597"/>
                <a:gd name="T25" fmla="*/ 114 h 114"/>
                <a:gd name="T26" fmla="*/ 417 w 597"/>
                <a:gd name="T27" fmla="*/ 107 h 114"/>
                <a:gd name="T28" fmla="*/ 550 w 597"/>
                <a:gd name="T29" fmla="*/ 77 h 114"/>
                <a:gd name="T30" fmla="*/ 591 w 597"/>
                <a:gd name="T31" fmla="*/ 49 h 114"/>
                <a:gd name="T32" fmla="*/ 597 w 597"/>
                <a:gd name="T33" fmla="*/ 34 h 114"/>
                <a:gd name="T34" fmla="*/ 597 w 597"/>
                <a:gd name="T35" fmla="*/ 0 h 114"/>
                <a:gd name="T36" fmla="*/ 590 w 597"/>
                <a:gd name="T37" fmla="*/ 1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7" h="114">
                  <a:moveTo>
                    <a:pt x="590" y="17"/>
                  </a:moveTo>
                  <a:cubicBezTo>
                    <a:pt x="584" y="25"/>
                    <a:pt x="572" y="33"/>
                    <a:pt x="556" y="40"/>
                  </a:cubicBezTo>
                  <a:cubicBezTo>
                    <a:pt x="536" y="50"/>
                    <a:pt x="508" y="58"/>
                    <a:pt x="476" y="64"/>
                  </a:cubicBezTo>
                  <a:cubicBezTo>
                    <a:pt x="426" y="74"/>
                    <a:pt x="365" y="80"/>
                    <a:pt x="299" y="80"/>
                  </a:cubicBezTo>
                  <a:cubicBezTo>
                    <a:pt x="232" y="80"/>
                    <a:pt x="171" y="74"/>
                    <a:pt x="122" y="64"/>
                  </a:cubicBezTo>
                  <a:cubicBezTo>
                    <a:pt x="89" y="58"/>
                    <a:pt x="62" y="50"/>
                    <a:pt x="41" y="40"/>
                  </a:cubicBezTo>
                  <a:cubicBezTo>
                    <a:pt x="25" y="33"/>
                    <a:pt x="14" y="25"/>
                    <a:pt x="7" y="17"/>
                  </a:cubicBezTo>
                  <a:cubicBezTo>
                    <a:pt x="3" y="12"/>
                    <a:pt x="0" y="6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9"/>
                    <a:pt x="2" y="44"/>
                    <a:pt x="6" y="49"/>
                  </a:cubicBezTo>
                  <a:cubicBezTo>
                    <a:pt x="13" y="59"/>
                    <a:pt x="28" y="69"/>
                    <a:pt x="47" y="77"/>
                  </a:cubicBezTo>
                  <a:cubicBezTo>
                    <a:pt x="79" y="90"/>
                    <a:pt x="126" y="101"/>
                    <a:pt x="181" y="107"/>
                  </a:cubicBezTo>
                  <a:cubicBezTo>
                    <a:pt x="217" y="111"/>
                    <a:pt x="257" y="114"/>
                    <a:pt x="299" y="114"/>
                  </a:cubicBezTo>
                  <a:cubicBezTo>
                    <a:pt x="341" y="114"/>
                    <a:pt x="380" y="111"/>
                    <a:pt x="417" y="107"/>
                  </a:cubicBezTo>
                  <a:cubicBezTo>
                    <a:pt x="471" y="101"/>
                    <a:pt x="518" y="90"/>
                    <a:pt x="550" y="77"/>
                  </a:cubicBezTo>
                  <a:cubicBezTo>
                    <a:pt x="570" y="69"/>
                    <a:pt x="584" y="59"/>
                    <a:pt x="591" y="49"/>
                  </a:cubicBezTo>
                  <a:cubicBezTo>
                    <a:pt x="595" y="44"/>
                    <a:pt x="597" y="39"/>
                    <a:pt x="597" y="34"/>
                  </a:cubicBezTo>
                  <a:cubicBezTo>
                    <a:pt x="597" y="0"/>
                    <a:pt x="597" y="0"/>
                    <a:pt x="597" y="0"/>
                  </a:cubicBezTo>
                  <a:cubicBezTo>
                    <a:pt x="597" y="6"/>
                    <a:pt x="595" y="12"/>
                    <a:pt x="590" y="17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B33D6A43-4B65-8BCD-8B0E-3574C5238FCB}"/>
              </a:ext>
            </a:extLst>
          </p:cNvPr>
          <p:cNvGrpSpPr/>
          <p:nvPr/>
        </p:nvGrpSpPr>
        <p:grpSpPr>
          <a:xfrm>
            <a:off x="4240482" y="8060612"/>
            <a:ext cx="3711034" cy="1116288"/>
            <a:chOff x="4240482" y="2397748"/>
            <a:chExt cx="3711034" cy="1116288"/>
          </a:xfrm>
        </p:grpSpPr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3CF99B6F-D029-B353-93F3-034E6103B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2397748"/>
              <a:ext cx="3711034" cy="907564"/>
            </a:xfrm>
            <a:custGeom>
              <a:avLst/>
              <a:gdLst>
                <a:gd name="T0" fmla="*/ 275 w 786"/>
                <a:gd name="T1" fmla="*/ 58 h 166"/>
                <a:gd name="T2" fmla="*/ 141 w 786"/>
                <a:gd name="T3" fmla="*/ 28 h 166"/>
                <a:gd name="T4" fmla="*/ 100 w 786"/>
                <a:gd name="T5" fmla="*/ 0 h 166"/>
                <a:gd name="T6" fmla="*/ 0 w 786"/>
                <a:gd name="T7" fmla="*/ 67 h 166"/>
                <a:gd name="T8" fmla="*/ 7 w 786"/>
                <a:gd name="T9" fmla="*/ 86 h 166"/>
                <a:gd name="T10" fmla="*/ 19 w 786"/>
                <a:gd name="T11" fmla="*/ 97 h 166"/>
                <a:gd name="T12" fmla="*/ 68 w 786"/>
                <a:gd name="T13" fmla="*/ 123 h 166"/>
                <a:gd name="T14" fmla="*/ 393 w 786"/>
                <a:gd name="T15" fmla="*/ 166 h 166"/>
                <a:gd name="T16" fmla="*/ 718 w 786"/>
                <a:gd name="T17" fmla="*/ 123 h 166"/>
                <a:gd name="T18" fmla="*/ 767 w 786"/>
                <a:gd name="T19" fmla="*/ 97 h 166"/>
                <a:gd name="T20" fmla="*/ 779 w 786"/>
                <a:gd name="T21" fmla="*/ 86 h 166"/>
                <a:gd name="T22" fmla="*/ 786 w 786"/>
                <a:gd name="T23" fmla="*/ 67 h 166"/>
                <a:gd name="T24" fmla="*/ 685 w 786"/>
                <a:gd name="T25" fmla="*/ 0 h 166"/>
                <a:gd name="T26" fmla="*/ 644 w 786"/>
                <a:gd name="T27" fmla="*/ 28 h 166"/>
                <a:gd name="T28" fmla="*/ 511 w 786"/>
                <a:gd name="T29" fmla="*/ 58 h 166"/>
                <a:gd name="T30" fmla="*/ 393 w 786"/>
                <a:gd name="T31" fmla="*/ 65 h 166"/>
                <a:gd name="T32" fmla="*/ 275 w 786"/>
                <a:gd name="T33" fmla="*/ 58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6" h="166">
                  <a:moveTo>
                    <a:pt x="275" y="58"/>
                  </a:moveTo>
                  <a:cubicBezTo>
                    <a:pt x="220" y="52"/>
                    <a:pt x="173" y="41"/>
                    <a:pt x="141" y="28"/>
                  </a:cubicBezTo>
                  <a:cubicBezTo>
                    <a:pt x="122" y="20"/>
                    <a:pt x="107" y="10"/>
                    <a:pt x="100" y="0"/>
                  </a:cubicBezTo>
                  <a:cubicBezTo>
                    <a:pt x="38" y="18"/>
                    <a:pt x="0" y="41"/>
                    <a:pt x="0" y="67"/>
                  </a:cubicBezTo>
                  <a:cubicBezTo>
                    <a:pt x="0" y="73"/>
                    <a:pt x="2" y="79"/>
                    <a:pt x="7" y="86"/>
                  </a:cubicBezTo>
                  <a:cubicBezTo>
                    <a:pt x="10" y="90"/>
                    <a:pt x="14" y="94"/>
                    <a:pt x="19" y="97"/>
                  </a:cubicBezTo>
                  <a:cubicBezTo>
                    <a:pt x="30" y="107"/>
                    <a:pt x="47" y="115"/>
                    <a:pt x="68" y="123"/>
                  </a:cubicBezTo>
                  <a:cubicBezTo>
                    <a:pt x="139" y="149"/>
                    <a:pt x="258" y="166"/>
                    <a:pt x="393" y="166"/>
                  </a:cubicBezTo>
                  <a:cubicBezTo>
                    <a:pt x="528" y="166"/>
                    <a:pt x="647" y="149"/>
                    <a:pt x="718" y="123"/>
                  </a:cubicBezTo>
                  <a:cubicBezTo>
                    <a:pt x="738" y="115"/>
                    <a:pt x="755" y="107"/>
                    <a:pt x="767" y="97"/>
                  </a:cubicBezTo>
                  <a:cubicBezTo>
                    <a:pt x="771" y="94"/>
                    <a:pt x="775" y="90"/>
                    <a:pt x="779" y="86"/>
                  </a:cubicBezTo>
                  <a:cubicBezTo>
                    <a:pt x="783" y="79"/>
                    <a:pt x="786" y="73"/>
                    <a:pt x="786" y="67"/>
                  </a:cubicBezTo>
                  <a:cubicBezTo>
                    <a:pt x="786" y="41"/>
                    <a:pt x="748" y="18"/>
                    <a:pt x="685" y="0"/>
                  </a:cubicBezTo>
                  <a:cubicBezTo>
                    <a:pt x="678" y="10"/>
                    <a:pt x="664" y="20"/>
                    <a:pt x="644" y="28"/>
                  </a:cubicBezTo>
                  <a:cubicBezTo>
                    <a:pt x="612" y="41"/>
                    <a:pt x="565" y="52"/>
                    <a:pt x="511" y="58"/>
                  </a:cubicBezTo>
                  <a:cubicBezTo>
                    <a:pt x="474" y="62"/>
                    <a:pt x="435" y="65"/>
                    <a:pt x="393" y="65"/>
                  </a:cubicBezTo>
                  <a:cubicBezTo>
                    <a:pt x="351" y="65"/>
                    <a:pt x="311" y="62"/>
                    <a:pt x="275" y="58"/>
                  </a:cubicBezTo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3DDF25D8-23A3-CF50-44E6-5C50D01C1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2764174"/>
              <a:ext cx="3711034" cy="749862"/>
            </a:xfrm>
            <a:custGeom>
              <a:avLst/>
              <a:gdLst>
                <a:gd name="T0" fmla="*/ 786 w 786"/>
                <a:gd name="T1" fmla="*/ 0 h 137"/>
                <a:gd name="T2" fmla="*/ 779 w 786"/>
                <a:gd name="T3" fmla="*/ 19 h 137"/>
                <a:gd name="T4" fmla="*/ 767 w 786"/>
                <a:gd name="T5" fmla="*/ 30 h 137"/>
                <a:gd name="T6" fmla="*/ 718 w 786"/>
                <a:gd name="T7" fmla="*/ 56 h 137"/>
                <a:gd name="T8" fmla="*/ 393 w 786"/>
                <a:gd name="T9" fmla="*/ 99 h 137"/>
                <a:gd name="T10" fmla="*/ 68 w 786"/>
                <a:gd name="T11" fmla="*/ 56 h 137"/>
                <a:gd name="T12" fmla="*/ 19 w 786"/>
                <a:gd name="T13" fmla="*/ 30 h 137"/>
                <a:gd name="T14" fmla="*/ 7 w 786"/>
                <a:gd name="T15" fmla="*/ 19 h 137"/>
                <a:gd name="T16" fmla="*/ 0 w 786"/>
                <a:gd name="T17" fmla="*/ 0 h 137"/>
                <a:gd name="T18" fmla="*/ 0 w 786"/>
                <a:gd name="T19" fmla="*/ 36 h 137"/>
                <a:gd name="T20" fmla="*/ 0 w 786"/>
                <a:gd name="T21" fmla="*/ 36 h 137"/>
                <a:gd name="T22" fmla="*/ 0 w 786"/>
                <a:gd name="T23" fmla="*/ 37 h 137"/>
                <a:gd name="T24" fmla="*/ 19 w 786"/>
                <a:gd name="T25" fmla="*/ 68 h 137"/>
                <a:gd name="T26" fmla="*/ 393 w 786"/>
                <a:gd name="T27" fmla="*/ 137 h 137"/>
                <a:gd name="T28" fmla="*/ 767 w 786"/>
                <a:gd name="T29" fmla="*/ 68 h 137"/>
                <a:gd name="T30" fmla="*/ 786 w 786"/>
                <a:gd name="T31" fmla="*/ 37 h 137"/>
                <a:gd name="T32" fmla="*/ 786 w 786"/>
                <a:gd name="T33" fmla="*/ 36 h 137"/>
                <a:gd name="T34" fmla="*/ 786 w 786"/>
                <a:gd name="T35" fmla="*/ 36 h 137"/>
                <a:gd name="T36" fmla="*/ 786 w 786"/>
                <a:gd name="T3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86" h="137">
                  <a:moveTo>
                    <a:pt x="786" y="0"/>
                  </a:moveTo>
                  <a:cubicBezTo>
                    <a:pt x="786" y="6"/>
                    <a:pt x="783" y="12"/>
                    <a:pt x="779" y="19"/>
                  </a:cubicBezTo>
                  <a:cubicBezTo>
                    <a:pt x="775" y="23"/>
                    <a:pt x="771" y="27"/>
                    <a:pt x="767" y="30"/>
                  </a:cubicBezTo>
                  <a:cubicBezTo>
                    <a:pt x="755" y="40"/>
                    <a:pt x="738" y="48"/>
                    <a:pt x="718" y="56"/>
                  </a:cubicBezTo>
                  <a:cubicBezTo>
                    <a:pt x="647" y="82"/>
                    <a:pt x="528" y="99"/>
                    <a:pt x="393" y="99"/>
                  </a:cubicBezTo>
                  <a:cubicBezTo>
                    <a:pt x="258" y="99"/>
                    <a:pt x="139" y="82"/>
                    <a:pt x="68" y="56"/>
                  </a:cubicBezTo>
                  <a:cubicBezTo>
                    <a:pt x="47" y="48"/>
                    <a:pt x="30" y="40"/>
                    <a:pt x="19" y="30"/>
                  </a:cubicBezTo>
                  <a:cubicBezTo>
                    <a:pt x="14" y="27"/>
                    <a:pt x="10" y="23"/>
                    <a:pt x="7" y="19"/>
                  </a:cubicBezTo>
                  <a:cubicBezTo>
                    <a:pt x="2" y="12"/>
                    <a:pt x="0" y="6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8"/>
                    <a:pt x="6" y="58"/>
                    <a:pt x="19" y="68"/>
                  </a:cubicBezTo>
                  <a:cubicBezTo>
                    <a:pt x="69" y="108"/>
                    <a:pt x="218" y="137"/>
                    <a:pt x="393" y="137"/>
                  </a:cubicBezTo>
                  <a:cubicBezTo>
                    <a:pt x="568" y="137"/>
                    <a:pt x="716" y="108"/>
                    <a:pt x="767" y="68"/>
                  </a:cubicBezTo>
                  <a:cubicBezTo>
                    <a:pt x="779" y="58"/>
                    <a:pt x="786" y="48"/>
                    <a:pt x="786" y="37"/>
                  </a:cubicBezTo>
                  <a:cubicBezTo>
                    <a:pt x="786" y="37"/>
                    <a:pt x="786" y="37"/>
                    <a:pt x="786" y="36"/>
                  </a:cubicBezTo>
                  <a:cubicBezTo>
                    <a:pt x="786" y="36"/>
                    <a:pt x="786" y="36"/>
                    <a:pt x="786" y="36"/>
                  </a:cubicBezTo>
                  <a:lnTo>
                    <a:pt x="786" y="0"/>
                  </a:ln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FD0D8538-71F0-0E17-F606-80C9D3B89C3F}"/>
              </a:ext>
            </a:extLst>
          </p:cNvPr>
          <p:cNvGrpSpPr/>
          <p:nvPr/>
        </p:nvGrpSpPr>
        <p:grpSpPr>
          <a:xfrm>
            <a:off x="3706521" y="8623395"/>
            <a:ext cx="4778958" cy="1379127"/>
            <a:chOff x="3706521" y="2960531"/>
            <a:chExt cx="4778958" cy="1379127"/>
          </a:xfrm>
        </p:grpSpPr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65103425-C507-75CF-C47F-09392789F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521" y="2960531"/>
              <a:ext cx="4778958" cy="1171949"/>
            </a:xfrm>
            <a:custGeom>
              <a:avLst/>
              <a:gdLst>
                <a:gd name="T0" fmla="*/ 899 w 1012"/>
                <a:gd name="T1" fmla="*/ 0 h 214"/>
                <a:gd name="T2" fmla="*/ 899 w 1012"/>
                <a:gd name="T3" fmla="*/ 1 h 214"/>
                <a:gd name="T4" fmla="*/ 880 w 1012"/>
                <a:gd name="T5" fmla="*/ 32 h 214"/>
                <a:gd name="T6" fmla="*/ 506 w 1012"/>
                <a:gd name="T7" fmla="*/ 101 h 214"/>
                <a:gd name="T8" fmla="*/ 132 w 1012"/>
                <a:gd name="T9" fmla="*/ 32 h 214"/>
                <a:gd name="T10" fmla="*/ 113 w 1012"/>
                <a:gd name="T11" fmla="*/ 1 h 214"/>
                <a:gd name="T12" fmla="*/ 113 w 1012"/>
                <a:gd name="T13" fmla="*/ 0 h 214"/>
                <a:gd name="T14" fmla="*/ 0 w 1012"/>
                <a:gd name="T15" fmla="*/ 83 h 214"/>
                <a:gd name="T16" fmla="*/ 5 w 1012"/>
                <a:gd name="T17" fmla="*/ 102 h 214"/>
                <a:gd name="T18" fmla="*/ 185 w 1012"/>
                <a:gd name="T19" fmla="*/ 185 h 214"/>
                <a:gd name="T20" fmla="*/ 257 w 1012"/>
                <a:gd name="T21" fmla="*/ 198 h 214"/>
                <a:gd name="T22" fmla="*/ 506 w 1012"/>
                <a:gd name="T23" fmla="*/ 214 h 214"/>
                <a:gd name="T24" fmla="*/ 754 w 1012"/>
                <a:gd name="T25" fmla="*/ 198 h 214"/>
                <a:gd name="T26" fmla="*/ 826 w 1012"/>
                <a:gd name="T27" fmla="*/ 185 h 214"/>
                <a:gd name="T28" fmla="*/ 1006 w 1012"/>
                <a:gd name="T29" fmla="*/ 102 h 214"/>
                <a:gd name="T30" fmla="*/ 1012 w 1012"/>
                <a:gd name="T31" fmla="*/ 83 h 214"/>
                <a:gd name="T32" fmla="*/ 899 w 1012"/>
                <a:gd name="T3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12" h="214">
                  <a:moveTo>
                    <a:pt x="899" y="0"/>
                  </a:moveTo>
                  <a:cubicBezTo>
                    <a:pt x="899" y="1"/>
                    <a:pt x="899" y="1"/>
                    <a:pt x="899" y="1"/>
                  </a:cubicBezTo>
                  <a:cubicBezTo>
                    <a:pt x="899" y="12"/>
                    <a:pt x="892" y="22"/>
                    <a:pt x="880" y="32"/>
                  </a:cubicBezTo>
                  <a:cubicBezTo>
                    <a:pt x="829" y="72"/>
                    <a:pt x="681" y="101"/>
                    <a:pt x="506" y="101"/>
                  </a:cubicBezTo>
                  <a:cubicBezTo>
                    <a:pt x="331" y="101"/>
                    <a:pt x="182" y="72"/>
                    <a:pt x="132" y="32"/>
                  </a:cubicBezTo>
                  <a:cubicBezTo>
                    <a:pt x="119" y="22"/>
                    <a:pt x="113" y="12"/>
                    <a:pt x="113" y="1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42" y="23"/>
                    <a:pt x="0" y="52"/>
                    <a:pt x="0" y="83"/>
                  </a:cubicBezTo>
                  <a:cubicBezTo>
                    <a:pt x="0" y="89"/>
                    <a:pt x="1" y="96"/>
                    <a:pt x="5" y="102"/>
                  </a:cubicBezTo>
                  <a:cubicBezTo>
                    <a:pt x="23" y="135"/>
                    <a:pt x="90" y="164"/>
                    <a:pt x="185" y="185"/>
                  </a:cubicBezTo>
                  <a:cubicBezTo>
                    <a:pt x="208" y="190"/>
                    <a:pt x="232" y="194"/>
                    <a:pt x="257" y="198"/>
                  </a:cubicBezTo>
                  <a:cubicBezTo>
                    <a:pt x="331" y="208"/>
                    <a:pt x="415" y="214"/>
                    <a:pt x="506" y="214"/>
                  </a:cubicBezTo>
                  <a:cubicBezTo>
                    <a:pt x="596" y="214"/>
                    <a:pt x="680" y="208"/>
                    <a:pt x="754" y="198"/>
                  </a:cubicBezTo>
                  <a:cubicBezTo>
                    <a:pt x="779" y="194"/>
                    <a:pt x="803" y="190"/>
                    <a:pt x="826" y="185"/>
                  </a:cubicBezTo>
                  <a:cubicBezTo>
                    <a:pt x="922" y="164"/>
                    <a:pt x="988" y="135"/>
                    <a:pt x="1006" y="102"/>
                  </a:cubicBezTo>
                  <a:cubicBezTo>
                    <a:pt x="1010" y="96"/>
                    <a:pt x="1012" y="89"/>
                    <a:pt x="1012" y="83"/>
                  </a:cubicBezTo>
                  <a:cubicBezTo>
                    <a:pt x="1012" y="52"/>
                    <a:pt x="969" y="23"/>
                    <a:pt x="899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9A421F01-E317-74A1-CEED-2945F73EC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521" y="3415086"/>
              <a:ext cx="4778958" cy="924572"/>
            </a:xfrm>
            <a:custGeom>
              <a:avLst/>
              <a:gdLst>
                <a:gd name="T0" fmla="*/ 1006 w 1012"/>
                <a:gd name="T1" fmla="*/ 19 h 169"/>
                <a:gd name="T2" fmla="*/ 826 w 1012"/>
                <a:gd name="T3" fmla="*/ 102 h 169"/>
                <a:gd name="T4" fmla="*/ 754 w 1012"/>
                <a:gd name="T5" fmla="*/ 115 h 169"/>
                <a:gd name="T6" fmla="*/ 506 w 1012"/>
                <a:gd name="T7" fmla="*/ 131 h 169"/>
                <a:gd name="T8" fmla="*/ 257 w 1012"/>
                <a:gd name="T9" fmla="*/ 115 h 169"/>
                <a:gd name="T10" fmla="*/ 185 w 1012"/>
                <a:gd name="T11" fmla="*/ 102 h 169"/>
                <a:gd name="T12" fmla="*/ 5 w 1012"/>
                <a:gd name="T13" fmla="*/ 19 h 169"/>
                <a:gd name="T14" fmla="*/ 0 w 1012"/>
                <a:gd name="T15" fmla="*/ 0 h 169"/>
                <a:gd name="T16" fmla="*/ 0 w 1012"/>
                <a:gd name="T17" fmla="*/ 38 h 169"/>
                <a:gd name="T18" fmla="*/ 134 w 1012"/>
                <a:gd name="T19" fmla="*/ 127 h 169"/>
                <a:gd name="T20" fmla="*/ 144 w 1012"/>
                <a:gd name="T21" fmla="*/ 120 h 169"/>
                <a:gd name="T22" fmla="*/ 156 w 1012"/>
                <a:gd name="T23" fmla="*/ 114 h 169"/>
                <a:gd name="T24" fmla="*/ 170 w 1012"/>
                <a:gd name="T25" fmla="*/ 108 h 169"/>
                <a:gd name="T26" fmla="*/ 156 w 1012"/>
                <a:gd name="T27" fmla="*/ 114 h 169"/>
                <a:gd name="T28" fmla="*/ 144 w 1012"/>
                <a:gd name="T29" fmla="*/ 120 h 169"/>
                <a:gd name="T30" fmla="*/ 134 w 1012"/>
                <a:gd name="T31" fmla="*/ 127 h 169"/>
                <a:gd name="T32" fmla="*/ 176 w 1012"/>
                <a:gd name="T33" fmla="*/ 137 h 169"/>
                <a:gd name="T34" fmla="*/ 506 w 1012"/>
                <a:gd name="T35" fmla="*/ 169 h 169"/>
                <a:gd name="T36" fmla="*/ 835 w 1012"/>
                <a:gd name="T37" fmla="*/ 137 h 169"/>
                <a:gd name="T38" fmla="*/ 877 w 1012"/>
                <a:gd name="T39" fmla="*/ 127 h 169"/>
                <a:gd name="T40" fmla="*/ 1012 w 1012"/>
                <a:gd name="T41" fmla="*/ 38 h 169"/>
                <a:gd name="T42" fmla="*/ 1012 w 1012"/>
                <a:gd name="T43" fmla="*/ 0 h 169"/>
                <a:gd name="T44" fmla="*/ 1006 w 1012"/>
                <a:gd name="T45" fmla="*/ 1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12" h="169">
                  <a:moveTo>
                    <a:pt x="1006" y="19"/>
                  </a:moveTo>
                  <a:cubicBezTo>
                    <a:pt x="988" y="52"/>
                    <a:pt x="922" y="81"/>
                    <a:pt x="826" y="102"/>
                  </a:cubicBezTo>
                  <a:cubicBezTo>
                    <a:pt x="803" y="107"/>
                    <a:pt x="779" y="111"/>
                    <a:pt x="754" y="115"/>
                  </a:cubicBezTo>
                  <a:cubicBezTo>
                    <a:pt x="680" y="125"/>
                    <a:pt x="596" y="131"/>
                    <a:pt x="506" y="131"/>
                  </a:cubicBezTo>
                  <a:cubicBezTo>
                    <a:pt x="415" y="131"/>
                    <a:pt x="331" y="125"/>
                    <a:pt x="257" y="115"/>
                  </a:cubicBezTo>
                  <a:cubicBezTo>
                    <a:pt x="232" y="111"/>
                    <a:pt x="208" y="107"/>
                    <a:pt x="185" y="102"/>
                  </a:cubicBezTo>
                  <a:cubicBezTo>
                    <a:pt x="90" y="81"/>
                    <a:pt x="23" y="52"/>
                    <a:pt x="5" y="19"/>
                  </a:cubicBezTo>
                  <a:cubicBezTo>
                    <a:pt x="1" y="13"/>
                    <a:pt x="0" y="6"/>
                    <a:pt x="0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72"/>
                    <a:pt x="51" y="103"/>
                    <a:pt x="134" y="127"/>
                  </a:cubicBezTo>
                  <a:cubicBezTo>
                    <a:pt x="137" y="125"/>
                    <a:pt x="141" y="122"/>
                    <a:pt x="144" y="120"/>
                  </a:cubicBezTo>
                  <a:cubicBezTo>
                    <a:pt x="148" y="118"/>
                    <a:pt x="152" y="116"/>
                    <a:pt x="156" y="114"/>
                  </a:cubicBezTo>
                  <a:cubicBezTo>
                    <a:pt x="161" y="112"/>
                    <a:pt x="165" y="110"/>
                    <a:pt x="170" y="108"/>
                  </a:cubicBezTo>
                  <a:cubicBezTo>
                    <a:pt x="165" y="110"/>
                    <a:pt x="161" y="112"/>
                    <a:pt x="156" y="114"/>
                  </a:cubicBezTo>
                  <a:cubicBezTo>
                    <a:pt x="152" y="116"/>
                    <a:pt x="148" y="118"/>
                    <a:pt x="144" y="120"/>
                  </a:cubicBezTo>
                  <a:cubicBezTo>
                    <a:pt x="141" y="122"/>
                    <a:pt x="137" y="125"/>
                    <a:pt x="134" y="127"/>
                  </a:cubicBezTo>
                  <a:cubicBezTo>
                    <a:pt x="148" y="131"/>
                    <a:pt x="162" y="134"/>
                    <a:pt x="176" y="137"/>
                  </a:cubicBezTo>
                  <a:cubicBezTo>
                    <a:pt x="265" y="157"/>
                    <a:pt x="380" y="169"/>
                    <a:pt x="506" y="169"/>
                  </a:cubicBezTo>
                  <a:cubicBezTo>
                    <a:pt x="631" y="169"/>
                    <a:pt x="746" y="157"/>
                    <a:pt x="835" y="137"/>
                  </a:cubicBezTo>
                  <a:cubicBezTo>
                    <a:pt x="850" y="134"/>
                    <a:pt x="864" y="131"/>
                    <a:pt x="877" y="127"/>
                  </a:cubicBezTo>
                  <a:cubicBezTo>
                    <a:pt x="961" y="103"/>
                    <a:pt x="1012" y="72"/>
                    <a:pt x="1012" y="38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1012" y="6"/>
                    <a:pt x="1010" y="13"/>
                    <a:pt x="1006" y="19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E5F42A60-6097-5AAC-DBDA-64473B83A759}"/>
              </a:ext>
            </a:extLst>
          </p:cNvPr>
          <p:cNvGrpSpPr/>
          <p:nvPr/>
        </p:nvGrpSpPr>
        <p:grpSpPr>
          <a:xfrm>
            <a:off x="4685006" y="10528198"/>
            <a:ext cx="2823324" cy="814797"/>
            <a:chOff x="4685006" y="4865334"/>
            <a:chExt cx="2823324" cy="814797"/>
          </a:xfrm>
        </p:grpSpPr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20CE4081-CA5F-B781-892B-F6F5DE951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4865334"/>
              <a:ext cx="2823324" cy="618442"/>
            </a:xfrm>
            <a:custGeom>
              <a:avLst/>
              <a:gdLst>
                <a:gd name="T0" fmla="*/ 564 w 598"/>
                <a:gd name="T1" fmla="*/ 0 h 113"/>
                <a:gd name="T2" fmla="*/ 495 w 598"/>
                <a:gd name="T3" fmla="*/ 13 h 113"/>
                <a:gd name="T4" fmla="*/ 299 w 598"/>
                <a:gd name="T5" fmla="*/ 26 h 113"/>
                <a:gd name="T6" fmla="*/ 102 w 598"/>
                <a:gd name="T7" fmla="*/ 13 h 113"/>
                <a:gd name="T8" fmla="*/ 33 w 598"/>
                <a:gd name="T9" fmla="*/ 0 h 113"/>
                <a:gd name="T10" fmla="*/ 0 w 598"/>
                <a:gd name="T11" fmla="*/ 36 h 113"/>
                <a:gd name="T12" fmla="*/ 8 w 598"/>
                <a:gd name="T13" fmla="*/ 53 h 113"/>
                <a:gd name="T14" fmla="*/ 299 w 598"/>
                <a:gd name="T15" fmla="*/ 113 h 113"/>
                <a:gd name="T16" fmla="*/ 590 w 598"/>
                <a:gd name="T17" fmla="*/ 53 h 113"/>
                <a:gd name="T18" fmla="*/ 598 w 598"/>
                <a:gd name="T19" fmla="*/ 36 h 113"/>
                <a:gd name="T20" fmla="*/ 564 w 598"/>
                <a:gd name="T21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8" h="113">
                  <a:moveTo>
                    <a:pt x="564" y="0"/>
                  </a:moveTo>
                  <a:cubicBezTo>
                    <a:pt x="543" y="5"/>
                    <a:pt x="520" y="9"/>
                    <a:pt x="495" y="13"/>
                  </a:cubicBezTo>
                  <a:cubicBezTo>
                    <a:pt x="437" y="21"/>
                    <a:pt x="370" y="26"/>
                    <a:pt x="299" y="26"/>
                  </a:cubicBezTo>
                  <a:cubicBezTo>
                    <a:pt x="227" y="26"/>
                    <a:pt x="160" y="21"/>
                    <a:pt x="102" y="13"/>
                  </a:cubicBezTo>
                  <a:cubicBezTo>
                    <a:pt x="77" y="9"/>
                    <a:pt x="54" y="5"/>
                    <a:pt x="33" y="0"/>
                  </a:cubicBezTo>
                  <a:cubicBezTo>
                    <a:pt x="12" y="11"/>
                    <a:pt x="0" y="23"/>
                    <a:pt x="0" y="36"/>
                  </a:cubicBezTo>
                  <a:cubicBezTo>
                    <a:pt x="0" y="42"/>
                    <a:pt x="2" y="48"/>
                    <a:pt x="8" y="53"/>
                  </a:cubicBezTo>
                  <a:cubicBezTo>
                    <a:pt x="39" y="88"/>
                    <a:pt x="157" y="113"/>
                    <a:pt x="299" y="113"/>
                  </a:cubicBezTo>
                  <a:cubicBezTo>
                    <a:pt x="440" y="113"/>
                    <a:pt x="559" y="88"/>
                    <a:pt x="590" y="53"/>
                  </a:cubicBezTo>
                  <a:cubicBezTo>
                    <a:pt x="595" y="48"/>
                    <a:pt x="598" y="42"/>
                    <a:pt x="598" y="36"/>
                  </a:cubicBezTo>
                  <a:cubicBezTo>
                    <a:pt x="598" y="23"/>
                    <a:pt x="585" y="11"/>
                    <a:pt x="56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A3FD4035-0B1F-C93F-AD7A-5911B0F154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5061689"/>
              <a:ext cx="2823324" cy="618442"/>
            </a:xfrm>
            <a:custGeom>
              <a:avLst/>
              <a:gdLst>
                <a:gd name="T0" fmla="*/ 590 w 598"/>
                <a:gd name="T1" fmla="*/ 17 h 113"/>
                <a:gd name="T2" fmla="*/ 299 w 598"/>
                <a:gd name="T3" fmla="*/ 77 h 113"/>
                <a:gd name="T4" fmla="*/ 8 w 598"/>
                <a:gd name="T5" fmla="*/ 17 h 113"/>
                <a:gd name="T6" fmla="*/ 0 w 598"/>
                <a:gd name="T7" fmla="*/ 0 h 113"/>
                <a:gd name="T8" fmla="*/ 0 w 598"/>
                <a:gd name="T9" fmla="*/ 35 h 113"/>
                <a:gd name="T10" fmla="*/ 299 w 598"/>
                <a:gd name="T11" fmla="*/ 113 h 113"/>
                <a:gd name="T12" fmla="*/ 598 w 598"/>
                <a:gd name="T13" fmla="*/ 35 h 113"/>
                <a:gd name="T14" fmla="*/ 598 w 598"/>
                <a:gd name="T15" fmla="*/ 0 h 113"/>
                <a:gd name="T16" fmla="*/ 590 w 598"/>
                <a:gd name="T17" fmla="*/ 1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8" h="113">
                  <a:moveTo>
                    <a:pt x="590" y="17"/>
                  </a:moveTo>
                  <a:cubicBezTo>
                    <a:pt x="559" y="52"/>
                    <a:pt x="440" y="77"/>
                    <a:pt x="299" y="77"/>
                  </a:cubicBezTo>
                  <a:cubicBezTo>
                    <a:pt x="157" y="77"/>
                    <a:pt x="39" y="52"/>
                    <a:pt x="8" y="17"/>
                  </a:cubicBezTo>
                  <a:cubicBezTo>
                    <a:pt x="2" y="12"/>
                    <a:pt x="0" y="6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78"/>
                    <a:pt x="134" y="113"/>
                    <a:pt x="299" y="113"/>
                  </a:cubicBezTo>
                  <a:cubicBezTo>
                    <a:pt x="464" y="113"/>
                    <a:pt x="598" y="78"/>
                    <a:pt x="598" y="35"/>
                  </a:cubicBezTo>
                  <a:cubicBezTo>
                    <a:pt x="598" y="0"/>
                    <a:pt x="598" y="0"/>
                    <a:pt x="598" y="0"/>
                  </a:cubicBezTo>
                  <a:cubicBezTo>
                    <a:pt x="598" y="6"/>
                    <a:pt x="595" y="12"/>
                    <a:pt x="590" y="17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38FE194F-00EB-79DB-4963-34132C6E721B}"/>
              </a:ext>
            </a:extLst>
          </p:cNvPr>
          <p:cNvGrpSpPr/>
          <p:nvPr/>
        </p:nvGrpSpPr>
        <p:grpSpPr>
          <a:xfrm>
            <a:off x="4240482" y="9773698"/>
            <a:ext cx="3711034" cy="896741"/>
            <a:chOff x="4240482" y="4110834"/>
            <a:chExt cx="3711034" cy="896741"/>
          </a:xfrm>
        </p:grpSpPr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048F357E-6737-E502-5711-A88CABAC8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4110834"/>
              <a:ext cx="3711034" cy="722032"/>
            </a:xfrm>
            <a:custGeom>
              <a:avLst/>
              <a:gdLst>
                <a:gd name="T0" fmla="*/ 764 w 786"/>
                <a:gd name="T1" fmla="*/ 0 h 132"/>
                <a:gd name="T2" fmla="*/ 722 w 786"/>
                <a:gd name="T3" fmla="*/ 10 h 132"/>
                <a:gd name="T4" fmla="*/ 393 w 786"/>
                <a:gd name="T5" fmla="*/ 42 h 132"/>
                <a:gd name="T6" fmla="*/ 63 w 786"/>
                <a:gd name="T7" fmla="*/ 10 h 132"/>
                <a:gd name="T8" fmla="*/ 21 w 786"/>
                <a:gd name="T9" fmla="*/ 0 h 132"/>
                <a:gd name="T10" fmla="*/ 0 w 786"/>
                <a:gd name="T11" fmla="*/ 32 h 132"/>
                <a:gd name="T12" fmla="*/ 5 w 786"/>
                <a:gd name="T13" fmla="*/ 48 h 132"/>
                <a:gd name="T14" fmla="*/ 188 w 786"/>
                <a:gd name="T15" fmla="*/ 117 h 132"/>
                <a:gd name="T16" fmla="*/ 393 w 786"/>
                <a:gd name="T17" fmla="*/ 132 h 132"/>
                <a:gd name="T18" fmla="*/ 597 w 786"/>
                <a:gd name="T19" fmla="*/ 117 h 132"/>
                <a:gd name="T20" fmla="*/ 780 w 786"/>
                <a:gd name="T21" fmla="*/ 48 h 132"/>
                <a:gd name="T22" fmla="*/ 786 w 786"/>
                <a:gd name="T23" fmla="*/ 32 h 132"/>
                <a:gd name="T24" fmla="*/ 764 w 786"/>
                <a:gd name="T2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6" h="132">
                  <a:moveTo>
                    <a:pt x="764" y="0"/>
                  </a:moveTo>
                  <a:cubicBezTo>
                    <a:pt x="751" y="4"/>
                    <a:pt x="737" y="7"/>
                    <a:pt x="722" y="10"/>
                  </a:cubicBezTo>
                  <a:cubicBezTo>
                    <a:pt x="633" y="30"/>
                    <a:pt x="518" y="42"/>
                    <a:pt x="393" y="42"/>
                  </a:cubicBezTo>
                  <a:cubicBezTo>
                    <a:pt x="267" y="42"/>
                    <a:pt x="152" y="30"/>
                    <a:pt x="63" y="10"/>
                  </a:cubicBezTo>
                  <a:cubicBezTo>
                    <a:pt x="49" y="7"/>
                    <a:pt x="35" y="4"/>
                    <a:pt x="21" y="0"/>
                  </a:cubicBezTo>
                  <a:cubicBezTo>
                    <a:pt x="7" y="10"/>
                    <a:pt x="0" y="21"/>
                    <a:pt x="0" y="32"/>
                  </a:cubicBezTo>
                  <a:cubicBezTo>
                    <a:pt x="0" y="38"/>
                    <a:pt x="1" y="43"/>
                    <a:pt x="5" y="48"/>
                  </a:cubicBezTo>
                  <a:cubicBezTo>
                    <a:pt x="24" y="78"/>
                    <a:pt x="92" y="102"/>
                    <a:pt x="188" y="117"/>
                  </a:cubicBezTo>
                  <a:cubicBezTo>
                    <a:pt x="248" y="126"/>
                    <a:pt x="318" y="132"/>
                    <a:pt x="393" y="132"/>
                  </a:cubicBezTo>
                  <a:cubicBezTo>
                    <a:pt x="468" y="132"/>
                    <a:pt x="538" y="126"/>
                    <a:pt x="597" y="117"/>
                  </a:cubicBezTo>
                  <a:cubicBezTo>
                    <a:pt x="693" y="102"/>
                    <a:pt x="762" y="78"/>
                    <a:pt x="780" y="48"/>
                  </a:cubicBezTo>
                  <a:cubicBezTo>
                    <a:pt x="784" y="43"/>
                    <a:pt x="786" y="38"/>
                    <a:pt x="786" y="32"/>
                  </a:cubicBezTo>
                  <a:cubicBezTo>
                    <a:pt x="786" y="21"/>
                    <a:pt x="778" y="10"/>
                    <a:pt x="76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A6483595-3321-F443-02EA-55A66D8FD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4285543"/>
              <a:ext cx="3711034" cy="722032"/>
            </a:xfrm>
            <a:custGeom>
              <a:avLst/>
              <a:gdLst>
                <a:gd name="T0" fmla="*/ 780 w 786"/>
                <a:gd name="T1" fmla="*/ 16 h 132"/>
                <a:gd name="T2" fmla="*/ 597 w 786"/>
                <a:gd name="T3" fmla="*/ 85 h 132"/>
                <a:gd name="T4" fmla="*/ 393 w 786"/>
                <a:gd name="T5" fmla="*/ 100 h 132"/>
                <a:gd name="T6" fmla="*/ 188 w 786"/>
                <a:gd name="T7" fmla="*/ 85 h 132"/>
                <a:gd name="T8" fmla="*/ 5 w 786"/>
                <a:gd name="T9" fmla="*/ 16 h 132"/>
                <a:gd name="T10" fmla="*/ 0 w 786"/>
                <a:gd name="T11" fmla="*/ 0 h 132"/>
                <a:gd name="T12" fmla="*/ 0 w 786"/>
                <a:gd name="T13" fmla="*/ 33 h 132"/>
                <a:gd name="T14" fmla="*/ 127 w 786"/>
                <a:gd name="T15" fmla="*/ 106 h 132"/>
                <a:gd name="T16" fmla="*/ 196 w 786"/>
                <a:gd name="T17" fmla="*/ 119 h 132"/>
                <a:gd name="T18" fmla="*/ 393 w 786"/>
                <a:gd name="T19" fmla="*/ 132 h 132"/>
                <a:gd name="T20" fmla="*/ 589 w 786"/>
                <a:gd name="T21" fmla="*/ 119 h 132"/>
                <a:gd name="T22" fmla="*/ 658 w 786"/>
                <a:gd name="T23" fmla="*/ 106 h 132"/>
                <a:gd name="T24" fmla="*/ 786 w 786"/>
                <a:gd name="T25" fmla="*/ 33 h 132"/>
                <a:gd name="T26" fmla="*/ 786 w 786"/>
                <a:gd name="T27" fmla="*/ 0 h 132"/>
                <a:gd name="T28" fmla="*/ 780 w 786"/>
                <a:gd name="T29" fmla="*/ 1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6" h="132">
                  <a:moveTo>
                    <a:pt x="780" y="16"/>
                  </a:moveTo>
                  <a:cubicBezTo>
                    <a:pt x="762" y="46"/>
                    <a:pt x="693" y="70"/>
                    <a:pt x="597" y="85"/>
                  </a:cubicBezTo>
                  <a:cubicBezTo>
                    <a:pt x="538" y="94"/>
                    <a:pt x="468" y="100"/>
                    <a:pt x="393" y="100"/>
                  </a:cubicBezTo>
                  <a:cubicBezTo>
                    <a:pt x="318" y="100"/>
                    <a:pt x="248" y="94"/>
                    <a:pt x="188" y="85"/>
                  </a:cubicBezTo>
                  <a:cubicBezTo>
                    <a:pt x="92" y="70"/>
                    <a:pt x="24" y="46"/>
                    <a:pt x="5" y="16"/>
                  </a:cubicBezTo>
                  <a:cubicBezTo>
                    <a:pt x="1" y="11"/>
                    <a:pt x="0" y="6"/>
                    <a:pt x="0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62"/>
                    <a:pt x="49" y="88"/>
                    <a:pt x="127" y="106"/>
                  </a:cubicBezTo>
                  <a:cubicBezTo>
                    <a:pt x="148" y="111"/>
                    <a:pt x="171" y="115"/>
                    <a:pt x="196" y="119"/>
                  </a:cubicBezTo>
                  <a:cubicBezTo>
                    <a:pt x="254" y="127"/>
                    <a:pt x="321" y="132"/>
                    <a:pt x="393" y="132"/>
                  </a:cubicBezTo>
                  <a:cubicBezTo>
                    <a:pt x="464" y="132"/>
                    <a:pt x="531" y="127"/>
                    <a:pt x="589" y="119"/>
                  </a:cubicBezTo>
                  <a:cubicBezTo>
                    <a:pt x="614" y="115"/>
                    <a:pt x="637" y="111"/>
                    <a:pt x="658" y="106"/>
                  </a:cubicBezTo>
                  <a:cubicBezTo>
                    <a:pt x="736" y="88"/>
                    <a:pt x="786" y="62"/>
                    <a:pt x="786" y="33"/>
                  </a:cubicBezTo>
                  <a:cubicBezTo>
                    <a:pt x="786" y="0"/>
                    <a:pt x="786" y="0"/>
                    <a:pt x="786" y="0"/>
                  </a:cubicBezTo>
                  <a:cubicBezTo>
                    <a:pt x="786" y="6"/>
                    <a:pt x="784" y="11"/>
                    <a:pt x="780" y="16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7BBDAFE6-EE78-1E0E-7B30-FB06F2A5ED53}"/>
              </a:ext>
            </a:extLst>
          </p:cNvPr>
          <p:cNvGrpSpPr/>
          <p:nvPr/>
        </p:nvGrpSpPr>
        <p:grpSpPr>
          <a:xfrm>
            <a:off x="163532" y="1440722"/>
            <a:ext cx="4439311" cy="1479765"/>
            <a:chOff x="230964" y="1440722"/>
            <a:chExt cx="4439311" cy="1479765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BC813AE4-E3D8-3EC1-0C2E-7BA8BDD32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24" name="Straight Connector 85">
              <a:extLst>
                <a:ext uri="{FF2B5EF4-FFF2-40B4-BE49-F238E27FC236}">
                  <a16:creationId xmlns:a16="http://schemas.microsoft.com/office/drawing/2014/main" id="{10A31B98-AE71-B040-4FB7-08F41327E4A5}"/>
                </a:ext>
              </a:extLst>
            </p:cNvPr>
            <p:cNvCxnSpPr>
              <a:cxnSpLocks/>
            </p:cNvCxnSpPr>
            <p:nvPr/>
          </p:nvCxnSpPr>
          <p:spPr>
            <a:xfrm>
              <a:off x="643370" y="2920487"/>
              <a:ext cx="2404872" cy="0"/>
            </a:xfrm>
            <a:prstGeom prst="line">
              <a:avLst/>
            </a:prstGeom>
            <a:ln w="25400">
              <a:gradFill flip="none" rotWithShape="1">
                <a:gsLst>
                  <a:gs pos="100000">
                    <a:srgbClr val="620CD2">
                      <a:alpha val="0"/>
                    </a:srgbClr>
                  </a:gs>
                  <a:gs pos="0">
                    <a:srgbClr val="620CEA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967A485-B95F-1329-4475-3454161A33D8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бработка </a:t>
              </a:r>
              <a:b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потенциальных</a:t>
              </a:r>
              <a:b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лиентов</a:t>
              </a:r>
              <a:endParaRPr lang="ru-RU" sz="2400" dirty="0">
                <a:effectLst/>
                <a:latin typeface="Unbounde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0EEA2C98-DEA3-4D72-EFC5-799C81AB3F8C}"/>
              </a:ext>
            </a:extLst>
          </p:cNvPr>
          <p:cNvGrpSpPr/>
          <p:nvPr/>
        </p:nvGrpSpPr>
        <p:grpSpPr>
          <a:xfrm>
            <a:off x="-3636344" y="3249751"/>
            <a:ext cx="4439311" cy="1479765"/>
            <a:chOff x="230964" y="1440722"/>
            <a:chExt cx="4439311" cy="1479765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42FFEC35-9E03-C999-2F43-56DEB7DE46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17" name="Straight Connector 85">
              <a:extLst>
                <a:ext uri="{FF2B5EF4-FFF2-40B4-BE49-F238E27FC236}">
                  <a16:creationId xmlns:a16="http://schemas.microsoft.com/office/drawing/2014/main" id="{1DA477F2-4842-40FA-CCD9-96C75E2EBF5D}"/>
                </a:ext>
              </a:extLst>
            </p:cNvPr>
            <p:cNvCxnSpPr>
              <a:cxnSpLocks/>
            </p:cNvCxnSpPr>
            <p:nvPr/>
          </p:nvCxnSpPr>
          <p:spPr>
            <a:xfrm>
              <a:off x="643370" y="2920487"/>
              <a:ext cx="2404872" cy="0"/>
            </a:xfrm>
            <a:prstGeom prst="line">
              <a:avLst/>
            </a:prstGeom>
            <a:ln w="25400">
              <a:gradFill flip="none" rotWithShape="1">
                <a:gsLst>
                  <a:gs pos="100000">
                    <a:srgbClr val="620CD2">
                      <a:alpha val="0"/>
                    </a:srgbClr>
                  </a:gs>
                  <a:gs pos="0">
                    <a:srgbClr val="620CEA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5CC1014-5A93-065E-4C90-EAF2F9E16177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Развитие 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артнерских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рограмм</a:t>
              </a:r>
            </a:p>
          </p:txBody>
        </p: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66939C3C-87BB-4B47-6D60-FBFDFE3721EA}"/>
              </a:ext>
            </a:extLst>
          </p:cNvPr>
          <p:cNvGrpSpPr/>
          <p:nvPr/>
        </p:nvGrpSpPr>
        <p:grpSpPr>
          <a:xfrm>
            <a:off x="8629905" y="74769"/>
            <a:ext cx="3762311" cy="6858000"/>
            <a:chOff x="5317227" y="-111040"/>
            <a:chExt cx="3762311" cy="6858000"/>
          </a:xfrm>
        </p:grpSpPr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0417EEC9-95A1-CB4D-6B91-0E564637F739}"/>
                </a:ext>
              </a:extLst>
            </p:cNvPr>
            <p:cNvSpPr/>
            <p:nvPr/>
          </p:nvSpPr>
          <p:spPr>
            <a:xfrm>
              <a:off x="5317227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22" name="Rectangle 31">
              <a:extLst>
                <a:ext uri="{FF2B5EF4-FFF2-40B4-BE49-F238E27FC236}">
                  <a16:creationId xmlns:a16="http://schemas.microsoft.com/office/drawing/2014/main" id="{F7015FE8-BE74-4CF3-6A27-0559A217569D}"/>
                </a:ext>
              </a:extLst>
            </p:cNvPr>
            <p:cNvSpPr/>
            <p:nvPr/>
          </p:nvSpPr>
          <p:spPr>
            <a:xfrm>
              <a:off x="6257805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27" name="Rectangle 32">
              <a:extLst>
                <a:ext uri="{FF2B5EF4-FFF2-40B4-BE49-F238E27FC236}">
                  <a16:creationId xmlns:a16="http://schemas.microsoft.com/office/drawing/2014/main" id="{A27C4DCF-ACFC-96D5-2FA9-CF035A9EAE24}"/>
                </a:ext>
              </a:extLst>
            </p:cNvPr>
            <p:cNvSpPr/>
            <p:nvPr/>
          </p:nvSpPr>
          <p:spPr>
            <a:xfrm>
              <a:off x="7198382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28" name="Rectangle 33">
              <a:extLst>
                <a:ext uri="{FF2B5EF4-FFF2-40B4-BE49-F238E27FC236}">
                  <a16:creationId xmlns:a16="http://schemas.microsoft.com/office/drawing/2014/main" id="{4BE331A6-B0C4-BA8C-CDCE-37684E5691B6}"/>
                </a:ext>
              </a:extLst>
            </p:cNvPr>
            <p:cNvSpPr/>
            <p:nvPr/>
          </p:nvSpPr>
          <p:spPr>
            <a:xfrm>
              <a:off x="8138960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53012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4.44444E-6 L 0.06576 4.44444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2.96296E-6 L 0.06576 -2.96296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9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8" name="Рисунок 3">
            <a:extLst>
              <a:ext uri="{FF2B5EF4-FFF2-40B4-BE49-F238E27FC236}">
                <a16:creationId xmlns:a16="http://schemas.microsoft.com/office/drawing/2014/main" id="{B63F4BEE-48AE-F06A-6DA6-C8982BFE428C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306BE464-478F-81B6-3B64-29F8F5EF6AB8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86F94626-DE5D-5CDE-C5AB-08EC87502FA9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27D32363-4996-BC63-62AD-37B68BDCEF3B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0CF7CFDB-7A74-EC0A-6085-A444E06E742E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6612FEDD-013B-92AC-4475-870F7116F32C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B2EBED1A-9481-C73D-3E09-821A49346615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AD1CBA0D-CF7C-181F-0780-454F30ADFE2C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29262002-7FA6-242C-1F7F-5498AD6537FA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B1BADB8A-087E-8EF7-C819-4DA4B76178C8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E75AA717-1E66-FF94-A1E7-B9B27F4A6897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46F477F9-AF6E-52E4-CB25-A418271737C3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1" name="!!Oval 131">
            <a:extLst>
              <a:ext uri="{FF2B5EF4-FFF2-40B4-BE49-F238E27FC236}">
                <a16:creationId xmlns:a16="http://schemas.microsoft.com/office/drawing/2014/main" id="{4245BDFE-C8E8-07C6-A46D-D232960778D2}"/>
              </a:ext>
            </a:extLst>
          </p:cNvPr>
          <p:cNvGrpSpPr/>
          <p:nvPr/>
        </p:nvGrpSpPr>
        <p:grpSpPr>
          <a:xfrm>
            <a:off x="5170912" y="1177870"/>
            <a:ext cx="1846174" cy="759138"/>
            <a:chOff x="5170912" y="1177870"/>
            <a:chExt cx="1846174" cy="759138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0C1C4287-4318-F0FF-B328-5E46695B9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4916" y="1177870"/>
              <a:ext cx="1842169" cy="573607"/>
            </a:xfrm>
            <a:custGeom>
              <a:avLst/>
              <a:gdLst>
                <a:gd name="T0" fmla="*/ 195 w 390"/>
                <a:gd name="T1" fmla="*/ 0 h 105"/>
                <a:gd name="T2" fmla="*/ 0 w 390"/>
                <a:gd name="T3" fmla="*/ 53 h 105"/>
                <a:gd name="T4" fmla="*/ 10 w 390"/>
                <a:gd name="T5" fmla="*/ 69 h 105"/>
                <a:gd name="T6" fmla="*/ 100 w 390"/>
                <a:gd name="T7" fmla="*/ 98 h 105"/>
                <a:gd name="T8" fmla="*/ 195 w 390"/>
                <a:gd name="T9" fmla="*/ 105 h 105"/>
                <a:gd name="T10" fmla="*/ 290 w 390"/>
                <a:gd name="T11" fmla="*/ 98 h 105"/>
                <a:gd name="T12" fmla="*/ 380 w 390"/>
                <a:gd name="T13" fmla="*/ 69 h 105"/>
                <a:gd name="T14" fmla="*/ 390 w 390"/>
                <a:gd name="T15" fmla="*/ 53 h 105"/>
                <a:gd name="T16" fmla="*/ 195 w 390"/>
                <a:gd name="T1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05">
                  <a:moveTo>
                    <a:pt x="195" y="0"/>
                  </a:moveTo>
                  <a:cubicBezTo>
                    <a:pt x="87" y="0"/>
                    <a:pt x="0" y="24"/>
                    <a:pt x="0" y="53"/>
                  </a:cubicBezTo>
                  <a:cubicBezTo>
                    <a:pt x="0" y="58"/>
                    <a:pt x="3" y="64"/>
                    <a:pt x="10" y="69"/>
                  </a:cubicBezTo>
                  <a:cubicBezTo>
                    <a:pt x="25" y="82"/>
                    <a:pt x="58" y="92"/>
                    <a:pt x="100" y="98"/>
                  </a:cubicBezTo>
                  <a:cubicBezTo>
                    <a:pt x="128" y="103"/>
                    <a:pt x="160" y="105"/>
                    <a:pt x="195" y="105"/>
                  </a:cubicBezTo>
                  <a:cubicBezTo>
                    <a:pt x="229" y="105"/>
                    <a:pt x="262" y="103"/>
                    <a:pt x="290" y="98"/>
                  </a:cubicBezTo>
                  <a:cubicBezTo>
                    <a:pt x="332" y="92"/>
                    <a:pt x="364" y="82"/>
                    <a:pt x="380" y="69"/>
                  </a:cubicBezTo>
                  <a:cubicBezTo>
                    <a:pt x="386" y="64"/>
                    <a:pt x="390" y="58"/>
                    <a:pt x="390" y="53"/>
                  </a:cubicBezTo>
                  <a:cubicBezTo>
                    <a:pt x="390" y="24"/>
                    <a:pt x="302" y="0"/>
                    <a:pt x="195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0FEED456-374C-3949-CBC0-E41F3D9A6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912" y="1466992"/>
              <a:ext cx="1846174" cy="470016"/>
            </a:xfrm>
            <a:custGeom>
              <a:avLst/>
              <a:gdLst>
                <a:gd name="T0" fmla="*/ 391 w 391"/>
                <a:gd name="T1" fmla="*/ 30 h 86"/>
                <a:gd name="T2" fmla="*/ 391 w 391"/>
                <a:gd name="T3" fmla="*/ 0 h 86"/>
                <a:gd name="T4" fmla="*/ 381 w 391"/>
                <a:gd name="T5" fmla="*/ 16 h 86"/>
                <a:gd name="T6" fmla="*/ 291 w 391"/>
                <a:gd name="T7" fmla="*/ 45 h 86"/>
                <a:gd name="T8" fmla="*/ 196 w 391"/>
                <a:gd name="T9" fmla="*/ 52 h 86"/>
                <a:gd name="T10" fmla="*/ 101 w 391"/>
                <a:gd name="T11" fmla="*/ 45 h 86"/>
                <a:gd name="T12" fmla="*/ 11 w 391"/>
                <a:gd name="T13" fmla="*/ 16 h 86"/>
                <a:gd name="T14" fmla="*/ 1 w 391"/>
                <a:gd name="T15" fmla="*/ 0 h 86"/>
                <a:gd name="T16" fmla="*/ 1 w 391"/>
                <a:gd name="T17" fmla="*/ 30 h 86"/>
                <a:gd name="T18" fmla="*/ 0 w 391"/>
                <a:gd name="T19" fmla="*/ 33 h 86"/>
                <a:gd name="T20" fmla="*/ 21 w 391"/>
                <a:gd name="T21" fmla="*/ 57 h 86"/>
                <a:gd name="T22" fmla="*/ 101 w 391"/>
                <a:gd name="T23" fmla="*/ 79 h 86"/>
                <a:gd name="T24" fmla="*/ 196 w 391"/>
                <a:gd name="T25" fmla="*/ 86 h 86"/>
                <a:gd name="T26" fmla="*/ 290 w 391"/>
                <a:gd name="T27" fmla="*/ 79 h 86"/>
                <a:gd name="T28" fmla="*/ 371 w 391"/>
                <a:gd name="T29" fmla="*/ 57 h 86"/>
                <a:gd name="T30" fmla="*/ 391 w 391"/>
                <a:gd name="T31" fmla="*/ 33 h 86"/>
                <a:gd name="T32" fmla="*/ 391 w 391"/>
                <a:gd name="T33" fmla="*/ 3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1" h="86">
                  <a:moveTo>
                    <a:pt x="391" y="30"/>
                  </a:moveTo>
                  <a:cubicBezTo>
                    <a:pt x="391" y="0"/>
                    <a:pt x="391" y="0"/>
                    <a:pt x="391" y="0"/>
                  </a:cubicBezTo>
                  <a:cubicBezTo>
                    <a:pt x="391" y="5"/>
                    <a:pt x="387" y="11"/>
                    <a:pt x="381" y="16"/>
                  </a:cubicBezTo>
                  <a:cubicBezTo>
                    <a:pt x="365" y="29"/>
                    <a:pt x="333" y="39"/>
                    <a:pt x="291" y="45"/>
                  </a:cubicBezTo>
                  <a:cubicBezTo>
                    <a:pt x="263" y="50"/>
                    <a:pt x="230" y="52"/>
                    <a:pt x="196" y="52"/>
                  </a:cubicBezTo>
                  <a:cubicBezTo>
                    <a:pt x="161" y="52"/>
                    <a:pt x="129" y="50"/>
                    <a:pt x="101" y="45"/>
                  </a:cubicBezTo>
                  <a:cubicBezTo>
                    <a:pt x="59" y="39"/>
                    <a:pt x="26" y="29"/>
                    <a:pt x="11" y="16"/>
                  </a:cubicBezTo>
                  <a:cubicBezTo>
                    <a:pt x="4" y="11"/>
                    <a:pt x="1" y="5"/>
                    <a:pt x="1" y="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1"/>
                    <a:pt x="0" y="32"/>
                    <a:pt x="0" y="33"/>
                  </a:cubicBezTo>
                  <a:cubicBezTo>
                    <a:pt x="0" y="42"/>
                    <a:pt x="7" y="49"/>
                    <a:pt x="21" y="57"/>
                  </a:cubicBezTo>
                  <a:cubicBezTo>
                    <a:pt x="38" y="66"/>
                    <a:pt x="66" y="74"/>
                    <a:pt x="101" y="79"/>
                  </a:cubicBezTo>
                  <a:cubicBezTo>
                    <a:pt x="129" y="83"/>
                    <a:pt x="161" y="86"/>
                    <a:pt x="196" y="86"/>
                  </a:cubicBezTo>
                  <a:cubicBezTo>
                    <a:pt x="230" y="86"/>
                    <a:pt x="262" y="83"/>
                    <a:pt x="290" y="79"/>
                  </a:cubicBezTo>
                  <a:cubicBezTo>
                    <a:pt x="325" y="74"/>
                    <a:pt x="353" y="66"/>
                    <a:pt x="371" y="57"/>
                  </a:cubicBezTo>
                  <a:cubicBezTo>
                    <a:pt x="384" y="49"/>
                    <a:pt x="391" y="42"/>
                    <a:pt x="391" y="33"/>
                  </a:cubicBezTo>
                  <a:cubicBezTo>
                    <a:pt x="391" y="32"/>
                    <a:pt x="391" y="31"/>
                    <a:pt x="391" y="30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A0084A9-34C2-AE3C-8834-2E072324A228}"/>
              </a:ext>
            </a:extLst>
          </p:cNvPr>
          <p:cNvGrpSpPr/>
          <p:nvPr/>
        </p:nvGrpSpPr>
        <p:grpSpPr>
          <a:xfrm>
            <a:off x="4685006" y="1781473"/>
            <a:ext cx="2817984" cy="974047"/>
            <a:chOff x="4685006" y="1779306"/>
            <a:chExt cx="2817984" cy="974047"/>
          </a:xfrm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64177196-523E-63F2-0869-F20F1E037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1779306"/>
              <a:ext cx="2817984" cy="786969"/>
            </a:xfrm>
            <a:custGeom>
              <a:avLst/>
              <a:gdLst>
                <a:gd name="T0" fmla="*/ 474 w 597"/>
                <a:gd name="T1" fmla="*/ 0 h 144"/>
                <a:gd name="T2" fmla="*/ 393 w 597"/>
                <a:gd name="T3" fmla="*/ 22 h 144"/>
                <a:gd name="T4" fmla="*/ 299 w 597"/>
                <a:gd name="T5" fmla="*/ 29 h 144"/>
                <a:gd name="T6" fmla="*/ 204 w 597"/>
                <a:gd name="T7" fmla="*/ 22 h 144"/>
                <a:gd name="T8" fmla="*/ 124 w 597"/>
                <a:gd name="T9" fmla="*/ 0 h 144"/>
                <a:gd name="T10" fmla="*/ 0 w 597"/>
                <a:gd name="T11" fmla="*/ 64 h 144"/>
                <a:gd name="T12" fmla="*/ 7 w 597"/>
                <a:gd name="T13" fmla="*/ 81 h 144"/>
                <a:gd name="T14" fmla="*/ 41 w 597"/>
                <a:gd name="T15" fmla="*/ 104 h 144"/>
                <a:gd name="T16" fmla="*/ 122 w 597"/>
                <a:gd name="T17" fmla="*/ 128 h 144"/>
                <a:gd name="T18" fmla="*/ 299 w 597"/>
                <a:gd name="T19" fmla="*/ 144 h 144"/>
                <a:gd name="T20" fmla="*/ 476 w 597"/>
                <a:gd name="T21" fmla="*/ 128 h 144"/>
                <a:gd name="T22" fmla="*/ 556 w 597"/>
                <a:gd name="T23" fmla="*/ 104 h 144"/>
                <a:gd name="T24" fmla="*/ 590 w 597"/>
                <a:gd name="T25" fmla="*/ 81 h 144"/>
                <a:gd name="T26" fmla="*/ 597 w 597"/>
                <a:gd name="T27" fmla="*/ 64 h 144"/>
                <a:gd name="T28" fmla="*/ 474 w 597"/>
                <a:gd name="T29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7" h="144">
                  <a:moveTo>
                    <a:pt x="474" y="0"/>
                  </a:moveTo>
                  <a:cubicBezTo>
                    <a:pt x="456" y="9"/>
                    <a:pt x="428" y="17"/>
                    <a:pt x="393" y="22"/>
                  </a:cubicBezTo>
                  <a:cubicBezTo>
                    <a:pt x="365" y="26"/>
                    <a:pt x="333" y="29"/>
                    <a:pt x="299" y="29"/>
                  </a:cubicBezTo>
                  <a:cubicBezTo>
                    <a:pt x="264" y="29"/>
                    <a:pt x="232" y="26"/>
                    <a:pt x="204" y="22"/>
                  </a:cubicBezTo>
                  <a:cubicBezTo>
                    <a:pt x="169" y="17"/>
                    <a:pt x="141" y="9"/>
                    <a:pt x="124" y="0"/>
                  </a:cubicBezTo>
                  <a:cubicBezTo>
                    <a:pt x="49" y="14"/>
                    <a:pt x="0" y="38"/>
                    <a:pt x="0" y="64"/>
                  </a:cubicBezTo>
                  <a:cubicBezTo>
                    <a:pt x="0" y="70"/>
                    <a:pt x="3" y="76"/>
                    <a:pt x="7" y="81"/>
                  </a:cubicBezTo>
                  <a:cubicBezTo>
                    <a:pt x="14" y="89"/>
                    <a:pt x="25" y="97"/>
                    <a:pt x="41" y="104"/>
                  </a:cubicBezTo>
                  <a:cubicBezTo>
                    <a:pt x="62" y="114"/>
                    <a:pt x="89" y="122"/>
                    <a:pt x="122" y="128"/>
                  </a:cubicBezTo>
                  <a:cubicBezTo>
                    <a:pt x="171" y="138"/>
                    <a:pt x="232" y="144"/>
                    <a:pt x="299" y="144"/>
                  </a:cubicBezTo>
                  <a:cubicBezTo>
                    <a:pt x="365" y="144"/>
                    <a:pt x="426" y="138"/>
                    <a:pt x="476" y="128"/>
                  </a:cubicBezTo>
                  <a:cubicBezTo>
                    <a:pt x="508" y="122"/>
                    <a:pt x="536" y="114"/>
                    <a:pt x="556" y="104"/>
                  </a:cubicBezTo>
                  <a:cubicBezTo>
                    <a:pt x="572" y="97"/>
                    <a:pt x="584" y="89"/>
                    <a:pt x="590" y="81"/>
                  </a:cubicBezTo>
                  <a:cubicBezTo>
                    <a:pt x="595" y="76"/>
                    <a:pt x="597" y="70"/>
                    <a:pt x="597" y="64"/>
                  </a:cubicBezTo>
                  <a:cubicBezTo>
                    <a:pt x="597" y="38"/>
                    <a:pt x="548" y="14"/>
                    <a:pt x="47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6B728246-8BD5-22C5-BA41-6F3E6F9AC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2128726"/>
              <a:ext cx="2817984" cy="624627"/>
            </a:xfrm>
            <a:custGeom>
              <a:avLst/>
              <a:gdLst>
                <a:gd name="T0" fmla="*/ 590 w 597"/>
                <a:gd name="T1" fmla="*/ 17 h 114"/>
                <a:gd name="T2" fmla="*/ 556 w 597"/>
                <a:gd name="T3" fmla="*/ 40 h 114"/>
                <a:gd name="T4" fmla="*/ 476 w 597"/>
                <a:gd name="T5" fmla="*/ 64 h 114"/>
                <a:gd name="T6" fmla="*/ 299 w 597"/>
                <a:gd name="T7" fmla="*/ 80 h 114"/>
                <a:gd name="T8" fmla="*/ 122 w 597"/>
                <a:gd name="T9" fmla="*/ 64 h 114"/>
                <a:gd name="T10" fmla="*/ 41 w 597"/>
                <a:gd name="T11" fmla="*/ 40 h 114"/>
                <a:gd name="T12" fmla="*/ 7 w 597"/>
                <a:gd name="T13" fmla="*/ 17 h 114"/>
                <a:gd name="T14" fmla="*/ 0 w 597"/>
                <a:gd name="T15" fmla="*/ 0 h 114"/>
                <a:gd name="T16" fmla="*/ 0 w 597"/>
                <a:gd name="T17" fmla="*/ 34 h 114"/>
                <a:gd name="T18" fmla="*/ 6 w 597"/>
                <a:gd name="T19" fmla="*/ 49 h 114"/>
                <a:gd name="T20" fmla="*/ 47 w 597"/>
                <a:gd name="T21" fmla="*/ 77 h 114"/>
                <a:gd name="T22" fmla="*/ 181 w 597"/>
                <a:gd name="T23" fmla="*/ 107 h 114"/>
                <a:gd name="T24" fmla="*/ 299 w 597"/>
                <a:gd name="T25" fmla="*/ 114 h 114"/>
                <a:gd name="T26" fmla="*/ 417 w 597"/>
                <a:gd name="T27" fmla="*/ 107 h 114"/>
                <a:gd name="T28" fmla="*/ 550 w 597"/>
                <a:gd name="T29" fmla="*/ 77 h 114"/>
                <a:gd name="T30" fmla="*/ 591 w 597"/>
                <a:gd name="T31" fmla="*/ 49 h 114"/>
                <a:gd name="T32" fmla="*/ 597 w 597"/>
                <a:gd name="T33" fmla="*/ 34 h 114"/>
                <a:gd name="T34" fmla="*/ 597 w 597"/>
                <a:gd name="T35" fmla="*/ 0 h 114"/>
                <a:gd name="T36" fmla="*/ 590 w 597"/>
                <a:gd name="T37" fmla="*/ 1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7" h="114">
                  <a:moveTo>
                    <a:pt x="590" y="17"/>
                  </a:moveTo>
                  <a:cubicBezTo>
                    <a:pt x="584" y="25"/>
                    <a:pt x="572" y="33"/>
                    <a:pt x="556" y="40"/>
                  </a:cubicBezTo>
                  <a:cubicBezTo>
                    <a:pt x="536" y="50"/>
                    <a:pt x="508" y="58"/>
                    <a:pt x="476" y="64"/>
                  </a:cubicBezTo>
                  <a:cubicBezTo>
                    <a:pt x="426" y="74"/>
                    <a:pt x="365" y="80"/>
                    <a:pt x="299" y="80"/>
                  </a:cubicBezTo>
                  <a:cubicBezTo>
                    <a:pt x="232" y="80"/>
                    <a:pt x="171" y="74"/>
                    <a:pt x="122" y="64"/>
                  </a:cubicBezTo>
                  <a:cubicBezTo>
                    <a:pt x="89" y="58"/>
                    <a:pt x="62" y="50"/>
                    <a:pt x="41" y="40"/>
                  </a:cubicBezTo>
                  <a:cubicBezTo>
                    <a:pt x="25" y="33"/>
                    <a:pt x="14" y="25"/>
                    <a:pt x="7" y="17"/>
                  </a:cubicBezTo>
                  <a:cubicBezTo>
                    <a:pt x="3" y="12"/>
                    <a:pt x="0" y="6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9"/>
                    <a:pt x="2" y="44"/>
                    <a:pt x="6" y="49"/>
                  </a:cubicBezTo>
                  <a:cubicBezTo>
                    <a:pt x="13" y="59"/>
                    <a:pt x="28" y="69"/>
                    <a:pt x="47" y="77"/>
                  </a:cubicBezTo>
                  <a:cubicBezTo>
                    <a:pt x="79" y="90"/>
                    <a:pt x="126" y="101"/>
                    <a:pt x="181" y="107"/>
                  </a:cubicBezTo>
                  <a:cubicBezTo>
                    <a:pt x="217" y="111"/>
                    <a:pt x="257" y="114"/>
                    <a:pt x="299" y="114"/>
                  </a:cubicBezTo>
                  <a:cubicBezTo>
                    <a:pt x="341" y="114"/>
                    <a:pt x="380" y="111"/>
                    <a:pt x="417" y="107"/>
                  </a:cubicBezTo>
                  <a:cubicBezTo>
                    <a:pt x="471" y="101"/>
                    <a:pt x="518" y="90"/>
                    <a:pt x="550" y="77"/>
                  </a:cubicBezTo>
                  <a:cubicBezTo>
                    <a:pt x="570" y="69"/>
                    <a:pt x="584" y="59"/>
                    <a:pt x="591" y="49"/>
                  </a:cubicBezTo>
                  <a:cubicBezTo>
                    <a:pt x="595" y="44"/>
                    <a:pt x="597" y="39"/>
                    <a:pt x="597" y="34"/>
                  </a:cubicBezTo>
                  <a:cubicBezTo>
                    <a:pt x="597" y="0"/>
                    <a:pt x="597" y="0"/>
                    <a:pt x="597" y="0"/>
                  </a:cubicBezTo>
                  <a:cubicBezTo>
                    <a:pt x="597" y="6"/>
                    <a:pt x="595" y="12"/>
                    <a:pt x="590" y="17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B33D6A43-4B65-8BCD-8B0E-3574C5238FCB}"/>
              </a:ext>
            </a:extLst>
          </p:cNvPr>
          <p:cNvGrpSpPr/>
          <p:nvPr/>
        </p:nvGrpSpPr>
        <p:grpSpPr>
          <a:xfrm>
            <a:off x="4240482" y="8060612"/>
            <a:ext cx="3711034" cy="1116288"/>
            <a:chOff x="4240482" y="2397748"/>
            <a:chExt cx="3711034" cy="1116288"/>
          </a:xfrm>
        </p:grpSpPr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3CF99B6F-D029-B353-93F3-034E6103B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2397748"/>
              <a:ext cx="3711034" cy="907564"/>
            </a:xfrm>
            <a:custGeom>
              <a:avLst/>
              <a:gdLst>
                <a:gd name="T0" fmla="*/ 275 w 786"/>
                <a:gd name="T1" fmla="*/ 58 h 166"/>
                <a:gd name="T2" fmla="*/ 141 w 786"/>
                <a:gd name="T3" fmla="*/ 28 h 166"/>
                <a:gd name="T4" fmla="*/ 100 w 786"/>
                <a:gd name="T5" fmla="*/ 0 h 166"/>
                <a:gd name="T6" fmla="*/ 0 w 786"/>
                <a:gd name="T7" fmla="*/ 67 h 166"/>
                <a:gd name="T8" fmla="*/ 7 w 786"/>
                <a:gd name="T9" fmla="*/ 86 h 166"/>
                <a:gd name="T10" fmla="*/ 19 w 786"/>
                <a:gd name="T11" fmla="*/ 97 h 166"/>
                <a:gd name="T12" fmla="*/ 68 w 786"/>
                <a:gd name="T13" fmla="*/ 123 h 166"/>
                <a:gd name="T14" fmla="*/ 393 w 786"/>
                <a:gd name="T15" fmla="*/ 166 h 166"/>
                <a:gd name="T16" fmla="*/ 718 w 786"/>
                <a:gd name="T17" fmla="*/ 123 h 166"/>
                <a:gd name="T18" fmla="*/ 767 w 786"/>
                <a:gd name="T19" fmla="*/ 97 h 166"/>
                <a:gd name="T20" fmla="*/ 779 w 786"/>
                <a:gd name="T21" fmla="*/ 86 h 166"/>
                <a:gd name="T22" fmla="*/ 786 w 786"/>
                <a:gd name="T23" fmla="*/ 67 h 166"/>
                <a:gd name="T24" fmla="*/ 685 w 786"/>
                <a:gd name="T25" fmla="*/ 0 h 166"/>
                <a:gd name="T26" fmla="*/ 644 w 786"/>
                <a:gd name="T27" fmla="*/ 28 h 166"/>
                <a:gd name="T28" fmla="*/ 511 w 786"/>
                <a:gd name="T29" fmla="*/ 58 h 166"/>
                <a:gd name="T30" fmla="*/ 393 w 786"/>
                <a:gd name="T31" fmla="*/ 65 h 166"/>
                <a:gd name="T32" fmla="*/ 275 w 786"/>
                <a:gd name="T33" fmla="*/ 58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6" h="166">
                  <a:moveTo>
                    <a:pt x="275" y="58"/>
                  </a:moveTo>
                  <a:cubicBezTo>
                    <a:pt x="220" y="52"/>
                    <a:pt x="173" y="41"/>
                    <a:pt x="141" y="28"/>
                  </a:cubicBezTo>
                  <a:cubicBezTo>
                    <a:pt x="122" y="20"/>
                    <a:pt x="107" y="10"/>
                    <a:pt x="100" y="0"/>
                  </a:cubicBezTo>
                  <a:cubicBezTo>
                    <a:pt x="38" y="18"/>
                    <a:pt x="0" y="41"/>
                    <a:pt x="0" y="67"/>
                  </a:cubicBezTo>
                  <a:cubicBezTo>
                    <a:pt x="0" y="73"/>
                    <a:pt x="2" y="79"/>
                    <a:pt x="7" y="86"/>
                  </a:cubicBezTo>
                  <a:cubicBezTo>
                    <a:pt x="10" y="90"/>
                    <a:pt x="14" y="94"/>
                    <a:pt x="19" y="97"/>
                  </a:cubicBezTo>
                  <a:cubicBezTo>
                    <a:pt x="30" y="107"/>
                    <a:pt x="47" y="115"/>
                    <a:pt x="68" y="123"/>
                  </a:cubicBezTo>
                  <a:cubicBezTo>
                    <a:pt x="139" y="149"/>
                    <a:pt x="258" y="166"/>
                    <a:pt x="393" y="166"/>
                  </a:cubicBezTo>
                  <a:cubicBezTo>
                    <a:pt x="528" y="166"/>
                    <a:pt x="647" y="149"/>
                    <a:pt x="718" y="123"/>
                  </a:cubicBezTo>
                  <a:cubicBezTo>
                    <a:pt x="738" y="115"/>
                    <a:pt x="755" y="107"/>
                    <a:pt x="767" y="97"/>
                  </a:cubicBezTo>
                  <a:cubicBezTo>
                    <a:pt x="771" y="94"/>
                    <a:pt x="775" y="90"/>
                    <a:pt x="779" y="86"/>
                  </a:cubicBezTo>
                  <a:cubicBezTo>
                    <a:pt x="783" y="79"/>
                    <a:pt x="786" y="73"/>
                    <a:pt x="786" y="67"/>
                  </a:cubicBezTo>
                  <a:cubicBezTo>
                    <a:pt x="786" y="41"/>
                    <a:pt x="748" y="18"/>
                    <a:pt x="685" y="0"/>
                  </a:cubicBezTo>
                  <a:cubicBezTo>
                    <a:pt x="678" y="10"/>
                    <a:pt x="664" y="20"/>
                    <a:pt x="644" y="28"/>
                  </a:cubicBezTo>
                  <a:cubicBezTo>
                    <a:pt x="612" y="41"/>
                    <a:pt x="565" y="52"/>
                    <a:pt x="511" y="58"/>
                  </a:cubicBezTo>
                  <a:cubicBezTo>
                    <a:pt x="474" y="62"/>
                    <a:pt x="435" y="65"/>
                    <a:pt x="393" y="65"/>
                  </a:cubicBezTo>
                  <a:cubicBezTo>
                    <a:pt x="351" y="65"/>
                    <a:pt x="311" y="62"/>
                    <a:pt x="275" y="58"/>
                  </a:cubicBezTo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3DDF25D8-23A3-CF50-44E6-5C50D01C1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2764174"/>
              <a:ext cx="3711034" cy="749862"/>
            </a:xfrm>
            <a:custGeom>
              <a:avLst/>
              <a:gdLst>
                <a:gd name="T0" fmla="*/ 786 w 786"/>
                <a:gd name="T1" fmla="*/ 0 h 137"/>
                <a:gd name="T2" fmla="*/ 779 w 786"/>
                <a:gd name="T3" fmla="*/ 19 h 137"/>
                <a:gd name="T4" fmla="*/ 767 w 786"/>
                <a:gd name="T5" fmla="*/ 30 h 137"/>
                <a:gd name="T6" fmla="*/ 718 w 786"/>
                <a:gd name="T7" fmla="*/ 56 h 137"/>
                <a:gd name="T8" fmla="*/ 393 w 786"/>
                <a:gd name="T9" fmla="*/ 99 h 137"/>
                <a:gd name="T10" fmla="*/ 68 w 786"/>
                <a:gd name="T11" fmla="*/ 56 h 137"/>
                <a:gd name="T12" fmla="*/ 19 w 786"/>
                <a:gd name="T13" fmla="*/ 30 h 137"/>
                <a:gd name="T14" fmla="*/ 7 w 786"/>
                <a:gd name="T15" fmla="*/ 19 h 137"/>
                <a:gd name="T16" fmla="*/ 0 w 786"/>
                <a:gd name="T17" fmla="*/ 0 h 137"/>
                <a:gd name="T18" fmla="*/ 0 w 786"/>
                <a:gd name="T19" fmla="*/ 36 h 137"/>
                <a:gd name="T20" fmla="*/ 0 w 786"/>
                <a:gd name="T21" fmla="*/ 36 h 137"/>
                <a:gd name="T22" fmla="*/ 0 w 786"/>
                <a:gd name="T23" fmla="*/ 37 h 137"/>
                <a:gd name="T24" fmla="*/ 19 w 786"/>
                <a:gd name="T25" fmla="*/ 68 h 137"/>
                <a:gd name="T26" fmla="*/ 393 w 786"/>
                <a:gd name="T27" fmla="*/ 137 h 137"/>
                <a:gd name="T28" fmla="*/ 767 w 786"/>
                <a:gd name="T29" fmla="*/ 68 h 137"/>
                <a:gd name="T30" fmla="*/ 786 w 786"/>
                <a:gd name="T31" fmla="*/ 37 h 137"/>
                <a:gd name="T32" fmla="*/ 786 w 786"/>
                <a:gd name="T33" fmla="*/ 36 h 137"/>
                <a:gd name="T34" fmla="*/ 786 w 786"/>
                <a:gd name="T35" fmla="*/ 36 h 137"/>
                <a:gd name="T36" fmla="*/ 786 w 786"/>
                <a:gd name="T3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86" h="137">
                  <a:moveTo>
                    <a:pt x="786" y="0"/>
                  </a:moveTo>
                  <a:cubicBezTo>
                    <a:pt x="786" y="6"/>
                    <a:pt x="783" y="12"/>
                    <a:pt x="779" y="19"/>
                  </a:cubicBezTo>
                  <a:cubicBezTo>
                    <a:pt x="775" y="23"/>
                    <a:pt x="771" y="27"/>
                    <a:pt x="767" y="30"/>
                  </a:cubicBezTo>
                  <a:cubicBezTo>
                    <a:pt x="755" y="40"/>
                    <a:pt x="738" y="48"/>
                    <a:pt x="718" y="56"/>
                  </a:cubicBezTo>
                  <a:cubicBezTo>
                    <a:pt x="647" y="82"/>
                    <a:pt x="528" y="99"/>
                    <a:pt x="393" y="99"/>
                  </a:cubicBezTo>
                  <a:cubicBezTo>
                    <a:pt x="258" y="99"/>
                    <a:pt x="139" y="82"/>
                    <a:pt x="68" y="56"/>
                  </a:cubicBezTo>
                  <a:cubicBezTo>
                    <a:pt x="47" y="48"/>
                    <a:pt x="30" y="40"/>
                    <a:pt x="19" y="30"/>
                  </a:cubicBezTo>
                  <a:cubicBezTo>
                    <a:pt x="14" y="27"/>
                    <a:pt x="10" y="23"/>
                    <a:pt x="7" y="19"/>
                  </a:cubicBezTo>
                  <a:cubicBezTo>
                    <a:pt x="2" y="12"/>
                    <a:pt x="0" y="6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8"/>
                    <a:pt x="6" y="58"/>
                    <a:pt x="19" y="68"/>
                  </a:cubicBezTo>
                  <a:cubicBezTo>
                    <a:pt x="69" y="108"/>
                    <a:pt x="218" y="137"/>
                    <a:pt x="393" y="137"/>
                  </a:cubicBezTo>
                  <a:cubicBezTo>
                    <a:pt x="568" y="137"/>
                    <a:pt x="716" y="108"/>
                    <a:pt x="767" y="68"/>
                  </a:cubicBezTo>
                  <a:cubicBezTo>
                    <a:pt x="779" y="58"/>
                    <a:pt x="786" y="48"/>
                    <a:pt x="786" y="37"/>
                  </a:cubicBezTo>
                  <a:cubicBezTo>
                    <a:pt x="786" y="37"/>
                    <a:pt x="786" y="37"/>
                    <a:pt x="786" y="36"/>
                  </a:cubicBezTo>
                  <a:cubicBezTo>
                    <a:pt x="786" y="36"/>
                    <a:pt x="786" y="36"/>
                    <a:pt x="786" y="36"/>
                  </a:cubicBezTo>
                  <a:lnTo>
                    <a:pt x="786" y="0"/>
                  </a:ln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FD0D8538-71F0-0E17-F606-80C9D3B89C3F}"/>
              </a:ext>
            </a:extLst>
          </p:cNvPr>
          <p:cNvGrpSpPr/>
          <p:nvPr/>
        </p:nvGrpSpPr>
        <p:grpSpPr>
          <a:xfrm>
            <a:off x="3706521" y="8623395"/>
            <a:ext cx="4778958" cy="1379127"/>
            <a:chOff x="3706521" y="2960531"/>
            <a:chExt cx="4778958" cy="1379127"/>
          </a:xfrm>
        </p:grpSpPr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65103425-C507-75CF-C47F-09392789F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521" y="2960531"/>
              <a:ext cx="4778958" cy="1171949"/>
            </a:xfrm>
            <a:custGeom>
              <a:avLst/>
              <a:gdLst>
                <a:gd name="T0" fmla="*/ 899 w 1012"/>
                <a:gd name="T1" fmla="*/ 0 h 214"/>
                <a:gd name="T2" fmla="*/ 899 w 1012"/>
                <a:gd name="T3" fmla="*/ 1 h 214"/>
                <a:gd name="T4" fmla="*/ 880 w 1012"/>
                <a:gd name="T5" fmla="*/ 32 h 214"/>
                <a:gd name="T6" fmla="*/ 506 w 1012"/>
                <a:gd name="T7" fmla="*/ 101 h 214"/>
                <a:gd name="T8" fmla="*/ 132 w 1012"/>
                <a:gd name="T9" fmla="*/ 32 h 214"/>
                <a:gd name="T10" fmla="*/ 113 w 1012"/>
                <a:gd name="T11" fmla="*/ 1 h 214"/>
                <a:gd name="T12" fmla="*/ 113 w 1012"/>
                <a:gd name="T13" fmla="*/ 0 h 214"/>
                <a:gd name="T14" fmla="*/ 0 w 1012"/>
                <a:gd name="T15" fmla="*/ 83 h 214"/>
                <a:gd name="T16" fmla="*/ 5 w 1012"/>
                <a:gd name="T17" fmla="*/ 102 h 214"/>
                <a:gd name="T18" fmla="*/ 185 w 1012"/>
                <a:gd name="T19" fmla="*/ 185 h 214"/>
                <a:gd name="T20" fmla="*/ 257 w 1012"/>
                <a:gd name="T21" fmla="*/ 198 h 214"/>
                <a:gd name="T22" fmla="*/ 506 w 1012"/>
                <a:gd name="T23" fmla="*/ 214 h 214"/>
                <a:gd name="T24" fmla="*/ 754 w 1012"/>
                <a:gd name="T25" fmla="*/ 198 h 214"/>
                <a:gd name="T26" fmla="*/ 826 w 1012"/>
                <a:gd name="T27" fmla="*/ 185 h 214"/>
                <a:gd name="T28" fmla="*/ 1006 w 1012"/>
                <a:gd name="T29" fmla="*/ 102 h 214"/>
                <a:gd name="T30" fmla="*/ 1012 w 1012"/>
                <a:gd name="T31" fmla="*/ 83 h 214"/>
                <a:gd name="T32" fmla="*/ 899 w 1012"/>
                <a:gd name="T3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12" h="214">
                  <a:moveTo>
                    <a:pt x="899" y="0"/>
                  </a:moveTo>
                  <a:cubicBezTo>
                    <a:pt x="899" y="1"/>
                    <a:pt x="899" y="1"/>
                    <a:pt x="899" y="1"/>
                  </a:cubicBezTo>
                  <a:cubicBezTo>
                    <a:pt x="899" y="12"/>
                    <a:pt x="892" y="22"/>
                    <a:pt x="880" y="32"/>
                  </a:cubicBezTo>
                  <a:cubicBezTo>
                    <a:pt x="829" y="72"/>
                    <a:pt x="681" y="101"/>
                    <a:pt x="506" y="101"/>
                  </a:cubicBezTo>
                  <a:cubicBezTo>
                    <a:pt x="331" y="101"/>
                    <a:pt x="182" y="72"/>
                    <a:pt x="132" y="32"/>
                  </a:cubicBezTo>
                  <a:cubicBezTo>
                    <a:pt x="119" y="22"/>
                    <a:pt x="113" y="12"/>
                    <a:pt x="113" y="1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42" y="23"/>
                    <a:pt x="0" y="52"/>
                    <a:pt x="0" y="83"/>
                  </a:cubicBezTo>
                  <a:cubicBezTo>
                    <a:pt x="0" y="89"/>
                    <a:pt x="1" y="96"/>
                    <a:pt x="5" y="102"/>
                  </a:cubicBezTo>
                  <a:cubicBezTo>
                    <a:pt x="23" y="135"/>
                    <a:pt x="90" y="164"/>
                    <a:pt x="185" y="185"/>
                  </a:cubicBezTo>
                  <a:cubicBezTo>
                    <a:pt x="208" y="190"/>
                    <a:pt x="232" y="194"/>
                    <a:pt x="257" y="198"/>
                  </a:cubicBezTo>
                  <a:cubicBezTo>
                    <a:pt x="331" y="208"/>
                    <a:pt x="415" y="214"/>
                    <a:pt x="506" y="214"/>
                  </a:cubicBezTo>
                  <a:cubicBezTo>
                    <a:pt x="596" y="214"/>
                    <a:pt x="680" y="208"/>
                    <a:pt x="754" y="198"/>
                  </a:cubicBezTo>
                  <a:cubicBezTo>
                    <a:pt x="779" y="194"/>
                    <a:pt x="803" y="190"/>
                    <a:pt x="826" y="185"/>
                  </a:cubicBezTo>
                  <a:cubicBezTo>
                    <a:pt x="922" y="164"/>
                    <a:pt x="988" y="135"/>
                    <a:pt x="1006" y="102"/>
                  </a:cubicBezTo>
                  <a:cubicBezTo>
                    <a:pt x="1010" y="96"/>
                    <a:pt x="1012" y="89"/>
                    <a:pt x="1012" y="83"/>
                  </a:cubicBezTo>
                  <a:cubicBezTo>
                    <a:pt x="1012" y="52"/>
                    <a:pt x="969" y="23"/>
                    <a:pt x="899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9A421F01-E317-74A1-CEED-2945F73EC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521" y="3415086"/>
              <a:ext cx="4778958" cy="924572"/>
            </a:xfrm>
            <a:custGeom>
              <a:avLst/>
              <a:gdLst>
                <a:gd name="T0" fmla="*/ 1006 w 1012"/>
                <a:gd name="T1" fmla="*/ 19 h 169"/>
                <a:gd name="T2" fmla="*/ 826 w 1012"/>
                <a:gd name="T3" fmla="*/ 102 h 169"/>
                <a:gd name="T4" fmla="*/ 754 w 1012"/>
                <a:gd name="T5" fmla="*/ 115 h 169"/>
                <a:gd name="T6" fmla="*/ 506 w 1012"/>
                <a:gd name="T7" fmla="*/ 131 h 169"/>
                <a:gd name="T8" fmla="*/ 257 w 1012"/>
                <a:gd name="T9" fmla="*/ 115 h 169"/>
                <a:gd name="T10" fmla="*/ 185 w 1012"/>
                <a:gd name="T11" fmla="*/ 102 h 169"/>
                <a:gd name="T12" fmla="*/ 5 w 1012"/>
                <a:gd name="T13" fmla="*/ 19 h 169"/>
                <a:gd name="T14" fmla="*/ 0 w 1012"/>
                <a:gd name="T15" fmla="*/ 0 h 169"/>
                <a:gd name="T16" fmla="*/ 0 w 1012"/>
                <a:gd name="T17" fmla="*/ 38 h 169"/>
                <a:gd name="T18" fmla="*/ 134 w 1012"/>
                <a:gd name="T19" fmla="*/ 127 h 169"/>
                <a:gd name="T20" fmla="*/ 144 w 1012"/>
                <a:gd name="T21" fmla="*/ 120 h 169"/>
                <a:gd name="T22" fmla="*/ 156 w 1012"/>
                <a:gd name="T23" fmla="*/ 114 h 169"/>
                <a:gd name="T24" fmla="*/ 170 w 1012"/>
                <a:gd name="T25" fmla="*/ 108 h 169"/>
                <a:gd name="T26" fmla="*/ 156 w 1012"/>
                <a:gd name="T27" fmla="*/ 114 h 169"/>
                <a:gd name="T28" fmla="*/ 144 w 1012"/>
                <a:gd name="T29" fmla="*/ 120 h 169"/>
                <a:gd name="T30" fmla="*/ 134 w 1012"/>
                <a:gd name="T31" fmla="*/ 127 h 169"/>
                <a:gd name="T32" fmla="*/ 176 w 1012"/>
                <a:gd name="T33" fmla="*/ 137 h 169"/>
                <a:gd name="T34" fmla="*/ 506 w 1012"/>
                <a:gd name="T35" fmla="*/ 169 h 169"/>
                <a:gd name="T36" fmla="*/ 835 w 1012"/>
                <a:gd name="T37" fmla="*/ 137 h 169"/>
                <a:gd name="T38" fmla="*/ 877 w 1012"/>
                <a:gd name="T39" fmla="*/ 127 h 169"/>
                <a:gd name="T40" fmla="*/ 1012 w 1012"/>
                <a:gd name="T41" fmla="*/ 38 h 169"/>
                <a:gd name="T42" fmla="*/ 1012 w 1012"/>
                <a:gd name="T43" fmla="*/ 0 h 169"/>
                <a:gd name="T44" fmla="*/ 1006 w 1012"/>
                <a:gd name="T45" fmla="*/ 1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12" h="169">
                  <a:moveTo>
                    <a:pt x="1006" y="19"/>
                  </a:moveTo>
                  <a:cubicBezTo>
                    <a:pt x="988" y="52"/>
                    <a:pt x="922" y="81"/>
                    <a:pt x="826" y="102"/>
                  </a:cubicBezTo>
                  <a:cubicBezTo>
                    <a:pt x="803" y="107"/>
                    <a:pt x="779" y="111"/>
                    <a:pt x="754" y="115"/>
                  </a:cubicBezTo>
                  <a:cubicBezTo>
                    <a:pt x="680" y="125"/>
                    <a:pt x="596" y="131"/>
                    <a:pt x="506" y="131"/>
                  </a:cubicBezTo>
                  <a:cubicBezTo>
                    <a:pt x="415" y="131"/>
                    <a:pt x="331" y="125"/>
                    <a:pt x="257" y="115"/>
                  </a:cubicBezTo>
                  <a:cubicBezTo>
                    <a:pt x="232" y="111"/>
                    <a:pt x="208" y="107"/>
                    <a:pt x="185" y="102"/>
                  </a:cubicBezTo>
                  <a:cubicBezTo>
                    <a:pt x="90" y="81"/>
                    <a:pt x="23" y="52"/>
                    <a:pt x="5" y="19"/>
                  </a:cubicBezTo>
                  <a:cubicBezTo>
                    <a:pt x="1" y="13"/>
                    <a:pt x="0" y="6"/>
                    <a:pt x="0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72"/>
                    <a:pt x="51" y="103"/>
                    <a:pt x="134" y="127"/>
                  </a:cubicBezTo>
                  <a:cubicBezTo>
                    <a:pt x="137" y="125"/>
                    <a:pt x="141" y="122"/>
                    <a:pt x="144" y="120"/>
                  </a:cubicBezTo>
                  <a:cubicBezTo>
                    <a:pt x="148" y="118"/>
                    <a:pt x="152" y="116"/>
                    <a:pt x="156" y="114"/>
                  </a:cubicBezTo>
                  <a:cubicBezTo>
                    <a:pt x="161" y="112"/>
                    <a:pt x="165" y="110"/>
                    <a:pt x="170" y="108"/>
                  </a:cubicBezTo>
                  <a:cubicBezTo>
                    <a:pt x="165" y="110"/>
                    <a:pt x="161" y="112"/>
                    <a:pt x="156" y="114"/>
                  </a:cubicBezTo>
                  <a:cubicBezTo>
                    <a:pt x="152" y="116"/>
                    <a:pt x="148" y="118"/>
                    <a:pt x="144" y="120"/>
                  </a:cubicBezTo>
                  <a:cubicBezTo>
                    <a:pt x="141" y="122"/>
                    <a:pt x="137" y="125"/>
                    <a:pt x="134" y="127"/>
                  </a:cubicBezTo>
                  <a:cubicBezTo>
                    <a:pt x="148" y="131"/>
                    <a:pt x="162" y="134"/>
                    <a:pt x="176" y="137"/>
                  </a:cubicBezTo>
                  <a:cubicBezTo>
                    <a:pt x="265" y="157"/>
                    <a:pt x="380" y="169"/>
                    <a:pt x="506" y="169"/>
                  </a:cubicBezTo>
                  <a:cubicBezTo>
                    <a:pt x="631" y="169"/>
                    <a:pt x="746" y="157"/>
                    <a:pt x="835" y="137"/>
                  </a:cubicBezTo>
                  <a:cubicBezTo>
                    <a:pt x="850" y="134"/>
                    <a:pt x="864" y="131"/>
                    <a:pt x="877" y="127"/>
                  </a:cubicBezTo>
                  <a:cubicBezTo>
                    <a:pt x="961" y="103"/>
                    <a:pt x="1012" y="72"/>
                    <a:pt x="1012" y="38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1012" y="6"/>
                    <a:pt x="1010" y="13"/>
                    <a:pt x="1006" y="19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E5F42A60-6097-5AAC-DBDA-64473B83A759}"/>
              </a:ext>
            </a:extLst>
          </p:cNvPr>
          <p:cNvGrpSpPr/>
          <p:nvPr/>
        </p:nvGrpSpPr>
        <p:grpSpPr>
          <a:xfrm>
            <a:off x="4685006" y="10528198"/>
            <a:ext cx="2823324" cy="814797"/>
            <a:chOff x="4685006" y="4865334"/>
            <a:chExt cx="2823324" cy="814797"/>
          </a:xfrm>
        </p:grpSpPr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20CE4081-CA5F-B781-892B-F6F5DE951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4865334"/>
              <a:ext cx="2823324" cy="618442"/>
            </a:xfrm>
            <a:custGeom>
              <a:avLst/>
              <a:gdLst>
                <a:gd name="T0" fmla="*/ 564 w 598"/>
                <a:gd name="T1" fmla="*/ 0 h 113"/>
                <a:gd name="T2" fmla="*/ 495 w 598"/>
                <a:gd name="T3" fmla="*/ 13 h 113"/>
                <a:gd name="T4" fmla="*/ 299 w 598"/>
                <a:gd name="T5" fmla="*/ 26 h 113"/>
                <a:gd name="T6" fmla="*/ 102 w 598"/>
                <a:gd name="T7" fmla="*/ 13 h 113"/>
                <a:gd name="T8" fmla="*/ 33 w 598"/>
                <a:gd name="T9" fmla="*/ 0 h 113"/>
                <a:gd name="T10" fmla="*/ 0 w 598"/>
                <a:gd name="T11" fmla="*/ 36 h 113"/>
                <a:gd name="T12" fmla="*/ 8 w 598"/>
                <a:gd name="T13" fmla="*/ 53 h 113"/>
                <a:gd name="T14" fmla="*/ 299 w 598"/>
                <a:gd name="T15" fmla="*/ 113 h 113"/>
                <a:gd name="T16" fmla="*/ 590 w 598"/>
                <a:gd name="T17" fmla="*/ 53 h 113"/>
                <a:gd name="T18" fmla="*/ 598 w 598"/>
                <a:gd name="T19" fmla="*/ 36 h 113"/>
                <a:gd name="T20" fmla="*/ 564 w 598"/>
                <a:gd name="T21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8" h="113">
                  <a:moveTo>
                    <a:pt x="564" y="0"/>
                  </a:moveTo>
                  <a:cubicBezTo>
                    <a:pt x="543" y="5"/>
                    <a:pt x="520" y="9"/>
                    <a:pt x="495" y="13"/>
                  </a:cubicBezTo>
                  <a:cubicBezTo>
                    <a:pt x="437" y="21"/>
                    <a:pt x="370" y="26"/>
                    <a:pt x="299" y="26"/>
                  </a:cubicBezTo>
                  <a:cubicBezTo>
                    <a:pt x="227" y="26"/>
                    <a:pt x="160" y="21"/>
                    <a:pt x="102" y="13"/>
                  </a:cubicBezTo>
                  <a:cubicBezTo>
                    <a:pt x="77" y="9"/>
                    <a:pt x="54" y="5"/>
                    <a:pt x="33" y="0"/>
                  </a:cubicBezTo>
                  <a:cubicBezTo>
                    <a:pt x="12" y="11"/>
                    <a:pt x="0" y="23"/>
                    <a:pt x="0" y="36"/>
                  </a:cubicBezTo>
                  <a:cubicBezTo>
                    <a:pt x="0" y="42"/>
                    <a:pt x="2" y="48"/>
                    <a:pt x="8" y="53"/>
                  </a:cubicBezTo>
                  <a:cubicBezTo>
                    <a:pt x="39" y="88"/>
                    <a:pt x="157" y="113"/>
                    <a:pt x="299" y="113"/>
                  </a:cubicBezTo>
                  <a:cubicBezTo>
                    <a:pt x="440" y="113"/>
                    <a:pt x="559" y="88"/>
                    <a:pt x="590" y="53"/>
                  </a:cubicBezTo>
                  <a:cubicBezTo>
                    <a:pt x="595" y="48"/>
                    <a:pt x="598" y="42"/>
                    <a:pt x="598" y="36"/>
                  </a:cubicBezTo>
                  <a:cubicBezTo>
                    <a:pt x="598" y="23"/>
                    <a:pt x="585" y="11"/>
                    <a:pt x="56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A3FD4035-0B1F-C93F-AD7A-5911B0F154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5061689"/>
              <a:ext cx="2823324" cy="618442"/>
            </a:xfrm>
            <a:custGeom>
              <a:avLst/>
              <a:gdLst>
                <a:gd name="T0" fmla="*/ 590 w 598"/>
                <a:gd name="T1" fmla="*/ 17 h 113"/>
                <a:gd name="T2" fmla="*/ 299 w 598"/>
                <a:gd name="T3" fmla="*/ 77 h 113"/>
                <a:gd name="T4" fmla="*/ 8 w 598"/>
                <a:gd name="T5" fmla="*/ 17 h 113"/>
                <a:gd name="T6" fmla="*/ 0 w 598"/>
                <a:gd name="T7" fmla="*/ 0 h 113"/>
                <a:gd name="T8" fmla="*/ 0 w 598"/>
                <a:gd name="T9" fmla="*/ 35 h 113"/>
                <a:gd name="T10" fmla="*/ 299 w 598"/>
                <a:gd name="T11" fmla="*/ 113 h 113"/>
                <a:gd name="T12" fmla="*/ 598 w 598"/>
                <a:gd name="T13" fmla="*/ 35 h 113"/>
                <a:gd name="T14" fmla="*/ 598 w 598"/>
                <a:gd name="T15" fmla="*/ 0 h 113"/>
                <a:gd name="T16" fmla="*/ 590 w 598"/>
                <a:gd name="T17" fmla="*/ 1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8" h="113">
                  <a:moveTo>
                    <a:pt x="590" y="17"/>
                  </a:moveTo>
                  <a:cubicBezTo>
                    <a:pt x="559" y="52"/>
                    <a:pt x="440" y="77"/>
                    <a:pt x="299" y="77"/>
                  </a:cubicBezTo>
                  <a:cubicBezTo>
                    <a:pt x="157" y="77"/>
                    <a:pt x="39" y="52"/>
                    <a:pt x="8" y="17"/>
                  </a:cubicBezTo>
                  <a:cubicBezTo>
                    <a:pt x="2" y="12"/>
                    <a:pt x="0" y="6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78"/>
                    <a:pt x="134" y="113"/>
                    <a:pt x="299" y="113"/>
                  </a:cubicBezTo>
                  <a:cubicBezTo>
                    <a:pt x="464" y="113"/>
                    <a:pt x="598" y="78"/>
                    <a:pt x="598" y="35"/>
                  </a:cubicBezTo>
                  <a:cubicBezTo>
                    <a:pt x="598" y="0"/>
                    <a:pt x="598" y="0"/>
                    <a:pt x="598" y="0"/>
                  </a:cubicBezTo>
                  <a:cubicBezTo>
                    <a:pt x="598" y="6"/>
                    <a:pt x="595" y="12"/>
                    <a:pt x="590" y="17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38FE194F-00EB-79DB-4963-34132C6E721B}"/>
              </a:ext>
            </a:extLst>
          </p:cNvPr>
          <p:cNvGrpSpPr/>
          <p:nvPr/>
        </p:nvGrpSpPr>
        <p:grpSpPr>
          <a:xfrm>
            <a:off x="4240482" y="9773698"/>
            <a:ext cx="3711034" cy="896741"/>
            <a:chOff x="4240482" y="4110834"/>
            <a:chExt cx="3711034" cy="896741"/>
          </a:xfrm>
        </p:grpSpPr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048F357E-6737-E502-5711-A88CABAC8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4110834"/>
              <a:ext cx="3711034" cy="722032"/>
            </a:xfrm>
            <a:custGeom>
              <a:avLst/>
              <a:gdLst>
                <a:gd name="T0" fmla="*/ 764 w 786"/>
                <a:gd name="T1" fmla="*/ 0 h 132"/>
                <a:gd name="T2" fmla="*/ 722 w 786"/>
                <a:gd name="T3" fmla="*/ 10 h 132"/>
                <a:gd name="T4" fmla="*/ 393 w 786"/>
                <a:gd name="T5" fmla="*/ 42 h 132"/>
                <a:gd name="T6" fmla="*/ 63 w 786"/>
                <a:gd name="T7" fmla="*/ 10 h 132"/>
                <a:gd name="T8" fmla="*/ 21 w 786"/>
                <a:gd name="T9" fmla="*/ 0 h 132"/>
                <a:gd name="T10" fmla="*/ 0 w 786"/>
                <a:gd name="T11" fmla="*/ 32 h 132"/>
                <a:gd name="T12" fmla="*/ 5 w 786"/>
                <a:gd name="T13" fmla="*/ 48 h 132"/>
                <a:gd name="T14" fmla="*/ 188 w 786"/>
                <a:gd name="T15" fmla="*/ 117 h 132"/>
                <a:gd name="T16" fmla="*/ 393 w 786"/>
                <a:gd name="T17" fmla="*/ 132 h 132"/>
                <a:gd name="T18" fmla="*/ 597 w 786"/>
                <a:gd name="T19" fmla="*/ 117 h 132"/>
                <a:gd name="T20" fmla="*/ 780 w 786"/>
                <a:gd name="T21" fmla="*/ 48 h 132"/>
                <a:gd name="T22" fmla="*/ 786 w 786"/>
                <a:gd name="T23" fmla="*/ 32 h 132"/>
                <a:gd name="T24" fmla="*/ 764 w 786"/>
                <a:gd name="T2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6" h="132">
                  <a:moveTo>
                    <a:pt x="764" y="0"/>
                  </a:moveTo>
                  <a:cubicBezTo>
                    <a:pt x="751" y="4"/>
                    <a:pt x="737" y="7"/>
                    <a:pt x="722" y="10"/>
                  </a:cubicBezTo>
                  <a:cubicBezTo>
                    <a:pt x="633" y="30"/>
                    <a:pt x="518" y="42"/>
                    <a:pt x="393" y="42"/>
                  </a:cubicBezTo>
                  <a:cubicBezTo>
                    <a:pt x="267" y="42"/>
                    <a:pt x="152" y="30"/>
                    <a:pt x="63" y="10"/>
                  </a:cubicBezTo>
                  <a:cubicBezTo>
                    <a:pt x="49" y="7"/>
                    <a:pt x="35" y="4"/>
                    <a:pt x="21" y="0"/>
                  </a:cubicBezTo>
                  <a:cubicBezTo>
                    <a:pt x="7" y="10"/>
                    <a:pt x="0" y="21"/>
                    <a:pt x="0" y="32"/>
                  </a:cubicBezTo>
                  <a:cubicBezTo>
                    <a:pt x="0" y="38"/>
                    <a:pt x="1" y="43"/>
                    <a:pt x="5" y="48"/>
                  </a:cubicBezTo>
                  <a:cubicBezTo>
                    <a:pt x="24" y="78"/>
                    <a:pt x="92" y="102"/>
                    <a:pt x="188" y="117"/>
                  </a:cubicBezTo>
                  <a:cubicBezTo>
                    <a:pt x="248" y="126"/>
                    <a:pt x="318" y="132"/>
                    <a:pt x="393" y="132"/>
                  </a:cubicBezTo>
                  <a:cubicBezTo>
                    <a:pt x="468" y="132"/>
                    <a:pt x="538" y="126"/>
                    <a:pt x="597" y="117"/>
                  </a:cubicBezTo>
                  <a:cubicBezTo>
                    <a:pt x="693" y="102"/>
                    <a:pt x="762" y="78"/>
                    <a:pt x="780" y="48"/>
                  </a:cubicBezTo>
                  <a:cubicBezTo>
                    <a:pt x="784" y="43"/>
                    <a:pt x="786" y="38"/>
                    <a:pt x="786" y="32"/>
                  </a:cubicBezTo>
                  <a:cubicBezTo>
                    <a:pt x="786" y="21"/>
                    <a:pt x="778" y="10"/>
                    <a:pt x="76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A6483595-3321-F443-02EA-55A66D8FD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4285543"/>
              <a:ext cx="3711034" cy="722032"/>
            </a:xfrm>
            <a:custGeom>
              <a:avLst/>
              <a:gdLst>
                <a:gd name="T0" fmla="*/ 780 w 786"/>
                <a:gd name="T1" fmla="*/ 16 h 132"/>
                <a:gd name="T2" fmla="*/ 597 w 786"/>
                <a:gd name="T3" fmla="*/ 85 h 132"/>
                <a:gd name="T4" fmla="*/ 393 w 786"/>
                <a:gd name="T5" fmla="*/ 100 h 132"/>
                <a:gd name="T6" fmla="*/ 188 w 786"/>
                <a:gd name="T7" fmla="*/ 85 h 132"/>
                <a:gd name="T8" fmla="*/ 5 w 786"/>
                <a:gd name="T9" fmla="*/ 16 h 132"/>
                <a:gd name="T10" fmla="*/ 0 w 786"/>
                <a:gd name="T11" fmla="*/ 0 h 132"/>
                <a:gd name="T12" fmla="*/ 0 w 786"/>
                <a:gd name="T13" fmla="*/ 33 h 132"/>
                <a:gd name="T14" fmla="*/ 127 w 786"/>
                <a:gd name="T15" fmla="*/ 106 h 132"/>
                <a:gd name="T16" fmla="*/ 196 w 786"/>
                <a:gd name="T17" fmla="*/ 119 h 132"/>
                <a:gd name="T18" fmla="*/ 393 w 786"/>
                <a:gd name="T19" fmla="*/ 132 h 132"/>
                <a:gd name="T20" fmla="*/ 589 w 786"/>
                <a:gd name="T21" fmla="*/ 119 h 132"/>
                <a:gd name="T22" fmla="*/ 658 w 786"/>
                <a:gd name="T23" fmla="*/ 106 h 132"/>
                <a:gd name="T24" fmla="*/ 786 w 786"/>
                <a:gd name="T25" fmla="*/ 33 h 132"/>
                <a:gd name="T26" fmla="*/ 786 w 786"/>
                <a:gd name="T27" fmla="*/ 0 h 132"/>
                <a:gd name="T28" fmla="*/ 780 w 786"/>
                <a:gd name="T29" fmla="*/ 1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6" h="132">
                  <a:moveTo>
                    <a:pt x="780" y="16"/>
                  </a:moveTo>
                  <a:cubicBezTo>
                    <a:pt x="762" y="46"/>
                    <a:pt x="693" y="70"/>
                    <a:pt x="597" y="85"/>
                  </a:cubicBezTo>
                  <a:cubicBezTo>
                    <a:pt x="538" y="94"/>
                    <a:pt x="468" y="100"/>
                    <a:pt x="393" y="100"/>
                  </a:cubicBezTo>
                  <a:cubicBezTo>
                    <a:pt x="318" y="100"/>
                    <a:pt x="248" y="94"/>
                    <a:pt x="188" y="85"/>
                  </a:cubicBezTo>
                  <a:cubicBezTo>
                    <a:pt x="92" y="70"/>
                    <a:pt x="24" y="46"/>
                    <a:pt x="5" y="16"/>
                  </a:cubicBezTo>
                  <a:cubicBezTo>
                    <a:pt x="1" y="11"/>
                    <a:pt x="0" y="6"/>
                    <a:pt x="0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62"/>
                    <a:pt x="49" y="88"/>
                    <a:pt x="127" y="106"/>
                  </a:cubicBezTo>
                  <a:cubicBezTo>
                    <a:pt x="148" y="111"/>
                    <a:pt x="171" y="115"/>
                    <a:pt x="196" y="119"/>
                  </a:cubicBezTo>
                  <a:cubicBezTo>
                    <a:pt x="254" y="127"/>
                    <a:pt x="321" y="132"/>
                    <a:pt x="393" y="132"/>
                  </a:cubicBezTo>
                  <a:cubicBezTo>
                    <a:pt x="464" y="132"/>
                    <a:pt x="531" y="127"/>
                    <a:pt x="589" y="119"/>
                  </a:cubicBezTo>
                  <a:cubicBezTo>
                    <a:pt x="614" y="115"/>
                    <a:pt x="637" y="111"/>
                    <a:pt x="658" y="106"/>
                  </a:cubicBezTo>
                  <a:cubicBezTo>
                    <a:pt x="736" y="88"/>
                    <a:pt x="786" y="62"/>
                    <a:pt x="786" y="33"/>
                  </a:cubicBezTo>
                  <a:cubicBezTo>
                    <a:pt x="786" y="0"/>
                    <a:pt x="786" y="0"/>
                    <a:pt x="786" y="0"/>
                  </a:cubicBezTo>
                  <a:cubicBezTo>
                    <a:pt x="786" y="6"/>
                    <a:pt x="784" y="11"/>
                    <a:pt x="780" y="16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7BBDAFE6-EE78-1E0E-7B30-FB06F2A5ED53}"/>
              </a:ext>
            </a:extLst>
          </p:cNvPr>
          <p:cNvGrpSpPr/>
          <p:nvPr/>
        </p:nvGrpSpPr>
        <p:grpSpPr>
          <a:xfrm>
            <a:off x="163532" y="1440722"/>
            <a:ext cx="4439311" cy="1479765"/>
            <a:chOff x="230964" y="1440722"/>
            <a:chExt cx="4439311" cy="1479765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BC813AE4-E3D8-3EC1-0C2E-7BA8BDD32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24" name="Straight Connector 85">
              <a:extLst>
                <a:ext uri="{FF2B5EF4-FFF2-40B4-BE49-F238E27FC236}">
                  <a16:creationId xmlns:a16="http://schemas.microsoft.com/office/drawing/2014/main" id="{10A31B98-AE71-B040-4FB7-08F41327E4A5}"/>
                </a:ext>
              </a:extLst>
            </p:cNvPr>
            <p:cNvCxnSpPr>
              <a:cxnSpLocks/>
            </p:cNvCxnSpPr>
            <p:nvPr/>
          </p:nvCxnSpPr>
          <p:spPr>
            <a:xfrm>
              <a:off x="643370" y="2920487"/>
              <a:ext cx="2404872" cy="0"/>
            </a:xfrm>
            <a:prstGeom prst="line">
              <a:avLst/>
            </a:prstGeom>
            <a:ln w="25400">
              <a:gradFill flip="none" rotWithShape="1">
                <a:gsLst>
                  <a:gs pos="100000">
                    <a:srgbClr val="620CD2">
                      <a:alpha val="0"/>
                    </a:srgbClr>
                  </a:gs>
                  <a:gs pos="0">
                    <a:srgbClr val="620CEA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967A485-B95F-1329-4475-3454161A33D8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бработка </a:t>
              </a:r>
              <a:b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потенциальных</a:t>
              </a:r>
              <a:b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лиентов</a:t>
              </a:r>
              <a:endParaRPr lang="ru-RU" sz="2400" dirty="0">
                <a:effectLst/>
                <a:latin typeface="Unbounde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306CE6C-344D-F920-534A-A9FF9A990C9D}"/>
              </a:ext>
            </a:extLst>
          </p:cNvPr>
          <p:cNvGrpSpPr/>
          <p:nvPr/>
        </p:nvGrpSpPr>
        <p:grpSpPr>
          <a:xfrm>
            <a:off x="163532" y="3249751"/>
            <a:ext cx="4439311" cy="1479765"/>
            <a:chOff x="230964" y="1440722"/>
            <a:chExt cx="4439311" cy="1479765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73C6C8FB-D532-C1A1-464B-830B0CC559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17" name="Straight Connector 85">
              <a:extLst>
                <a:ext uri="{FF2B5EF4-FFF2-40B4-BE49-F238E27FC236}">
                  <a16:creationId xmlns:a16="http://schemas.microsoft.com/office/drawing/2014/main" id="{39B00574-15B2-A4EE-559B-8A95AD26EEAB}"/>
                </a:ext>
              </a:extLst>
            </p:cNvPr>
            <p:cNvCxnSpPr>
              <a:cxnSpLocks/>
            </p:cNvCxnSpPr>
            <p:nvPr/>
          </p:nvCxnSpPr>
          <p:spPr>
            <a:xfrm>
              <a:off x="643370" y="2920487"/>
              <a:ext cx="2404872" cy="0"/>
            </a:xfrm>
            <a:prstGeom prst="line">
              <a:avLst/>
            </a:prstGeom>
            <a:ln w="25400">
              <a:gradFill flip="none" rotWithShape="1">
                <a:gsLst>
                  <a:gs pos="100000">
                    <a:srgbClr val="620CD2">
                      <a:alpha val="0"/>
                    </a:srgbClr>
                  </a:gs>
                  <a:gs pos="0">
                    <a:srgbClr val="620CEA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27CB6C4-8CEC-D21C-265A-C4A335AAB715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Развитие 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артнерских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рограмм</a:t>
              </a: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EEA8DA4F-F45C-B9F0-E2B2-8341425BAA67}"/>
              </a:ext>
            </a:extLst>
          </p:cNvPr>
          <p:cNvGrpSpPr/>
          <p:nvPr/>
        </p:nvGrpSpPr>
        <p:grpSpPr>
          <a:xfrm>
            <a:off x="-3964559" y="5107767"/>
            <a:ext cx="4439311" cy="1323439"/>
            <a:chOff x="230964" y="1440722"/>
            <a:chExt cx="4439311" cy="1323439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FD37A785-A191-6EEF-AB7B-807622BE4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B73EFD5-62D5-FC7A-08EC-D1869B270349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овлечение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отенциальных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сотрудников</a:t>
              </a:r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DD248F60-B4DD-693A-1064-836483A4878E}"/>
              </a:ext>
            </a:extLst>
          </p:cNvPr>
          <p:cNvGrpSpPr/>
          <p:nvPr/>
        </p:nvGrpSpPr>
        <p:grpSpPr>
          <a:xfrm>
            <a:off x="6748750" y="74769"/>
            <a:ext cx="3762311" cy="6858000"/>
            <a:chOff x="5317227" y="-111040"/>
            <a:chExt cx="3762311" cy="6858000"/>
          </a:xfrm>
        </p:grpSpPr>
        <p:sp>
          <p:nvSpPr>
            <p:cNvPr id="27" name="Rectangle 9">
              <a:extLst>
                <a:ext uri="{FF2B5EF4-FFF2-40B4-BE49-F238E27FC236}">
                  <a16:creationId xmlns:a16="http://schemas.microsoft.com/office/drawing/2014/main" id="{B9A3BE3B-D35F-59C5-59F7-A2643719F262}"/>
                </a:ext>
              </a:extLst>
            </p:cNvPr>
            <p:cNvSpPr/>
            <p:nvPr/>
          </p:nvSpPr>
          <p:spPr>
            <a:xfrm>
              <a:off x="5317227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28" name="Rectangle 31">
              <a:extLst>
                <a:ext uri="{FF2B5EF4-FFF2-40B4-BE49-F238E27FC236}">
                  <a16:creationId xmlns:a16="http://schemas.microsoft.com/office/drawing/2014/main" id="{16393F80-5607-DC10-8F21-5611A261C404}"/>
                </a:ext>
              </a:extLst>
            </p:cNvPr>
            <p:cNvSpPr/>
            <p:nvPr/>
          </p:nvSpPr>
          <p:spPr>
            <a:xfrm>
              <a:off x="6257805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29" name="Rectangle 32">
              <a:extLst>
                <a:ext uri="{FF2B5EF4-FFF2-40B4-BE49-F238E27FC236}">
                  <a16:creationId xmlns:a16="http://schemas.microsoft.com/office/drawing/2014/main" id="{D576EE51-EB77-7FF1-CCD6-985AF9923AE7}"/>
                </a:ext>
              </a:extLst>
            </p:cNvPr>
            <p:cNvSpPr/>
            <p:nvPr/>
          </p:nvSpPr>
          <p:spPr>
            <a:xfrm>
              <a:off x="7198382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0" name="Rectangle 33">
              <a:extLst>
                <a:ext uri="{FF2B5EF4-FFF2-40B4-BE49-F238E27FC236}">
                  <a16:creationId xmlns:a16="http://schemas.microsoft.com/office/drawing/2014/main" id="{0AF15E5D-08BE-FEBC-054D-28CE5561B9ED}"/>
                </a:ext>
              </a:extLst>
            </p:cNvPr>
            <p:cNvSpPr/>
            <p:nvPr/>
          </p:nvSpPr>
          <p:spPr>
            <a:xfrm>
              <a:off x="8138960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34905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4.44444E-6 L 0.06576 4.44444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4.44444E-6 L 0.06576 4.44444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-3.7037E-6 L 0.06576 -3.7037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9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8" name="Рисунок 3">
            <a:extLst>
              <a:ext uri="{FF2B5EF4-FFF2-40B4-BE49-F238E27FC236}">
                <a16:creationId xmlns:a16="http://schemas.microsoft.com/office/drawing/2014/main" id="{B63F4BEE-48AE-F06A-6DA6-C8982BFE428C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306BE464-478F-81B6-3B64-29F8F5EF6AB8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86F94626-DE5D-5CDE-C5AB-08EC87502FA9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27D32363-4996-BC63-62AD-37B68BDCEF3B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0CF7CFDB-7A74-EC0A-6085-A444E06E742E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6612FEDD-013B-92AC-4475-870F7116F32C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B2EBED1A-9481-C73D-3E09-821A49346615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AD1CBA0D-CF7C-181F-0780-454F30ADFE2C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29262002-7FA6-242C-1F7F-5498AD6537FA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B1BADB8A-087E-8EF7-C819-4DA4B76178C8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E75AA717-1E66-FF94-A1E7-B9B27F4A6897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46F477F9-AF6E-52E4-CB25-A418271737C3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1" name="!!Oval 131">
            <a:extLst>
              <a:ext uri="{FF2B5EF4-FFF2-40B4-BE49-F238E27FC236}">
                <a16:creationId xmlns:a16="http://schemas.microsoft.com/office/drawing/2014/main" id="{4245BDFE-C8E8-07C6-A46D-D232960778D2}"/>
              </a:ext>
            </a:extLst>
          </p:cNvPr>
          <p:cNvGrpSpPr/>
          <p:nvPr/>
        </p:nvGrpSpPr>
        <p:grpSpPr>
          <a:xfrm>
            <a:off x="5170912" y="1177870"/>
            <a:ext cx="1846174" cy="759138"/>
            <a:chOff x="5170912" y="1177870"/>
            <a:chExt cx="1846174" cy="759138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0C1C4287-4318-F0FF-B328-5E46695B9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4916" y="1177870"/>
              <a:ext cx="1842169" cy="573607"/>
            </a:xfrm>
            <a:custGeom>
              <a:avLst/>
              <a:gdLst>
                <a:gd name="T0" fmla="*/ 195 w 390"/>
                <a:gd name="T1" fmla="*/ 0 h 105"/>
                <a:gd name="T2" fmla="*/ 0 w 390"/>
                <a:gd name="T3" fmla="*/ 53 h 105"/>
                <a:gd name="T4" fmla="*/ 10 w 390"/>
                <a:gd name="T5" fmla="*/ 69 h 105"/>
                <a:gd name="T6" fmla="*/ 100 w 390"/>
                <a:gd name="T7" fmla="*/ 98 h 105"/>
                <a:gd name="T8" fmla="*/ 195 w 390"/>
                <a:gd name="T9" fmla="*/ 105 h 105"/>
                <a:gd name="T10" fmla="*/ 290 w 390"/>
                <a:gd name="T11" fmla="*/ 98 h 105"/>
                <a:gd name="T12" fmla="*/ 380 w 390"/>
                <a:gd name="T13" fmla="*/ 69 h 105"/>
                <a:gd name="T14" fmla="*/ 390 w 390"/>
                <a:gd name="T15" fmla="*/ 53 h 105"/>
                <a:gd name="T16" fmla="*/ 195 w 390"/>
                <a:gd name="T1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05">
                  <a:moveTo>
                    <a:pt x="195" y="0"/>
                  </a:moveTo>
                  <a:cubicBezTo>
                    <a:pt x="87" y="0"/>
                    <a:pt x="0" y="24"/>
                    <a:pt x="0" y="53"/>
                  </a:cubicBezTo>
                  <a:cubicBezTo>
                    <a:pt x="0" y="58"/>
                    <a:pt x="3" y="64"/>
                    <a:pt x="10" y="69"/>
                  </a:cubicBezTo>
                  <a:cubicBezTo>
                    <a:pt x="25" y="82"/>
                    <a:pt x="58" y="92"/>
                    <a:pt x="100" y="98"/>
                  </a:cubicBezTo>
                  <a:cubicBezTo>
                    <a:pt x="128" y="103"/>
                    <a:pt x="160" y="105"/>
                    <a:pt x="195" y="105"/>
                  </a:cubicBezTo>
                  <a:cubicBezTo>
                    <a:pt x="229" y="105"/>
                    <a:pt x="262" y="103"/>
                    <a:pt x="290" y="98"/>
                  </a:cubicBezTo>
                  <a:cubicBezTo>
                    <a:pt x="332" y="92"/>
                    <a:pt x="364" y="82"/>
                    <a:pt x="380" y="69"/>
                  </a:cubicBezTo>
                  <a:cubicBezTo>
                    <a:pt x="386" y="64"/>
                    <a:pt x="390" y="58"/>
                    <a:pt x="390" y="53"/>
                  </a:cubicBezTo>
                  <a:cubicBezTo>
                    <a:pt x="390" y="24"/>
                    <a:pt x="302" y="0"/>
                    <a:pt x="195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0FEED456-374C-3949-CBC0-E41F3D9A6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912" y="1466992"/>
              <a:ext cx="1846174" cy="470016"/>
            </a:xfrm>
            <a:custGeom>
              <a:avLst/>
              <a:gdLst>
                <a:gd name="T0" fmla="*/ 391 w 391"/>
                <a:gd name="T1" fmla="*/ 30 h 86"/>
                <a:gd name="T2" fmla="*/ 391 w 391"/>
                <a:gd name="T3" fmla="*/ 0 h 86"/>
                <a:gd name="T4" fmla="*/ 381 w 391"/>
                <a:gd name="T5" fmla="*/ 16 h 86"/>
                <a:gd name="T6" fmla="*/ 291 w 391"/>
                <a:gd name="T7" fmla="*/ 45 h 86"/>
                <a:gd name="T8" fmla="*/ 196 w 391"/>
                <a:gd name="T9" fmla="*/ 52 h 86"/>
                <a:gd name="T10" fmla="*/ 101 w 391"/>
                <a:gd name="T11" fmla="*/ 45 h 86"/>
                <a:gd name="T12" fmla="*/ 11 w 391"/>
                <a:gd name="T13" fmla="*/ 16 h 86"/>
                <a:gd name="T14" fmla="*/ 1 w 391"/>
                <a:gd name="T15" fmla="*/ 0 h 86"/>
                <a:gd name="T16" fmla="*/ 1 w 391"/>
                <a:gd name="T17" fmla="*/ 30 h 86"/>
                <a:gd name="T18" fmla="*/ 0 w 391"/>
                <a:gd name="T19" fmla="*/ 33 h 86"/>
                <a:gd name="T20" fmla="*/ 21 w 391"/>
                <a:gd name="T21" fmla="*/ 57 h 86"/>
                <a:gd name="T22" fmla="*/ 101 w 391"/>
                <a:gd name="T23" fmla="*/ 79 h 86"/>
                <a:gd name="T24" fmla="*/ 196 w 391"/>
                <a:gd name="T25" fmla="*/ 86 h 86"/>
                <a:gd name="T26" fmla="*/ 290 w 391"/>
                <a:gd name="T27" fmla="*/ 79 h 86"/>
                <a:gd name="T28" fmla="*/ 371 w 391"/>
                <a:gd name="T29" fmla="*/ 57 h 86"/>
                <a:gd name="T30" fmla="*/ 391 w 391"/>
                <a:gd name="T31" fmla="*/ 33 h 86"/>
                <a:gd name="T32" fmla="*/ 391 w 391"/>
                <a:gd name="T33" fmla="*/ 3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1" h="86">
                  <a:moveTo>
                    <a:pt x="391" y="30"/>
                  </a:moveTo>
                  <a:cubicBezTo>
                    <a:pt x="391" y="0"/>
                    <a:pt x="391" y="0"/>
                    <a:pt x="391" y="0"/>
                  </a:cubicBezTo>
                  <a:cubicBezTo>
                    <a:pt x="391" y="5"/>
                    <a:pt x="387" y="11"/>
                    <a:pt x="381" y="16"/>
                  </a:cubicBezTo>
                  <a:cubicBezTo>
                    <a:pt x="365" y="29"/>
                    <a:pt x="333" y="39"/>
                    <a:pt x="291" y="45"/>
                  </a:cubicBezTo>
                  <a:cubicBezTo>
                    <a:pt x="263" y="50"/>
                    <a:pt x="230" y="52"/>
                    <a:pt x="196" y="52"/>
                  </a:cubicBezTo>
                  <a:cubicBezTo>
                    <a:pt x="161" y="52"/>
                    <a:pt x="129" y="50"/>
                    <a:pt x="101" y="45"/>
                  </a:cubicBezTo>
                  <a:cubicBezTo>
                    <a:pt x="59" y="39"/>
                    <a:pt x="26" y="29"/>
                    <a:pt x="11" y="16"/>
                  </a:cubicBezTo>
                  <a:cubicBezTo>
                    <a:pt x="4" y="11"/>
                    <a:pt x="1" y="5"/>
                    <a:pt x="1" y="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1"/>
                    <a:pt x="0" y="32"/>
                    <a:pt x="0" y="33"/>
                  </a:cubicBezTo>
                  <a:cubicBezTo>
                    <a:pt x="0" y="42"/>
                    <a:pt x="7" y="49"/>
                    <a:pt x="21" y="57"/>
                  </a:cubicBezTo>
                  <a:cubicBezTo>
                    <a:pt x="38" y="66"/>
                    <a:pt x="66" y="74"/>
                    <a:pt x="101" y="79"/>
                  </a:cubicBezTo>
                  <a:cubicBezTo>
                    <a:pt x="129" y="83"/>
                    <a:pt x="161" y="86"/>
                    <a:pt x="196" y="86"/>
                  </a:cubicBezTo>
                  <a:cubicBezTo>
                    <a:pt x="230" y="86"/>
                    <a:pt x="262" y="83"/>
                    <a:pt x="290" y="79"/>
                  </a:cubicBezTo>
                  <a:cubicBezTo>
                    <a:pt x="325" y="74"/>
                    <a:pt x="353" y="66"/>
                    <a:pt x="371" y="57"/>
                  </a:cubicBezTo>
                  <a:cubicBezTo>
                    <a:pt x="384" y="49"/>
                    <a:pt x="391" y="42"/>
                    <a:pt x="391" y="33"/>
                  </a:cubicBezTo>
                  <a:cubicBezTo>
                    <a:pt x="391" y="32"/>
                    <a:pt x="391" y="31"/>
                    <a:pt x="391" y="30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A0084A9-34C2-AE3C-8834-2E072324A228}"/>
              </a:ext>
            </a:extLst>
          </p:cNvPr>
          <p:cNvGrpSpPr/>
          <p:nvPr/>
        </p:nvGrpSpPr>
        <p:grpSpPr>
          <a:xfrm>
            <a:off x="4685006" y="1781473"/>
            <a:ext cx="2817984" cy="974047"/>
            <a:chOff x="4685006" y="1779306"/>
            <a:chExt cx="2817984" cy="974047"/>
          </a:xfrm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64177196-523E-63F2-0869-F20F1E037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1779306"/>
              <a:ext cx="2817984" cy="786969"/>
            </a:xfrm>
            <a:custGeom>
              <a:avLst/>
              <a:gdLst>
                <a:gd name="T0" fmla="*/ 474 w 597"/>
                <a:gd name="T1" fmla="*/ 0 h 144"/>
                <a:gd name="T2" fmla="*/ 393 w 597"/>
                <a:gd name="T3" fmla="*/ 22 h 144"/>
                <a:gd name="T4" fmla="*/ 299 w 597"/>
                <a:gd name="T5" fmla="*/ 29 h 144"/>
                <a:gd name="T6" fmla="*/ 204 w 597"/>
                <a:gd name="T7" fmla="*/ 22 h 144"/>
                <a:gd name="T8" fmla="*/ 124 w 597"/>
                <a:gd name="T9" fmla="*/ 0 h 144"/>
                <a:gd name="T10" fmla="*/ 0 w 597"/>
                <a:gd name="T11" fmla="*/ 64 h 144"/>
                <a:gd name="T12" fmla="*/ 7 w 597"/>
                <a:gd name="T13" fmla="*/ 81 h 144"/>
                <a:gd name="T14" fmla="*/ 41 w 597"/>
                <a:gd name="T15" fmla="*/ 104 h 144"/>
                <a:gd name="T16" fmla="*/ 122 w 597"/>
                <a:gd name="T17" fmla="*/ 128 h 144"/>
                <a:gd name="T18" fmla="*/ 299 w 597"/>
                <a:gd name="T19" fmla="*/ 144 h 144"/>
                <a:gd name="T20" fmla="*/ 476 w 597"/>
                <a:gd name="T21" fmla="*/ 128 h 144"/>
                <a:gd name="T22" fmla="*/ 556 w 597"/>
                <a:gd name="T23" fmla="*/ 104 h 144"/>
                <a:gd name="T24" fmla="*/ 590 w 597"/>
                <a:gd name="T25" fmla="*/ 81 h 144"/>
                <a:gd name="T26" fmla="*/ 597 w 597"/>
                <a:gd name="T27" fmla="*/ 64 h 144"/>
                <a:gd name="T28" fmla="*/ 474 w 597"/>
                <a:gd name="T29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7" h="144">
                  <a:moveTo>
                    <a:pt x="474" y="0"/>
                  </a:moveTo>
                  <a:cubicBezTo>
                    <a:pt x="456" y="9"/>
                    <a:pt x="428" y="17"/>
                    <a:pt x="393" y="22"/>
                  </a:cubicBezTo>
                  <a:cubicBezTo>
                    <a:pt x="365" y="26"/>
                    <a:pt x="333" y="29"/>
                    <a:pt x="299" y="29"/>
                  </a:cubicBezTo>
                  <a:cubicBezTo>
                    <a:pt x="264" y="29"/>
                    <a:pt x="232" y="26"/>
                    <a:pt x="204" y="22"/>
                  </a:cubicBezTo>
                  <a:cubicBezTo>
                    <a:pt x="169" y="17"/>
                    <a:pt x="141" y="9"/>
                    <a:pt x="124" y="0"/>
                  </a:cubicBezTo>
                  <a:cubicBezTo>
                    <a:pt x="49" y="14"/>
                    <a:pt x="0" y="38"/>
                    <a:pt x="0" y="64"/>
                  </a:cubicBezTo>
                  <a:cubicBezTo>
                    <a:pt x="0" y="70"/>
                    <a:pt x="3" y="76"/>
                    <a:pt x="7" y="81"/>
                  </a:cubicBezTo>
                  <a:cubicBezTo>
                    <a:pt x="14" y="89"/>
                    <a:pt x="25" y="97"/>
                    <a:pt x="41" y="104"/>
                  </a:cubicBezTo>
                  <a:cubicBezTo>
                    <a:pt x="62" y="114"/>
                    <a:pt x="89" y="122"/>
                    <a:pt x="122" y="128"/>
                  </a:cubicBezTo>
                  <a:cubicBezTo>
                    <a:pt x="171" y="138"/>
                    <a:pt x="232" y="144"/>
                    <a:pt x="299" y="144"/>
                  </a:cubicBezTo>
                  <a:cubicBezTo>
                    <a:pt x="365" y="144"/>
                    <a:pt x="426" y="138"/>
                    <a:pt x="476" y="128"/>
                  </a:cubicBezTo>
                  <a:cubicBezTo>
                    <a:pt x="508" y="122"/>
                    <a:pt x="536" y="114"/>
                    <a:pt x="556" y="104"/>
                  </a:cubicBezTo>
                  <a:cubicBezTo>
                    <a:pt x="572" y="97"/>
                    <a:pt x="584" y="89"/>
                    <a:pt x="590" y="81"/>
                  </a:cubicBezTo>
                  <a:cubicBezTo>
                    <a:pt x="595" y="76"/>
                    <a:pt x="597" y="70"/>
                    <a:pt x="597" y="64"/>
                  </a:cubicBezTo>
                  <a:cubicBezTo>
                    <a:pt x="597" y="38"/>
                    <a:pt x="548" y="14"/>
                    <a:pt x="47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6B728246-8BD5-22C5-BA41-6F3E6F9AC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2128726"/>
              <a:ext cx="2817984" cy="624627"/>
            </a:xfrm>
            <a:custGeom>
              <a:avLst/>
              <a:gdLst>
                <a:gd name="T0" fmla="*/ 590 w 597"/>
                <a:gd name="T1" fmla="*/ 17 h 114"/>
                <a:gd name="T2" fmla="*/ 556 w 597"/>
                <a:gd name="T3" fmla="*/ 40 h 114"/>
                <a:gd name="T4" fmla="*/ 476 w 597"/>
                <a:gd name="T5" fmla="*/ 64 h 114"/>
                <a:gd name="T6" fmla="*/ 299 w 597"/>
                <a:gd name="T7" fmla="*/ 80 h 114"/>
                <a:gd name="T8" fmla="*/ 122 w 597"/>
                <a:gd name="T9" fmla="*/ 64 h 114"/>
                <a:gd name="T10" fmla="*/ 41 w 597"/>
                <a:gd name="T11" fmla="*/ 40 h 114"/>
                <a:gd name="T12" fmla="*/ 7 w 597"/>
                <a:gd name="T13" fmla="*/ 17 h 114"/>
                <a:gd name="T14" fmla="*/ 0 w 597"/>
                <a:gd name="T15" fmla="*/ 0 h 114"/>
                <a:gd name="T16" fmla="*/ 0 w 597"/>
                <a:gd name="T17" fmla="*/ 34 h 114"/>
                <a:gd name="T18" fmla="*/ 6 w 597"/>
                <a:gd name="T19" fmla="*/ 49 h 114"/>
                <a:gd name="T20" fmla="*/ 47 w 597"/>
                <a:gd name="T21" fmla="*/ 77 h 114"/>
                <a:gd name="T22" fmla="*/ 181 w 597"/>
                <a:gd name="T23" fmla="*/ 107 h 114"/>
                <a:gd name="T24" fmla="*/ 299 w 597"/>
                <a:gd name="T25" fmla="*/ 114 h 114"/>
                <a:gd name="T26" fmla="*/ 417 w 597"/>
                <a:gd name="T27" fmla="*/ 107 h 114"/>
                <a:gd name="T28" fmla="*/ 550 w 597"/>
                <a:gd name="T29" fmla="*/ 77 h 114"/>
                <a:gd name="T30" fmla="*/ 591 w 597"/>
                <a:gd name="T31" fmla="*/ 49 h 114"/>
                <a:gd name="T32" fmla="*/ 597 w 597"/>
                <a:gd name="T33" fmla="*/ 34 h 114"/>
                <a:gd name="T34" fmla="*/ 597 w 597"/>
                <a:gd name="T35" fmla="*/ 0 h 114"/>
                <a:gd name="T36" fmla="*/ 590 w 597"/>
                <a:gd name="T37" fmla="*/ 1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7" h="114">
                  <a:moveTo>
                    <a:pt x="590" y="17"/>
                  </a:moveTo>
                  <a:cubicBezTo>
                    <a:pt x="584" y="25"/>
                    <a:pt x="572" y="33"/>
                    <a:pt x="556" y="40"/>
                  </a:cubicBezTo>
                  <a:cubicBezTo>
                    <a:pt x="536" y="50"/>
                    <a:pt x="508" y="58"/>
                    <a:pt x="476" y="64"/>
                  </a:cubicBezTo>
                  <a:cubicBezTo>
                    <a:pt x="426" y="74"/>
                    <a:pt x="365" y="80"/>
                    <a:pt x="299" y="80"/>
                  </a:cubicBezTo>
                  <a:cubicBezTo>
                    <a:pt x="232" y="80"/>
                    <a:pt x="171" y="74"/>
                    <a:pt x="122" y="64"/>
                  </a:cubicBezTo>
                  <a:cubicBezTo>
                    <a:pt x="89" y="58"/>
                    <a:pt x="62" y="50"/>
                    <a:pt x="41" y="40"/>
                  </a:cubicBezTo>
                  <a:cubicBezTo>
                    <a:pt x="25" y="33"/>
                    <a:pt x="14" y="25"/>
                    <a:pt x="7" y="17"/>
                  </a:cubicBezTo>
                  <a:cubicBezTo>
                    <a:pt x="3" y="12"/>
                    <a:pt x="0" y="6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9"/>
                    <a:pt x="2" y="44"/>
                    <a:pt x="6" y="49"/>
                  </a:cubicBezTo>
                  <a:cubicBezTo>
                    <a:pt x="13" y="59"/>
                    <a:pt x="28" y="69"/>
                    <a:pt x="47" y="77"/>
                  </a:cubicBezTo>
                  <a:cubicBezTo>
                    <a:pt x="79" y="90"/>
                    <a:pt x="126" y="101"/>
                    <a:pt x="181" y="107"/>
                  </a:cubicBezTo>
                  <a:cubicBezTo>
                    <a:pt x="217" y="111"/>
                    <a:pt x="257" y="114"/>
                    <a:pt x="299" y="114"/>
                  </a:cubicBezTo>
                  <a:cubicBezTo>
                    <a:pt x="341" y="114"/>
                    <a:pt x="380" y="111"/>
                    <a:pt x="417" y="107"/>
                  </a:cubicBezTo>
                  <a:cubicBezTo>
                    <a:pt x="471" y="101"/>
                    <a:pt x="518" y="90"/>
                    <a:pt x="550" y="77"/>
                  </a:cubicBezTo>
                  <a:cubicBezTo>
                    <a:pt x="570" y="69"/>
                    <a:pt x="584" y="59"/>
                    <a:pt x="591" y="49"/>
                  </a:cubicBezTo>
                  <a:cubicBezTo>
                    <a:pt x="595" y="44"/>
                    <a:pt x="597" y="39"/>
                    <a:pt x="597" y="34"/>
                  </a:cubicBezTo>
                  <a:cubicBezTo>
                    <a:pt x="597" y="0"/>
                    <a:pt x="597" y="0"/>
                    <a:pt x="597" y="0"/>
                  </a:cubicBezTo>
                  <a:cubicBezTo>
                    <a:pt x="597" y="6"/>
                    <a:pt x="595" y="12"/>
                    <a:pt x="590" y="17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B33D6A43-4B65-8BCD-8B0E-3574C5238FCB}"/>
              </a:ext>
            </a:extLst>
          </p:cNvPr>
          <p:cNvGrpSpPr/>
          <p:nvPr/>
        </p:nvGrpSpPr>
        <p:grpSpPr>
          <a:xfrm>
            <a:off x="4240482" y="2375972"/>
            <a:ext cx="3711034" cy="1116288"/>
            <a:chOff x="4240482" y="2397748"/>
            <a:chExt cx="3711034" cy="1116288"/>
          </a:xfrm>
        </p:grpSpPr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3CF99B6F-D029-B353-93F3-034E6103B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2397748"/>
              <a:ext cx="3711034" cy="907564"/>
            </a:xfrm>
            <a:custGeom>
              <a:avLst/>
              <a:gdLst>
                <a:gd name="T0" fmla="*/ 275 w 786"/>
                <a:gd name="T1" fmla="*/ 58 h 166"/>
                <a:gd name="T2" fmla="*/ 141 w 786"/>
                <a:gd name="T3" fmla="*/ 28 h 166"/>
                <a:gd name="T4" fmla="*/ 100 w 786"/>
                <a:gd name="T5" fmla="*/ 0 h 166"/>
                <a:gd name="T6" fmla="*/ 0 w 786"/>
                <a:gd name="T7" fmla="*/ 67 h 166"/>
                <a:gd name="T8" fmla="*/ 7 w 786"/>
                <a:gd name="T9" fmla="*/ 86 h 166"/>
                <a:gd name="T10" fmla="*/ 19 w 786"/>
                <a:gd name="T11" fmla="*/ 97 h 166"/>
                <a:gd name="T12" fmla="*/ 68 w 786"/>
                <a:gd name="T13" fmla="*/ 123 h 166"/>
                <a:gd name="T14" fmla="*/ 393 w 786"/>
                <a:gd name="T15" fmla="*/ 166 h 166"/>
                <a:gd name="T16" fmla="*/ 718 w 786"/>
                <a:gd name="T17" fmla="*/ 123 h 166"/>
                <a:gd name="T18" fmla="*/ 767 w 786"/>
                <a:gd name="T19" fmla="*/ 97 h 166"/>
                <a:gd name="T20" fmla="*/ 779 w 786"/>
                <a:gd name="T21" fmla="*/ 86 h 166"/>
                <a:gd name="T22" fmla="*/ 786 w 786"/>
                <a:gd name="T23" fmla="*/ 67 h 166"/>
                <a:gd name="T24" fmla="*/ 685 w 786"/>
                <a:gd name="T25" fmla="*/ 0 h 166"/>
                <a:gd name="T26" fmla="*/ 644 w 786"/>
                <a:gd name="T27" fmla="*/ 28 h 166"/>
                <a:gd name="T28" fmla="*/ 511 w 786"/>
                <a:gd name="T29" fmla="*/ 58 h 166"/>
                <a:gd name="T30" fmla="*/ 393 w 786"/>
                <a:gd name="T31" fmla="*/ 65 h 166"/>
                <a:gd name="T32" fmla="*/ 275 w 786"/>
                <a:gd name="T33" fmla="*/ 58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6" h="166">
                  <a:moveTo>
                    <a:pt x="275" y="58"/>
                  </a:moveTo>
                  <a:cubicBezTo>
                    <a:pt x="220" y="52"/>
                    <a:pt x="173" y="41"/>
                    <a:pt x="141" y="28"/>
                  </a:cubicBezTo>
                  <a:cubicBezTo>
                    <a:pt x="122" y="20"/>
                    <a:pt x="107" y="10"/>
                    <a:pt x="100" y="0"/>
                  </a:cubicBezTo>
                  <a:cubicBezTo>
                    <a:pt x="38" y="18"/>
                    <a:pt x="0" y="41"/>
                    <a:pt x="0" y="67"/>
                  </a:cubicBezTo>
                  <a:cubicBezTo>
                    <a:pt x="0" y="73"/>
                    <a:pt x="2" y="79"/>
                    <a:pt x="7" y="86"/>
                  </a:cubicBezTo>
                  <a:cubicBezTo>
                    <a:pt x="10" y="90"/>
                    <a:pt x="14" y="94"/>
                    <a:pt x="19" y="97"/>
                  </a:cubicBezTo>
                  <a:cubicBezTo>
                    <a:pt x="30" y="107"/>
                    <a:pt x="47" y="115"/>
                    <a:pt x="68" y="123"/>
                  </a:cubicBezTo>
                  <a:cubicBezTo>
                    <a:pt x="139" y="149"/>
                    <a:pt x="258" y="166"/>
                    <a:pt x="393" y="166"/>
                  </a:cubicBezTo>
                  <a:cubicBezTo>
                    <a:pt x="528" y="166"/>
                    <a:pt x="647" y="149"/>
                    <a:pt x="718" y="123"/>
                  </a:cubicBezTo>
                  <a:cubicBezTo>
                    <a:pt x="738" y="115"/>
                    <a:pt x="755" y="107"/>
                    <a:pt x="767" y="97"/>
                  </a:cubicBezTo>
                  <a:cubicBezTo>
                    <a:pt x="771" y="94"/>
                    <a:pt x="775" y="90"/>
                    <a:pt x="779" y="86"/>
                  </a:cubicBezTo>
                  <a:cubicBezTo>
                    <a:pt x="783" y="79"/>
                    <a:pt x="786" y="73"/>
                    <a:pt x="786" y="67"/>
                  </a:cubicBezTo>
                  <a:cubicBezTo>
                    <a:pt x="786" y="41"/>
                    <a:pt x="748" y="18"/>
                    <a:pt x="685" y="0"/>
                  </a:cubicBezTo>
                  <a:cubicBezTo>
                    <a:pt x="678" y="10"/>
                    <a:pt x="664" y="20"/>
                    <a:pt x="644" y="28"/>
                  </a:cubicBezTo>
                  <a:cubicBezTo>
                    <a:pt x="612" y="41"/>
                    <a:pt x="565" y="52"/>
                    <a:pt x="511" y="58"/>
                  </a:cubicBezTo>
                  <a:cubicBezTo>
                    <a:pt x="474" y="62"/>
                    <a:pt x="435" y="65"/>
                    <a:pt x="393" y="65"/>
                  </a:cubicBezTo>
                  <a:cubicBezTo>
                    <a:pt x="351" y="65"/>
                    <a:pt x="311" y="62"/>
                    <a:pt x="275" y="58"/>
                  </a:cubicBezTo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3DDF25D8-23A3-CF50-44E6-5C50D01C1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2764174"/>
              <a:ext cx="3711034" cy="749862"/>
            </a:xfrm>
            <a:custGeom>
              <a:avLst/>
              <a:gdLst>
                <a:gd name="T0" fmla="*/ 786 w 786"/>
                <a:gd name="T1" fmla="*/ 0 h 137"/>
                <a:gd name="T2" fmla="*/ 779 w 786"/>
                <a:gd name="T3" fmla="*/ 19 h 137"/>
                <a:gd name="T4" fmla="*/ 767 w 786"/>
                <a:gd name="T5" fmla="*/ 30 h 137"/>
                <a:gd name="T6" fmla="*/ 718 w 786"/>
                <a:gd name="T7" fmla="*/ 56 h 137"/>
                <a:gd name="T8" fmla="*/ 393 w 786"/>
                <a:gd name="T9" fmla="*/ 99 h 137"/>
                <a:gd name="T10" fmla="*/ 68 w 786"/>
                <a:gd name="T11" fmla="*/ 56 h 137"/>
                <a:gd name="T12" fmla="*/ 19 w 786"/>
                <a:gd name="T13" fmla="*/ 30 h 137"/>
                <a:gd name="T14" fmla="*/ 7 w 786"/>
                <a:gd name="T15" fmla="*/ 19 h 137"/>
                <a:gd name="T16" fmla="*/ 0 w 786"/>
                <a:gd name="T17" fmla="*/ 0 h 137"/>
                <a:gd name="T18" fmla="*/ 0 w 786"/>
                <a:gd name="T19" fmla="*/ 36 h 137"/>
                <a:gd name="T20" fmla="*/ 0 w 786"/>
                <a:gd name="T21" fmla="*/ 36 h 137"/>
                <a:gd name="T22" fmla="*/ 0 w 786"/>
                <a:gd name="T23" fmla="*/ 37 h 137"/>
                <a:gd name="T24" fmla="*/ 19 w 786"/>
                <a:gd name="T25" fmla="*/ 68 h 137"/>
                <a:gd name="T26" fmla="*/ 393 w 786"/>
                <a:gd name="T27" fmla="*/ 137 h 137"/>
                <a:gd name="T28" fmla="*/ 767 w 786"/>
                <a:gd name="T29" fmla="*/ 68 h 137"/>
                <a:gd name="T30" fmla="*/ 786 w 786"/>
                <a:gd name="T31" fmla="*/ 37 h 137"/>
                <a:gd name="T32" fmla="*/ 786 w 786"/>
                <a:gd name="T33" fmla="*/ 36 h 137"/>
                <a:gd name="T34" fmla="*/ 786 w 786"/>
                <a:gd name="T35" fmla="*/ 36 h 137"/>
                <a:gd name="T36" fmla="*/ 786 w 786"/>
                <a:gd name="T3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86" h="137">
                  <a:moveTo>
                    <a:pt x="786" y="0"/>
                  </a:moveTo>
                  <a:cubicBezTo>
                    <a:pt x="786" y="6"/>
                    <a:pt x="783" y="12"/>
                    <a:pt x="779" y="19"/>
                  </a:cubicBezTo>
                  <a:cubicBezTo>
                    <a:pt x="775" y="23"/>
                    <a:pt x="771" y="27"/>
                    <a:pt x="767" y="30"/>
                  </a:cubicBezTo>
                  <a:cubicBezTo>
                    <a:pt x="755" y="40"/>
                    <a:pt x="738" y="48"/>
                    <a:pt x="718" y="56"/>
                  </a:cubicBezTo>
                  <a:cubicBezTo>
                    <a:pt x="647" y="82"/>
                    <a:pt x="528" y="99"/>
                    <a:pt x="393" y="99"/>
                  </a:cubicBezTo>
                  <a:cubicBezTo>
                    <a:pt x="258" y="99"/>
                    <a:pt x="139" y="82"/>
                    <a:pt x="68" y="56"/>
                  </a:cubicBezTo>
                  <a:cubicBezTo>
                    <a:pt x="47" y="48"/>
                    <a:pt x="30" y="40"/>
                    <a:pt x="19" y="30"/>
                  </a:cubicBezTo>
                  <a:cubicBezTo>
                    <a:pt x="14" y="27"/>
                    <a:pt x="10" y="23"/>
                    <a:pt x="7" y="19"/>
                  </a:cubicBezTo>
                  <a:cubicBezTo>
                    <a:pt x="2" y="12"/>
                    <a:pt x="0" y="6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8"/>
                    <a:pt x="6" y="58"/>
                    <a:pt x="19" y="68"/>
                  </a:cubicBezTo>
                  <a:cubicBezTo>
                    <a:pt x="69" y="108"/>
                    <a:pt x="218" y="137"/>
                    <a:pt x="393" y="137"/>
                  </a:cubicBezTo>
                  <a:cubicBezTo>
                    <a:pt x="568" y="137"/>
                    <a:pt x="716" y="108"/>
                    <a:pt x="767" y="68"/>
                  </a:cubicBezTo>
                  <a:cubicBezTo>
                    <a:pt x="779" y="58"/>
                    <a:pt x="786" y="48"/>
                    <a:pt x="786" y="37"/>
                  </a:cubicBezTo>
                  <a:cubicBezTo>
                    <a:pt x="786" y="37"/>
                    <a:pt x="786" y="37"/>
                    <a:pt x="786" y="36"/>
                  </a:cubicBezTo>
                  <a:cubicBezTo>
                    <a:pt x="786" y="36"/>
                    <a:pt x="786" y="36"/>
                    <a:pt x="786" y="36"/>
                  </a:cubicBezTo>
                  <a:lnTo>
                    <a:pt x="786" y="0"/>
                  </a:ln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FD0D8538-71F0-0E17-F606-80C9D3B89C3F}"/>
              </a:ext>
            </a:extLst>
          </p:cNvPr>
          <p:cNvGrpSpPr/>
          <p:nvPr/>
        </p:nvGrpSpPr>
        <p:grpSpPr>
          <a:xfrm>
            <a:off x="3706521" y="8623395"/>
            <a:ext cx="4778958" cy="1379127"/>
            <a:chOff x="3706521" y="2960531"/>
            <a:chExt cx="4778958" cy="1379127"/>
          </a:xfrm>
        </p:grpSpPr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65103425-C507-75CF-C47F-09392789F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521" y="2960531"/>
              <a:ext cx="4778958" cy="1171949"/>
            </a:xfrm>
            <a:custGeom>
              <a:avLst/>
              <a:gdLst>
                <a:gd name="T0" fmla="*/ 899 w 1012"/>
                <a:gd name="T1" fmla="*/ 0 h 214"/>
                <a:gd name="T2" fmla="*/ 899 w 1012"/>
                <a:gd name="T3" fmla="*/ 1 h 214"/>
                <a:gd name="T4" fmla="*/ 880 w 1012"/>
                <a:gd name="T5" fmla="*/ 32 h 214"/>
                <a:gd name="T6" fmla="*/ 506 w 1012"/>
                <a:gd name="T7" fmla="*/ 101 h 214"/>
                <a:gd name="T8" fmla="*/ 132 w 1012"/>
                <a:gd name="T9" fmla="*/ 32 h 214"/>
                <a:gd name="T10" fmla="*/ 113 w 1012"/>
                <a:gd name="T11" fmla="*/ 1 h 214"/>
                <a:gd name="T12" fmla="*/ 113 w 1012"/>
                <a:gd name="T13" fmla="*/ 0 h 214"/>
                <a:gd name="T14" fmla="*/ 0 w 1012"/>
                <a:gd name="T15" fmla="*/ 83 h 214"/>
                <a:gd name="T16" fmla="*/ 5 w 1012"/>
                <a:gd name="T17" fmla="*/ 102 h 214"/>
                <a:gd name="T18" fmla="*/ 185 w 1012"/>
                <a:gd name="T19" fmla="*/ 185 h 214"/>
                <a:gd name="T20" fmla="*/ 257 w 1012"/>
                <a:gd name="T21" fmla="*/ 198 h 214"/>
                <a:gd name="T22" fmla="*/ 506 w 1012"/>
                <a:gd name="T23" fmla="*/ 214 h 214"/>
                <a:gd name="T24" fmla="*/ 754 w 1012"/>
                <a:gd name="T25" fmla="*/ 198 h 214"/>
                <a:gd name="T26" fmla="*/ 826 w 1012"/>
                <a:gd name="T27" fmla="*/ 185 h 214"/>
                <a:gd name="T28" fmla="*/ 1006 w 1012"/>
                <a:gd name="T29" fmla="*/ 102 h 214"/>
                <a:gd name="T30" fmla="*/ 1012 w 1012"/>
                <a:gd name="T31" fmla="*/ 83 h 214"/>
                <a:gd name="T32" fmla="*/ 899 w 1012"/>
                <a:gd name="T3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12" h="214">
                  <a:moveTo>
                    <a:pt x="899" y="0"/>
                  </a:moveTo>
                  <a:cubicBezTo>
                    <a:pt x="899" y="1"/>
                    <a:pt x="899" y="1"/>
                    <a:pt x="899" y="1"/>
                  </a:cubicBezTo>
                  <a:cubicBezTo>
                    <a:pt x="899" y="12"/>
                    <a:pt x="892" y="22"/>
                    <a:pt x="880" y="32"/>
                  </a:cubicBezTo>
                  <a:cubicBezTo>
                    <a:pt x="829" y="72"/>
                    <a:pt x="681" y="101"/>
                    <a:pt x="506" y="101"/>
                  </a:cubicBezTo>
                  <a:cubicBezTo>
                    <a:pt x="331" y="101"/>
                    <a:pt x="182" y="72"/>
                    <a:pt x="132" y="32"/>
                  </a:cubicBezTo>
                  <a:cubicBezTo>
                    <a:pt x="119" y="22"/>
                    <a:pt x="113" y="12"/>
                    <a:pt x="113" y="1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42" y="23"/>
                    <a:pt x="0" y="52"/>
                    <a:pt x="0" y="83"/>
                  </a:cubicBezTo>
                  <a:cubicBezTo>
                    <a:pt x="0" y="89"/>
                    <a:pt x="1" y="96"/>
                    <a:pt x="5" y="102"/>
                  </a:cubicBezTo>
                  <a:cubicBezTo>
                    <a:pt x="23" y="135"/>
                    <a:pt x="90" y="164"/>
                    <a:pt x="185" y="185"/>
                  </a:cubicBezTo>
                  <a:cubicBezTo>
                    <a:pt x="208" y="190"/>
                    <a:pt x="232" y="194"/>
                    <a:pt x="257" y="198"/>
                  </a:cubicBezTo>
                  <a:cubicBezTo>
                    <a:pt x="331" y="208"/>
                    <a:pt x="415" y="214"/>
                    <a:pt x="506" y="214"/>
                  </a:cubicBezTo>
                  <a:cubicBezTo>
                    <a:pt x="596" y="214"/>
                    <a:pt x="680" y="208"/>
                    <a:pt x="754" y="198"/>
                  </a:cubicBezTo>
                  <a:cubicBezTo>
                    <a:pt x="779" y="194"/>
                    <a:pt x="803" y="190"/>
                    <a:pt x="826" y="185"/>
                  </a:cubicBezTo>
                  <a:cubicBezTo>
                    <a:pt x="922" y="164"/>
                    <a:pt x="988" y="135"/>
                    <a:pt x="1006" y="102"/>
                  </a:cubicBezTo>
                  <a:cubicBezTo>
                    <a:pt x="1010" y="96"/>
                    <a:pt x="1012" y="89"/>
                    <a:pt x="1012" y="83"/>
                  </a:cubicBezTo>
                  <a:cubicBezTo>
                    <a:pt x="1012" y="52"/>
                    <a:pt x="969" y="23"/>
                    <a:pt x="899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9A421F01-E317-74A1-CEED-2945F73EC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521" y="3415086"/>
              <a:ext cx="4778958" cy="924572"/>
            </a:xfrm>
            <a:custGeom>
              <a:avLst/>
              <a:gdLst>
                <a:gd name="T0" fmla="*/ 1006 w 1012"/>
                <a:gd name="T1" fmla="*/ 19 h 169"/>
                <a:gd name="T2" fmla="*/ 826 w 1012"/>
                <a:gd name="T3" fmla="*/ 102 h 169"/>
                <a:gd name="T4" fmla="*/ 754 w 1012"/>
                <a:gd name="T5" fmla="*/ 115 h 169"/>
                <a:gd name="T6" fmla="*/ 506 w 1012"/>
                <a:gd name="T7" fmla="*/ 131 h 169"/>
                <a:gd name="T8" fmla="*/ 257 w 1012"/>
                <a:gd name="T9" fmla="*/ 115 h 169"/>
                <a:gd name="T10" fmla="*/ 185 w 1012"/>
                <a:gd name="T11" fmla="*/ 102 h 169"/>
                <a:gd name="T12" fmla="*/ 5 w 1012"/>
                <a:gd name="T13" fmla="*/ 19 h 169"/>
                <a:gd name="T14" fmla="*/ 0 w 1012"/>
                <a:gd name="T15" fmla="*/ 0 h 169"/>
                <a:gd name="T16" fmla="*/ 0 w 1012"/>
                <a:gd name="T17" fmla="*/ 38 h 169"/>
                <a:gd name="T18" fmla="*/ 134 w 1012"/>
                <a:gd name="T19" fmla="*/ 127 h 169"/>
                <a:gd name="T20" fmla="*/ 144 w 1012"/>
                <a:gd name="T21" fmla="*/ 120 h 169"/>
                <a:gd name="T22" fmla="*/ 156 w 1012"/>
                <a:gd name="T23" fmla="*/ 114 h 169"/>
                <a:gd name="T24" fmla="*/ 170 w 1012"/>
                <a:gd name="T25" fmla="*/ 108 h 169"/>
                <a:gd name="T26" fmla="*/ 156 w 1012"/>
                <a:gd name="T27" fmla="*/ 114 h 169"/>
                <a:gd name="T28" fmla="*/ 144 w 1012"/>
                <a:gd name="T29" fmla="*/ 120 h 169"/>
                <a:gd name="T30" fmla="*/ 134 w 1012"/>
                <a:gd name="T31" fmla="*/ 127 h 169"/>
                <a:gd name="T32" fmla="*/ 176 w 1012"/>
                <a:gd name="T33" fmla="*/ 137 h 169"/>
                <a:gd name="T34" fmla="*/ 506 w 1012"/>
                <a:gd name="T35" fmla="*/ 169 h 169"/>
                <a:gd name="T36" fmla="*/ 835 w 1012"/>
                <a:gd name="T37" fmla="*/ 137 h 169"/>
                <a:gd name="T38" fmla="*/ 877 w 1012"/>
                <a:gd name="T39" fmla="*/ 127 h 169"/>
                <a:gd name="T40" fmla="*/ 1012 w 1012"/>
                <a:gd name="T41" fmla="*/ 38 h 169"/>
                <a:gd name="T42" fmla="*/ 1012 w 1012"/>
                <a:gd name="T43" fmla="*/ 0 h 169"/>
                <a:gd name="T44" fmla="*/ 1006 w 1012"/>
                <a:gd name="T45" fmla="*/ 1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12" h="169">
                  <a:moveTo>
                    <a:pt x="1006" y="19"/>
                  </a:moveTo>
                  <a:cubicBezTo>
                    <a:pt x="988" y="52"/>
                    <a:pt x="922" y="81"/>
                    <a:pt x="826" y="102"/>
                  </a:cubicBezTo>
                  <a:cubicBezTo>
                    <a:pt x="803" y="107"/>
                    <a:pt x="779" y="111"/>
                    <a:pt x="754" y="115"/>
                  </a:cubicBezTo>
                  <a:cubicBezTo>
                    <a:pt x="680" y="125"/>
                    <a:pt x="596" y="131"/>
                    <a:pt x="506" y="131"/>
                  </a:cubicBezTo>
                  <a:cubicBezTo>
                    <a:pt x="415" y="131"/>
                    <a:pt x="331" y="125"/>
                    <a:pt x="257" y="115"/>
                  </a:cubicBezTo>
                  <a:cubicBezTo>
                    <a:pt x="232" y="111"/>
                    <a:pt x="208" y="107"/>
                    <a:pt x="185" y="102"/>
                  </a:cubicBezTo>
                  <a:cubicBezTo>
                    <a:pt x="90" y="81"/>
                    <a:pt x="23" y="52"/>
                    <a:pt x="5" y="19"/>
                  </a:cubicBezTo>
                  <a:cubicBezTo>
                    <a:pt x="1" y="13"/>
                    <a:pt x="0" y="6"/>
                    <a:pt x="0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72"/>
                    <a:pt x="51" y="103"/>
                    <a:pt x="134" y="127"/>
                  </a:cubicBezTo>
                  <a:cubicBezTo>
                    <a:pt x="137" y="125"/>
                    <a:pt x="141" y="122"/>
                    <a:pt x="144" y="120"/>
                  </a:cubicBezTo>
                  <a:cubicBezTo>
                    <a:pt x="148" y="118"/>
                    <a:pt x="152" y="116"/>
                    <a:pt x="156" y="114"/>
                  </a:cubicBezTo>
                  <a:cubicBezTo>
                    <a:pt x="161" y="112"/>
                    <a:pt x="165" y="110"/>
                    <a:pt x="170" y="108"/>
                  </a:cubicBezTo>
                  <a:cubicBezTo>
                    <a:pt x="165" y="110"/>
                    <a:pt x="161" y="112"/>
                    <a:pt x="156" y="114"/>
                  </a:cubicBezTo>
                  <a:cubicBezTo>
                    <a:pt x="152" y="116"/>
                    <a:pt x="148" y="118"/>
                    <a:pt x="144" y="120"/>
                  </a:cubicBezTo>
                  <a:cubicBezTo>
                    <a:pt x="141" y="122"/>
                    <a:pt x="137" y="125"/>
                    <a:pt x="134" y="127"/>
                  </a:cubicBezTo>
                  <a:cubicBezTo>
                    <a:pt x="148" y="131"/>
                    <a:pt x="162" y="134"/>
                    <a:pt x="176" y="137"/>
                  </a:cubicBezTo>
                  <a:cubicBezTo>
                    <a:pt x="265" y="157"/>
                    <a:pt x="380" y="169"/>
                    <a:pt x="506" y="169"/>
                  </a:cubicBezTo>
                  <a:cubicBezTo>
                    <a:pt x="631" y="169"/>
                    <a:pt x="746" y="157"/>
                    <a:pt x="835" y="137"/>
                  </a:cubicBezTo>
                  <a:cubicBezTo>
                    <a:pt x="850" y="134"/>
                    <a:pt x="864" y="131"/>
                    <a:pt x="877" y="127"/>
                  </a:cubicBezTo>
                  <a:cubicBezTo>
                    <a:pt x="961" y="103"/>
                    <a:pt x="1012" y="72"/>
                    <a:pt x="1012" y="38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1012" y="6"/>
                    <a:pt x="1010" y="13"/>
                    <a:pt x="1006" y="19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E5F42A60-6097-5AAC-DBDA-64473B83A759}"/>
              </a:ext>
            </a:extLst>
          </p:cNvPr>
          <p:cNvGrpSpPr/>
          <p:nvPr/>
        </p:nvGrpSpPr>
        <p:grpSpPr>
          <a:xfrm>
            <a:off x="4685006" y="10528198"/>
            <a:ext cx="2823324" cy="814797"/>
            <a:chOff x="4685006" y="4865334"/>
            <a:chExt cx="2823324" cy="814797"/>
          </a:xfrm>
        </p:grpSpPr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20CE4081-CA5F-B781-892B-F6F5DE951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4865334"/>
              <a:ext cx="2823324" cy="618442"/>
            </a:xfrm>
            <a:custGeom>
              <a:avLst/>
              <a:gdLst>
                <a:gd name="T0" fmla="*/ 564 w 598"/>
                <a:gd name="T1" fmla="*/ 0 h 113"/>
                <a:gd name="T2" fmla="*/ 495 w 598"/>
                <a:gd name="T3" fmla="*/ 13 h 113"/>
                <a:gd name="T4" fmla="*/ 299 w 598"/>
                <a:gd name="T5" fmla="*/ 26 h 113"/>
                <a:gd name="T6" fmla="*/ 102 w 598"/>
                <a:gd name="T7" fmla="*/ 13 h 113"/>
                <a:gd name="T8" fmla="*/ 33 w 598"/>
                <a:gd name="T9" fmla="*/ 0 h 113"/>
                <a:gd name="T10" fmla="*/ 0 w 598"/>
                <a:gd name="T11" fmla="*/ 36 h 113"/>
                <a:gd name="T12" fmla="*/ 8 w 598"/>
                <a:gd name="T13" fmla="*/ 53 h 113"/>
                <a:gd name="T14" fmla="*/ 299 w 598"/>
                <a:gd name="T15" fmla="*/ 113 h 113"/>
                <a:gd name="T16" fmla="*/ 590 w 598"/>
                <a:gd name="T17" fmla="*/ 53 h 113"/>
                <a:gd name="T18" fmla="*/ 598 w 598"/>
                <a:gd name="T19" fmla="*/ 36 h 113"/>
                <a:gd name="T20" fmla="*/ 564 w 598"/>
                <a:gd name="T21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8" h="113">
                  <a:moveTo>
                    <a:pt x="564" y="0"/>
                  </a:moveTo>
                  <a:cubicBezTo>
                    <a:pt x="543" y="5"/>
                    <a:pt x="520" y="9"/>
                    <a:pt x="495" y="13"/>
                  </a:cubicBezTo>
                  <a:cubicBezTo>
                    <a:pt x="437" y="21"/>
                    <a:pt x="370" y="26"/>
                    <a:pt x="299" y="26"/>
                  </a:cubicBezTo>
                  <a:cubicBezTo>
                    <a:pt x="227" y="26"/>
                    <a:pt x="160" y="21"/>
                    <a:pt x="102" y="13"/>
                  </a:cubicBezTo>
                  <a:cubicBezTo>
                    <a:pt x="77" y="9"/>
                    <a:pt x="54" y="5"/>
                    <a:pt x="33" y="0"/>
                  </a:cubicBezTo>
                  <a:cubicBezTo>
                    <a:pt x="12" y="11"/>
                    <a:pt x="0" y="23"/>
                    <a:pt x="0" y="36"/>
                  </a:cubicBezTo>
                  <a:cubicBezTo>
                    <a:pt x="0" y="42"/>
                    <a:pt x="2" y="48"/>
                    <a:pt x="8" y="53"/>
                  </a:cubicBezTo>
                  <a:cubicBezTo>
                    <a:pt x="39" y="88"/>
                    <a:pt x="157" y="113"/>
                    <a:pt x="299" y="113"/>
                  </a:cubicBezTo>
                  <a:cubicBezTo>
                    <a:pt x="440" y="113"/>
                    <a:pt x="559" y="88"/>
                    <a:pt x="590" y="53"/>
                  </a:cubicBezTo>
                  <a:cubicBezTo>
                    <a:pt x="595" y="48"/>
                    <a:pt x="598" y="42"/>
                    <a:pt x="598" y="36"/>
                  </a:cubicBezTo>
                  <a:cubicBezTo>
                    <a:pt x="598" y="23"/>
                    <a:pt x="585" y="11"/>
                    <a:pt x="56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A3FD4035-0B1F-C93F-AD7A-5911B0F154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5061689"/>
              <a:ext cx="2823324" cy="618442"/>
            </a:xfrm>
            <a:custGeom>
              <a:avLst/>
              <a:gdLst>
                <a:gd name="T0" fmla="*/ 590 w 598"/>
                <a:gd name="T1" fmla="*/ 17 h 113"/>
                <a:gd name="T2" fmla="*/ 299 w 598"/>
                <a:gd name="T3" fmla="*/ 77 h 113"/>
                <a:gd name="T4" fmla="*/ 8 w 598"/>
                <a:gd name="T5" fmla="*/ 17 h 113"/>
                <a:gd name="T6" fmla="*/ 0 w 598"/>
                <a:gd name="T7" fmla="*/ 0 h 113"/>
                <a:gd name="T8" fmla="*/ 0 w 598"/>
                <a:gd name="T9" fmla="*/ 35 h 113"/>
                <a:gd name="T10" fmla="*/ 299 w 598"/>
                <a:gd name="T11" fmla="*/ 113 h 113"/>
                <a:gd name="T12" fmla="*/ 598 w 598"/>
                <a:gd name="T13" fmla="*/ 35 h 113"/>
                <a:gd name="T14" fmla="*/ 598 w 598"/>
                <a:gd name="T15" fmla="*/ 0 h 113"/>
                <a:gd name="T16" fmla="*/ 590 w 598"/>
                <a:gd name="T17" fmla="*/ 1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8" h="113">
                  <a:moveTo>
                    <a:pt x="590" y="17"/>
                  </a:moveTo>
                  <a:cubicBezTo>
                    <a:pt x="559" y="52"/>
                    <a:pt x="440" y="77"/>
                    <a:pt x="299" y="77"/>
                  </a:cubicBezTo>
                  <a:cubicBezTo>
                    <a:pt x="157" y="77"/>
                    <a:pt x="39" y="52"/>
                    <a:pt x="8" y="17"/>
                  </a:cubicBezTo>
                  <a:cubicBezTo>
                    <a:pt x="2" y="12"/>
                    <a:pt x="0" y="6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78"/>
                    <a:pt x="134" y="113"/>
                    <a:pt x="299" y="113"/>
                  </a:cubicBezTo>
                  <a:cubicBezTo>
                    <a:pt x="464" y="113"/>
                    <a:pt x="598" y="78"/>
                    <a:pt x="598" y="35"/>
                  </a:cubicBezTo>
                  <a:cubicBezTo>
                    <a:pt x="598" y="0"/>
                    <a:pt x="598" y="0"/>
                    <a:pt x="598" y="0"/>
                  </a:cubicBezTo>
                  <a:cubicBezTo>
                    <a:pt x="598" y="6"/>
                    <a:pt x="595" y="12"/>
                    <a:pt x="590" y="17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38FE194F-00EB-79DB-4963-34132C6E721B}"/>
              </a:ext>
            </a:extLst>
          </p:cNvPr>
          <p:cNvGrpSpPr/>
          <p:nvPr/>
        </p:nvGrpSpPr>
        <p:grpSpPr>
          <a:xfrm>
            <a:off x="4240482" y="9773698"/>
            <a:ext cx="3711034" cy="896741"/>
            <a:chOff x="4240482" y="4110834"/>
            <a:chExt cx="3711034" cy="896741"/>
          </a:xfrm>
        </p:grpSpPr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048F357E-6737-E502-5711-A88CABAC8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4110834"/>
              <a:ext cx="3711034" cy="722032"/>
            </a:xfrm>
            <a:custGeom>
              <a:avLst/>
              <a:gdLst>
                <a:gd name="T0" fmla="*/ 764 w 786"/>
                <a:gd name="T1" fmla="*/ 0 h 132"/>
                <a:gd name="T2" fmla="*/ 722 w 786"/>
                <a:gd name="T3" fmla="*/ 10 h 132"/>
                <a:gd name="T4" fmla="*/ 393 w 786"/>
                <a:gd name="T5" fmla="*/ 42 h 132"/>
                <a:gd name="T6" fmla="*/ 63 w 786"/>
                <a:gd name="T7" fmla="*/ 10 h 132"/>
                <a:gd name="T8" fmla="*/ 21 w 786"/>
                <a:gd name="T9" fmla="*/ 0 h 132"/>
                <a:gd name="T10" fmla="*/ 0 w 786"/>
                <a:gd name="T11" fmla="*/ 32 h 132"/>
                <a:gd name="T12" fmla="*/ 5 w 786"/>
                <a:gd name="T13" fmla="*/ 48 h 132"/>
                <a:gd name="T14" fmla="*/ 188 w 786"/>
                <a:gd name="T15" fmla="*/ 117 h 132"/>
                <a:gd name="T16" fmla="*/ 393 w 786"/>
                <a:gd name="T17" fmla="*/ 132 h 132"/>
                <a:gd name="T18" fmla="*/ 597 w 786"/>
                <a:gd name="T19" fmla="*/ 117 h 132"/>
                <a:gd name="T20" fmla="*/ 780 w 786"/>
                <a:gd name="T21" fmla="*/ 48 h 132"/>
                <a:gd name="T22" fmla="*/ 786 w 786"/>
                <a:gd name="T23" fmla="*/ 32 h 132"/>
                <a:gd name="T24" fmla="*/ 764 w 786"/>
                <a:gd name="T2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6" h="132">
                  <a:moveTo>
                    <a:pt x="764" y="0"/>
                  </a:moveTo>
                  <a:cubicBezTo>
                    <a:pt x="751" y="4"/>
                    <a:pt x="737" y="7"/>
                    <a:pt x="722" y="10"/>
                  </a:cubicBezTo>
                  <a:cubicBezTo>
                    <a:pt x="633" y="30"/>
                    <a:pt x="518" y="42"/>
                    <a:pt x="393" y="42"/>
                  </a:cubicBezTo>
                  <a:cubicBezTo>
                    <a:pt x="267" y="42"/>
                    <a:pt x="152" y="30"/>
                    <a:pt x="63" y="10"/>
                  </a:cubicBezTo>
                  <a:cubicBezTo>
                    <a:pt x="49" y="7"/>
                    <a:pt x="35" y="4"/>
                    <a:pt x="21" y="0"/>
                  </a:cubicBezTo>
                  <a:cubicBezTo>
                    <a:pt x="7" y="10"/>
                    <a:pt x="0" y="21"/>
                    <a:pt x="0" y="32"/>
                  </a:cubicBezTo>
                  <a:cubicBezTo>
                    <a:pt x="0" y="38"/>
                    <a:pt x="1" y="43"/>
                    <a:pt x="5" y="48"/>
                  </a:cubicBezTo>
                  <a:cubicBezTo>
                    <a:pt x="24" y="78"/>
                    <a:pt x="92" y="102"/>
                    <a:pt x="188" y="117"/>
                  </a:cubicBezTo>
                  <a:cubicBezTo>
                    <a:pt x="248" y="126"/>
                    <a:pt x="318" y="132"/>
                    <a:pt x="393" y="132"/>
                  </a:cubicBezTo>
                  <a:cubicBezTo>
                    <a:pt x="468" y="132"/>
                    <a:pt x="538" y="126"/>
                    <a:pt x="597" y="117"/>
                  </a:cubicBezTo>
                  <a:cubicBezTo>
                    <a:pt x="693" y="102"/>
                    <a:pt x="762" y="78"/>
                    <a:pt x="780" y="48"/>
                  </a:cubicBezTo>
                  <a:cubicBezTo>
                    <a:pt x="784" y="43"/>
                    <a:pt x="786" y="38"/>
                    <a:pt x="786" y="32"/>
                  </a:cubicBezTo>
                  <a:cubicBezTo>
                    <a:pt x="786" y="21"/>
                    <a:pt x="778" y="10"/>
                    <a:pt x="76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A6483595-3321-F443-02EA-55A66D8FD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4285543"/>
              <a:ext cx="3711034" cy="722032"/>
            </a:xfrm>
            <a:custGeom>
              <a:avLst/>
              <a:gdLst>
                <a:gd name="T0" fmla="*/ 780 w 786"/>
                <a:gd name="T1" fmla="*/ 16 h 132"/>
                <a:gd name="T2" fmla="*/ 597 w 786"/>
                <a:gd name="T3" fmla="*/ 85 h 132"/>
                <a:gd name="T4" fmla="*/ 393 w 786"/>
                <a:gd name="T5" fmla="*/ 100 h 132"/>
                <a:gd name="T6" fmla="*/ 188 w 786"/>
                <a:gd name="T7" fmla="*/ 85 h 132"/>
                <a:gd name="T8" fmla="*/ 5 w 786"/>
                <a:gd name="T9" fmla="*/ 16 h 132"/>
                <a:gd name="T10" fmla="*/ 0 w 786"/>
                <a:gd name="T11" fmla="*/ 0 h 132"/>
                <a:gd name="T12" fmla="*/ 0 w 786"/>
                <a:gd name="T13" fmla="*/ 33 h 132"/>
                <a:gd name="T14" fmla="*/ 127 w 786"/>
                <a:gd name="T15" fmla="*/ 106 h 132"/>
                <a:gd name="T16" fmla="*/ 196 w 786"/>
                <a:gd name="T17" fmla="*/ 119 h 132"/>
                <a:gd name="T18" fmla="*/ 393 w 786"/>
                <a:gd name="T19" fmla="*/ 132 h 132"/>
                <a:gd name="T20" fmla="*/ 589 w 786"/>
                <a:gd name="T21" fmla="*/ 119 h 132"/>
                <a:gd name="T22" fmla="*/ 658 w 786"/>
                <a:gd name="T23" fmla="*/ 106 h 132"/>
                <a:gd name="T24" fmla="*/ 786 w 786"/>
                <a:gd name="T25" fmla="*/ 33 h 132"/>
                <a:gd name="T26" fmla="*/ 786 w 786"/>
                <a:gd name="T27" fmla="*/ 0 h 132"/>
                <a:gd name="T28" fmla="*/ 780 w 786"/>
                <a:gd name="T29" fmla="*/ 1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6" h="132">
                  <a:moveTo>
                    <a:pt x="780" y="16"/>
                  </a:moveTo>
                  <a:cubicBezTo>
                    <a:pt x="762" y="46"/>
                    <a:pt x="693" y="70"/>
                    <a:pt x="597" y="85"/>
                  </a:cubicBezTo>
                  <a:cubicBezTo>
                    <a:pt x="538" y="94"/>
                    <a:pt x="468" y="100"/>
                    <a:pt x="393" y="100"/>
                  </a:cubicBezTo>
                  <a:cubicBezTo>
                    <a:pt x="318" y="100"/>
                    <a:pt x="248" y="94"/>
                    <a:pt x="188" y="85"/>
                  </a:cubicBezTo>
                  <a:cubicBezTo>
                    <a:pt x="92" y="70"/>
                    <a:pt x="24" y="46"/>
                    <a:pt x="5" y="16"/>
                  </a:cubicBezTo>
                  <a:cubicBezTo>
                    <a:pt x="1" y="11"/>
                    <a:pt x="0" y="6"/>
                    <a:pt x="0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62"/>
                    <a:pt x="49" y="88"/>
                    <a:pt x="127" y="106"/>
                  </a:cubicBezTo>
                  <a:cubicBezTo>
                    <a:pt x="148" y="111"/>
                    <a:pt x="171" y="115"/>
                    <a:pt x="196" y="119"/>
                  </a:cubicBezTo>
                  <a:cubicBezTo>
                    <a:pt x="254" y="127"/>
                    <a:pt x="321" y="132"/>
                    <a:pt x="393" y="132"/>
                  </a:cubicBezTo>
                  <a:cubicBezTo>
                    <a:pt x="464" y="132"/>
                    <a:pt x="531" y="127"/>
                    <a:pt x="589" y="119"/>
                  </a:cubicBezTo>
                  <a:cubicBezTo>
                    <a:pt x="614" y="115"/>
                    <a:pt x="637" y="111"/>
                    <a:pt x="658" y="106"/>
                  </a:cubicBezTo>
                  <a:cubicBezTo>
                    <a:pt x="736" y="88"/>
                    <a:pt x="786" y="62"/>
                    <a:pt x="786" y="33"/>
                  </a:cubicBezTo>
                  <a:cubicBezTo>
                    <a:pt x="786" y="0"/>
                    <a:pt x="786" y="0"/>
                    <a:pt x="786" y="0"/>
                  </a:cubicBezTo>
                  <a:cubicBezTo>
                    <a:pt x="786" y="6"/>
                    <a:pt x="784" y="11"/>
                    <a:pt x="780" y="16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7BBDAFE6-EE78-1E0E-7B30-FB06F2A5ED53}"/>
              </a:ext>
            </a:extLst>
          </p:cNvPr>
          <p:cNvGrpSpPr/>
          <p:nvPr/>
        </p:nvGrpSpPr>
        <p:grpSpPr>
          <a:xfrm>
            <a:off x="163532" y="1440722"/>
            <a:ext cx="4439311" cy="1479765"/>
            <a:chOff x="230964" y="1440722"/>
            <a:chExt cx="4439311" cy="1479765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BC813AE4-E3D8-3EC1-0C2E-7BA8BDD32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24" name="Straight Connector 85">
              <a:extLst>
                <a:ext uri="{FF2B5EF4-FFF2-40B4-BE49-F238E27FC236}">
                  <a16:creationId xmlns:a16="http://schemas.microsoft.com/office/drawing/2014/main" id="{10A31B98-AE71-B040-4FB7-08F41327E4A5}"/>
                </a:ext>
              </a:extLst>
            </p:cNvPr>
            <p:cNvCxnSpPr>
              <a:cxnSpLocks/>
            </p:cNvCxnSpPr>
            <p:nvPr/>
          </p:nvCxnSpPr>
          <p:spPr>
            <a:xfrm>
              <a:off x="643370" y="2920487"/>
              <a:ext cx="2404872" cy="0"/>
            </a:xfrm>
            <a:prstGeom prst="line">
              <a:avLst/>
            </a:prstGeom>
            <a:ln w="25400">
              <a:gradFill flip="none" rotWithShape="1">
                <a:gsLst>
                  <a:gs pos="100000">
                    <a:srgbClr val="620CD2">
                      <a:alpha val="0"/>
                    </a:srgbClr>
                  </a:gs>
                  <a:gs pos="0">
                    <a:srgbClr val="620CEA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967A485-B95F-1329-4475-3454161A33D8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бработка </a:t>
              </a:r>
              <a:b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потенциальных</a:t>
              </a:r>
              <a:b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лиентов</a:t>
              </a:r>
              <a:endParaRPr lang="ru-RU" sz="2400" dirty="0">
                <a:effectLst/>
                <a:latin typeface="Unbounde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306CE6C-344D-F920-534A-A9FF9A990C9D}"/>
              </a:ext>
            </a:extLst>
          </p:cNvPr>
          <p:cNvGrpSpPr/>
          <p:nvPr/>
        </p:nvGrpSpPr>
        <p:grpSpPr>
          <a:xfrm>
            <a:off x="163532" y="3249751"/>
            <a:ext cx="4439311" cy="1479765"/>
            <a:chOff x="230964" y="1440722"/>
            <a:chExt cx="4439311" cy="1479765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73C6C8FB-D532-C1A1-464B-830B0CC559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17" name="Straight Connector 85">
              <a:extLst>
                <a:ext uri="{FF2B5EF4-FFF2-40B4-BE49-F238E27FC236}">
                  <a16:creationId xmlns:a16="http://schemas.microsoft.com/office/drawing/2014/main" id="{39B00574-15B2-A4EE-559B-8A95AD26EEAB}"/>
                </a:ext>
              </a:extLst>
            </p:cNvPr>
            <p:cNvCxnSpPr>
              <a:cxnSpLocks/>
            </p:cNvCxnSpPr>
            <p:nvPr/>
          </p:nvCxnSpPr>
          <p:spPr>
            <a:xfrm>
              <a:off x="643370" y="2920487"/>
              <a:ext cx="2404872" cy="0"/>
            </a:xfrm>
            <a:prstGeom prst="line">
              <a:avLst/>
            </a:prstGeom>
            <a:ln w="25400">
              <a:gradFill flip="none" rotWithShape="1">
                <a:gsLst>
                  <a:gs pos="100000">
                    <a:srgbClr val="620CD2">
                      <a:alpha val="0"/>
                    </a:srgbClr>
                  </a:gs>
                  <a:gs pos="0">
                    <a:srgbClr val="620CEA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27CB6C4-8CEC-D21C-265A-C4A335AAB715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Развитие 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артнерских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рограмм</a:t>
              </a: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C70203D5-0578-D4DB-184D-B8F7D0AC6320}"/>
              </a:ext>
            </a:extLst>
          </p:cNvPr>
          <p:cNvGrpSpPr/>
          <p:nvPr/>
        </p:nvGrpSpPr>
        <p:grpSpPr>
          <a:xfrm>
            <a:off x="163532" y="5107767"/>
            <a:ext cx="4439311" cy="1323439"/>
            <a:chOff x="230964" y="1440722"/>
            <a:chExt cx="4439311" cy="1323439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915F3402-4DAE-C54E-4DE5-011E14177F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D40D90F-71C8-9357-1873-E05182E45C4D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овлечение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отенциальных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сотрудников</a:t>
              </a:r>
            </a:p>
          </p:txBody>
        </p:sp>
      </p:grpSp>
      <p:sp>
        <p:nvSpPr>
          <p:cNvPr id="27" name="Freeform 5">
            <a:extLst>
              <a:ext uri="{FF2B5EF4-FFF2-40B4-BE49-F238E27FC236}">
                <a16:creationId xmlns:a16="http://schemas.microsoft.com/office/drawing/2014/main" id="{F0A8266F-8B6A-E0CB-FA97-F3D357A23E43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6761948" y="1583724"/>
            <a:ext cx="214313" cy="214312"/>
          </a:xfrm>
          <a:custGeom>
            <a:avLst/>
            <a:gdLst>
              <a:gd name="T0" fmla="*/ 30 w 60"/>
              <a:gd name="T1" fmla="*/ 0 h 60"/>
              <a:gd name="T2" fmla="*/ 60 w 60"/>
              <a:gd name="T3" fmla="*/ 30 h 60"/>
              <a:gd name="T4" fmla="*/ 30 w 60"/>
              <a:gd name="T5" fmla="*/ 60 h 60"/>
              <a:gd name="T6" fmla="*/ 0 w 60"/>
              <a:gd name="T7" fmla="*/ 30 h 60"/>
              <a:gd name="T8" fmla="*/ 30 w 60"/>
              <a:gd name="T9" fmla="*/ 0 h 60"/>
              <a:gd name="T10" fmla="*/ 35 w 60"/>
              <a:gd name="T11" fmla="*/ 33 h 60"/>
              <a:gd name="T12" fmla="*/ 34 w 60"/>
              <a:gd name="T13" fmla="*/ 34 h 60"/>
              <a:gd name="T14" fmla="*/ 28 w 60"/>
              <a:gd name="T15" fmla="*/ 40 h 60"/>
              <a:gd name="T16" fmla="*/ 28 w 60"/>
              <a:gd name="T17" fmla="*/ 44 h 60"/>
              <a:gd name="T18" fmla="*/ 32 w 60"/>
              <a:gd name="T19" fmla="*/ 44 h 60"/>
              <a:gd name="T20" fmla="*/ 44 w 60"/>
              <a:gd name="T21" fmla="*/ 32 h 60"/>
              <a:gd name="T22" fmla="*/ 44 w 60"/>
              <a:gd name="T23" fmla="*/ 28 h 60"/>
              <a:gd name="T24" fmla="*/ 32 w 60"/>
              <a:gd name="T25" fmla="*/ 16 h 60"/>
              <a:gd name="T26" fmla="*/ 30 w 60"/>
              <a:gd name="T27" fmla="*/ 15 h 60"/>
              <a:gd name="T28" fmla="*/ 27 w 60"/>
              <a:gd name="T29" fmla="*/ 17 h 60"/>
              <a:gd name="T30" fmla="*/ 28 w 60"/>
              <a:gd name="T31" fmla="*/ 20 h 60"/>
              <a:gd name="T32" fmla="*/ 34 w 60"/>
              <a:gd name="T33" fmla="*/ 27 h 60"/>
              <a:gd name="T34" fmla="*/ 35 w 60"/>
              <a:gd name="T35" fmla="*/ 27 h 60"/>
              <a:gd name="T36" fmla="*/ 34 w 60"/>
              <a:gd name="T37" fmla="*/ 27 h 60"/>
              <a:gd name="T38" fmla="*/ 19 w 60"/>
              <a:gd name="T39" fmla="*/ 27 h 60"/>
              <a:gd name="T40" fmla="*/ 18 w 60"/>
              <a:gd name="T41" fmla="*/ 27 h 60"/>
              <a:gd name="T42" fmla="*/ 15 w 60"/>
              <a:gd name="T43" fmla="*/ 31 h 60"/>
              <a:gd name="T44" fmla="*/ 18 w 60"/>
              <a:gd name="T45" fmla="*/ 33 h 60"/>
              <a:gd name="T46" fmla="*/ 34 w 60"/>
              <a:gd name="T47" fmla="*/ 33 h 60"/>
              <a:gd name="T48" fmla="*/ 35 w 60"/>
              <a:gd name="T49" fmla="*/ 33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60">
                <a:moveTo>
                  <a:pt x="30" y="0"/>
                </a:moveTo>
                <a:cubicBezTo>
                  <a:pt x="47" y="0"/>
                  <a:pt x="60" y="14"/>
                  <a:pt x="60" y="30"/>
                </a:cubicBezTo>
                <a:cubicBezTo>
                  <a:pt x="60" y="47"/>
                  <a:pt x="47" y="60"/>
                  <a:pt x="30" y="60"/>
                </a:cubicBezTo>
                <a:cubicBezTo>
                  <a:pt x="14" y="60"/>
                  <a:pt x="0" y="47"/>
                  <a:pt x="0" y="30"/>
                </a:cubicBezTo>
                <a:cubicBezTo>
                  <a:pt x="0" y="14"/>
                  <a:pt x="14" y="0"/>
                  <a:pt x="30" y="0"/>
                </a:cubicBezTo>
                <a:close/>
                <a:moveTo>
                  <a:pt x="35" y="33"/>
                </a:moveTo>
                <a:cubicBezTo>
                  <a:pt x="35" y="33"/>
                  <a:pt x="34" y="34"/>
                  <a:pt x="34" y="34"/>
                </a:cubicBezTo>
                <a:cubicBezTo>
                  <a:pt x="32" y="36"/>
                  <a:pt x="30" y="38"/>
                  <a:pt x="28" y="40"/>
                </a:cubicBezTo>
                <a:cubicBezTo>
                  <a:pt x="27" y="41"/>
                  <a:pt x="27" y="43"/>
                  <a:pt x="28" y="44"/>
                </a:cubicBezTo>
                <a:cubicBezTo>
                  <a:pt x="29" y="45"/>
                  <a:pt x="31" y="45"/>
                  <a:pt x="32" y="44"/>
                </a:cubicBezTo>
                <a:cubicBezTo>
                  <a:pt x="36" y="40"/>
                  <a:pt x="40" y="36"/>
                  <a:pt x="44" y="32"/>
                </a:cubicBezTo>
                <a:cubicBezTo>
                  <a:pt x="45" y="31"/>
                  <a:pt x="45" y="29"/>
                  <a:pt x="44" y="28"/>
                </a:cubicBezTo>
                <a:cubicBezTo>
                  <a:pt x="40" y="24"/>
                  <a:pt x="36" y="20"/>
                  <a:pt x="32" y="16"/>
                </a:cubicBezTo>
                <a:cubicBezTo>
                  <a:pt x="32" y="15"/>
                  <a:pt x="31" y="15"/>
                  <a:pt x="30" y="15"/>
                </a:cubicBezTo>
                <a:cubicBezTo>
                  <a:pt x="29" y="15"/>
                  <a:pt x="28" y="16"/>
                  <a:pt x="27" y="17"/>
                </a:cubicBezTo>
                <a:cubicBezTo>
                  <a:pt x="27" y="18"/>
                  <a:pt x="27" y="19"/>
                  <a:pt x="28" y="20"/>
                </a:cubicBezTo>
                <a:cubicBezTo>
                  <a:pt x="30" y="22"/>
                  <a:pt x="32" y="24"/>
                  <a:pt x="34" y="27"/>
                </a:cubicBezTo>
                <a:cubicBezTo>
                  <a:pt x="34" y="27"/>
                  <a:pt x="35" y="27"/>
                  <a:pt x="35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29" y="27"/>
                  <a:pt x="24" y="27"/>
                  <a:pt x="19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6" y="27"/>
                  <a:pt x="15" y="29"/>
                  <a:pt x="15" y="31"/>
                </a:cubicBezTo>
                <a:cubicBezTo>
                  <a:pt x="15" y="32"/>
                  <a:pt x="17" y="33"/>
                  <a:pt x="18" y="33"/>
                </a:cubicBezTo>
                <a:cubicBezTo>
                  <a:pt x="24" y="33"/>
                  <a:pt x="29" y="33"/>
                  <a:pt x="34" y="33"/>
                </a:cubicBezTo>
                <a:cubicBezTo>
                  <a:pt x="34" y="33"/>
                  <a:pt x="34" y="33"/>
                  <a:pt x="35" y="33"/>
                </a:cubicBezTo>
                <a:close/>
              </a:path>
            </a:pathLst>
          </a:custGeom>
          <a:solidFill>
            <a:srgbClr val="620CF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endParaRPr lang="en-US"/>
          </a:p>
        </p:txBody>
      </p:sp>
      <p:cxnSp>
        <p:nvCxnSpPr>
          <p:cNvPr id="28" name="Straight Connector 85">
            <a:extLst>
              <a:ext uri="{FF2B5EF4-FFF2-40B4-BE49-F238E27FC236}">
                <a16:creationId xmlns:a16="http://schemas.microsoft.com/office/drawing/2014/main" id="{20C2319F-9376-77B8-2538-EF889358F8BE}"/>
              </a:ext>
            </a:extLst>
          </p:cNvPr>
          <p:cNvCxnSpPr>
            <a:cxnSpLocks/>
          </p:cNvCxnSpPr>
          <p:nvPr/>
        </p:nvCxnSpPr>
        <p:spPr>
          <a:xfrm flipH="1">
            <a:off x="14054947" y="2920487"/>
            <a:ext cx="2404872" cy="0"/>
          </a:xfrm>
          <a:prstGeom prst="line">
            <a:avLst/>
          </a:prstGeom>
          <a:ln w="25400">
            <a:gradFill flip="none" rotWithShape="1">
              <a:gsLst>
                <a:gs pos="100000">
                  <a:srgbClr val="620CD2">
                    <a:alpha val="0"/>
                  </a:srgbClr>
                </a:gs>
                <a:gs pos="0">
                  <a:srgbClr val="620CEA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11AB80DE-BA83-A502-9B99-EE917266768E}"/>
              </a:ext>
            </a:extLst>
          </p:cNvPr>
          <p:cNvSpPr txBox="1"/>
          <p:nvPr/>
        </p:nvSpPr>
        <p:spPr>
          <a:xfrm>
            <a:off x="12522916" y="1440722"/>
            <a:ext cx="412809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ts val="3200"/>
              </a:lnSpc>
            </a:pP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Поиск</a:t>
            </a:r>
            <a:b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инвестиций</a:t>
            </a:r>
            <a:b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в компанию</a:t>
            </a: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990C8E1C-ACEF-DDD6-27BF-191B157740D7}"/>
              </a:ext>
            </a:extLst>
          </p:cNvPr>
          <p:cNvGrpSpPr/>
          <p:nvPr/>
        </p:nvGrpSpPr>
        <p:grpSpPr>
          <a:xfrm>
            <a:off x="4212842" y="-46377"/>
            <a:ext cx="3762311" cy="6858000"/>
            <a:chOff x="5317227" y="-111040"/>
            <a:chExt cx="3762311" cy="6858000"/>
          </a:xfrm>
        </p:grpSpPr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334C87EB-0FBF-72D6-8E51-25E6BA023179}"/>
                </a:ext>
              </a:extLst>
            </p:cNvPr>
            <p:cNvSpPr/>
            <p:nvPr/>
          </p:nvSpPr>
          <p:spPr>
            <a:xfrm>
              <a:off x="5317227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252F7818-8648-149B-E1E0-F384D20EAA37}"/>
                </a:ext>
              </a:extLst>
            </p:cNvPr>
            <p:cNvSpPr/>
            <p:nvPr/>
          </p:nvSpPr>
          <p:spPr>
            <a:xfrm>
              <a:off x="6257805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BA6A7183-CA2E-808A-4E8E-2DBACC27E377}"/>
                </a:ext>
              </a:extLst>
            </p:cNvPr>
            <p:cNvSpPr/>
            <p:nvPr/>
          </p:nvSpPr>
          <p:spPr>
            <a:xfrm>
              <a:off x="7198382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BE503A1-6B84-8210-DA88-D3AA25103E1B}"/>
                </a:ext>
              </a:extLst>
            </p:cNvPr>
            <p:cNvSpPr/>
            <p:nvPr/>
          </p:nvSpPr>
          <p:spPr>
            <a:xfrm>
              <a:off x="8138960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57281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4.44444E-6 L 0.06576 4.44444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4.44444E-6 L 0.06576 4.44444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-3.7037E-6 L 0.06576 -3.7037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8" name="Рисунок 3">
            <a:extLst>
              <a:ext uri="{FF2B5EF4-FFF2-40B4-BE49-F238E27FC236}">
                <a16:creationId xmlns:a16="http://schemas.microsoft.com/office/drawing/2014/main" id="{B63F4BEE-48AE-F06A-6DA6-C8982BFE428C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306BE464-478F-81B6-3B64-29F8F5EF6AB8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86F94626-DE5D-5CDE-C5AB-08EC87502FA9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27D32363-4996-BC63-62AD-37B68BDCEF3B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0CF7CFDB-7A74-EC0A-6085-A444E06E742E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6612FEDD-013B-92AC-4475-870F7116F32C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B2EBED1A-9481-C73D-3E09-821A49346615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AD1CBA0D-CF7C-181F-0780-454F30ADFE2C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29262002-7FA6-242C-1F7F-5498AD6537FA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B1BADB8A-087E-8EF7-C819-4DA4B76178C8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E75AA717-1E66-FF94-A1E7-B9B27F4A6897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46F477F9-AF6E-52E4-CB25-A418271737C3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1" name="!!Oval 131">
            <a:extLst>
              <a:ext uri="{FF2B5EF4-FFF2-40B4-BE49-F238E27FC236}">
                <a16:creationId xmlns:a16="http://schemas.microsoft.com/office/drawing/2014/main" id="{4245BDFE-C8E8-07C6-A46D-D232960778D2}"/>
              </a:ext>
            </a:extLst>
          </p:cNvPr>
          <p:cNvGrpSpPr/>
          <p:nvPr/>
        </p:nvGrpSpPr>
        <p:grpSpPr>
          <a:xfrm>
            <a:off x="5170912" y="1177870"/>
            <a:ext cx="1846174" cy="759138"/>
            <a:chOff x="5170912" y="1177870"/>
            <a:chExt cx="1846174" cy="759138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0C1C4287-4318-F0FF-B328-5E46695B9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4916" y="1177870"/>
              <a:ext cx="1842169" cy="573607"/>
            </a:xfrm>
            <a:custGeom>
              <a:avLst/>
              <a:gdLst>
                <a:gd name="T0" fmla="*/ 195 w 390"/>
                <a:gd name="T1" fmla="*/ 0 h 105"/>
                <a:gd name="T2" fmla="*/ 0 w 390"/>
                <a:gd name="T3" fmla="*/ 53 h 105"/>
                <a:gd name="T4" fmla="*/ 10 w 390"/>
                <a:gd name="T5" fmla="*/ 69 h 105"/>
                <a:gd name="T6" fmla="*/ 100 w 390"/>
                <a:gd name="T7" fmla="*/ 98 h 105"/>
                <a:gd name="T8" fmla="*/ 195 w 390"/>
                <a:gd name="T9" fmla="*/ 105 h 105"/>
                <a:gd name="T10" fmla="*/ 290 w 390"/>
                <a:gd name="T11" fmla="*/ 98 h 105"/>
                <a:gd name="T12" fmla="*/ 380 w 390"/>
                <a:gd name="T13" fmla="*/ 69 h 105"/>
                <a:gd name="T14" fmla="*/ 390 w 390"/>
                <a:gd name="T15" fmla="*/ 53 h 105"/>
                <a:gd name="T16" fmla="*/ 195 w 390"/>
                <a:gd name="T1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05">
                  <a:moveTo>
                    <a:pt x="195" y="0"/>
                  </a:moveTo>
                  <a:cubicBezTo>
                    <a:pt x="87" y="0"/>
                    <a:pt x="0" y="24"/>
                    <a:pt x="0" y="53"/>
                  </a:cubicBezTo>
                  <a:cubicBezTo>
                    <a:pt x="0" y="58"/>
                    <a:pt x="3" y="64"/>
                    <a:pt x="10" y="69"/>
                  </a:cubicBezTo>
                  <a:cubicBezTo>
                    <a:pt x="25" y="82"/>
                    <a:pt x="58" y="92"/>
                    <a:pt x="100" y="98"/>
                  </a:cubicBezTo>
                  <a:cubicBezTo>
                    <a:pt x="128" y="103"/>
                    <a:pt x="160" y="105"/>
                    <a:pt x="195" y="105"/>
                  </a:cubicBezTo>
                  <a:cubicBezTo>
                    <a:pt x="229" y="105"/>
                    <a:pt x="262" y="103"/>
                    <a:pt x="290" y="98"/>
                  </a:cubicBezTo>
                  <a:cubicBezTo>
                    <a:pt x="332" y="92"/>
                    <a:pt x="364" y="82"/>
                    <a:pt x="380" y="69"/>
                  </a:cubicBezTo>
                  <a:cubicBezTo>
                    <a:pt x="386" y="64"/>
                    <a:pt x="390" y="58"/>
                    <a:pt x="390" y="53"/>
                  </a:cubicBezTo>
                  <a:cubicBezTo>
                    <a:pt x="390" y="24"/>
                    <a:pt x="302" y="0"/>
                    <a:pt x="195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0FEED456-374C-3949-CBC0-E41F3D9A6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912" y="1466992"/>
              <a:ext cx="1846174" cy="470016"/>
            </a:xfrm>
            <a:custGeom>
              <a:avLst/>
              <a:gdLst>
                <a:gd name="T0" fmla="*/ 391 w 391"/>
                <a:gd name="T1" fmla="*/ 30 h 86"/>
                <a:gd name="T2" fmla="*/ 391 w 391"/>
                <a:gd name="T3" fmla="*/ 0 h 86"/>
                <a:gd name="T4" fmla="*/ 381 w 391"/>
                <a:gd name="T5" fmla="*/ 16 h 86"/>
                <a:gd name="T6" fmla="*/ 291 w 391"/>
                <a:gd name="T7" fmla="*/ 45 h 86"/>
                <a:gd name="T8" fmla="*/ 196 w 391"/>
                <a:gd name="T9" fmla="*/ 52 h 86"/>
                <a:gd name="T10" fmla="*/ 101 w 391"/>
                <a:gd name="T11" fmla="*/ 45 h 86"/>
                <a:gd name="T12" fmla="*/ 11 w 391"/>
                <a:gd name="T13" fmla="*/ 16 h 86"/>
                <a:gd name="T14" fmla="*/ 1 w 391"/>
                <a:gd name="T15" fmla="*/ 0 h 86"/>
                <a:gd name="T16" fmla="*/ 1 w 391"/>
                <a:gd name="T17" fmla="*/ 30 h 86"/>
                <a:gd name="T18" fmla="*/ 0 w 391"/>
                <a:gd name="T19" fmla="*/ 33 h 86"/>
                <a:gd name="T20" fmla="*/ 21 w 391"/>
                <a:gd name="T21" fmla="*/ 57 h 86"/>
                <a:gd name="T22" fmla="*/ 101 w 391"/>
                <a:gd name="T23" fmla="*/ 79 h 86"/>
                <a:gd name="T24" fmla="*/ 196 w 391"/>
                <a:gd name="T25" fmla="*/ 86 h 86"/>
                <a:gd name="T26" fmla="*/ 290 w 391"/>
                <a:gd name="T27" fmla="*/ 79 h 86"/>
                <a:gd name="T28" fmla="*/ 371 w 391"/>
                <a:gd name="T29" fmla="*/ 57 h 86"/>
                <a:gd name="T30" fmla="*/ 391 w 391"/>
                <a:gd name="T31" fmla="*/ 33 h 86"/>
                <a:gd name="T32" fmla="*/ 391 w 391"/>
                <a:gd name="T33" fmla="*/ 3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1" h="86">
                  <a:moveTo>
                    <a:pt x="391" y="30"/>
                  </a:moveTo>
                  <a:cubicBezTo>
                    <a:pt x="391" y="0"/>
                    <a:pt x="391" y="0"/>
                    <a:pt x="391" y="0"/>
                  </a:cubicBezTo>
                  <a:cubicBezTo>
                    <a:pt x="391" y="5"/>
                    <a:pt x="387" y="11"/>
                    <a:pt x="381" y="16"/>
                  </a:cubicBezTo>
                  <a:cubicBezTo>
                    <a:pt x="365" y="29"/>
                    <a:pt x="333" y="39"/>
                    <a:pt x="291" y="45"/>
                  </a:cubicBezTo>
                  <a:cubicBezTo>
                    <a:pt x="263" y="50"/>
                    <a:pt x="230" y="52"/>
                    <a:pt x="196" y="52"/>
                  </a:cubicBezTo>
                  <a:cubicBezTo>
                    <a:pt x="161" y="52"/>
                    <a:pt x="129" y="50"/>
                    <a:pt x="101" y="45"/>
                  </a:cubicBezTo>
                  <a:cubicBezTo>
                    <a:pt x="59" y="39"/>
                    <a:pt x="26" y="29"/>
                    <a:pt x="11" y="16"/>
                  </a:cubicBezTo>
                  <a:cubicBezTo>
                    <a:pt x="4" y="11"/>
                    <a:pt x="1" y="5"/>
                    <a:pt x="1" y="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1"/>
                    <a:pt x="0" y="32"/>
                    <a:pt x="0" y="33"/>
                  </a:cubicBezTo>
                  <a:cubicBezTo>
                    <a:pt x="0" y="42"/>
                    <a:pt x="7" y="49"/>
                    <a:pt x="21" y="57"/>
                  </a:cubicBezTo>
                  <a:cubicBezTo>
                    <a:pt x="38" y="66"/>
                    <a:pt x="66" y="74"/>
                    <a:pt x="101" y="79"/>
                  </a:cubicBezTo>
                  <a:cubicBezTo>
                    <a:pt x="129" y="83"/>
                    <a:pt x="161" y="86"/>
                    <a:pt x="196" y="86"/>
                  </a:cubicBezTo>
                  <a:cubicBezTo>
                    <a:pt x="230" y="86"/>
                    <a:pt x="262" y="83"/>
                    <a:pt x="290" y="79"/>
                  </a:cubicBezTo>
                  <a:cubicBezTo>
                    <a:pt x="325" y="74"/>
                    <a:pt x="353" y="66"/>
                    <a:pt x="371" y="57"/>
                  </a:cubicBezTo>
                  <a:cubicBezTo>
                    <a:pt x="384" y="49"/>
                    <a:pt x="391" y="42"/>
                    <a:pt x="391" y="33"/>
                  </a:cubicBezTo>
                  <a:cubicBezTo>
                    <a:pt x="391" y="32"/>
                    <a:pt x="391" y="31"/>
                    <a:pt x="391" y="30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A0084A9-34C2-AE3C-8834-2E072324A228}"/>
              </a:ext>
            </a:extLst>
          </p:cNvPr>
          <p:cNvGrpSpPr/>
          <p:nvPr/>
        </p:nvGrpSpPr>
        <p:grpSpPr>
          <a:xfrm>
            <a:off x="4685006" y="1781473"/>
            <a:ext cx="2817984" cy="974047"/>
            <a:chOff x="4685006" y="1779306"/>
            <a:chExt cx="2817984" cy="974047"/>
          </a:xfrm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64177196-523E-63F2-0869-F20F1E037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1779306"/>
              <a:ext cx="2817984" cy="786969"/>
            </a:xfrm>
            <a:custGeom>
              <a:avLst/>
              <a:gdLst>
                <a:gd name="T0" fmla="*/ 474 w 597"/>
                <a:gd name="T1" fmla="*/ 0 h 144"/>
                <a:gd name="T2" fmla="*/ 393 w 597"/>
                <a:gd name="T3" fmla="*/ 22 h 144"/>
                <a:gd name="T4" fmla="*/ 299 w 597"/>
                <a:gd name="T5" fmla="*/ 29 h 144"/>
                <a:gd name="T6" fmla="*/ 204 w 597"/>
                <a:gd name="T7" fmla="*/ 22 h 144"/>
                <a:gd name="T8" fmla="*/ 124 w 597"/>
                <a:gd name="T9" fmla="*/ 0 h 144"/>
                <a:gd name="T10" fmla="*/ 0 w 597"/>
                <a:gd name="T11" fmla="*/ 64 h 144"/>
                <a:gd name="T12" fmla="*/ 7 w 597"/>
                <a:gd name="T13" fmla="*/ 81 h 144"/>
                <a:gd name="T14" fmla="*/ 41 w 597"/>
                <a:gd name="T15" fmla="*/ 104 h 144"/>
                <a:gd name="T16" fmla="*/ 122 w 597"/>
                <a:gd name="T17" fmla="*/ 128 h 144"/>
                <a:gd name="T18" fmla="*/ 299 w 597"/>
                <a:gd name="T19" fmla="*/ 144 h 144"/>
                <a:gd name="T20" fmla="*/ 476 w 597"/>
                <a:gd name="T21" fmla="*/ 128 h 144"/>
                <a:gd name="T22" fmla="*/ 556 w 597"/>
                <a:gd name="T23" fmla="*/ 104 h 144"/>
                <a:gd name="T24" fmla="*/ 590 w 597"/>
                <a:gd name="T25" fmla="*/ 81 h 144"/>
                <a:gd name="T26" fmla="*/ 597 w 597"/>
                <a:gd name="T27" fmla="*/ 64 h 144"/>
                <a:gd name="T28" fmla="*/ 474 w 597"/>
                <a:gd name="T29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7" h="144">
                  <a:moveTo>
                    <a:pt x="474" y="0"/>
                  </a:moveTo>
                  <a:cubicBezTo>
                    <a:pt x="456" y="9"/>
                    <a:pt x="428" y="17"/>
                    <a:pt x="393" y="22"/>
                  </a:cubicBezTo>
                  <a:cubicBezTo>
                    <a:pt x="365" y="26"/>
                    <a:pt x="333" y="29"/>
                    <a:pt x="299" y="29"/>
                  </a:cubicBezTo>
                  <a:cubicBezTo>
                    <a:pt x="264" y="29"/>
                    <a:pt x="232" y="26"/>
                    <a:pt x="204" y="22"/>
                  </a:cubicBezTo>
                  <a:cubicBezTo>
                    <a:pt x="169" y="17"/>
                    <a:pt x="141" y="9"/>
                    <a:pt x="124" y="0"/>
                  </a:cubicBezTo>
                  <a:cubicBezTo>
                    <a:pt x="49" y="14"/>
                    <a:pt x="0" y="38"/>
                    <a:pt x="0" y="64"/>
                  </a:cubicBezTo>
                  <a:cubicBezTo>
                    <a:pt x="0" y="70"/>
                    <a:pt x="3" y="76"/>
                    <a:pt x="7" y="81"/>
                  </a:cubicBezTo>
                  <a:cubicBezTo>
                    <a:pt x="14" y="89"/>
                    <a:pt x="25" y="97"/>
                    <a:pt x="41" y="104"/>
                  </a:cubicBezTo>
                  <a:cubicBezTo>
                    <a:pt x="62" y="114"/>
                    <a:pt x="89" y="122"/>
                    <a:pt x="122" y="128"/>
                  </a:cubicBezTo>
                  <a:cubicBezTo>
                    <a:pt x="171" y="138"/>
                    <a:pt x="232" y="144"/>
                    <a:pt x="299" y="144"/>
                  </a:cubicBezTo>
                  <a:cubicBezTo>
                    <a:pt x="365" y="144"/>
                    <a:pt x="426" y="138"/>
                    <a:pt x="476" y="128"/>
                  </a:cubicBezTo>
                  <a:cubicBezTo>
                    <a:pt x="508" y="122"/>
                    <a:pt x="536" y="114"/>
                    <a:pt x="556" y="104"/>
                  </a:cubicBezTo>
                  <a:cubicBezTo>
                    <a:pt x="572" y="97"/>
                    <a:pt x="584" y="89"/>
                    <a:pt x="590" y="81"/>
                  </a:cubicBezTo>
                  <a:cubicBezTo>
                    <a:pt x="595" y="76"/>
                    <a:pt x="597" y="70"/>
                    <a:pt x="597" y="64"/>
                  </a:cubicBezTo>
                  <a:cubicBezTo>
                    <a:pt x="597" y="38"/>
                    <a:pt x="548" y="14"/>
                    <a:pt x="47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6B728246-8BD5-22C5-BA41-6F3E6F9AC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2128726"/>
              <a:ext cx="2817984" cy="624627"/>
            </a:xfrm>
            <a:custGeom>
              <a:avLst/>
              <a:gdLst>
                <a:gd name="T0" fmla="*/ 590 w 597"/>
                <a:gd name="T1" fmla="*/ 17 h 114"/>
                <a:gd name="T2" fmla="*/ 556 w 597"/>
                <a:gd name="T3" fmla="*/ 40 h 114"/>
                <a:gd name="T4" fmla="*/ 476 w 597"/>
                <a:gd name="T5" fmla="*/ 64 h 114"/>
                <a:gd name="T6" fmla="*/ 299 w 597"/>
                <a:gd name="T7" fmla="*/ 80 h 114"/>
                <a:gd name="T8" fmla="*/ 122 w 597"/>
                <a:gd name="T9" fmla="*/ 64 h 114"/>
                <a:gd name="T10" fmla="*/ 41 w 597"/>
                <a:gd name="T11" fmla="*/ 40 h 114"/>
                <a:gd name="T12" fmla="*/ 7 w 597"/>
                <a:gd name="T13" fmla="*/ 17 h 114"/>
                <a:gd name="T14" fmla="*/ 0 w 597"/>
                <a:gd name="T15" fmla="*/ 0 h 114"/>
                <a:gd name="T16" fmla="*/ 0 w 597"/>
                <a:gd name="T17" fmla="*/ 34 h 114"/>
                <a:gd name="T18" fmla="*/ 6 w 597"/>
                <a:gd name="T19" fmla="*/ 49 h 114"/>
                <a:gd name="T20" fmla="*/ 47 w 597"/>
                <a:gd name="T21" fmla="*/ 77 h 114"/>
                <a:gd name="T22" fmla="*/ 181 w 597"/>
                <a:gd name="T23" fmla="*/ 107 h 114"/>
                <a:gd name="T24" fmla="*/ 299 w 597"/>
                <a:gd name="T25" fmla="*/ 114 h 114"/>
                <a:gd name="T26" fmla="*/ 417 w 597"/>
                <a:gd name="T27" fmla="*/ 107 h 114"/>
                <a:gd name="T28" fmla="*/ 550 w 597"/>
                <a:gd name="T29" fmla="*/ 77 h 114"/>
                <a:gd name="T30" fmla="*/ 591 w 597"/>
                <a:gd name="T31" fmla="*/ 49 h 114"/>
                <a:gd name="T32" fmla="*/ 597 w 597"/>
                <a:gd name="T33" fmla="*/ 34 h 114"/>
                <a:gd name="T34" fmla="*/ 597 w 597"/>
                <a:gd name="T35" fmla="*/ 0 h 114"/>
                <a:gd name="T36" fmla="*/ 590 w 597"/>
                <a:gd name="T37" fmla="*/ 1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7" h="114">
                  <a:moveTo>
                    <a:pt x="590" y="17"/>
                  </a:moveTo>
                  <a:cubicBezTo>
                    <a:pt x="584" y="25"/>
                    <a:pt x="572" y="33"/>
                    <a:pt x="556" y="40"/>
                  </a:cubicBezTo>
                  <a:cubicBezTo>
                    <a:pt x="536" y="50"/>
                    <a:pt x="508" y="58"/>
                    <a:pt x="476" y="64"/>
                  </a:cubicBezTo>
                  <a:cubicBezTo>
                    <a:pt x="426" y="74"/>
                    <a:pt x="365" y="80"/>
                    <a:pt x="299" y="80"/>
                  </a:cubicBezTo>
                  <a:cubicBezTo>
                    <a:pt x="232" y="80"/>
                    <a:pt x="171" y="74"/>
                    <a:pt x="122" y="64"/>
                  </a:cubicBezTo>
                  <a:cubicBezTo>
                    <a:pt x="89" y="58"/>
                    <a:pt x="62" y="50"/>
                    <a:pt x="41" y="40"/>
                  </a:cubicBezTo>
                  <a:cubicBezTo>
                    <a:pt x="25" y="33"/>
                    <a:pt x="14" y="25"/>
                    <a:pt x="7" y="17"/>
                  </a:cubicBezTo>
                  <a:cubicBezTo>
                    <a:pt x="3" y="12"/>
                    <a:pt x="0" y="6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9"/>
                    <a:pt x="2" y="44"/>
                    <a:pt x="6" y="49"/>
                  </a:cubicBezTo>
                  <a:cubicBezTo>
                    <a:pt x="13" y="59"/>
                    <a:pt x="28" y="69"/>
                    <a:pt x="47" y="77"/>
                  </a:cubicBezTo>
                  <a:cubicBezTo>
                    <a:pt x="79" y="90"/>
                    <a:pt x="126" y="101"/>
                    <a:pt x="181" y="107"/>
                  </a:cubicBezTo>
                  <a:cubicBezTo>
                    <a:pt x="217" y="111"/>
                    <a:pt x="257" y="114"/>
                    <a:pt x="299" y="114"/>
                  </a:cubicBezTo>
                  <a:cubicBezTo>
                    <a:pt x="341" y="114"/>
                    <a:pt x="380" y="111"/>
                    <a:pt x="417" y="107"/>
                  </a:cubicBezTo>
                  <a:cubicBezTo>
                    <a:pt x="471" y="101"/>
                    <a:pt x="518" y="90"/>
                    <a:pt x="550" y="77"/>
                  </a:cubicBezTo>
                  <a:cubicBezTo>
                    <a:pt x="570" y="69"/>
                    <a:pt x="584" y="59"/>
                    <a:pt x="591" y="49"/>
                  </a:cubicBezTo>
                  <a:cubicBezTo>
                    <a:pt x="595" y="44"/>
                    <a:pt x="597" y="39"/>
                    <a:pt x="597" y="34"/>
                  </a:cubicBezTo>
                  <a:cubicBezTo>
                    <a:pt x="597" y="0"/>
                    <a:pt x="597" y="0"/>
                    <a:pt x="597" y="0"/>
                  </a:cubicBezTo>
                  <a:cubicBezTo>
                    <a:pt x="597" y="6"/>
                    <a:pt x="595" y="12"/>
                    <a:pt x="590" y="17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B33D6A43-4B65-8BCD-8B0E-3574C5238FCB}"/>
              </a:ext>
            </a:extLst>
          </p:cNvPr>
          <p:cNvGrpSpPr/>
          <p:nvPr/>
        </p:nvGrpSpPr>
        <p:grpSpPr>
          <a:xfrm>
            <a:off x="4240482" y="2375972"/>
            <a:ext cx="3711034" cy="1116288"/>
            <a:chOff x="4240482" y="2397748"/>
            <a:chExt cx="3711034" cy="1116288"/>
          </a:xfrm>
        </p:grpSpPr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3CF99B6F-D029-B353-93F3-034E6103B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2397748"/>
              <a:ext cx="3711034" cy="907564"/>
            </a:xfrm>
            <a:custGeom>
              <a:avLst/>
              <a:gdLst>
                <a:gd name="T0" fmla="*/ 275 w 786"/>
                <a:gd name="T1" fmla="*/ 58 h 166"/>
                <a:gd name="T2" fmla="*/ 141 w 786"/>
                <a:gd name="T3" fmla="*/ 28 h 166"/>
                <a:gd name="T4" fmla="*/ 100 w 786"/>
                <a:gd name="T5" fmla="*/ 0 h 166"/>
                <a:gd name="T6" fmla="*/ 0 w 786"/>
                <a:gd name="T7" fmla="*/ 67 h 166"/>
                <a:gd name="T8" fmla="*/ 7 w 786"/>
                <a:gd name="T9" fmla="*/ 86 h 166"/>
                <a:gd name="T10" fmla="*/ 19 w 786"/>
                <a:gd name="T11" fmla="*/ 97 h 166"/>
                <a:gd name="T12" fmla="*/ 68 w 786"/>
                <a:gd name="T13" fmla="*/ 123 h 166"/>
                <a:gd name="T14" fmla="*/ 393 w 786"/>
                <a:gd name="T15" fmla="*/ 166 h 166"/>
                <a:gd name="T16" fmla="*/ 718 w 786"/>
                <a:gd name="T17" fmla="*/ 123 h 166"/>
                <a:gd name="T18" fmla="*/ 767 w 786"/>
                <a:gd name="T19" fmla="*/ 97 h 166"/>
                <a:gd name="T20" fmla="*/ 779 w 786"/>
                <a:gd name="T21" fmla="*/ 86 h 166"/>
                <a:gd name="T22" fmla="*/ 786 w 786"/>
                <a:gd name="T23" fmla="*/ 67 h 166"/>
                <a:gd name="T24" fmla="*/ 685 w 786"/>
                <a:gd name="T25" fmla="*/ 0 h 166"/>
                <a:gd name="T26" fmla="*/ 644 w 786"/>
                <a:gd name="T27" fmla="*/ 28 h 166"/>
                <a:gd name="T28" fmla="*/ 511 w 786"/>
                <a:gd name="T29" fmla="*/ 58 h 166"/>
                <a:gd name="T30" fmla="*/ 393 w 786"/>
                <a:gd name="T31" fmla="*/ 65 h 166"/>
                <a:gd name="T32" fmla="*/ 275 w 786"/>
                <a:gd name="T33" fmla="*/ 58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6" h="166">
                  <a:moveTo>
                    <a:pt x="275" y="58"/>
                  </a:moveTo>
                  <a:cubicBezTo>
                    <a:pt x="220" y="52"/>
                    <a:pt x="173" y="41"/>
                    <a:pt x="141" y="28"/>
                  </a:cubicBezTo>
                  <a:cubicBezTo>
                    <a:pt x="122" y="20"/>
                    <a:pt x="107" y="10"/>
                    <a:pt x="100" y="0"/>
                  </a:cubicBezTo>
                  <a:cubicBezTo>
                    <a:pt x="38" y="18"/>
                    <a:pt x="0" y="41"/>
                    <a:pt x="0" y="67"/>
                  </a:cubicBezTo>
                  <a:cubicBezTo>
                    <a:pt x="0" y="73"/>
                    <a:pt x="2" y="79"/>
                    <a:pt x="7" y="86"/>
                  </a:cubicBezTo>
                  <a:cubicBezTo>
                    <a:pt x="10" y="90"/>
                    <a:pt x="14" y="94"/>
                    <a:pt x="19" y="97"/>
                  </a:cubicBezTo>
                  <a:cubicBezTo>
                    <a:pt x="30" y="107"/>
                    <a:pt x="47" y="115"/>
                    <a:pt x="68" y="123"/>
                  </a:cubicBezTo>
                  <a:cubicBezTo>
                    <a:pt x="139" y="149"/>
                    <a:pt x="258" y="166"/>
                    <a:pt x="393" y="166"/>
                  </a:cubicBezTo>
                  <a:cubicBezTo>
                    <a:pt x="528" y="166"/>
                    <a:pt x="647" y="149"/>
                    <a:pt x="718" y="123"/>
                  </a:cubicBezTo>
                  <a:cubicBezTo>
                    <a:pt x="738" y="115"/>
                    <a:pt x="755" y="107"/>
                    <a:pt x="767" y="97"/>
                  </a:cubicBezTo>
                  <a:cubicBezTo>
                    <a:pt x="771" y="94"/>
                    <a:pt x="775" y="90"/>
                    <a:pt x="779" y="86"/>
                  </a:cubicBezTo>
                  <a:cubicBezTo>
                    <a:pt x="783" y="79"/>
                    <a:pt x="786" y="73"/>
                    <a:pt x="786" y="67"/>
                  </a:cubicBezTo>
                  <a:cubicBezTo>
                    <a:pt x="786" y="41"/>
                    <a:pt x="748" y="18"/>
                    <a:pt x="685" y="0"/>
                  </a:cubicBezTo>
                  <a:cubicBezTo>
                    <a:pt x="678" y="10"/>
                    <a:pt x="664" y="20"/>
                    <a:pt x="644" y="28"/>
                  </a:cubicBezTo>
                  <a:cubicBezTo>
                    <a:pt x="612" y="41"/>
                    <a:pt x="565" y="52"/>
                    <a:pt x="511" y="58"/>
                  </a:cubicBezTo>
                  <a:cubicBezTo>
                    <a:pt x="474" y="62"/>
                    <a:pt x="435" y="65"/>
                    <a:pt x="393" y="65"/>
                  </a:cubicBezTo>
                  <a:cubicBezTo>
                    <a:pt x="351" y="65"/>
                    <a:pt x="311" y="62"/>
                    <a:pt x="275" y="58"/>
                  </a:cubicBezTo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3DDF25D8-23A3-CF50-44E6-5C50D01C1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2764174"/>
              <a:ext cx="3711034" cy="749862"/>
            </a:xfrm>
            <a:custGeom>
              <a:avLst/>
              <a:gdLst>
                <a:gd name="T0" fmla="*/ 786 w 786"/>
                <a:gd name="T1" fmla="*/ 0 h 137"/>
                <a:gd name="T2" fmla="*/ 779 w 786"/>
                <a:gd name="T3" fmla="*/ 19 h 137"/>
                <a:gd name="T4" fmla="*/ 767 w 786"/>
                <a:gd name="T5" fmla="*/ 30 h 137"/>
                <a:gd name="T6" fmla="*/ 718 w 786"/>
                <a:gd name="T7" fmla="*/ 56 h 137"/>
                <a:gd name="T8" fmla="*/ 393 w 786"/>
                <a:gd name="T9" fmla="*/ 99 h 137"/>
                <a:gd name="T10" fmla="*/ 68 w 786"/>
                <a:gd name="T11" fmla="*/ 56 h 137"/>
                <a:gd name="T12" fmla="*/ 19 w 786"/>
                <a:gd name="T13" fmla="*/ 30 h 137"/>
                <a:gd name="T14" fmla="*/ 7 w 786"/>
                <a:gd name="T15" fmla="*/ 19 h 137"/>
                <a:gd name="T16" fmla="*/ 0 w 786"/>
                <a:gd name="T17" fmla="*/ 0 h 137"/>
                <a:gd name="T18" fmla="*/ 0 w 786"/>
                <a:gd name="T19" fmla="*/ 36 h 137"/>
                <a:gd name="T20" fmla="*/ 0 w 786"/>
                <a:gd name="T21" fmla="*/ 36 h 137"/>
                <a:gd name="T22" fmla="*/ 0 w 786"/>
                <a:gd name="T23" fmla="*/ 37 h 137"/>
                <a:gd name="T24" fmla="*/ 19 w 786"/>
                <a:gd name="T25" fmla="*/ 68 h 137"/>
                <a:gd name="T26" fmla="*/ 393 w 786"/>
                <a:gd name="T27" fmla="*/ 137 h 137"/>
                <a:gd name="T28" fmla="*/ 767 w 786"/>
                <a:gd name="T29" fmla="*/ 68 h 137"/>
                <a:gd name="T30" fmla="*/ 786 w 786"/>
                <a:gd name="T31" fmla="*/ 37 h 137"/>
                <a:gd name="T32" fmla="*/ 786 w 786"/>
                <a:gd name="T33" fmla="*/ 36 h 137"/>
                <a:gd name="T34" fmla="*/ 786 w 786"/>
                <a:gd name="T35" fmla="*/ 36 h 137"/>
                <a:gd name="T36" fmla="*/ 786 w 786"/>
                <a:gd name="T3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86" h="137">
                  <a:moveTo>
                    <a:pt x="786" y="0"/>
                  </a:moveTo>
                  <a:cubicBezTo>
                    <a:pt x="786" y="6"/>
                    <a:pt x="783" y="12"/>
                    <a:pt x="779" y="19"/>
                  </a:cubicBezTo>
                  <a:cubicBezTo>
                    <a:pt x="775" y="23"/>
                    <a:pt x="771" y="27"/>
                    <a:pt x="767" y="30"/>
                  </a:cubicBezTo>
                  <a:cubicBezTo>
                    <a:pt x="755" y="40"/>
                    <a:pt x="738" y="48"/>
                    <a:pt x="718" y="56"/>
                  </a:cubicBezTo>
                  <a:cubicBezTo>
                    <a:pt x="647" y="82"/>
                    <a:pt x="528" y="99"/>
                    <a:pt x="393" y="99"/>
                  </a:cubicBezTo>
                  <a:cubicBezTo>
                    <a:pt x="258" y="99"/>
                    <a:pt x="139" y="82"/>
                    <a:pt x="68" y="56"/>
                  </a:cubicBezTo>
                  <a:cubicBezTo>
                    <a:pt x="47" y="48"/>
                    <a:pt x="30" y="40"/>
                    <a:pt x="19" y="30"/>
                  </a:cubicBezTo>
                  <a:cubicBezTo>
                    <a:pt x="14" y="27"/>
                    <a:pt x="10" y="23"/>
                    <a:pt x="7" y="19"/>
                  </a:cubicBezTo>
                  <a:cubicBezTo>
                    <a:pt x="2" y="12"/>
                    <a:pt x="0" y="6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8"/>
                    <a:pt x="6" y="58"/>
                    <a:pt x="19" y="68"/>
                  </a:cubicBezTo>
                  <a:cubicBezTo>
                    <a:pt x="69" y="108"/>
                    <a:pt x="218" y="137"/>
                    <a:pt x="393" y="137"/>
                  </a:cubicBezTo>
                  <a:cubicBezTo>
                    <a:pt x="568" y="137"/>
                    <a:pt x="716" y="108"/>
                    <a:pt x="767" y="68"/>
                  </a:cubicBezTo>
                  <a:cubicBezTo>
                    <a:pt x="779" y="58"/>
                    <a:pt x="786" y="48"/>
                    <a:pt x="786" y="37"/>
                  </a:cubicBezTo>
                  <a:cubicBezTo>
                    <a:pt x="786" y="37"/>
                    <a:pt x="786" y="37"/>
                    <a:pt x="786" y="36"/>
                  </a:cubicBezTo>
                  <a:cubicBezTo>
                    <a:pt x="786" y="36"/>
                    <a:pt x="786" y="36"/>
                    <a:pt x="786" y="36"/>
                  </a:cubicBezTo>
                  <a:lnTo>
                    <a:pt x="786" y="0"/>
                  </a:ln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FD0D8538-71F0-0E17-F606-80C9D3B89C3F}"/>
              </a:ext>
            </a:extLst>
          </p:cNvPr>
          <p:cNvGrpSpPr/>
          <p:nvPr/>
        </p:nvGrpSpPr>
        <p:grpSpPr>
          <a:xfrm>
            <a:off x="3706521" y="2946692"/>
            <a:ext cx="4778958" cy="1379127"/>
            <a:chOff x="3706521" y="2960531"/>
            <a:chExt cx="4778958" cy="1379127"/>
          </a:xfrm>
        </p:grpSpPr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65103425-C507-75CF-C47F-09392789F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521" y="2960531"/>
              <a:ext cx="4778958" cy="1171949"/>
            </a:xfrm>
            <a:custGeom>
              <a:avLst/>
              <a:gdLst>
                <a:gd name="T0" fmla="*/ 899 w 1012"/>
                <a:gd name="T1" fmla="*/ 0 h 214"/>
                <a:gd name="T2" fmla="*/ 899 w 1012"/>
                <a:gd name="T3" fmla="*/ 1 h 214"/>
                <a:gd name="T4" fmla="*/ 880 w 1012"/>
                <a:gd name="T5" fmla="*/ 32 h 214"/>
                <a:gd name="T6" fmla="*/ 506 w 1012"/>
                <a:gd name="T7" fmla="*/ 101 h 214"/>
                <a:gd name="T8" fmla="*/ 132 w 1012"/>
                <a:gd name="T9" fmla="*/ 32 h 214"/>
                <a:gd name="T10" fmla="*/ 113 w 1012"/>
                <a:gd name="T11" fmla="*/ 1 h 214"/>
                <a:gd name="T12" fmla="*/ 113 w 1012"/>
                <a:gd name="T13" fmla="*/ 0 h 214"/>
                <a:gd name="T14" fmla="*/ 0 w 1012"/>
                <a:gd name="T15" fmla="*/ 83 h 214"/>
                <a:gd name="T16" fmla="*/ 5 w 1012"/>
                <a:gd name="T17" fmla="*/ 102 h 214"/>
                <a:gd name="T18" fmla="*/ 185 w 1012"/>
                <a:gd name="T19" fmla="*/ 185 h 214"/>
                <a:gd name="T20" fmla="*/ 257 w 1012"/>
                <a:gd name="T21" fmla="*/ 198 h 214"/>
                <a:gd name="T22" fmla="*/ 506 w 1012"/>
                <a:gd name="T23" fmla="*/ 214 h 214"/>
                <a:gd name="T24" fmla="*/ 754 w 1012"/>
                <a:gd name="T25" fmla="*/ 198 h 214"/>
                <a:gd name="T26" fmla="*/ 826 w 1012"/>
                <a:gd name="T27" fmla="*/ 185 h 214"/>
                <a:gd name="T28" fmla="*/ 1006 w 1012"/>
                <a:gd name="T29" fmla="*/ 102 h 214"/>
                <a:gd name="T30" fmla="*/ 1012 w 1012"/>
                <a:gd name="T31" fmla="*/ 83 h 214"/>
                <a:gd name="T32" fmla="*/ 899 w 1012"/>
                <a:gd name="T3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12" h="214">
                  <a:moveTo>
                    <a:pt x="899" y="0"/>
                  </a:moveTo>
                  <a:cubicBezTo>
                    <a:pt x="899" y="1"/>
                    <a:pt x="899" y="1"/>
                    <a:pt x="899" y="1"/>
                  </a:cubicBezTo>
                  <a:cubicBezTo>
                    <a:pt x="899" y="12"/>
                    <a:pt x="892" y="22"/>
                    <a:pt x="880" y="32"/>
                  </a:cubicBezTo>
                  <a:cubicBezTo>
                    <a:pt x="829" y="72"/>
                    <a:pt x="681" y="101"/>
                    <a:pt x="506" y="101"/>
                  </a:cubicBezTo>
                  <a:cubicBezTo>
                    <a:pt x="331" y="101"/>
                    <a:pt x="182" y="72"/>
                    <a:pt x="132" y="32"/>
                  </a:cubicBezTo>
                  <a:cubicBezTo>
                    <a:pt x="119" y="22"/>
                    <a:pt x="113" y="12"/>
                    <a:pt x="113" y="1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42" y="23"/>
                    <a:pt x="0" y="52"/>
                    <a:pt x="0" y="83"/>
                  </a:cubicBezTo>
                  <a:cubicBezTo>
                    <a:pt x="0" y="89"/>
                    <a:pt x="1" y="96"/>
                    <a:pt x="5" y="102"/>
                  </a:cubicBezTo>
                  <a:cubicBezTo>
                    <a:pt x="23" y="135"/>
                    <a:pt x="90" y="164"/>
                    <a:pt x="185" y="185"/>
                  </a:cubicBezTo>
                  <a:cubicBezTo>
                    <a:pt x="208" y="190"/>
                    <a:pt x="232" y="194"/>
                    <a:pt x="257" y="198"/>
                  </a:cubicBezTo>
                  <a:cubicBezTo>
                    <a:pt x="331" y="208"/>
                    <a:pt x="415" y="214"/>
                    <a:pt x="506" y="214"/>
                  </a:cubicBezTo>
                  <a:cubicBezTo>
                    <a:pt x="596" y="214"/>
                    <a:pt x="680" y="208"/>
                    <a:pt x="754" y="198"/>
                  </a:cubicBezTo>
                  <a:cubicBezTo>
                    <a:pt x="779" y="194"/>
                    <a:pt x="803" y="190"/>
                    <a:pt x="826" y="185"/>
                  </a:cubicBezTo>
                  <a:cubicBezTo>
                    <a:pt x="922" y="164"/>
                    <a:pt x="988" y="135"/>
                    <a:pt x="1006" y="102"/>
                  </a:cubicBezTo>
                  <a:cubicBezTo>
                    <a:pt x="1010" y="96"/>
                    <a:pt x="1012" y="89"/>
                    <a:pt x="1012" y="83"/>
                  </a:cubicBezTo>
                  <a:cubicBezTo>
                    <a:pt x="1012" y="52"/>
                    <a:pt x="969" y="23"/>
                    <a:pt x="899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9A421F01-E317-74A1-CEED-2945F73EC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521" y="3415086"/>
              <a:ext cx="4778958" cy="924572"/>
            </a:xfrm>
            <a:custGeom>
              <a:avLst/>
              <a:gdLst>
                <a:gd name="T0" fmla="*/ 1006 w 1012"/>
                <a:gd name="T1" fmla="*/ 19 h 169"/>
                <a:gd name="T2" fmla="*/ 826 w 1012"/>
                <a:gd name="T3" fmla="*/ 102 h 169"/>
                <a:gd name="T4" fmla="*/ 754 w 1012"/>
                <a:gd name="T5" fmla="*/ 115 h 169"/>
                <a:gd name="T6" fmla="*/ 506 w 1012"/>
                <a:gd name="T7" fmla="*/ 131 h 169"/>
                <a:gd name="T8" fmla="*/ 257 w 1012"/>
                <a:gd name="T9" fmla="*/ 115 h 169"/>
                <a:gd name="T10" fmla="*/ 185 w 1012"/>
                <a:gd name="T11" fmla="*/ 102 h 169"/>
                <a:gd name="T12" fmla="*/ 5 w 1012"/>
                <a:gd name="T13" fmla="*/ 19 h 169"/>
                <a:gd name="T14" fmla="*/ 0 w 1012"/>
                <a:gd name="T15" fmla="*/ 0 h 169"/>
                <a:gd name="T16" fmla="*/ 0 w 1012"/>
                <a:gd name="T17" fmla="*/ 38 h 169"/>
                <a:gd name="T18" fmla="*/ 134 w 1012"/>
                <a:gd name="T19" fmla="*/ 127 h 169"/>
                <a:gd name="T20" fmla="*/ 144 w 1012"/>
                <a:gd name="T21" fmla="*/ 120 h 169"/>
                <a:gd name="T22" fmla="*/ 156 w 1012"/>
                <a:gd name="T23" fmla="*/ 114 h 169"/>
                <a:gd name="T24" fmla="*/ 170 w 1012"/>
                <a:gd name="T25" fmla="*/ 108 h 169"/>
                <a:gd name="T26" fmla="*/ 156 w 1012"/>
                <a:gd name="T27" fmla="*/ 114 h 169"/>
                <a:gd name="T28" fmla="*/ 144 w 1012"/>
                <a:gd name="T29" fmla="*/ 120 h 169"/>
                <a:gd name="T30" fmla="*/ 134 w 1012"/>
                <a:gd name="T31" fmla="*/ 127 h 169"/>
                <a:gd name="T32" fmla="*/ 176 w 1012"/>
                <a:gd name="T33" fmla="*/ 137 h 169"/>
                <a:gd name="T34" fmla="*/ 506 w 1012"/>
                <a:gd name="T35" fmla="*/ 169 h 169"/>
                <a:gd name="T36" fmla="*/ 835 w 1012"/>
                <a:gd name="T37" fmla="*/ 137 h 169"/>
                <a:gd name="T38" fmla="*/ 877 w 1012"/>
                <a:gd name="T39" fmla="*/ 127 h 169"/>
                <a:gd name="T40" fmla="*/ 1012 w 1012"/>
                <a:gd name="T41" fmla="*/ 38 h 169"/>
                <a:gd name="T42" fmla="*/ 1012 w 1012"/>
                <a:gd name="T43" fmla="*/ 0 h 169"/>
                <a:gd name="T44" fmla="*/ 1006 w 1012"/>
                <a:gd name="T45" fmla="*/ 1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12" h="169">
                  <a:moveTo>
                    <a:pt x="1006" y="19"/>
                  </a:moveTo>
                  <a:cubicBezTo>
                    <a:pt x="988" y="52"/>
                    <a:pt x="922" y="81"/>
                    <a:pt x="826" y="102"/>
                  </a:cubicBezTo>
                  <a:cubicBezTo>
                    <a:pt x="803" y="107"/>
                    <a:pt x="779" y="111"/>
                    <a:pt x="754" y="115"/>
                  </a:cubicBezTo>
                  <a:cubicBezTo>
                    <a:pt x="680" y="125"/>
                    <a:pt x="596" y="131"/>
                    <a:pt x="506" y="131"/>
                  </a:cubicBezTo>
                  <a:cubicBezTo>
                    <a:pt x="415" y="131"/>
                    <a:pt x="331" y="125"/>
                    <a:pt x="257" y="115"/>
                  </a:cubicBezTo>
                  <a:cubicBezTo>
                    <a:pt x="232" y="111"/>
                    <a:pt x="208" y="107"/>
                    <a:pt x="185" y="102"/>
                  </a:cubicBezTo>
                  <a:cubicBezTo>
                    <a:pt x="90" y="81"/>
                    <a:pt x="23" y="52"/>
                    <a:pt x="5" y="19"/>
                  </a:cubicBezTo>
                  <a:cubicBezTo>
                    <a:pt x="1" y="13"/>
                    <a:pt x="0" y="6"/>
                    <a:pt x="0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72"/>
                    <a:pt x="51" y="103"/>
                    <a:pt x="134" y="127"/>
                  </a:cubicBezTo>
                  <a:cubicBezTo>
                    <a:pt x="137" y="125"/>
                    <a:pt x="141" y="122"/>
                    <a:pt x="144" y="120"/>
                  </a:cubicBezTo>
                  <a:cubicBezTo>
                    <a:pt x="148" y="118"/>
                    <a:pt x="152" y="116"/>
                    <a:pt x="156" y="114"/>
                  </a:cubicBezTo>
                  <a:cubicBezTo>
                    <a:pt x="161" y="112"/>
                    <a:pt x="165" y="110"/>
                    <a:pt x="170" y="108"/>
                  </a:cubicBezTo>
                  <a:cubicBezTo>
                    <a:pt x="165" y="110"/>
                    <a:pt x="161" y="112"/>
                    <a:pt x="156" y="114"/>
                  </a:cubicBezTo>
                  <a:cubicBezTo>
                    <a:pt x="152" y="116"/>
                    <a:pt x="148" y="118"/>
                    <a:pt x="144" y="120"/>
                  </a:cubicBezTo>
                  <a:cubicBezTo>
                    <a:pt x="141" y="122"/>
                    <a:pt x="137" y="125"/>
                    <a:pt x="134" y="127"/>
                  </a:cubicBezTo>
                  <a:cubicBezTo>
                    <a:pt x="148" y="131"/>
                    <a:pt x="162" y="134"/>
                    <a:pt x="176" y="137"/>
                  </a:cubicBezTo>
                  <a:cubicBezTo>
                    <a:pt x="265" y="157"/>
                    <a:pt x="380" y="169"/>
                    <a:pt x="506" y="169"/>
                  </a:cubicBezTo>
                  <a:cubicBezTo>
                    <a:pt x="631" y="169"/>
                    <a:pt x="746" y="157"/>
                    <a:pt x="835" y="137"/>
                  </a:cubicBezTo>
                  <a:cubicBezTo>
                    <a:pt x="850" y="134"/>
                    <a:pt x="864" y="131"/>
                    <a:pt x="877" y="127"/>
                  </a:cubicBezTo>
                  <a:cubicBezTo>
                    <a:pt x="961" y="103"/>
                    <a:pt x="1012" y="72"/>
                    <a:pt x="1012" y="38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1012" y="6"/>
                    <a:pt x="1010" y="13"/>
                    <a:pt x="1006" y="19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E5F42A60-6097-5AAC-DBDA-64473B83A759}"/>
              </a:ext>
            </a:extLst>
          </p:cNvPr>
          <p:cNvGrpSpPr/>
          <p:nvPr/>
        </p:nvGrpSpPr>
        <p:grpSpPr>
          <a:xfrm>
            <a:off x="4685006" y="10528198"/>
            <a:ext cx="2823324" cy="814797"/>
            <a:chOff x="4685006" y="4865334"/>
            <a:chExt cx="2823324" cy="814797"/>
          </a:xfrm>
        </p:grpSpPr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20CE4081-CA5F-B781-892B-F6F5DE951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4865334"/>
              <a:ext cx="2823324" cy="618442"/>
            </a:xfrm>
            <a:custGeom>
              <a:avLst/>
              <a:gdLst>
                <a:gd name="T0" fmla="*/ 564 w 598"/>
                <a:gd name="T1" fmla="*/ 0 h 113"/>
                <a:gd name="T2" fmla="*/ 495 w 598"/>
                <a:gd name="T3" fmla="*/ 13 h 113"/>
                <a:gd name="T4" fmla="*/ 299 w 598"/>
                <a:gd name="T5" fmla="*/ 26 h 113"/>
                <a:gd name="T6" fmla="*/ 102 w 598"/>
                <a:gd name="T7" fmla="*/ 13 h 113"/>
                <a:gd name="T8" fmla="*/ 33 w 598"/>
                <a:gd name="T9" fmla="*/ 0 h 113"/>
                <a:gd name="T10" fmla="*/ 0 w 598"/>
                <a:gd name="T11" fmla="*/ 36 h 113"/>
                <a:gd name="T12" fmla="*/ 8 w 598"/>
                <a:gd name="T13" fmla="*/ 53 h 113"/>
                <a:gd name="T14" fmla="*/ 299 w 598"/>
                <a:gd name="T15" fmla="*/ 113 h 113"/>
                <a:gd name="T16" fmla="*/ 590 w 598"/>
                <a:gd name="T17" fmla="*/ 53 h 113"/>
                <a:gd name="T18" fmla="*/ 598 w 598"/>
                <a:gd name="T19" fmla="*/ 36 h 113"/>
                <a:gd name="T20" fmla="*/ 564 w 598"/>
                <a:gd name="T21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8" h="113">
                  <a:moveTo>
                    <a:pt x="564" y="0"/>
                  </a:moveTo>
                  <a:cubicBezTo>
                    <a:pt x="543" y="5"/>
                    <a:pt x="520" y="9"/>
                    <a:pt x="495" y="13"/>
                  </a:cubicBezTo>
                  <a:cubicBezTo>
                    <a:pt x="437" y="21"/>
                    <a:pt x="370" y="26"/>
                    <a:pt x="299" y="26"/>
                  </a:cubicBezTo>
                  <a:cubicBezTo>
                    <a:pt x="227" y="26"/>
                    <a:pt x="160" y="21"/>
                    <a:pt x="102" y="13"/>
                  </a:cubicBezTo>
                  <a:cubicBezTo>
                    <a:pt x="77" y="9"/>
                    <a:pt x="54" y="5"/>
                    <a:pt x="33" y="0"/>
                  </a:cubicBezTo>
                  <a:cubicBezTo>
                    <a:pt x="12" y="11"/>
                    <a:pt x="0" y="23"/>
                    <a:pt x="0" y="36"/>
                  </a:cubicBezTo>
                  <a:cubicBezTo>
                    <a:pt x="0" y="42"/>
                    <a:pt x="2" y="48"/>
                    <a:pt x="8" y="53"/>
                  </a:cubicBezTo>
                  <a:cubicBezTo>
                    <a:pt x="39" y="88"/>
                    <a:pt x="157" y="113"/>
                    <a:pt x="299" y="113"/>
                  </a:cubicBezTo>
                  <a:cubicBezTo>
                    <a:pt x="440" y="113"/>
                    <a:pt x="559" y="88"/>
                    <a:pt x="590" y="53"/>
                  </a:cubicBezTo>
                  <a:cubicBezTo>
                    <a:pt x="595" y="48"/>
                    <a:pt x="598" y="42"/>
                    <a:pt x="598" y="36"/>
                  </a:cubicBezTo>
                  <a:cubicBezTo>
                    <a:pt x="598" y="23"/>
                    <a:pt x="585" y="11"/>
                    <a:pt x="56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A3FD4035-0B1F-C93F-AD7A-5911B0F154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5061689"/>
              <a:ext cx="2823324" cy="618442"/>
            </a:xfrm>
            <a:custGeom>
              <a:avLst/>
              <a:gdLst>
                <a:gd name="T0" fmla="*/ 590 w 598"/>
                <a:gd name="T1" fmla="*/ 17 h 113"/>
                <a:gd name="T2" fmla="*/ 299 w 598"/>
                <a:gd name="T3" fmla="*/ 77 h 113"/>
                <a:gd name="T4" fmla="*/ 8 w 598"/>
                <a:gd name="T5" fmla="*/ 17 h 113"/>
                <a:gd name="T6" fmla="*/ 0 w 598"/>
                <a:gd name="T7" fmla="*/ 0 h 113"/>
                <a:gd name="T8" fmla="*/ 0 w 598"/>
                <a:gd name="T9" fmla="*/ 35 h 113"/>
                <a:gd name="T10" fmla="*/ 299 w 598"/>
                <a:gd name="T11" fmla="*/ 113 h 113"/>
                <a:gd name="T12" fmla="*/ 598 w 598"/>
                <a:gd name="T13" fmla="*/ 35 h 113"/>
                <a:gd name="T14" fmla="*/ 598 w 598"/>
                <a:gd name="T15" fmla="*/ 0 h 113"/>
                <a:gd name="T16" fmla="*/ 590 w 598"/>
                <a:gd name="T17" fmla="*/ 1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8" h="113">
                  <a:moveTo>
                    <a:pt x="590" y="17"/>
                  </a:moveTo>
                  <a:cubicBezTo>
                    <a:pt x="559" y="52"/>
                    <a:pt x="440" y="77"/>
                    <a:pt x="299" y="77"/>
                  </a:cubicBezTo>
                  <a:cubicBezTo>
                    <a:pt x="157" y="77"/>
                    <a:pt x="39" y="52"/>
                    <a:pt x="8" y="17"/>
                  </a:cubicBezTo>
                  <a:cubicBezTo>
                    <a:pt x="2" y="12"/>
                    <a:pt x="0" y="6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78"/>
                    <a:pt x="134" y="113"/>
                    <a:pt x="299" y="113"/>
                  </a:cubicBezTo>
                  <a:cubicBezTo>
                    <a:pt x="464" y="113"/>
                    <a:pt x="598" y="78"/>
                    <a:pt x="598" y="35"/>
                  </a:cubicBezTo>
                  <a:cubicBezTo>
                    <a:pt x="598" y="0"/>
                    <a:pt x="598" y="0"/>
                    <a:pt x="598" y="0"/>
                  </a:cubicBezTo>
                  <a:cubicBezTo>
                    <a:pt x="598" y="6"/>
                    <a:pt x="595" y="12"/>
                    <a:pt x="590" y="17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38FE194F-00EB-79DB-4963-34132C6E721B}"/>
              </a:ext>
            </a:extLst>
          </p:cNvPr>
          <p:cNvGrpSpPr/>
          <p:nvPr/>
        </p:nvGrpSpPr>
        <p:grpSpPr>
          <a:xfrm>
            <a:off x="4240482" y="9773698"/>
            <a:ext cx="3711034" cy="896741"/>
            <a:chOff x="4240482" y="4110834"/>
            <a:chExt cx="3711034" cy="896741"/>
          </a:xfrm>
        </p:grpSpPr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048F357E-6737-E502-5711-A88CABAC8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4110834"/>
              <a:ext cx="3711034" cy="722032"/>
            </a:xfrm>
            <a:custGeom>
              <a:avLst/>
              <a:gdLst>
                <a:gd name="T0" fmla="*/ 764 w 786"/>
                <a:gd name="T1" fmla="*/ 0 h 132"/>
                <a:gd name="T2" fmla="*/ 722 w 786"/>
                <a:gd name="T3" fmla="*/ 10 h 132"/>
                <a:gd name="T4" fmla="*/ 393 w 786"/>
                <a:gd name="T5" fmla="*/ 42 h 132"/>
                <a:gd name="T6" fmla="*/ 63 w 786"/>
                <a:gd name="T7" fmla="*/ 10 h 132"/>
                <a:gd name="T8" fmla="*/ 21 w 786"/>
                <a:gd name="T9" fmla="*/ 0 h 132"/>
                <a:gd name="T10" fmla="*/ 0 w 786"/>
                <a:gd name="T11" fmla="*/ 32 h 132"/>
                <a:gd name="T12" fmla="*/ 5 w 786"/>
                <a:gd name="T13" fmla="*/ 48 h 132"/>
                <a:gd name="T14" fmla="*/ 188 w 786"/>
                <a:gd name="T15" fmla="*/ 117 h 132"/>
                <a:gd name="T16" fmla="*/ 393 w 786"/>
                <a:gd name="T17" fmla="*/ 132 h 132"/>
                <a:gd name="T18" fmla="*/ 597 w 786"/>
                <a:gd name="T19" fmla="*/ 117 h 132"/>
                <a:gd name="T20" fmla="*/ 780 w 786"/>
                <a:gd name="T21" fmla="*/ 48 h 132"/>
                <a:gd name="T22" fmla="*/ 786 w 786"/>
                <a:gd name="T23" fmla="*/ 32 h 132"/>
                <a:gd name="T24" fmla="*/ 764 w 786"/>
                <a:gd name="T2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6" h="132">
                  <a:moveTo>
                    <a:pt x="764" y="0"/>
                  </a:moveTo>
                  <a:cubicBezTo>
                    <a:pt x="751" y="4"/>
                    <a:pt x="737" y="7"/>
                    <a:pt x="722" y="10"/>
                  </a:cubicBezTo>
                  <a:cubicBezTo>
                    <a:pt x="633" y="30"/>
                    <a:pt x="518" y="42"/>
                    <a:pt x="393" y="42"/>
                  </a:cubicBezTo>
                  <a:cubicBezTo>
                    <a:pt x="267" y="42"/>
                    <a:pt x="152" y="30"/>
                    <a:pt x="63" y="10"/>
                  </a:cubicBezTo>
                  <a:cubicBezTo>
                    <a:pt x="49" y="7"/>
                    <a:pt x="35" y="4"/>
                    <a:pt x="21" y="0"/>
                  </a:cubicBezTo>
                  <a:cubicBezTo>
                    <a:pt x="7" y="10"/>
                    <a:pt x="0" y="21"/>
                    <a:pt x="0" y="32"/>
                  </a:cubicBezTo>
                  <a:cubicBezTo>
                    <a:pt x="0" y="38"/>
                    <a:pt x="1" y="43"/>
                    <a:pt x="5" y="48"/>
                  </a:cubicBezTo>
                  <a:cubicBezTo>
                    <a:pt x="24" y="78"/>
                    <a:pt x="92" y="102"/>
                    <a:pt x="188" y="117"/>
                  </a:cubicBezTo>
                  <a:cubicBezTo>
                    <a:pt x="248" y="126"/>
                    <a:pt x="318" y="132"/>
                    <a:pt x="393" y="132"/>
                  </a:cubicBezTo>
                  <a:cubicBezTo>
                    <a:pt x="468" y="132"/>
                    <a:pt x="538" y="126"/>
                    <a:pt x="597" y="117"/>
                  </a:cubicBezTo>
                  <a:cubicBezTo>
                    <a:pt x="693" y="102"/>
                    <a:pt x="762" y="78"/>
                    <a:pt x="780" y="48"/>
                  </a:cubicBezTo>
                  <a:cubicBezTo>
                    <a:pt x="784" y="43"/>
                    <a:pt x="786" y="38"/>
                    <a:pt x="786" y="32"/>
                  </a:cubicBezTo>
                  <a:cubicBezTo>
                    <a:pt x="786" y="21"/>
                    <a:pt x="778" y="10"/>
                    <a:pt x="76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A6483595-3321-F443-02EA-55A66D8FD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4285543"/>
              <a:ext cx="3711034" cy="722032"/>
            </a:xfrm>
            <a:custGeom>
              <a:avLst/>
              <a:gdLst>
                <a:gd name="T0" fmla="*/ 780 w 786"/>
                <a:gd name="T1" fmla="*/ 16 h 132"/>
                <a:gd name="T2" fmla="*/ 597 w 786"/>
                <a:gd name="T3" fmla="*/ 85 h 132"/>
                <a:gd name="T4" fmla="*/ 393 w 786"/>
                <a:gd name="T5" fmla="*/ 100 h 132"/>
                <a:gd name="T6" fmla="*/ 188 w 786"/>
                <a:gd name="T7" fmla="*/ 85 h 132"/>
                <a:gd name="T8" fmla="*/ 5 w 786"/>
                <a:gd name="T9" fmla="*/ 16 h 132"/>
                <a:gd name="T10" fmla="*/ 0 w 786"/>
                <a:gd name="T11" fmla="*/ 0 h 132"/>
                <a:gd name="T12" fmla="*/ 0 w 786"/>
                <a:gd name="T13" fmla="*/ 33 h 132"/>
                <a:gd name="T14" fmla="*/ 127 w 786"/>
                <a:gd name="T15" fmla="*/ 106 h 132"/>
                <a:gd name="T16" fmla="*/ 196 w 786"/>
                <a:gd name="T17" fmla="*/ 119 h 132"/>
                <a:gd name="T18" fmla="*/ 393 w 786"/>
                <a:gd name="T19" fmla="*/ 132 h 132"/>
                <a:gd name="T20" fmla="*/ 589 w 786"/>
                <a:gd name="T21" fmla="*/ 119 h 132"/>
                <a:gd name="T22" fmla="*/ 658 w 786"/>
                <a:gd name="T23" fmla="*/ 106 h 132"/>
                <a:gd name="T24" fmla="*/ 786 w 786"/>
                <a:gd name="T25" fmla="*/ 33 h 132"/>
                <a:gd name="T26" fmla="*/ 786 w 786"/>
                <a:gd name="T27" fmla="*/ 0 h 132"/>
                <a:gd name="T28" fmla="*/ 780 w 786"/>
                <a:gd name="T29" fmla="*/ 1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6" h="132">
                  <a:moveTo>
                    <a:pt x="780" y="16"/>
                  </a:moveTo>
                  <a:cubicBezTo>
                    <a:pt x="762" y="46"/>
                    <a:pt x="693" y="70"/>
                    <a:pt x="597" y="85"/>
                  </a:cubicBezTo>
                  <a:cubicBezTo>
                    <a:pt x="538" y="94"/>
                    <a:pt x="468" y="100"/>
                    <a:pt x="393" y="100"/>
                  </a:cubicBezTo>
                  <a:cubicBezTo>
                    <a:pt x="318" y="100"/>
                    <a:pt x="248" y="94"/>
                    <a:pt x="188" y="85"/>
                  </a:cubicBezTo>
                  <a:cubicBezTo>
                    <a:pt x="92" y="70"/>
                    <a:pt x="24" y="46"/>
                    <a:pt x="5" y="16"/>
                  </a:cubicBezTo>
                  <a:cubicBezTo>
                    <a:pt x="1" y="11"/>
                    <a:pt x="0" y="6"/>
                    <a:pt x="0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62"/>
                    <a:pt x="49" y="88"/>
                    <a:pt x="127" y="106"/>
                  </a:cubicBezTo>
                  <a:cubicBezTo>
                    <a:pt x="148" y="111"/>
                    <a:pt x="171" y="115"/>
                    <a:pt x="196" y="119"/>
                  </a:cubicBezTo>
                  <a:cubicBezTo>
                    <a:pt x="254" y="127"/>
                    <a:pt x="321" y="132"/>
                    <a:pt x="393" y="132"/>
                  </a:cubicBezTo>
                  <a:cubicBezTo>
                    <a:pt x="464" y="132"/>
                    <a:pt x="531" y="127"/>
                    <a:pt x="589" y="119"/>
                  </a:cubicBezTo>
                  <a:cubicBezTo>
                    <a:pt x="614" y="115"/>
                    <a:pt x="637" y="111"/>
                    <a:pt x="658" y="106"/>
                  </a:cubicBezTo>
                  <a:cubicBezTo>
                    <a:pt x="736" y="88"/>
                    <a:pt x="786" y="62"/>
                    <a:pt x="786" y="33"/>
                  </a:cubicBezTo>
                  <a:cubicBezTo>
                    <a:pt x="786" y="0"/>
                    <a:pt x="786" y="0"/>
                    <a:pt x="786" y="0"/>
                  </a:cubicBezTo>
                  <a:cubicBezTo>
                    <a:pt x="786" y="6"/>
                    <a:pt x="784" y="11"/>
                    <a:pt x="780" y="16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7BBDAFE6-EE78-1E0E-7B30-FB06F2A5ED53}"/>
              </a:ext>
            </a:extLst>
          </p:cNvPr>
          <p:cNvGrpSpPr/>
          <p:nvPr/>
        </p:nvGrpSpPr>
        <p:grpSpPr>
          <a:xfrm>
            <a:off x="163532" y="1440722"/>
            <a:ext cx="4439311" cy="1479765"/>
            <a:chOff x="230964" y="1440722"/>
            <a:chExt cx="4439311" cy="1479765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BC813AE4-E3D8-3EC1-0C2E-7BA8BDD32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24" name="Straight Connector 85">
              <a:extLst>
                <a:ext uri="{FF2B5EF4-FFF2-40B4-BE49-F238E27FC236}">
                  <a16:creationId xmlns:a16="http://schemas.microsoft.com/office/drawing/2014/main" id="{10A31B98-AE71-B040-4FB7-08F41327E4A5}"/>
                </a:ext>
              </a:extLst>
            </p:cNvPr>
            <p:cNvCxnSpPr>
              <a:cxnSpLocks/>
            </p:cNvCxnSpPr>
            <p:nvPr/>
          </p:nvCxnSpPr>
          <p:spPr>
            <a:xfrm>
              <a:off x="643370" y="2920487"/>
              <a:ext cx="2404872" cy="0"/>
            </a:xfrm>
            <a:prstGeom prst="line">
              <a:avLst/>
            </a:prstGeom>
            <a:ln w="25400">
              <a:gradFill flip="none" rotWithShape="1">
                <a:gsLst>
                  <a:gs pos="100000">
                    <a:srgbClr val="620CD2">
                      <a:alpha val="0"/>
                    </a:srgbClr>
                  </a:gs>
                  <a:gs pos="0">
                    <a:srgbClr val="620CEA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967A485-B95F-1329-4475-3454161A33D8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бработка </a:t>
              </a:r>
              <a:b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потенциальных</a:t>
              </a:r>
              <a:b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лиентов</a:t>
              </a:r>
              <a:endParaRPr lang="ru-RU" sz="2400" dirty="0">
                <a:effectLst/>
                <a:latin typeface="Unbounde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306CE6C-344D-F920-534A-A9FF9A990C9D}"/>
              </a:ext>
            </a:extLst>
          </p:cNvPr>
          <p:cNvGrpSpPr/>
          <p:nvPr/>
        </p:nvGrpSpPr>
        <p:grpSpPr>
          <a:xfrm>
            <a:off x="163532" y="3249751"/>
            <a:ext cx="4439311" cy="1479765"/>
            <a:chOff x="230964" y="1440722"/>
            <a:chExt cx="4439311" cy="1479765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73C6C8FB-D532-C1A1-464B-830B0CC559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17" name="Straight Connector 85">
              <a:extLst>
                <a:ext uri="{FF2B5EF4-FFF2-40B4-BE49-F238E27FC236}">
                  <a16:creationId xmlns:a16="http://schemas.microsoft.com/office/drawing/2014/main" id="{39B00574-15B2-A4EE-559B-8A95AD26EEAB}"/>
                </a:ext>
              </a:extLst>
            </p:cNvPr>
            <p:cNvCxnSpPr>
              <a:cxnSpLocks/>
            </p:cNvCxnSpPr>
            <p:nvPr/>
          </p:nvCxnSpPr>
          <p:spPr>
            <a:xfrm>
              <a:off x="643370" y="2920487"/>
              <a:ext cx="2404872" cy="0"/>
            </a:xfrm>
            <a:prstGeom prst="line">
              <a:avLst/>
            </a:prstGeom>
            <a:ln w="25400">
              <a:gradFill flip="none" rotWithShape="1">
                <a:gsLst>
                  <a:gs pos="100000">
                    <a:srgbClr val="620CD2">
                      <a:alpha val="0"/>
                    </a:srgbClr>
                  </a:gs>
                  <a:gs pos="0">
                    <a:srgbClr val="620CEA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27CB6C4-8CEC-D21C-265A-C4A335AAB715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Развитие 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артнерских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рограмм</a:t>
              </a: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C70203D5-0578-D4DB-184D-B8F7D0AC6320}"/>
              </a:ext>
            </a:extLst>
          </p:cNvPr>
          <p:cNvGrpSpPr/>
          <p:nvPr/>
        </p:nvGrpSpPr>
        <p:grpSpPr>
          <a:xfrm>
            <a:off x="163532" y="5107767"/>
            <a:ext cx="4439311" cy="1323439"/>
            <a:chOff x="230964" y="1440722"/>
            <a:chExt cx="4439311" cy="1323439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915F3402-4DAE-C54E-4DE5-011E14177F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D40D90F-71C8-9357-1873-E05182E45C4D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овлечение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отенциальных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сотрудников</a:t>
              </a:r>
            </a:p>
          </p:txBody>
        </p:sp>
      </p:grpSp>
      <p:sp>
        <p:nvSpPr>
          <p:cNvPr id="27" name="Freeform 5">
            <a:extLst>
              <a:ext uri="{FF2B5EF4-FFF2-40B4-BE49-F238E27FC236}">
                <a16:creationId xmlns:a16="http://schemas.microsoft.com/office/drawing/2014/main" id="{3713A12D-B786-3580-3647-B67FAD746672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1767918" y="1583724"/>
            <a:ext cx="214313" cy="214312"/>
          </a:xfrm>
          <a:custGeom>
            <a:avLst/>
            <a:gdLst>
              <a:gd name="T0" fmla="*/ 30 w 60"/>
              <a:gd name="T1" fmla="*/ 0 h 60"/>
              <a:gd name="T2" fmla="*/ 60 w 60"/>
              <a:gd name="T3" fmla="*/ 30 h 60"/>
              <a:gd name="T4" fmla="*/ 30 w 60"/>
              <a:gd name="T5" fmla="*/ 60 h 60"/>
              <a:gd name="T6" fmla="*/ 0 w 60"/>
              <a:gd name="T7" fmla="*/ 30 h 60"/>
              <a:gd name="T8" fmla="*/ 30 w 60"/>
              <a:gd name="T9" fmla="*/ 0 h 60"/>
              <a:gd name="T10" fmla="*/ 35 w 60"/>
              <a:gd name="T11" fmla="*/ 33 h 60"/>
              <a:gd name="T12" fmla="*/ 34 w 60"/>
              <a:gd name="T13" fmla="*/ 34 h 60"/>
              <a:gd name="T14" fmla="*/ 28 w 60"/>
              <a:gd name="T15" fmla="*/ 40 h 60"/>
              <a:gd name="T16" fmla="*/ 28 w 60"/>
              <a:gd name="T17" fmla="*/ 44 h 60"/>
              <a:gd name="T18" fmla="*/ 32 w 60"/>
              <a:gd name="T19" fmla="*/ 44 h 60"/>
              <a:gd name="T20" fmla="*/ 44 w 60"/>
              <a:gd name="T21" fmla="*/ 32 h 60"/>
              <a:gd name="T22" fmla="*/ 44 w 60"/>
              <a:gd name="T23" fmla="*/ 28 h 60"/>
              <a:gd name="T24" fmla="*/ 32 w 60"/>
              <a:gd name="T25" fmla="*/ 16 h 60"/>
              <a:gd name="T26" fmla="*/ 30 w 60"/>
              <a:gd name="T27" fmla="*/ 15 h 60"/>
              <a:gd name="T28" fmla="*/ 27 w 60"/>
              <a:gd name="T29" fmla="*/ 17 h 60"/>
              <a:gd name="T30" fmla="*/ 28 w 60"/>
              <a:gd name="T31" fmla="*/ 20 h 60"/>
              <a:gd name="T32" fmla="*/ 34 w 60"/>
              <a:gd name="T33" fmla="*/ 27 h 60"/>
              <a:gd name="T34" fmla="*/ 35 w 60"/>
              <a:gd name="T35" fmla="*/ 27 h 60"/>
              <a:gd name="T36" fmla="*/ 34 w 60"/>
              <a:gd name="T37" fmla="*/ 27 h 60"/>
              <a:gd name="T38" fmla="*/ 19 w 60"/>
              <a:gd name="T39" fmla="*/ 27 h 60"/>
              <a:gd name="T40" fmla="*/ 18 w 60"/>
              <a:gd name="T41" fmla="*/ 27 h 60"/>
              <a:gd name="T42" fmla="*/ 15 w 60"/>
              <a:gd name="T43" fmla="*/ 31 h 60"/>
              <a:gd name="T44" fmla="*/ 18 w 60"/>
              <a:gd name="T45" fmla="*/ 33 h 60"/>
              <a:gd name="T46" fmla="*/ 34 w 60"/>
              <a:gd name="T47" fmla="*/ 33 h 60"/>
              <a:gd name="T48" fmla="*/ 35 w 60"/>
              <a:gd name="T49" fmla="*/ 33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60">
                <a:moveTo>
                  <a:pt x="30" y="0"/>
                </a:moveTo>
                <a:cubicBezTo>
                  <a:pt x="47" y="0"/>
                  <a:pt x="60" y="14"/>
                  <a:pt x="60" y="30"/>
                </a:cubicBezTo>
                <a:cubicBezTo>
                  <a:pt x="60" y="47"/>
                  <a:pt x="47" y="60"/>
                  <a:pt x="30" y="60"/>
                </a:cubicBezTo>
                <a:cubicBezTo>
                  <a:pt x="14" y="60"/>
                  <a:pt x="0" y="47"/>
                  <a:pt x="0" y="30"/>
                </a:cubicBezTo>
                <a:cubicBezTo>
                  <a:pt x="0" y="14"/>
                  <a:pt x="14" y="0"/>
                  <a:pt x="30" y="0"/>
                </a:cubicBezTo>
                <a:close/>
                <a:moveTo>
                  <a:pt x="35" y="33"/>
                </a:moveTo>
                <a:cubicBezTo>
                  <a:pt x="35" y="33"/>
                  <a:pt x="34" y="34"/>
                  <a:pt x="34" y="34"/>
                </a:cubicBezTo>
                <a:cubicBezTo>
                  <a:pt x="32" y="36"/>
                  <a:pt x="30" y="38"/>
                  <a:pt x="28" y="40"/>
                </a:cubicBezTo>
                <a:cubicBezTo>
                  <a:pt x="27" y="41"/>
                  <a:pt x="27" y="43"/>
                  <a:pt x="28" y="44"/>
                </a:cubicBezTo>
                <a:cubicBezTo>
                  <a:pt x="29" y="45"/>
                  <a:pt x="31" y="45"/>
                  <a:pt x="32" y="44"/>
                </a:cubicBezTo>
                <a:cubicBezTo>
                  <a:pt x="36" y="40"/>
                  <a:pt x="40" y="36"/>
                  <a:pt x="44" y="32"/>
                </a:cubicBezTo>
                <a:cubicBezTo>
                  <a:pt x="45" y="31"/>
                  <a:pt x="45" y="29"/>
                  <a:pt x="44" y="28"/>
                </a:cubicBezTo>
                <a:cubicBezTo>
                  <a:pt x="40" y="24"/>
                  <a:pt x="36" y="20"/>
                  <a:pt x="32" y="16"/>
                </a:cubicBezTo>
                <a:cubicBezTo>
                  <a:pt x="32" y="15"/>
                  <a:pt x="31" y="15"/>
                  <a:pt x="30" y="15"/>
                </a:cubicBezTo>
                <a:cubicBezTo>
                  <a:pt x="29" y="15"/>
                  <a:pt x="28" y="16"/>
                  <a:pt x="27" y="17"/>
                </a:cubicBezTo>
                <a:cubicBezTo>
                  <a:pt x="27" y="18"/>
                  <a:pt x="27" y="19"/>
                  <a:pt x="28" y="20"/>
                </a:cubicBezTo>
                <a:cubicBezTo>
                  <a:pt x="30" y="22"/>
                  <a:pt x="32" y="24"/>
                  <a:pt x="34" y="27"/>
                </a:cubicBezTo>
                <a:cubicBezTo>
                  <a:pt x="34" y="27"/>
                  <a:pt x="35" y="27"/>
                  <a:pt x="35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29" y="27"/>
                  <a:pt x="24" y="27"/>
                  <a:pt x="19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6" y="27"/>
                  <a:pt x="15" y="29"/>
                  <a:pt x="15" y="31"/>
                </a:cubicBezTo>
                <a:cubicBezTo>
                  <a:pt x="15" y="32"/>
                  <a:pt x="17" y="33"/>
                  <a:pt x="18" y="33"/>
                </a:cubicBezTo>
                <a:cubicBezTo>
                  <a:pt x="24" y="33"/>
                  <a:pt x="29" y="33"/>
                  <a:pt x="34" y="33"/>
                </a:cubicBezTo>
                <a:cubicBezTo>
                  <a:pt x="34" y="33"/>
                  <a:pt x="34" y="33"/>
                  <a:pt x="35" y="33"/>
                </a:cubicBezTo>
                <a:close/>
              </a:path>
            </a:pathLst>
          </a:custGeom>
          <a:solidFill>
            <a:srgbClr val="620CF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endParaRPr lang="en-US"/>
          </a:p>
        </p:txBody>
      </p:sp>
      <p:cxnSp>
        <p:nvCxnSpPr>
          <p:cNvPr id="28" name="Straight Connector 85">
            <a:extLst>
              <a:ext uri="{FF2B5EF4-FFF2-40B4-BE49-F238E27FC236}">
                <a16:creationId xmlns:a16="http://schemas.microsoft.com/office/drawing/2014/main" id="{F7EA6C9B-C0F4-75D1-A896-721676C72B6A}"/>
              </a:ext>
            </a:extLst>
          </p:cNvPr>
          <p:cNvCxnSpPr>
            <a:cxnSpLocks/>
          </p:cNvCxnSpPr>
          <p:nvPr/>
        </p:nvCxnSpPr>
        <p:spPr>
          <a:xfrm flipH="1">
            <a:off x="9060917" y="2920487"/>
            <a:ext cx="2404872" cy="0"/>
          </a:xfrm>
          <a:prstGeom prst="line">
            <a:avLst/>
          </a:prstGeom>
          <a:ln w="25400">
            <a:gradFill flip="none" rotWithShape="1">
              <a:gsLst>
                <a:gs pos="100000">
                  <a:srgbClr val="620CD2">
                    <a:alpha val="0"/>
                  </a:srgbClr>
                </a:gs>
                <a:gs pos="0">
                  <a:srgbClr val="620CEA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C8731FEE-97D5-0257-44D1-FCDE298A194F}"/>
              </a:ext>
            </a:extLst>
          </p:cNvPr>
          <p:cNvSpPr txBox="1"/>
          <p:nvPr/>
        </p:nvSpPr>
        <p:spPr>
          <a:xfrm>
            <a:off x="7528886" y="1440722"/>
            <a:ext cx="412809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ts val="3200"/>
              </a:lnSpc>
            </a:pP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Поиск</a:t>
            </a:r>
            <a:b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инвестиций</a:t>
            </a:r>
            <a:b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в компанию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93CF7D17-B5A1-980B-62D2-A8276155A242}"/>
              </a:ext>
            </a:extLst>
          </p:cNvPr>
          <p:cNvSpPr>
            <a:spLocks noEditPoints="1"/>
          </p:cNvSpPr>
          <p:nvPr/>
        </p:nvSpPr>
        <p:spPr bwMode="auto">
          <a:xfrm>
            <a:off x="8071059" y="3392753"/>
            <a:ext cx="214313" cy="214312"/>
          </a:xfrm>
          <a:custGeom>
            <a:avLst/>
            <a:gdLst>
              <a:gd name="T0" fmla="*/ 30 w 60"/>
              <a:gd name="T1" fmla="*/ 0 h 60"/>
              <a:gd name="T2" fmla="*/ 60 w 60"/>
              <a:gd name="T3" fmla="*/ 30 h 60"/>
              <a:gd name="T4" fmla="*/ 30 w 60"/>
              <a:gd name="T5" fmla="*/ 60 h 60"/>
              <a:gd name="T6" fmla="*/ 0 w 60"/>
              <a:gd name="T7" fmla="*/ 30 h 60"/>
              <a:gd name="T8" fmla="*/ 30 w 60"/>
              <a:gd name="T9" fmla="*/ 0 h 60"/>
              <a:gd name="T10" fmla="*/ 35 w 60"/>
              <a:gd name="T11" fmla="*/ 33 h 60"/>
              <a:gd name="T12" fmla="*/ 34 w 60"/>
              <a:gd name="T13" fmla="*/ 34 h 60"/>
              <a:gd name="T14" fmla="*/ 28 w 60"/>
              <a:gd name="T15" fmla="*/ 40 h 60"/>
              <a:gd name="T16" fmla="*/ 28 w 60"/>
              <a:gd name="T17" fmla="*/ 44 h 60"/>
              <a:gd name="T18" fmla="*/ 32 w 60"/>
              <a:gd name="T19" fmla="*/ 44 h 60"/>
              <a:gd name="T20" fmla="*/ 44 w 60"/>
              <a:gd name="T21" fmla="*/ 32 h 60"/>
              <a:gd name="T22" fmla="*/ 44 w 60"/>
              <a:gd name="T23" fmla="*/ 28 h 60"/>
              <a:gd name="T24" fmla="*/ 32 w 60"/>
              <a:gd name="T25" fmla="*/ 16 h 60"/>
              <a:gd name="T26" fmla="*/ 30 w 60"/>
              <a:gd name="T27" fmla="*/ 15 h 60"/>
              <a:gd name="T28" fmla="*/ 27 w 60"/>
              <a:gd name="T29" fmla="*/ 17 h 60"/>
              <a:gd name="T30" fmla="*/ 28 w 60"/>
              <a:gd name="T31" fmla="*/ 20 h 60"/>
              <a:gd name="T32" fmla="*/ 34 w 60"/>
              <a:gd name="T33" fmla="*/ 27 h 60"/>
              <a:gd name="T34" fmla="*/ 35 w 60"/>
              <a:gd name="T35" fmla="*/ 27 h 60"/>
              <a:gd name="T36" fmla="*/ 34 w 60"/>
              <a:gd name="T37" fmla="*/ 27 h 60"/>
              <a:gd name="T38" fmla="*/ 19 w 60"/>
              <a:gd name="T39" fmla="*/ 27 h 60"/>
              <a:gd name="T40" fmla="*/ 18 w 60"/>
              <a:gd name="T41" fmla="*/ 27 h 60"/>
              <a:gd name="T42" fmla="*/ 15 w 60"/>
              <a:gd name="T43" fmla="*/ 31 h 60"/>
              <a:gd name="T44" fmla="*/ 18 w 60"/>
              <a:gd name="T45" fmla="*/ 33 h 60"/>
              <a:gd name="T46" fmla="*/ 34 w 60"/>
              <a:gd name="T47" fmla="*/ 33 h 60"/>
              <a:gd name="T48" fmla="*/ 35 w 60"/>
              <a:gd name="T49" fmla="*/ 33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60">
                <a:moveTo>
                  <a:pt x="30" y="0"/>
                </a:moveTo>
                <a:cubicBezTo>
                  <a:pt x="47" y="0"/>
                  <a:pt x="60" y="14"/>
                  <a:pt x="60" y="30"/>
                </a:cubicBezTo>
                <a:cubicBezTo>
                  <a:pt x="60" y="47"/>
                  <a:pt x="47" y="60"/>
                  <a:pt x="30" y="60"/>
                </a:cubicBezTo>
                <a:cubicBezTo>
                  <a:pt x="14" y="60"/>
                  <a:pt x="0" y="47"/>
                  <a:pt x="0" y="30"/>
                </a:cubicBezTo>
                <a:cubicBezTo>
                  <a:pt x="0" y="14"/>
                  <a:pt x="14" y="0"/>
                  <a:pt x="30" y="0"/>
                </a:cubicBezTo>
                <a:close/>
                <a:moveTo>
                  <a:pt x="35" y="33"/>
                </a:moveTo>
                <a:cubicBezTo>
                  <a:pt x="35" y="33"/>
                  <a:pt x="34" y="34"/>
                  <a:pt x="34" y="34"/>
                </a:cubicBezTo>
                <a:cubicBezTo>
                  <a:pt x="32" y="36"/>
                  <a:pt x="30" y="38"/>
                  <a:pt x="28" y="40"/>
                </a:cubicBezTo>
                <a:cubicBezTo>
                  <a:pt x="27" y="41"/>
                  <a:pt x="27" y="43"/>
                  <a:pt x="28" y="44"/>
                </a:cubicBezTo>
                <a:cubicBezTo>
                  <a:pt x="29" y="45"/>
                  <a:pt x="31" y="45"/>
                  <a:pt x="32" y="44"/>
                </a:cubicBezTo>
                <a:cubicBezTo>
                  <a:pt x="36" y="40"/>
                  <a:pt x="40" y="36"/>
                  <a:pt x="44" y="32"/>
                </a:cubicBezTo>
                <a:cubicBezTo>
                  <a:pt x="45" y="31"/>
                  <a:pt x="45" y="29"/>
                  <a:pt x="44" y="28"/>
                </a:cubicBezTo>
                <a:cubicBezTo>
                  <a:pt x="40" y="24"/>
                  <a:pt x="36" y="20"/>
                  <a:pt x="32" y="16"/>
                </a:cubicBezTo>
                <a:cubicBezTo>
                  <a:pt x="32" y="15"/>
                  <a:pt x="31" y="15"/>
                  <a:pt x="30" y="15"/>
                </a:cubicBezTo>
                <a:cubicBezTo>
                  <a:pt x="29" y="15"/>
                  <a:pt x="28" y="16"/>
                  <a:pt x="27" y="17"/>
                </a:cubicBezTo>
                <a:cubicBezTo>
                  <a:pt x="27" y="18"/>
                  <a:pt x="27" y="19"/>
                  <a:pt x="28" y="20"/>
                </a:cubicBezTo>
                <a:cubicBezTo>
                  <a:pt x="30" y="22"/>
                  <a:pt x="32" y="24"/>
                  <a:pt x="34" y="27"/>
                </a:cubicBezTo>
                <a:cubicBezTo>
                  <a:pt x="34" y="27"/>
                  <a:pt x="35" y="27"/>
                  <a:pt x="35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29" y="27"/>
                  <a:pt x="24" y="27"/>
                  <a:pt x="19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6" y="27"/>
                  <a:pt x="15" y="29"/>
                  <a:pt x="15" y="31"/>
                </a:cubicBezTo>
                <a:cubicBezTo>
                  <a:pt x="15" y="32"/>
                  <a:pt x="17" y="33"/>
                  <a:pt x="18" y="33"/>
                </a:cubicBezTo>
                <a:cubicBezTo>
                  <a:pt x="24" y="33"/>
                  <a:pt x="29" y="33"/>
                  <a:pt x="34" y="33"/>
                </a:cubicBezTo>
                <a:cubicBezTo>
                  <a:pt x="34" y="33"/>
                  <a:pt x="34" y="33"/>
                  <a:pt x="35" y="33"/>
                </a:cubicBezTo>
                <a:close/>
              </a:path>
            </a:pathLst>
          </a:custGeom>
          <a:solidFill>
            <a:srgbClr val="620CF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endParaRPr lang="en-US"/>
          </a:p>
        </p:txBody>
      </p:sp>
      <p:sp>
        <p:nvSpPr>
          <p:cNvPr id="43" name="Freeform 5">
            <a:extLst>
              <a:ext uri="{FF2B5EF4-FFF2-40B4-BE49-F238E27FC236}">
                <a16:creationId xmlns:a16="http://schemas.microsoft.com/office/drawing/2014/main" id="{90076359-BDE3-277C-C2ED-0B35DC932568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5066930" y="3392753"/>
            <a:ext cx="214313" cy="214312"/>
          </a:xfrm>
          <a:custGeom>
            <a:avLst/>
            <a:gdLst>
              <a:gd name="T0" fmla="*/ 30 w 60"/>
              <a:gd name="T1" fmla="*/ 0 h 60"/>
              <a:gd name="T2" fmla="*/ 60 w 60"/>
              <a:gd name="T3" fmla="*/ 30 h 60"/>
              <a:gd name="T4" fmla="*/ 30 w 60"/>
              <a:gd name="T5" fmla="*/ 60 h 60"/>
              <a:gd name="T6" fmla="*/ 0 w 60"/>
              <a:gd name="T7" fmla="*/ 30 h 60"/>
              <a:gd name="T8" fmla="*/ 30 w 60"/>
              <a:gd name="T9" fmla="*/ 0 h 60"/>
              <a:gd name="T10" fmla="*/ 35 w 60"/>
              <a:gd name="T11" fmla="*/ 33 h 60"/>
              <a:gd name="T12" fmla="*/ 34 w 60"/>
              <a:gd name="T13" fmla="*/ 34 h 60"/>
              <a:gd name="T14" fmla="*/ 28 w 60"/>
              <a:gd name="T15" fmla="*/ 40 h 60"/>
              <a:gd name="T16" fmla="*/ 28 w 60"/>
              <a:gd name="T17" fmla="*/ 44 h 60"/>
              <a:gd name="T18" fmla="*/ 32 w 60"/>
              <a:gd name="T19" fmla="*/ 44 h 60"/>
              <a:gd name="T20" fmla="*/ 44 w 60"/>
              <a:gd name="T21" fmla="*/ 32 h 60"/>
              <a:gd name="T22" fmla="*/ 44 w 60"/>
              <a:gd name="T23" fmla="*/ 28 h 60"/>
              <a:gd name="T24" fmla="*/ 32 w 60"/>
              <a:gd name="T25" fmla="*/ 16 h 60"/>
              <a:gd name="T26" fmla="*/ 30 w 60"/>
              <a:gd name="T27" fmla="*/ 15 h 60"/>
              <a:gd name="T28" fmla="*/ 27 w 60"/>
              <a:gd name="T29" fmla="*/ 17 h 60"/>
              <a:gd name="T30" fmla="*/ 28 w 60"/>
              <a:gd name="T31" fmla="*/ 20 h 60"/>
              <a:gd name="T32" fmla="*/ 34 w 60"/>
              <a:gd name="T33" fmla="*/ 27 h 60"/>
              <a:gd name="T34" fmla="*/ 35 w 60"/>
              <a:gd name="T35" fmla="*/ 27 h 60"/>
              <a:gd name="T36" fmla="*/ 34 w 60"/>
              <a:gd name="T37" fmla="*/ 27 h 60"/>
              <a:gd name="T38" fmla="*/ 19 w 60"/>
              <a:gd name="T39" fmla="*/ 27 h 60"/>
              <a:gd name="T40" fmla="*/ 18 w 60"/>
              <a:gd name="T41" fmla="*/ 27 h 60"/>
              <a:gd name="T42" fmla="*/ 15 w 60"/>
              <a:gd name="T43" fmla="*/ 31 h 60"/>
              <a:gd name="T44" fmla="*/ 18 w 60"/>
              <a:gd name="T45" fmla="*/ 33 h 60"/>
              <a:gd name="T46" fmla="*/ 34 w 60"/>
              <a:gd name="T47" fmla="*/ 33 h 60"/>
              <a:gd name="T48" fmla="*/ 35 w 60"/>
              <a:gd name="T49" fmla="*/ 33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60">
                <a:moveTo>
                  <a:pt x="30" y="0"/>
                </a:moveTo>
                <a:cubicBezTo>
                  <a:pt x="47" y="0"/>
                  <a:pt x="60" y="14"/>
                  <a:pt x="60" y="30"/>
                </a:cubicBezTo>
                <a:cubicBezTo>
                  <a:pt x="60" y="47"/>
                  <a:pt x="47" y="60"/>
                  <a:pt x="30" y="60"/>
                </a:cubicBezTo>
                <a:cubicBezTo>
                  <a:pt x="14" y="60"/>
                  <a:pt x="0" y="47"/>
                  <a:pt x="0" y="30"/>
                </a:cubicBezTo>
                <a:cubicBezTo>
                  <a:pt x="0" y="14"/>
                  <a:pt x="14" y="0"/>
                  <a:pt x="30" y="0"/>
                </a:cubicBezTo>
                <a:close/>
                <a:moveTo>
                  <a:pt x="35" y="33"/>
                </a:moveTo>
                <a:cubicBezTo>
                  <a:pt x="35" y="33"/>
                  <a:pt x="34" y="34"/>
                  <a:pt x="34" y="34"/>
                </a:cubicBezTo>
                <a:cubicBezTo>
                  <a:pt x="32" y="36"/>
                  <a:pt x="30" y="38"/>
                  <a:pt x="28" y="40"/>
                </a:cubicBezTo>
                <a:cubicBezTo>
                  <a:pt x="27" y="41"/>
                  <a:pt x="27" y="43"/>
                  <a:pt x="28" y="44"/>
                </a:cubicBezTo>
                <a:cubicBezTo>
                  <a:pt x="29" y="45"/>
                  <a:pt x="31" y="45"/>
                  <a:pt x="32" y="44"/>
                </a:cubicBezTo>
                <a:cubicBezTo>
                  <a:pt x="36" y="40"/>
                  <a:pt x="40" y="36"/>
                  <a:pt x="44" y="32"/>
                </a:cubicBezTo>
                <a:cubicBezTo>
                  <a:pt x="45" y="31"/>
                  <a:pt x="45" y="29"/>
                  <a:pt x="44" y="28"/>
                </a:cubicBezTo>
                <a:cubicBezTo>
                  <a:pt x="40" y="24"/>
                  <a:pt x="36" y="20"/>
                  <a:pt x="32" y="16"/>
                </a:cubicBezTo>
                <a:cubicBezTo>
                  <a:pt x="32" y="15"/>
                  <a:pt x="31" y="15"/>
                  <a:pt x="30" y="15"/>
                </a:cubicBezTo>
                <a:cubicBezTo>
                  <a:pt x="29" y="15"/>
                  <a:pt x="28" y="16"/>
                  <a:pt x="27" y="17"/>
                </a:cubicBezTo>
                <a:cubicBezTo>
                  <a:pt x="27" y="18"/>
                  <a:pt x="27" y="19"/>
                  <a:pt x="28" y="20"/>
                </a:cubicBezTo>
                <a:cubicBezTo>
                  <a:pt x="30" y="22"/>
                  <a:pt x="32" y="24"/>
                  <a:pt x="34" y="27"/>
                </a:cubicBezTo>
                <a:cubicBezTo>
                  <a:pt x="34" y="27"/>
                  <a:pt x="35" y="27"/>
                  <a:pt x="35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29" y="27"/>
                  <a:pt x="24" y="27"/>
                  <a:pt x="19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6" y="27"/>
                  <a:pt x="15" y="29"/>
                  <a:pt x="15" y="31"/>
                </a:cubicBezTo>
                <a:cubicBezTo>
                  <a:pt x="15" y="32"/>
                  <a:pt x="17" y="33"/>
                  <a:pt x="18" y="33"/>
                </a:cubicBezTo>
                <a:cubicBezTo>
                  <a:pt x="24" y="33"/>
                  <a:pt x="29" y="33"/>
                  <a:pt x="34" y="33"/>
                </a:cubicBezTo>
                <a:cubicBezTo>
                  <a:pt x="34" y="33"/>
                  <a:pt x="34" y="33"/>
                  <a:pt x="35" y="33"/>
                </a:cubicBezTo>
                <a:close/>
              </a:path>
            </a:pathLst>
          </a:custGeom>
          <a:solidFill>
            <a:srgbClr val="620CF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endParaRPr lang="en-US"/>
          </a:p>
        </p:txBody>
      </p:sp>
      <p:cxnSp>
        <p:nvCxnSpPr>
          <p:cNvPr id="44" name="Straight Connector 85">
            <a:extLst>
              <a:ext uri="{FF2B5EF4-FFF2-40B4-BE49-F238E27FC236}">
                <a16:creationId xmlns:a16="http://schemas.microsoft.com/office/drawing/2014/main" id="{C2F81340-29A4-1FDF-6514-9C65FB426477}"/>
              </a:ext>
            </a:extLst>
          </p:cNvPr>
          <p:cNvCxnSpPr>
            <a:cxnSpLocks/>
          </p:cNvCxnSpPr>
          <p:nvPr/>
        </p:nvCxnSpPr>
        <p:spPr>
          <a:xfrm flipH="1">
            <a:off x="12359929" y="4729516"/>
            <a:ext cx="2404872" cy="0"/>
          </a:xfrm>
          <a:prstGeom prst="line">
            <a:avLst/>
          </a:prstGeom>
          <a:ln w="25400">
            <a:gradFill flip="none" rotWithShape="1">
              <a:gsLst>
                <a:gs pos="100000">
                  <a:srgbClr val="620CD2">
                    <a:alpha val="0"/>
                  </a:srgbClr>
                </a:gs>
                <a:gs pos="0">
                  <a:srgbClr val="620CEA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829BA995-C73D-CF8D-BD87-C18127717591}"/>
              </a:ext>
            </a:extLst>
          </p:cNvPr>
          <p:cNvSpPr txBox="1"/>
          <p:nvPr/>
        </p:nvSpPr>
        <p:spPr>
          <a:xfrm>
            <a:off x="10827898" y="3249751"/>
            <a:ext cx="4128091" cy="8824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ts val="3200"/>
              </a:lnSpc>
            </a:pP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Обучение</a:t>
            </a:r>
            <a:b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аудитории</a:t>
            </a:r>
          </a:p>
        </p:txBody>
      </p: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06336554-5860-2876-4DEC-8DAD57E0FFF0}"/>
              </a:ext>
            </a:extLst>
          </p:cNvPr>
          <p:cNvGrpSpPr/>
          <p:nvPr/>
        </p:nvGrpSpPr>
        <p:grpSpPr>
          <a:xfrm>
            <a:off x="4045730" y="-457195"/>
            <a:ext cx="2061962" cy="7268818"/>
            <a:chOff x="5317227" y="-111040"/>
            <a:chExt cx="3762311" cy="6858000"/>
          </a:xfrm>
        </p:grpSpPr>
        <p:sp>
          <p:nvSpPr>
            <p:cNvPr id="47" name="Rectangle 9">
              <a:extLst>
                <a:ext uri="{FF2B5EF4-FFF2-40B4-BE49-F238E27FC236}">
                  <a16:creationId xmlns:a16="http://schemas.microsoft.com/office/drawing/2014/main" id="{4993BB82-7FCC-EF51-ACE1-E089DB50A0F7}"/>
                </a:ext>
              </a:extLst>
            </p:cNvPr>
            <p:cNvSpPr/>
            <p:nvPr/>
          </p:nvSpPr>
          <p:spPr>
            <a:xfrm>
              <a:off x="5317227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48" name="Rectangle 31">
              <a:extLst>
                <a:ext uri="{FF2B5EF4-FFF2-40B4-BE49-F238E27FC236}">
                  <a16:creationId xmlns:a16="http://schemas.microsoft.com/office/drawing/2014/main" id="{24967EA5-79D7-83B6-3F88-FA62CCC80F78}"/>
                </a:ext>
              </a:extLst>
            </p:cNvPr>
            <p:cNvSpPr/>
            <p:nvPr/>
          </p:nvSpPr>
          <p:spPr>
            <a:xfrm>
              <a:off x="6257805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49" name="Rectangle 32">
              <a:extLst>
                <a:ext uri="{FF2B5EF4-FFF2-40B4-BE49-F238E27FC236}">
                  <a16:creationId xmlns:a16="http://schemas.microsoft.com/office/drawing/2014/main" id="{334CF451-8D9F-BBDE-169B-0CD98D62F1D7}"/>
                </a:ext>
              </a:extLst>
            </p:cNvPr>
            <p:cNvSpPr/>
            <p:nvPr/>
          </p:nvSpPr>
          <p:spPr>
            <a:xfrm>
              <a:off x="7198382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50" name="Rectangle 33">
              <a:extLst>
                <a:ext uri="{FF2B5EF4-FFF2-40B4-BE49-F238E27FC236}">
                  <a16:creationId xmlns:a16="http://schemas.microsoft.com/office/drawing/2014/main" id="{B9445DF7-E1AB-4312-9117-133BACDDC29C}"/>
                </a:ext>
              </a:extLst>
            </p:cNvPr>
            <p:cNvSpPr/>
            <p:nvPr/>
          </p:nvSpPr>
          <p:spPr>
            <a:xfrm>
              <a:off x="8138960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59318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4.44444E-6 L 0.06576 4.44444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4.44444E-6 L 0.06576 4.44444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-3.7037E-6 L 0.06576 -3.7037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8" name="Рисунок 3">
            <a:extLst>
              <a:ext uri="{FF2B5EF4-FFF2-40B4-BE49-F238E27FC236}">
                <a16:creationId xmlns:a16="http://schemas.microsoft.com/office/drawing/2014/main" id="{B63F4BEE-48AE-F06A-6DA6-C8982BFE428C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306BE464-478F-81B6-3B64-29F8F5EF6AB8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86F94626-DE5D-5CDE-C5AB-08EC87502FA9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27D32363-4996-BC63-62AD-37B68BDCEF3B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0CF7CFDB-7A74-EC0A-6085-A444E06E742E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6612FEDD-013B-92AC-4475-870F7116F32C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B2EBED1A-9481-C73D-3E09-821A49346615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AD1CBA0D-CF7C-181F-0780-454F30ADFE2C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29262002-7FA6-242C-1F7F-5498AD6537FA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B1BADB8A-087E-8EF7-C819-4DA4B76178C8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E75AA717-1E66-FF94-A1E7-B9B27F4A6897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46F477F9-AF6E-52E4-CB25-A418271737C3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1" name="!!Oval 131">
            <a:extLst>
              <a:ext uri="{FF2B5EF4-FFF2-40B4-BE49-F238E27FC236}">
                <a16:creationId xmlns:a16="http://schemas.microsoft.com/office/drawing/2014/main" id="{4245BDFE-C8E8-07C6-A46D-D232960778D2}"/>
              </a:ext>
            </a:extLst>
          </p:cNvPr>
          <p:cNvGrpSpPr/>
          <p:nvPr/>
        </p:nvGrpSpPr>
        <p:grpSpPr>
          <a:xfrm>
            <a:off x="5170912" y="1177870"/>
            <a:ext cx="1846174" cy="759138"/>
            <a:chOff x="5170912" y="1177870"/>
            <a:chExt cx="1846174" cy="759138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0C1C4287-4318-F0FF-B328-5E46695B9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4916" y="1177870"/>
              <a:ext cx="1842169" cy="573607"/>
            </a:xfrm>
            <a:custGeom>
              <a:avLst/>
              <a:gdLst>
                <a:gd name="T0" fmla="*/ 195 w 390"/>
                <a:gd name="T1" fmla="*/ 0 h 105"/>
                <a:gd name="T2" fmla="*/ 0 w 390"/>
                <a:gd name="T3" fmla="*/ 53 h 105"/>
                <a:gd name="T4" fmla="*/ 10 w 390"/>
                <a:gd name="T5" fmla="*/ 69 h 105"/>
                <a:gd name="T6" fmla="*/ 100 w 390"/>
                <a:gd name="T7" fmla="*/ 98 h 105"/>
                <a:gd name="T8" fmla="*/ 195 w 390"/>
                <a:gd name="T9" fmla="*/ 105 h 105"/>
                <a:gd name="T10" fmla="*/ 290 w 390"/>
                <a:gd name="T11" fmla="*/ 98 h 105"/>
                <a:gd name="T12" fmla="*/ 380 w 390"/>
                <a:gd name="T13" fmla="*/ 69 h 105"/>
                <a:gd name="T14" fmla="*/ 390 w 390"/>
                <a:gd name="T15" fmla="*/ 53 h 105"/>
                <a:gd name="T16" fmla="*/ 195 w 390"/>
                <a:gd name="T1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05">
                  <a:moveTo>
                    <a:pt x="195" y="0"/>
                  </a:moveTo>
                  <a:cubicBezTo>
                    <a:pt x="87" y="0"/>
                    <a:pt x="0" y="24"/>
                    <a:pt x="0" y="53"/>
                  </a:cubicBezTo>
                  <a:cubicBezTo>
                    <a:pt x="0" y="58"/>
                    <a:pt x="3" y="64"/>
                    <a:pt x="10" y="69"/>
                  </a:cubicBezTo>
                  <a:cubicBezTo>
                    <a:pt x="25" y="82"/>
                    <a:pt x="58" y="92"/>
                    <a:pt x="100" y="98"/>
                  </a:cubicBezTo>
                  <a:cubicBezTo>
                    <a:pt x="128" y="103"/>
                    <a:pt x="160" y="105"/>
                    <a:pt x="195" y="105"/>
                  </a:cubicBezTo>
                  <a:cubicBezTo>
                    <a:pt x="229" y="105"/>
                    <a:pt x="262" y="103"/>
                    <a:pt x="290" y="98"/>
                  </a:cubicBezTo>
                  <a:cubicBezTo>
                    <a:pt x="332" y="92"/>
                    <a:pt x="364" y="82"/>
                    <a:pt x="380" y="69"/>
                  </a:cubicBezTo>
                  <a:cubicBezTo>
                    <a:pt x="386" y="64"/>
                    <a:pt x="390" y="58"/>
                    <a:pt x="390" y="53"/>
                  </a:cubicBezTo>
                  <a:cubicBezTo>
                    <a:pt x="390" y="24"/>
                    <a:pt x="302" y="0"/>
                    <a:pt x="195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0FEED456-374C-3949-CBC0-E41F3D9A6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912" y="1466992"/>
              <a:ext cx="1846174" cy="470016"/>
            </a:xfrm>
            <a:custGeom>
              <a:avLst/>
              <a:gdLst>
                <a:gd name="T0" fmla="*/ 391 w 391"/>
                <a:gd name="T1" fmla="*/ 30 h 86"/>
                <a:gd name="T2" fmla="*/ 391 w 391"/>
                <a:gd name="T3" fmla="*/ 0 h 86"/>
                <a:gd name="T4" fmla="*/ 381 w 391"/>
                <a:gd name="T5" fmla="*/ 16 h 86"/>
                <a:gd name="T6" fmla="*/ 291 w 391"/>
                <a:gd name="T7" fmla="*/ 45 h 86"/>
                <a:gd name="T8" fmla="*/ 196 w 391"/>
                <a:gd name="T9" fmla="*/ 52 h 86"/>
                <a:gd name="T10" fmla="*/ 101 w 391"/>
                <a:gd name="T11" fmla="*/ 45 h 86"/>
                <a:gd name="T12" fmla="*/ 11 w 391"/>
                <a:gd name="T13" fmla="*/ 16 h 86"/>
                <a:gd name="T14" fmla="*/ 1 w 391"/>
                <a:gd name="T15" fmla="*/ 0 h 86"/>
                <a:gd name="T16" fmla="*/ 1 w 391"/>
                <a:gd name="T17" fmla="*/ 30 h 86"/>
                <a:gd name="T18" fmla="*/ 0 w 391"/>
                <a:gd name="T19" fmla="*/ 33 h 86"/>
                <a:gd name="T20" fmla="*/ 21 w 391"/>
                <a:gd name="T21" fmla="*/ 57 h 86"/>
                <a:gd name="T22" fmla="*/ 101 w 391"/>
                <a:gd name="T23" fmla="*/ 79 h 86"/>
                <a:gd name="T24" fmla="*/ 196 w 391"/>
                <a:gd name="T25" fmla="*/ 86 h 86"/>
                <a:gd name="T26" fmla="*/ 290 w 391"/>
                <a:gd name="T27" fmla="*/ 79 h 86"/>
                <a:gd name="T28" fmla="*/ 371 w 391"/>
                <a:gd name="T29" fmla="*/ 57 h 86"/>
                <a:gd name="T30" fmla="*/ 391 w 391"/>
                <a:gd name="T31" fmla="*/ 33 h 86"/>
                <a:gd name="T32" fmla="*/ 391 w 391"/>
                <a:gd name="T33" fmla="*/ 3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1" h="86">
                  <a:moveTo>
                    <a:pt x="391" y="30"/>
                  </a:moveTo>
                  <a:cubicBezTo>
                    <a:pt x="391" y="0"/>
                    <a:pt x="391" y="0"/>
                    <a:pt x="391" y="0"/>
                  </a:cubicBezTo>
                  <a:cubicBezTo>
                    <a:pt x="391" y="5"/>
                    <a:pt x="387" y="11"/>
                    <a:pt x="381" y="16"/>
                  </a:cubicBezTo>
                  <a:cubicBezTo>
                    <a:pt x="365" y="29"/>
                    <a:pt x="333" y="39"/>
                    <a:pt x="291" y="45"/>
                  </a:cubicBezTo>
                  <a:cubicBezTo>
                    <a:pt x="263" y="50"/>
                    <a:pt x="230" y="52"/>
                    <a:pt x="196" y="52"/>
                  </a:cubicBezTo>
                  <a:cubicBezTo>
                    <a:pt x="161" y="52"/>
                    <a:pt x="129" y="50"/>
                    <a:pt x="101" y="45"/>
                  </a:cubicBezTo>
                  <a:cubicBezTo>
                    <a:pt x="59" y="39"/>
                    <a:pt x="26" y="29"/>
                    <a:pt x="11" y="16"/>
                  </a:cubicBezTo>
                  <a:cubicBezTo>
                    <a:pt x="4" y="11"/>
                    <a:pt x="1" y="5"/>
                    <a:pt x="1" y="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1"/>
                    <a:pt x="0" y="32"/>
                    <a:pt x="0" y="33"/>
                  </a:cubicBezTo>
                  <a:cubicBezTo>
                    <a:pt x="0" y="42"/>
                    <a:pt x="7" y="49"/>
                    <a:pt x="21" y="57"/>
                  </a:cubicBezTo>
                  <a:cubicBezTo>
                    <a:pt x="38" y="66"/>
                    <a:pt x="66" y="74"/>
                    <a:pt x="101" y="79"/>
                  </a:cubicBezTo>
                  <a:cubicBezTo>
                    <a:pt x="129" y="83"/>
                    <a:pt x="161" y="86"/>
                    <a:pt x="196" y="86"/>
                  </a:cubicBezTo>
                  <a:cubicBezTo>
                    <a:pt x="230" y="86"/>
                    <a:pt x="262" y="83"/>
                    <a:pt x="290" y="79"/>
                  </a:cubicBezTo>
                  <a:cubicBezTo>
                    <a:pt x="325" y="74"/>
                    <a:pt x="353" y="66"/>
                    <a:pt x="371" y="57"/>
                  </a:cubicBezTo>
                  <a:cubicBezTo>
                    <a:pt x="384" y="49"/>
                    <a:pt x="391" y="42"/>
                    <a:pt x="391" y="33"/>
                  </a:cubicBezTo>
                  <a:cubicBezTo>
                    <a:pt x="391" y="32"/>
                    <a:pt x="391" y="31"/>
                    <a:pt x="391" y="30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A0084A9-34C2-AE3C-8834-2E072324A228}"/>
              </a:ext>
            </a:extLst>
          </p:cNvPr>
          <p:cNvGrpSpPr/>
          <p:nvPr/>
        </p:nvGrpSpPr>
        <p:grpSpPr>
          <a:xfrm>
            <a:off x="4685006" y="1781473"/>
            <a:ext cx="2817984" cy="974047"/>
            <a:chOff x="4685006" y="1779306"/>
            <a:chExt cx="2817984" cy="974047"/>
          </a:xfrm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64177196-523E-63F2-0869-F20F1E037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1779306"/>
              <a:ext cx="2817984" cy="786969"/>
            </a:xfrm>
            <a:custGeom>
              <a:avLst/>
              <a:gdLst>
                <a:gd name="T0" fmla="*/ 474 w 597"/>
                <a:gd name="T1" fmla="*/ 0 h 144"/>
                <a:gd name="T2" fmla="*/ 393 w 597"/>
                <a:gd name="T3" fmla="*/ 22 h 144"/>
                <a:gd name="T4" fmla="*/ 299 w 597"/>
                <a:gd name="T5" fmla="*/ 29 h 144"/>
                <a:gd name="T6" fmla="*/ 204 w 597"/>
                <a:gd name="T7" fmla="*/ 22 h 144"/>
                <a:gd name="T8" fmla="*/ 124 w 597"/>
                <a:gd name="T9" fmla="*/ 0 h 144"/>
                <a:gd name="T10" fmla="*/ 0 w 597"/>
                <a:gd name="T11" fmla="*/ 64 h 144"/>
                <a:gd name="T12" fmla="*/ 7 w 597"/>
                <a:gd name="T13" fmla="*/ 81 h 144"/>
                <a:gd name="T14" fmla="*/ 41 w 597"/>
                <a:gd name="T15" fmla="*/ 104 h 144"/>
                <a:gd name="T16" fmla="*/ 122 w 597"/>
                <a:gd name="T17" fmla="*/ 128 h 144"/>
                <a:gd name="T18" fmla="*/ 299 w 597"/>
                <a:gd name="T19" fmla="*/ 144 h 144"/>
                <a:gd name="T20" fmla="*/ 476 w 597"/>
                <a:gd name="T21" fmla="*/ 128 h 144"/>
                <a:gd name="T22" fmla="*/ 556 w 597"/>
                <a:gd name="T23" fmla="*/ 104 h 144"/>
                <a:gd name="T24" fmla="*/ 590 w 597"/>
                <a:gd name="T25" fmla="*/ 81 h 144"/>
                <a:gd name="T26" fmla="*/ 597 w 597"/>
                <a:gd name="T27" fmla="*/ 64 h 144"/>
                <a:gd name="T28" fmla="*/ 474 w 597"/>
                <a:gd name="T29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7" h="144">
                  <a:moveTo>
                    <a:pt x="474" y="0"/>
                  </a:moveTo>
                  <a:cubicBezTo>
                    <a:pt x="456" y="9"/>
                    <a:pt x="428" y="17"/>
                    <a:pt x="393" y="22"/>
                  </a:cubicBezTo>
                  <a:cubicBezTo>
                    <a:pt x="365" y="26"/>
                    <a:pt x="333" y="29"/>
                    <a:pt x="299" y="29"/>
                  </a:cubicBezTo>
                  <a:cubicBezTo>
                    <a:pt x="264" y="29"/>
                    <a:pt x="232" y="26"/>
                    <a:pt x="204" y="22"/>
                  </a:cubicBezTo>
                  <a:cubicBezTo>
                    <a:pt x="169" y="17"/>
                    <a:pt x="141" y="9"/>
                    <a:pt x="124" y="0"/>
                  </a:cubicBezTo>
                  <a:cubicBezTo>
                    <a:pt x="49" y="14"/>
                    <a:pt x="0" y="38"/>
                    <a:pt x="0" y="64"/>
                  </a:cubicBezTo>
                  <a:cubicBezTo>
                    <a:pt x="0" y="70"/>
                    <a:pt x="3" y="76"/>
                    <a:pt x="7" y="81"/>
                  </a:cubicBezTo>
                  <a:cubicBezTo>
                    <a:pt x="14" y="89"/>
                    <a:pt x="25" y="97"/>
                    <a:pt x="41" y="104"/>
                  </a:cubicBezTo>
                  <a:cubicBezTo>
                    <a:pt x="62" y="114"/>
                    <a:pt x="89" y="122"/>
                    <a:pt x="122" y="128"/>
                  </a:cubicBezTo>
                  <a:cubicBezTo>
                    <a:pt x="171" y="138"/>
                    <a:pt x="232" y="144"/>
                    <a:pt x="299" y="144"/>
                  </a:cubicBezTo>
                  <a:cubicBezTo>
                    <a:pt x="365" y="144"/>
                    <a:pt x="426" y="138"/>
                    <a:pt x="476" y="128"/>
                  </a:cubicBezTo>
                  <a:cubicBezTo>
                    <a:pt x="508" y="122"/>
                    <a:pt x="536" y="114"/>
                    <a:pt x="556" y="104"/>
                  </a:cubicBezTo>
                  <a:cubicBezTo>
                    <a:pt x="572" y="97"/>
                    <a:pt x="584" y="89"/>
                    <a:pt x="590" y="81"/>
                  </a:cubicBezTo>
                  <a:cubicBezTo>
                    <a:pt x="595" y="76"/>
                    <a:pt x="597" y="70"/>
                    <a:pt x="597" y="64"/>
                  </a:cubicBezTo>
                  <a:cubicBezTo>
                    <a:pt x="597" y="38"/>
                    <a:pt x="548" y="14"/>
                    <a:pt x="47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6B728246-8BD5-22C5-BA41-6F3E6F9AC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2128726"/>
              <a:ext cx="2817984" cy="624627"/>
            </a:xfrm>
            <a:custGeom>
              <a:avLst/>
              <a:gdLst>
                <a:gd name="T0" fmla="*/ 590 w 597"/>
                <a:gd name="T1" fmla="*/ 17 h 114"/>
                <a:gd name="T2" fmla="*/ 556 w 597"/>
                <a:gd name="T3" fmla="*/ 40 h 114"/>
                <a:gd name="T4" fmla="*/ 476 w 597"/>
                <a:gd name="T5" fmla="*/ 64 h 114"/>
                <a:gd name="T6" fmla="*/ 299 w 597"/>
                <a:gd name="T7" fmla="*/ 80 h 114"/>
                <a:gd name="T8" fmla="*/ 122 w 597"/>
                <a:gd name="T9" fmla="*/ 64 h 114"/>
                <a:gd name="T10" fmla="*/ 41 w 597"/>
                <a:gd name="T11" fmla="*/ 40 h 114"/>
                <a:gd name="T12" fmla="*/ 7 w 597"/>
                <a:gd name="T13" fmla="*/ 17 h 114"/>
                <a:gd name="T14" fmla="*/ 0 w 597"/>
                <a:gd name="T15" fmla="*/ 0 h 114"/>
                <a:gd name="T16" fmla="*/ 0 w 597"/>
                <a:gd name="T17" fmla="*/ 34 h 114"/>
                <a:gd name="T18" fmla="*/ 6 w 597"/>
                <a:gd name="T19" fmla="*/ 49 h 114"/>
                <a:gd name="T20" fmla="*/ 47 w 597"/>
                <a:gd name="T21" fmla="*/ 77 h 114"/>
                <a:gd name="T22" fmla="*/ 181 w 597"/>
                <a:gd name="T23" fmla="*/ 107 h 114"/>
                <a:gd name="T24" fmla="*/ 299 w 597"/>
                <a:gd name="T25" fmla="*/ 114 h 114"/>
                <a:gd name="T26" fmla="*/ 417 w 597"/>
                <a:gd name="T27" fmla="*/ 107 h 114"/>
                <a:gd name="T28" fmla="*/ 550 w 597"/>
                <a:gd name="T29" fmla="*/ 77 h 114"/>
                <a:gd name="T30" fmla="*/ 591 w 597"/>
                <a:gd name="T31" fmla="*/ 49 h 114"/>
                <a:gd name="T32" fmla="*/ 597 w 597"/>
                <a:gd name="T33" fmla="*/ 34 h 114"/>
                <a:gd name="T34" fmla="*/ 597 w 597"/>
                <a:gd name="T35" fmla="*/ 0 h 114"/>
                <a:gd name="T36" fmla="*/ 590 w 597"/>
                <a:gd name="T37" fmla="*/ 1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7" h="114">
                  <a:moveTo>
                    <a:pt x="590" y="17"/>
                  </a:moveTo>
                  <a:cubicBezTo>
                    <a:pt x="584" y="25"/>
                    <a:pt x="572" y="33"/>
                    <a:pt x="556" y="40"/>
                  </a:cubicBezTo>
                  <a:cubicBezTo>
                    <a:pt x="536" y="50"/>
                    <a:pt x="508" y="58"/>
                    <a:pt x="476" y="64"/>
                  </a:cubicBezTo>
                  <a:cubicBezTo>
                    <a:pt x="426" y="74"/>
                    <a:pt x="365" y="80"/>
                    <a:pt x="299" y="80"/>
                  </a:cubicBezTo>
                  <a:cubicBezTo>
                    <a:pt x="232" y="80"/>
                    <a:pt x="171" y="74"/>
                    <a:pt x="122" y="64"/>
                  </a:cubicBezTo>
                  <a:cubicBezTo>
                    <a:pt x="89" y="58"/>
                    <a:pt x="62" y="50"/>
                    <a:pt x="41" y="40"/>
                  </a:cubicBezTo>
                  <a:cubicBezTo>
                    <a:pt x="25" y="33"/>
                    <a:pt x="14" y="25"/>
                    <a:pt x="7" y="17"/>
                  </a:cubicBezTo>
                  <a:cubicBezTo>
                    <a:pt x="3" y="12"/>
                    <a:pt x="0" y="6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9"/>
                    <a:pt x="2" y="44"/>
                    <a:pt x="6" y="49"/>
                  </a:cubicBezTo>
                  <a:cubicBezTo>
                    <a:pt x="13" y="59"/>
                    <a:pt x="28" y="69"/>
                    <a:pt x="47" y="77"/>
                  </a:cubicBezTo>
                  <a:cubicBezTo>
                    <a:pt x="79" y="90"/>
                    <a:pt x="126" y="101"/>
                    <a:pt x="181" y="107"/>
                  </a:cubicBezTo>
                  <a:cubicBezTo>
                    <a:pt x="217" y="111"/>
                    <a:pt x="257" y="114"/>
                    <a:pt x="299" y="114"/>
                  </a:cubicBezTo>
                  <a:cubicBezTo>
                    <a:pt x="341" y="114"/>
                    <a:pt x="380" y="111"/>
                    <a:pt x="417" y="107"/>
                  </a:cubicBezTo>
                  <a:cubicBezTo>
                    <a:pt x="471" y="101"/>
                    <a:pt x="518" y="90"/>
                    <a:pt x="550" y="77"/>
                  </a:cubicBezTo>
                  <a:cubicBezTo>
                    <a:pt x="570" y="69"/>
                    <a:pt x="584" y="59"/>
                    <a:pt x="591" y="49"/>
                  </a:cubicBezTo>
                  <a:cubicBezTo>
                    <a:pt x="595" y="44"/>
                    <a:pt x="597" y="39"/>
                    <a:pt x="597" y="34"/>
                  </a:cubicBezTo>
                  <a:cubicBezTo>
                    <a:pt x="597" y="0"/>
                    <a:pt x="597" y="0"/>
                    <a:pt x="597" y="0"/>
                  </a:cubicBezTo>
                  <a:cubicBezTo>
                    <a:pt x="597" y="6"/>
                    <a:pt x="595" y="12"/>
                    <a:pt x="590" y="17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B33D6A43-4B65-8BCD-8B0E-3574C5238FCB}"/>
              </a:ext>
            </a:extLst>
          </p:cNvPr>
          <p:cNvGrpSpPr/>
          <p:nvPr/>
        </p:nvGrpSpPr>
        <p:grpSpPr>
          <a:xfrm>
            <a:off x="4240482" y="2375972"/>
            <a:ext cx="3711034" cy="1116288"/>
            <a:chOff x="4240482" y="2397748"/>
            <a:chExt cx="3711034" cy="1116288"/>
          </a:xfrm>
        </p:grpSpPr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3CF99B6F-D029-B353-93F3-034E6103B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2397748"/>
              <a:ext cx="3711034" cy="907564"/>
            </a:xfrm>
            <a:custGeom>
              <a:avLst/>
              <a:gdLst>
                <a:gd name="T0" fmla="*/ 275 w 786"/>
                <a:gd name="T1" fmla="*/ 58 h 166"/>
                <a:gd name="T2" fmla="*/ 141 w 786"/>
                <a:gd name="T3" fmla="*/ 28 h 166"/>
                <a:gd name="T4" fmla="*/ 100 w 786"/>
                <a:gd name="T5" fmla="*/ 0 h 166"/>
                <a:gd name="T6" fmla="*/ 0 w 786"/>
                <a:gd name="T7" fmla="*/ 67 h 166"/>
                <a:gd name="T8" fmla="*/ 7 w 786"/>
                <a:gd name="T9" fmla="*/ 86 h 166"/>
                <a:gd name="T10" fmla="*/ 19 w 786"/>
                <a:gd name="T11" fmla="*/ 97 h 166"/>
                <a:gd name="T12" fmla="*/ 68 w 786"/>
                <a:gd name="T13" fmla="*/ 123 h 166"/>
                <a:gd name="T14" fmla="*/ 393 w 786"/>
                <a:gd name="T15" fmla="*/ 166 h 166"/>
                <a:gd name="T16" fmla="*/ 718 w 786"/>
                <a:gd name="T17" fmla="*/ 123 h 166"/>
                <a:gd name="T18" fmla="*/ 767 w 786"/>
                <a:gd name="T19" fmla="*/ 97 h 166"/>
                <a:gd name="T20" fmla="*/ 779 w 786"/>
                <a:gd name="T21" fmla="*/ 86 h 166"/>
                <a:gd name="T22" fmla="*/ 786 w 786"/>
                <a:gd name="T23" fmla="*/ 67 h 166"/>
                <a:gd name="T24" fmla="*/ 685 w 786"/>
                <a:gd name="T25" fmla="*/ 0 h 166"/>
                <a:gd name="T26" fmla="*/ 644 w 786"/>
                <a:gd name="T27" fmla="*/ 28 h 166"/>
                <a:gd name="T28" fmla="*/ 511 w 786"/>
                <a:gd name="T29" fmla="*/ 58 h 166"/>
                <a:gd name="T30" fmla="*/ 393 w 786"/>
                <a:gd name="T31" fmla="*/ 65 h 166"/>
                <a:gd name="T32" fmla="*/ 275 w 786"/>
                <a:gd name="T33" fmla="*/ 58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6" h="166">
                  <a:moveTo>
                    <a:pt x="275" y="58"/>
                  </a:moveTo>
                  <a:cubicBezTo>
                    <a:pt x="220" y="52"/>
                    <a:pt x="173" y="41"/>
                    <a:pt x="141" y="28"/>
                  </a:cubicBezTo>
                  <a:cubicBezTo>
                    <a:pt x="122" y="20"/>
                    <a:pt x="107" y="10"/>
                    <a:pt x="100" y="0"/>
                  </a:cubicBezTo>
                  <a:cubicBezTo>
                    <a:pt x="38" y="18"/>
                    <a:pt x="0" y="41"/>
                    <a:pt x="0" y="67"/>
                  </a:cubicBezTo>
                  <a:cubicBezTo>
                    <a:pt x="0" y="73"/>
                    <a:pt x="2" y="79"/>
                    <a:pt x="7" y="86"/>
                  </a:cubicBezTo>
                  <a:cubicBezTo>
                    <a:pt x="10" y="90"/>
                    <a:pt x="14" y="94"/>
                    <a:pt x="19" y="97"/>
                  </a:cubicBezTo>
                  <a:cubicBezTo>
                    <a:pt x="30" y="107"/>
                    <a:pt x="47" y="115"/>
                    <a:pt x="68" y="123"/>
                  </a:cubicBezTo>
                  <a:cubicBezTo>
                    <a:pt x="139" y="149"/>
                    <a:pt x="258" y="166"/>
                    <a:pt x="393" y="166"/>
                  </a:cubicBezTo>
                  <a:cubicBezTo>
                    <a:pt x="528" y="166"/>
                    <a:pt x="647" y="149"/>
                    <a:pt x="718" y="123"/>
                  </a:cubicBezTo>
                  <a:cubicBezTo>
                    <a:pt x="738" y="115"/>
                    <a:pt x="755" y="107"/>
                    <a:pt x="767" y="97"/>
                  </a:cubicBezTo>
                  <a:cubicBezTo>
                    <a:pt x="771" y="94"/>
                    <a:pt x="775" y="90"/>
                    <a:pt x="779" y="86"/>
                  </a:cubicBezTo>
                  <a:cubicBezTo>
                    <a:pt x="783" y="79"/>
                    <a:pt x="786" y="73"/>
                    <a:pt x="786" y="67"/>
                  </a:cubicBezTo>
                  <a:cubicBezTo>
                    <a:pt x="786" y="41"/>
                    <a:pt x="748" y="18"/>
                    <a:pt x="685" y="0"/>
                  </a:cubicBezTo>
                  <a:cubicBezTo>
                    <a:pt x="678" y="10"/>
                    <a:pt x="664" y="20"/>
                    <a:pt x="644" y="28"/>
                  </a:cubicBezTo>
                  <a:cubicBezTo>
                    <a:pt x="612" y="41"/>
                    <a:pt x="565" y="52"/>
                    <a:pt x="511" y="58"/>
                  </a:cubicBezTo>
                  <a:cubicBezTo>
                    <a:pt x="474" y="62"/>
                    <a:pt x="435" y="65"/>
                    <a:pt x="393" y="65"/>
                  </a:cubicBezTo>
                  <a:cubicBezTo>
                    <a:pt x="351" y="65"/>
                    <a:pt x="311" y="62"/>
                    <a:pt x="275" y="58"/>
                  </a:cubicBezTo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3DDF25D8-23A3-CF50-44E6-5C50D01C1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2764174"/>
              <a:ext cx="3711034" cy="749862"/>
            </a:xfrm>
            <a:custGeom>
              <a:avLst/>
              <a:gdLst>
                <a:gd name="T0" fmla="*/ 786 w 786"/>
                <a:gd name="T1" fmla="*/ 0 h 137"/>
                <a:gd name="T2" fmla="*/ 779 w 786"/>
                <a:gd name="T3" fmla="*/ 19 h 137"/>
                <a:gd name="T4" fmla="*/ 767 w 786"/>
                <a:gd name="T5" fmla="*/ 30 h 137"/>
                <a:gd name="T6" fmla="*/ 718 w 786"/>
                <a:gd name="T7" fmla="*/ 56 h 137"/>
                <a:gd name="T8" fmla="*/ 393 w 786"/>
                <a:gd name="T9" fmla="*/ 99 h 137"/>
                <a:gd name="T10" fmla="*/ 68 w 786"/>
                <a:gd name="T11" fmla="*/ 56 h 137"/>
                <a:gd name="T12" fmla="*/ 19 w 786"/>
                <a:gd name="T13" fmla="*/ 30 h 137"/>
                <a:gd name="T14" fmla="*/ 7 w 786"/>
                <a:gd name="T15" fmla="*/ 19 h 137"/>
                <a:gd name="T16" fmla="*/ 0 w 786"/>
                <a:gd name="T17" fmla="*/ 0 h 137"/>
                <a:gd name="T18" fmla="*/ 0 w 786"/>
                <a:gd name="T19" fmla="*/ 36 h 137"/>
                <a:gd name="T20" fmla="*/ 0 w 786"/>
                <a:gd name="T21" fmla="*/ 36 h 137"/>
                <a:gd name="T22" fmla="*/ 0 w 786"/>
                <a:gd name="T23" fmla="*/ 37 h 137"/>
                <a:gd name="T24" fmla="*/ 19 w 786"/>
                <a:gd name="T25" fmla="*/ 68 h 137"/>
                <a:gd name="T26" fmla="*/ 393 w 786"/>
                <a:gd name="T27" fmla="*/ 137 h 137"/>
                <a:gd name="T28" fmla="*/ 767 w 786"/>
                <a:gd name="T29" fmla="*/ 68 h 137"/>
                <a:gd name="T30" fmla="*/ 786 w 786"/>
                <a:gd name="T31" fmla="*/ 37 h 137"/>
                <a:gd name="T32" fmla="*/ 786 w 786"/>
                <a:gd name="T33" fmla="*/ 36 h 137"/>
                <a:gd name="T34" fmla="*/ 786 w 786"/>
                <a:gd name="T35" fmla="*/ 36 h 137"/>
                <a:gd name="T36" fmla="*/ 786 w 786"/>
                <a:gd name="T3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86" h="137">
                  <a:moveTo>
                    <a:pt x="786" y="0"/>
                  </a:moveTo>
                  <a:cubicBezTo>
                    <a:pt x="786" y="6"/>
                    <a:pt x="783" y="12"/>
                    <a:pt x="779" y="19"/>
                  </a:cubicBezTo>
                  <a:cubicBezTo>
                    <a:pt x="775" y="23"/>
                    <a:pt x="771" y="27"/>
                    <a:pt x="767" y="30"/>
                  </a:cubicBezTo>
                  <a:cubicBezTo>
                    <a:pt x="755" y="40"/>
                    <a:pt x="738" y="48"/>
                    <a:pt x="718" y="56"/>
                  </a:cubicBezTo>
                  <a:cubicBezTo>
                    <a:pt x="647" y="82"/>
                    <a:pt x="528" y="99"/>
                    <a:pt x="393" y="99"/>
                  </a:cubicBezTo>
                  <a:cubicBezTo>
                    <a:pt x="258" y="99"/>
                    <a:pt x="139" y="82"/>
                    <a:pt x="68" y="56"/>
                  </a:cubicBezTo>
                  <a:cubicBezTo>
                    <a:pt x="47" y="48"/>
                    <a:pt x="30" y="40"/>
                    <a:pt x="19" y="30"/>
                  </a:cubicBezTo>
                  <a:cubicBezTo>
                    <a:pt x="14" y="27"/>
                    <a:pt x="10" y="23"/>
                    <a:pt x="7" y="19"/>
                  </a:cubicBezTo>
                  <a:cubicBezTo>
                    <a:pt x="2" y="12"/>
                    <a:pt x="0" y="6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8"/>
                    <a:pt x="6" y="58"/>
                    <a:pt x="19" y="68"/>
                  </a:cubicBezTo>
                  <a:cubicBezTo>
                    <a:pt x="69" y="108"/>
                    <a:pt x="218" y="137"/>
                    <a:pt x="393" y="137"/>
                  </a:cubicBezTo>
                  <a:cubicBezTo>
                    <a:pt x="568" y="137"/>
                    <a:pt x="716" y="108"/>
                    <a:pt x="767" y="68"/>
                  </a:cubicBezTo>
                  <a:cubicBezTo>
                    <a:pt x="779" y="58"/>
                    <a:pt x="786" y="48"/>
                    <a:pt x="786" y="37"/>
                  </a:cubicBezTo>
                  <a:cubicBezTo>
                    <a:pt x="786" y="37"/>
                    <a:pt x="786" y="37"/>
                    <a:pt x="786" y="36"/>
                  </a:cubicBezTo>
                  <a:cubicBezTo>
                    <a:pt x="786" y="36"/>
                    <a:pt x="786" y="36"/>
                    <a:pt x="786" y="36"/>
                  </a:cubicBezTo>
                  <a:lnTo>
                    <a:pt x="786" y="0"/>
                  </a:ln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FD0D8538-71F0-0E17-F606-80C9D3B89C3F}"/>
              </a:ext>
            </a:extLst>
          </p:cNvPr>
          <p:cNvGrpSpPr/>
          <p:nvPr/>
        </p:nvGrpSpPr>
        <p:grpSpPr>
          <a:xfrm>
            <a:off x="3706521" y="2946692"/>
            <a:ext cx="4778958" cy="1379127"/>
            <a:chOff x="3706521" y="2960531"/>
            <a:chExt cx="4778958" cy="1379127"/>
          </a:xfrm>
        </p:grpSpPr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65103425-C507-75CF-C47F-09392789F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521" y="2960531"/>
              <a:ext cx="4778958" cy="1171949"/>
            </a:xfrm>
            <a:custGeom>
              <a:avLst/>
              <a:gdLst>
                <a:gd name="T0" fmla="*/ 899 w 1012"/>
                <a:gd name="T1" fmla="*/ 0 h 214"/>
                <a:gd name="T2" fmla="*/ 899 w 1012"/>
                <a:gd name="T3" fmla="*/ 1 h 214"/>
                <a:gd name="T4" fmla="*/ 880 w 1012"/>
                <a:gd name="T5" fmla="*/ 32 h 214"/>
                <a:gd name="T6" fmla="*/ 506 w 1012"/>
                <a:gd name="T7" fmla="*/ 101 h 214"/>
                <a:gd name="T8" fmla="*/ 132 w 1012"/>
                <a:gd name="T9" fmla="*/ 32 h 214"/>
                <a:gd name="T10" fmla="*/ 113 w 1012"/>
                <a:gd name="T11" fmla="*/ 1 h 214"/>
                <a:gd name="T12" fmla="*/ 113 w 1012"/>
                <a:gd name="T13" fmla="*/ 0 h 214"/>
                <a:gd name="T14" fmla="*/ 0 w 1012"/>
                <a:gd name="T15" fmla="*/ 83 h 214"/>
                <a:gd name="T16" fmla="*/ 5 w 1012"/>
                <a:gd name="T17" fmla="*/ 102 h 214"/>
                <a:gd name="T18" fmla="*/ 185 w 1012"/>
                <a:gd name="T19" fmla="*/ 185 h 214"/>
                <a:gd name="T20" fmla="*/ 257 w 1012"/>
                <a:gd name="T21" fmla="*/ 198 h 214"/>
                <a:gd name="T22" fmla="*/ 506 w 1012"/>
                <a:gd name="T23" fmla="*/ 214 h 214"/>
                <a:gd name="T24" fmla="*/ 754 w 1012"/>
                <a:gd name="T25" fmla="*/ 198 h 214"/>
                <a:gd name="T26" fmla="*/ 826 w 1012"/>
                <a:gd name="T27" fmla="*/ 185 h 214"/>
                <a:gd name="T28" fmla="*/ 1006 w 1012"/>
                <a:gd name="T29" fmla="*/ 102 h 214"/>
                <a:gd name="T30" fmla="*/ 1012 w 1012"/>
                <a:gd name="T31" fmla="*/ 83 h 214"/>
                <a:gd name="T32" fmla="*/ 899 w 1012"/>
                <a:gd name="T3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12" h="214">
                  <a:moveTo>
                    <a:pt x="899" y="0"/>
                  </a:moveTo>
                  <a:cubicBezTo>
                    <a:pt x="899" y="1"/>
                    <a:pt x="899" y="1"/>
                    <a:pt x="899" y="1"/>
                  </a:cubicBezTo>
                  <a:cubicBezTo>
                    <a:pt x="899" y="12"/>
                    <a:pt x="892" y="22"/>
                    <a:pt x="880" y="32"/>
                  </a:cubicBezTo>
                  <a:cubicBezTo>
                    <a:pt x="829" y="72"/>
                    <a:pt x="681" y="101"/>
                    <a:pt x="506" y="101"/>
                  </a:cubicBezTo>
                  <a:cubicBezTo>
                    <a:pt x="331" y="101"/>
                    <a:pt x="182" y="72"/>
                    <a:pt x="132" y="32"/>
                  </a:cubicBezTo>
                  <a:cubicBezTo>
                    <a:pt x="119" y="22"/>
                    <a:pt x="113" y="12"/>
                    <a:pt x="113" y="1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42" y="23"/>
                    <a:pt x="0" y="52"/>
                    <a:pt x="0" y="83"/>
                  </a:cubicBezTo>
                  <a:cubicBezTo>
                    <a:pt x="0" y="89"/>
                    <a:pt x="1" y="96"/>
                    <a:pt x="5" y="102"/>
                  </a:cubicBezTo>
                  <a:cubicBezTo>
                    <a:pt x="23" y="135"/>
                    <a:pt x="90" y="164"/>
                    <a:pt x="185" y="185"/>
                  </a:cubicBezTo>
                  <a:cubicBezTo>
                    <a:pt x="208" y="190"/>
                    <a:pt x="232" y="194"/>
                    <a:pt x="257" y="198"/>
                  </a:cubicBezTo>
                  <a:cubicBezTo>
                    <a:pt x="331" y="208"/>
                    <a:pt x="415" y="214"/>
                    <a:pt x="506" y="214"/>
                  </a:cubicBezTo>
                  <a:cubicBezTo>
                    <a:pt x="596" y="214"/>
                    <a:pt x="680" y="208"/>
                    <a:pt x="754" y="198"/>
                  </a:cubicBezTo>
                  <a:cubicBezTo>
                    <a:pt x="779" y="194"/>
                    <a:pt x="803" y="190"/>
                    <a:pt x="826" y="185"/>
                  </a:cubicBezTo>
                  <a:cubicBezTo>
                    <a:pt x="922" y="164"/>
                    <a:pt x="988" y="135"/>
                    <a:pt x="1006" y="102"/>
                  </a:cubicBezTo>
                  <a:cubicBezTo>
                    <a:pt x="1010" y="96"/>
                    <a:pt x="1012" y="89"/>
                    <a:pt x="1012" y="83"/>
                  </a:cubicBezTo>
                  <a:cubicBezTo>
                    <a:pt x="1012" y="52"/>
                    <a:pt x="969" y="23"/>
                    <a:pt x="899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9A421F01-E317-74A1-CEED-2945F73EC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521" y="3415086"/>
              <a:ext cx="4778958" cy="924572"/>
            </a:xfrm>
            <a:custGeom>
              <a:avLst/>
              <a:gdLst>
                <a:gd name="T0" fmla="*/ 1006 w 1012"/>
                <a:gd name="T1" fmla="*/ 19 h 169"/>
                <a:gd name="T2" fmla="*/ 826 w 1012"/>
                <a:gd name="T3" fmla="*/ 102 h 169"/>
                <a:gd name="T4" fmla="*/ 754 w 1012"/>
                <a:gd name="T5" fmla="*/ 115 h 169"/>
                <a:gd name="T6" fmla="*/ 506 w 1012"/>
                <a:gd name="T7" fmla="*/ 131 h 169"/>
                <a:gd name="T8" fmla="*/ 257 w 1012"/>
                <a:gd name="T9" fmla="*/ 115 h 169"/>
                <a:gd name="T10" fmla="*/ 185 w 1012"/>
                <a:gd name="T11" fmla="*/ 102 h 169"/>
                <a:gd name="T12" fmla="*/ 5 w 1012"/>
                <a:gd name="T13" fmla="*/ 19 h 169"/>
                <a:gd name="T14" fmla="*/ 0 w 1012"/>
                <a:gd name="T15" fmla="*/ 0 h 169"/>
                <a:gd name="T16" fmla="*/ 0 w 1012"/>
                <a:gd name="T17" fmla="*/ 38 h 169"/>
                <a:gd name="T18" fmla="*/ 134 w 1012"/>
                <a:gd name="T19" fmla="*/ 127 h 169"/>
                <a:gd name="T20" fmla="*/ 144 w 1012"/>
                <a:gd name="T21" fmla="*/ 120 h 169"/>
                <a:gd name="T22" fmla="*/ 156 w 1012"/>
                <a:gd name="T23" fmla="*/ 114 h 169"/>
                <a:gd name="T24" fmla="*/ 170 w 1012"/>
                <a:gd name="T25" fmla="*/ 108 h 169"/>
                <a:gd name="T26" fmla="*/ 156 w 1012"/>
                <a:gd name="T27" fmla="*/ 114 h 169"/>
                <a:gd name="T28" fmla="*/ 144 w 1012"/>
                <a:gd name="T29" fmla="*/ 120 h 169"/>
                <a:gd name="T30" fmla="*/ 134 w 1012"/>
                <a:gd name="T31" fmla="*/ 127 h 169"/>
                <a:gd name="T32" fmla="*/ 176 w 1012"/>
                <a:gd name="T33" fmla="*/ 137 h 169"/>
                <a:gd name="T34" fmla="*/ 506 w 1012"/>
                <a:gd name="T35" fmla="*/ 169 h 169"/>
                <a:gd name="T36" fmla="*/ 835 w 1012"/>
                <a:gd name="T37" fmla="*/ 137 h 169"/>
                <a:gd name="T38" fmla="*/ 877 w 1012"/>
                <a:gd name="T39" fmla="*/ 127 h 169"/>
                <a:gd name="T40" fmla="*/ 1012 w 1012"/>
                <a:gd name="T41" fmla="*/ 38 h 169"/>
                <a:gd name="T42" fmla="*/ 1012 w 1012"/>
                <a:gd name="T43" fmla="*/ 0 h 169"/>
                <a:gd name="T44" fmla="*/ 1006 w 1012"/>
                <a:gd name="T45" fmla="*/ 1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12" h="169">
                  <a:moveTo>
                    <a:pt x="1006" y="19"/>
                  </a:moveTo>
                  <a:cubicBezTo>
                    <a:pt x="988" y="52"/>
                    <a:pt x="922" y="81"/>
                    <a:pt x="826" y="102"/>
                  </a:cubicBezTo>
                  <a:cubicBezTo>
                    <a:pt x="803" y="107"/>
                    <a:pt x="779" y="111"/>
                    <a:pt x="754" y="115"/>
                  </a:cubicBezTo>
                  <a:cubicBezTo>
                    <a:pt x="680" y="125"/>
                    <a:pt x="596" y="131"/>
                    <a:pt x="506" y="131"/>
                  </a:cubicBezTo>
                  <a:cubicBezTo>
                    <a:pt x="415" y="131"/>
                    <a:pt x="331" y="125"/>
                    <a:pt x="257" y="115"/>
                  </a:cubicBezTo>
                  <a:cubicBezTo>
                    <a:pt x="232" y="111"/>
                    <a:pt x="208" y="107"/>
                    <a:pt x="185" y="102"/>
                  </a:cubicBezTo>
                  <a:cubicBezTo>
                    <a:pt x="90" y="81"/>
                    <a:pt x="23" y="52"/>
                    <a:pt x="5" y="19"/>
                  </a:cubicBezTo>
                  <a:cubicBezTo>
                    <a:pt x="1" y="13"/>
                    <a:pt x="0" y="6"/>
                    <a:pt x="0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72"/>
                    <a:pt x="51" y="103"/>
                    <a:pt x="134" y="127"/>
                  </a:cubicBezTo>
                  <a:cubicBezTo>
                    <a:pt x="137" y="125"/>
                    <a:pt x="141" y="122"/>
                    <a:pt x="144" y="120"/>
                  </a:cubicBezTo>
                  <a:cubicBezTo>
                    <a:pt x="148" y="118"/>
                    <a:pt x="152" y="116"/>
                    <a:pt x="156" y="114"/>
                  </a:cubicBezTo>
                  <a:cubicBezTo>
                    <a:pt x="161" y="112"/>
                    <a:pt x="165" y="110"/>
                    <a:pt x="170" y="108"/>
                  </a:cubicBezTo>
                  <a:cubicBezTo>
                    <a:pt x="165" y="110"/>
                    <a:pt x="161" y="112"/>
                    <a:pt x="156" y="114"/>
                  </a:cubicBezTo>
                  <a:cubicBezTo>
                    <a:pt x="152" y="116"/>
                    <a:pt x="148" y="118"/>
                    <a:pt x="144" y="120"/>
                  </a:cubicBezTo>
                  <a:cubicBezTo>
                    <a:pt x="141" y="122"/>
                    <a:pt x="137" y="125"/>
                    <a:pt x="134" y="127"/>
                  </a:cubicBezTo>
                  <a:cubicBezTo>
                    <a:pt x="148" y="131"/>
                    <a:pt x="162" y="134"/>
                    <a:pt x="176" y="137"/>
                  </a:cubicBezTo>
                  <a:cubicBezTo>
                    <a:pt x="265" y="157"/>
                    <a:pt x="380" y="169"/>
                    <a:pt x="506" y="169"/>
                  </a:cubicBezTo>
                  <a:cubicBezTo>
                    <a:pt x="631" y="169"/>
                    <a:pt x="746" y="157"/>
                    <a:pt x="835" y="137"/>
                  </a:cubicBezTo>
                  <a:cubicBezTo>
                    <a:pt x="850" y="134"/>
                    <a:pt x="864" y="131"/>
                    <a:pt x="877" y="127"/>
                  </a:cubicBezTo>
                  <a:cubicBezTo>
                    <a:pt x="961" y="103"/>
                    <a:pt x="1012" y="72"/>
                    <a:pt x="1012" y="38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1012" y="6"/>
                    <a:pt x="1010" y="13"/>
                    <a:pt x="1006" y="19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E5F42A60-6097-5AAC-DBDA-64473B83A759}"/>
              </a:ext>
            </a:extLst>
          </p:cNvPr>
          <p:cNvGrpSpPr/>
          <p:nvPr/>
        </p:nvGrpSpPr>
        <p:grpSpPr>
          <a:xfrm>
            <a:off x="4685006" y="10528198"/>
            <a:ext cx="2823324" cy="814797"/>
            <a:chOff x="4685006" y="4865334"/>
            <a:chExt cx="2823324" cy="814797"/>
          </a:xfrm>
        </p:grpSpPr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20CE4081-CA5F-B781-892B-F6F5DE951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4865334"/>
              <a:ext cx="2823324" cy="618442"/>
            </a:xfrm>
            <a:custGeom>
              <a:avLst/>
              <a:gdLst>
                <a:gd name="T0" fmla="*/ 564 w 598"/>
                <a:gd name="T1" fmla="*/ 0 h 113"/>
                <a:gd name="T2" fmla="*/ 495 w 598"/>
                <a:gd name="T3" fmla="*/ 13 h 113"/>
                <a:gd name="T4" fmla="*/ 299 w 598"/>
                <a:gd name="T5" fmla="*/ 26 h 113"/>
                <a:gd name="T6" fmla="*/ 102 w 598"/>
                <a:gd name="T7" fmla="*/ 13 h 113"/>
                <a:gd name="T8" fmla="*/ 33 w 598"/>
                <a:gd name="T9" fmla="*/ 0 h 113"/>
                <a:gd name="T10" fmla="*/ 0 w 598"/>
                <a:gd name="T11" fmla="*/ 36 h 113"/>
                <a:gd name="T12" fmla="*/ 8 w 598"/>
                <a:gd name="T13" fmla="*/ 53 h 113"/>
                <a:gd name="T14" fmla="*/ 299 w 598"/>
                <a:gd name="T15" fmla="*/ 113 h 113"/>
                <a:gd name="T16" fmla="*/ 590 w 598"/>
                <a:gd name="T17" fmla="*/ 53 h 113"/>
                <a:gd name="T18" fmla="*/ 598 w 598"/>
                <a:gd name="T19" fmla="*/ 36 h 113"/>
                <a:gd name="T20" fmla="*/ 564 w 598"/>
                <a:gd name="T21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8" h="113">
                  <a:moveTo>
                    <a:pt x="564" y="0"/>
                  </a:moveTo>
                  <a:cubicBezTo>
                    <a:pt x="543" y="5"/>
                    <a:pt x="520" y="9"/>
                    <a:pt x="495" y="13"/>
                  </a:cubicBezTo>
                  <a:cubicBezTo>
                    <a:pt x="437" y="21"/>
                    <a:pt x="370" y="26"/>
                    <a:pt x="299" y="26"/>
                  </a:cubicBezTo>
                  <a:cubicBezTo>
                    <a:pt x="227" y="26"/>
                    <a:pt x="160" y="21"/>
                    <a:pt x="102" y="13"/>
                  </a:cubicBezTo>
                  <a:cubicBezTo>
                    <a:pt x="77" y="9"/>
                    <a:pt x="54" y="5"/>
                    <a:pt x="33" y="0"/>
                  </a:cubicBezTo>
                  <a:cubicBezTo>
                    <a:pt x="12" y="11"/>
                    <a:pt x="0" y="23"/>
                    <a:pt x="0" y="36"/>
                  </a:cubicBezTo>
                  <a:cubicBezTo>
                    <a:pt x="0" y="42"/>
                    <a:pt x="2" y="48"/>
                    <a:pt x="8" y="53"/>
                  </a:cubicBezTo>
                  <a:cubicBezTo>
                    <a:pt x="39" y="88"/>
                    <a:pt x="157" y="113"/>
                    <a:pt x="299" y="113"/>
                  </a:cubicBezTo>
                  <a:cubicBezTo>
                    <a:pt x="440" y="113"/>
                    <a:pt x="559" y="88"/>
                    <a:pt x="590" y="53"/>
                  </a:cubicBezTo>
                  <a:cubicBezTo>
                    <a:pt x="595" y="48"/>
                    <a:pt x="598" y="42"/>
                    <a:pt x="598" y="36"/>
                  </a:cubicBezTo>
                  <a:cubicBezTo>
                    <a:pt x="598" y="23"/>
                    <a:pt x="585" y="11"/>
                    <a:pt x="56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A3FD4035-0B1F-C93F-AD7A-5911B0F154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5061689"/>
              <a:ext cx="2823324" cy="618442"/>
            </a:xfrm>
            <a:custGeom>
              <a:avLst/>
              <a:gdLst>
                <a:gd name="T0" fmla="*/ 590 w 598"/>
                <a:gd name="T1" fmla="*/ 17 h 113"/>
                <a:gd name="T2" fmla="*/ 299 w 598"/>
                <a:gd name="T3" fmla="*/ 77 h 113"/>
                <a:gd name="T4" fmla="*/ 8 w 598"/>
                <a:gd name="T5" fmla="*/ 17 h 113"/>
                <a:gd name="T6" fmla="*/ 0 w 598"/>
                <a:gd name="T7" fmla="*/ 0 h 113"/>
                <a:gd name="T8" fmla="*/ 0 w 598"/>
                <a:gd name="T9" fmla="*/ 35 h 113"/>
                <a:gd name="T10" fmla="*/ 299 w 598"/>
                <a:gd name="T11" fmla="*/ 113 h 113"/>
                <a:gd name="T12" fmla="*/ 598 w 598"/>
                <a:gd name="T13" fmla="*/ 35 h 113"/>
                <a:gd name="T14" fmla="*/ 598 w 598"/>
                <a:gd name="T15" fmla="*/ 0 h 113"/>
                <a:gd name="T16" fmla="*/ 590 w 598"/>
                <a:gd name="T17" fmla="*/ 1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8" h="113">
                  <a:moveTo>
                    <a:pt x="590" y="17"/>
                  </a:moveTo>
                  <a:cubicBezTo>
                    <a:pt x="559" y="52"/>
                    <a:pt x="440" y="77"/>
                    <a:pt x="299" y="77"/>
                  </a:cubicBezTo>
                  <a:cubicBezTo>
                    <a:pt x="157" y="77"/>
                    <a:pt x="39" y="52"/>
                    <a:pt x="8" y="17"/>
                  </a:cubicBezTo>
                  <a:cubicBezTo>
                    <a:pt x="2" y="12"/>
                    <a:pt x="0" y="6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78"/>
                    <a:pt x="134" y="113"/>
                    <a:pt x="299" y="113"/>
                  </a:cubicBezTo>
                  <a:cubicBezTo>
                    <a:pt x="464" y="113"/>
                    <a:pt x="598" y="78"/>
                    <a:pt x="598" y="35"/>
                  </a:cubicBezTo>
                  <a:cubicBezTo>
                    <a:pt x="598" y="0"/>
                    <a:pt x="598" y="0"/>
                    <a:pt x="598" y="0"/>
                  </a:cubicBezTo>
                  <a:cubicBezTo>
                    <a:pt x="598" y="6"/>
                    <a:pt x="595" y="12"/>
                    <a:pt x="590" y="17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38FE194F-00EB-79DB-4963-34132C6E721B}"/>
              </a:ext>
            </a:extLst>
          </p:cNvPr>
          <p:cNvGrpSpPr/>
          <p:nvPr/>
        </p:nvGrpSpPr>
        <p:grpSpPr>
          <a:xfrm>
            <a:off x="4240482" y="4073803"/>
            <a:ext cx="3711034" cy="896741"/>
            <a:chOff x="4240482" y="4110834"/>
            <a:chExt cx="3711034" cy="896741"/>
          </a:xfrm>
        </p:grpSpPr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048F357E-6737-E502-5711-A88CABAC8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4110834"/>
              <a:ext cx="3711034" cy="722032"/>
            </a:xfrm>
            <a:custGeom>
              <a:avLst/>
              <a:gdLst>
                <a:gd name="T0" fmla="*/ 764 w 786"/>
                <a:gd name="T1" fmla="*/ 0 h 132"/>
                <a:gd name="T2" fmla="*/ 722 w 786"/>
                <a:gd name="T3" fmla="*/ 10 h 132"/>
                <a:gd name="T4" fmla="*/ 393 w 786"/>
                <a:gd name="T5" fmla="*/ 42 h 132"/>
                <a:gd name="T6" fmla="*/ 63 w 786"/>
                <a:gd name="T7" fmla="*/ 10 h 132"/>
                <a:gd name="T8" fmla="*/ 21 w 786"/>
                <a:gd name="T9" fmla="*/ 0 h 132"/>
                <a:gd name="T10" fmla="*/ 0 w 786"/>
                <a:gd name="T11" fmla="*/ 32 h 132"/>
                <a:gd name="T12" fmla="*/ 5 w 786"/>
                <a:gd name="T13" fmla="*/ 48 h 132"/>
                <a:gd name="T14" fmla="*/ 188 w 786"/>
                <a:gd name="T15" fmla="*/ 117 h 132"/>
                <a:gd name="T16" fmla="*/ 393 w 786"/>
                <a:gd name="T17" fmla="*/ 132 h 132"/>
                <a:gd name="T18" fmla="*/ 597 w 786"/>
                <a:gd name="T19" fmla="*/ 117 h 132"/>
                <a:gd name="T20" fmla="*/ 780 w 786"/>
                <a:gd name="T21" fmla="*/ 48 h 132"/>
                <a:gd name="T22" fmla="*/ 786 w 786"/>
                <a:gd name="T23" fmla="*/ 32 h 132"/>
                <a:gd name="T24" fmla="*/ 764 w 786"/>
                <a:gd name="T2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6" h="132">
                  <a:moveTo>
                    <a:pt x="764" y="0"/>
                  </a:moveTo>
                  <a:cubicBezTo>
                    <a:pt x="751" y="4"/>
                    <a:pt x="737" y="7"/>
                    <a:pt x="722" y="10"/>
                  </a:cubicBezTo>
                  <a:cubicBezTo>
                    <a:pt x="633" y="30"/>
                    <a:pt x="518" y="42"/>
                    <a:pt x="393" y="42"/>
                  </a:cubicBezTo>
                  <a:cubicBezTo>
                    <a:pt x="267" y="42"/>
                    <a:pt x="152" y="30"/>
                    <a:pt x="63" y="10"/>
                  </a:cubicBezTo>
                  <a:cubicBezTo>
                    <a:pt x="49" y="7"/>
                    <a:pt x="35" y="4"/>
                    <a:pt x="21" y="0"/>
                  </a:cubicBezTo>
                  <a:cubicBezTo>
                    <a:pt x="7" y="10"/>
                    <a:pt x="0" y="21"/>
                    <a:pt x="0" y="32"/>
                  </a:cubicBezTo>
                  <a:cubicBezTo>
                    <a:pt x="0" y="38"/>
                    <a:pt x="1" y="43"/>
                    <a:pt x="5" y="48"/>
                  </a:cubicBezTo>
                  <a:cubicBezTo>
                    <a:pt x="24" y="78"/>
                    <a:pt x="92" y="102"/>
                    <a:pt x="188" y="117"/>
                  </a:cubicBezTo>
                  <a:cubicBezTo>
                    <a:pt x="248" y="126"/>
                    <a:pt x="318" y="132"/>
                    <a:pt x="393" y="132"/>
                  </a:cubicBezTo>
                  <a:cubicBezTo>
                    <a:pt x="468" y="132"/>
                    <a:pt x="538" y="126"/>
                    <a:pt x="597" y="117"/>
                  </a:cubicBezTo>
                  <a:cubicBezTo>
                    <a:pt x="693" y="102"/>
                    <a:pt x="762" y="78"/>
                    <a:pt x="780" y="48"/>
                  </a:cubicBezTo>
                  <a:cubicBezTo>
                    <a:pt x="784" y="43"/>
                    <a:pt x="786" y="38"/>
                    <a:pt x="786" y="32"/>
                  </a:cubicBezTo>
                  <a:cubicBezTo>
                    <a:pt x="786" y="21"/>
                    <a:pt x="778" y="10"/>
                    <a:pt x="76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A6483595-3321-F443-02EA-55A66D8FD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4285543"/>
              <a:ext cx="3711034" cy="722032"/>
            </a:xfrm>
            <a:custGeom>
              <a:avLst/>
              <a:gdLst>
                <a:gd name="T0" fmla="*/ 780 w 786"/>
                <a:gd name="T1" fmla="*/ 16 h 132"/>
                <a:gd name="T2" fmla="*/ 597 w 786"/>
                <a:gd name="T3" fmla="*/ 85 h 132"/>
                <a:gd name="T4" fmla="*/ 393 w 786"/>
                <a:gd name="T5" fmla="*/ 100 h 132"/>
                <a:gd name="T6" fmla="*/ 188 w 786"/>
                <a:gd name="T7" fmla="*/ 85 h 132"/>
                <a:gd name="T8" fmla="*/ 5 w 786"/>
                <a:gd name="T9" fmla="*/ 16 h 132"/>
                <a:gd name="T10" fmla="*/ 0 w 786"/>
                <a:gd name="T11" fmla="*/ 0 h 132"/>
                <a:gd name="T12" fmla="*/ 0 w 786"/>
                <a:gd name="T13" fmla="*/ 33 h 132"/>
                <a:gd name="T14" fmla="*/ 127 w 786"/>
                <a:gd name="T15" fmla="*/ 106 h 132"/>
                <a:gd name="T16" fmla="*/ 196 w 786"/>
                <a:gd name="T17" fmla="*/ 119 h 132"/>
                <a:gd name="T18" fmla="*/ 393 w 786"/>
                <a:gd name="T19" fmla="*/ 132 h 132"/>
                <a:gd name="T20" fmla="*/ 589 w 786"/>
                <a:gd name="T21" fmla="*/ 119 h 132"/>
                <a:gd name="T22" fmla="*/ 658 w 786"/>
                <a:gd name="T23" fmla="*/ 106 h 132"/>
                <a:gd name="T24" fmla="*/ 786 w 786"/>
                <a:gd name="T25" fmla="*/ 33 h 132"/>
                <a:gd name="T26" fmla="*/ 786 w 786"/>
                <a:gd name="T27" fmla="*/ 0 h 132"/>
                <a:gd name="T28" fmla="*/ 780 w 786"/>
                <a:gd name="T29" fmla="*/ 1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6" h="132">
                  <a:moveTo>
                    <a:pt x="780" y="16"/>
                  </a:moveTo>
                  <a:cubicBezTo>
                    <a:pt x="762" y="46"/>
                    <a:pt x="693" y="70"/>
                    <a:pt x="597" y="85"/>
                  </a:cubicBezTo>
                  <a:cubicBezTo>
                    <a:pt x="538" y="94"/>
                    <a:pt x="468" y="100"/>
                    <a:pt x="393" y="100"/>
                  </a:cubicBezTo>
                  <a:cubicBezTo>
                    <a:pt x="318" y="100"/>
                    <a:pt x="248" y="94"/>
                    <a:pt x="188" y="85"/>
                  </a:cubicBezTo>
                  <a:cubicBezTo>
                    <a:pt x="92" y="70"/>
                    <a:pt x="24" y="46"/>
                    <a:pt x="5" y="16"/>
                  </a:cubicBezTo>
                  <a:cubicBezTo>
                    <a:pt x="1" y="11"/>
                    <a:pt x="0" y="6"/>
                    <a:pt x="0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62"/>
                    <a:pt x="49" y="88"/>
                    <a:pt x="127" y="106"/>
                  </a:cubicBezTo>
                  <a:cubicBezTo>
                    <a:pt x="148" y="111"/>
                    <a:pt x="171" y="115"/>
                    <a:pt x="196" y="119"/>
                  </a:cubicBezTo>
                  <a:cubicBezTo>
                    <a:pt x="254" y="127"/>
                    <a:pt x="321" y="132"/>
                    <a:pt x="393" y="132"/>
                  </a:cubicBezTo>
                  <a:cubicBezTo>
                    <a:pt x="464" y="132"/>
                    <a:pt x="531" y="127"/>
                    <a:pt x="589" y="119"/>
                  </a:cubicBezTo>
                  <a:cubicBezTo>
                    <a:pt x="614" y="115"/>
                    <a:pt x="637" y="111"/>
                    <a:pt x="658" y="106"/>
                  </a:cubicBezTo>
                  <a:cubicBezTo>
                    <a:pt x="736" y="88"/>
                    <a:pt x="786" y="62"/>
                    <a:pt x="786" y="33"/>
                  </a:cubicBezTo>
                  <a:cubicBezTo>
                    <a:pt x="786" y="0"/>
                    <a:pt x="786" y="0"/>
                    <a:pt x="786" y="0"/>
                  </a:cubicBezTo>
                  <a:cubicBezTo>
                    <a:pt x="786" y="6"/>
                    <a:pt x="784" y="11"/>
                    <a:pt x="780" y="16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7BBDAFE6-EE78-1E0E-7B30-FB06F2A5ED53}"/>
              </a:ext>
            </a:extLst>
          </p:cNvPr>
          <p:cNvGrpSpPr/>
          <p:nvPr/>
        </p:nvGrpSpPr>
        <p:grpSpPr>
          <a:xfrm>
            <a:off x="163532" y="1440722"/>
            <a:ext cx="4439311" cy="1479765"/>
            <a:chOff x="230964" y="1440722"/>
            <a:chExt cx="4439311" cy="1479765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BC813AE4-E3D8-3EC1-0C2E-7BA8BDD32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24" name="Straight Connector 85">
              <a:extLst>
                <a:ext uri="{FF2B5EF4-FFF2-40B4-BE49-F238E27FC236}">
                  <a16:creationId xmlns:a16="http://schemas.microsoft.com/office/drawing/2014/main" id="{10A31B98-AE71-B040-4FB7-08F41327E4A5}"/>
                </a:ext>
              </a:extLst>
            </p:cNvPr>
            <p:cNvCxnSpPr>
              <a:cxnSpLocks/>
            </p:cNvCxnSpPr>
            <p:nvPr/>
          </p:nvCxnSpPr>
          <p:spPr>
            <a:xfrm>
              <a:off x="643370" y="2920487"/>
              <a:ext cx="2404872" cy="0"/>
            </a:xfrm>
            <a:prstGeom prst="line">
              <a:avLst/>
            </a:prstGeom>
            <a:ln w="25400">
              <a:gradFill flip="none" rotWithShape="1">
                <a:gsLst>
                  <a:gs pos="100000">
                    <a:srgbClr val="620CD2">
                      <a:alpha val="0"/>
                    </a:srgbClr>
                  </a:gs>
                  <a:gs pos="0">
                    <a:srgbClr val="620CEA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967A485-B95F-1329-4475-3454161A33D8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бработка </a:t>
              </a:r>
              <a:b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потенциальных</a:t>
              </a:r>
              <a:b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лиентов</a:t>
              </a:r>
              <a:endParaRPr lang="ru-RU" sz="2400" dirty="0">
                <a:effectLst/>
                <a:latin typeface="Unbounde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306CE6C-344D-F920-534A-A9FF9A990C9D}"/>
              </a:ext>
            </a:extLst>
          </p:cNvPr>
          <p:cNvGrpSpPr/>
          <p:nvPr/>
        </p:nvGrpSpPr>
        <p:grpSpPr>
          <a:xfrm>
            <a:off x="163532" y="3249751"/>
            <a:ext cx="4439311" cy="1479765"/>
            <a:chOff x="230964" y="1440722"/>
            <a:chExt cx="4439311" cy="1479765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73C6C8FB-D532-C1A1-464B-830B0CC559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17" name="Straight Connector 85">
              <a:extLst>
                <a:ext uri="{FF2B5EF4-FFF2-40B4-BE49-F238E27FC236}">
                  <a16:creationId xmlns:a16="http://schemas.microsoft.com/office/drawing/2014/main" id="{39B00574-15B2-A4EE-559B-8A95AD26EEAB}"/>
                </a:ext>
              </a:extLst>
            </p:cNvPr>
            <p:cNvCxnSpPr>
              <a:cxnSpLocks/>
            </p:cNvCxnSpPr>
            <p:nvPr/>
          </p:nvCxnSpPr>
          <p:spPr>
            <a:xfrm>
              <a:off x="643370" y="2920487"/>
              <a:ext cx="2404872" cy="0"/>
            </a:xfrm>
            <a:prstGeom prst="line">
              <a:avLst/>
            </a:prstGeom>
            <a:ln w="25400">
              <a:gradFill flip="none" rotWithShape="1">
                <a:gsLst>
                  <a:gs pos="100000">
                    <a:srgbClr val="620CD2">
                      <a:alpha val="0"/>
                    </a:srgbClr>
                  </a:gs>
                  <a:gs pos="0">
                    <a:srgbClr val="620CEA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27CB6C4-8CEC-D21C-265A-C4A335AAB715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Развитие 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артнерских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рограмм</a:t>
              </a: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C70203D5-0578-D4DB-184D-B8F7D0AC6320}"/>
              </a:ext>
            </a:extLst>
          </p:cNvPr>
          <p:cNvGrpSpPr/>
          <p:nvPr/>
        </p:nvGrpSpPr>
        <p:grpSpPr>
          <a:xfrm>
            <a:off x="163532" y="5107767"/>
            <a:ext cx="4439311" cy="1323439"/>
            <a:chOff x="230964" y="1440722"/>
            <a:chExt cx="4439311" cy="1323439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915F3402-4DAE-C54E-4DE5-011E14177F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D40D90F-71C8-9357-1873-E05182E45C4D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овлечение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отенциальных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сотрудников</a:t>
              </a:r>
            </a:p>
          </p:txBody>
        </p:sp>
      </p:grpSp>
      <p:sp>
        <p:nvSpPr>
          <p:cNvPr id="27" name="Freeform 5">
            <a:extLst>
              <a:ext uri="{FF2B5EF4-FFF2-40B4-BE49-F238E27FC236}">
                <a16:creationId xmlns:a16="http://schemas.microsoft.com/office/drawing/2014/main" id="{3713A12D-B786-3580-3647-B67FAD746672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1767918" y="1583724"/>
            <a:ext cx="214313" cy="214312"/>
          </a:xfrm>
          <a:custGeom>
            <a:avLst/>
            <a:gdLst>
              <a:gd name="T0" fmla="*/ 30 w 60"/>
              <a:gd name="T1" fmla="*/ 0 h 60"/>
              <a:gd name="T2" fmla="*/ 60 w 60"/>
              <a:gd name="T3" fmla="*/ 30 h 60"/>
              <a:gd name="T4" fmla="*/ 30 w 60"/>
              <a:gd name="T5" fmla="*/ 60 h 60"/>
              <a:gd name="T6" fmla="*/ 0 w 60"/>
              <a:gd name="T7" fmla="*/ 30 h 60"/>
              <a:gd name="T8" fmla="*/ 30 w 60"/>
              <a:gd name="T9" fmla="*/ 0 h 60"/>
              <a:gd name="T10" fmla="*/ 35 w 60"/>
              <a:gd name="T11" fmla="*/ 33 h 60"/>
              <a:gd name="T12" fmla="*/ 34 w 60"/>
              <a:gd name="T13" fmla="*/ 34 h 60"/>
              <a:gd name="T14" fmla="*/ 28 w 60"/>
              <a:gd name="T15" fmla="*/ 40 h 60"/>
              <a:gd name="T16" fmla="*/ 28 w 60"/>
              <a:gd name="T17" fmla="*/ 44 h 60"/>
              <a:gd name="T18" fmla="*/ 32 w 60"/>
              <a:gd name="T19" fmla="*/ 44 h 60"/>
              <a:gd name="T20" fmla="*/ 44 w 60"/>
              <a:gd name="T21" fmla="*/ 32 h 60"/>
              <a:gd name="T22" fmla="*/ 44 w 60"/>
              <a:gd name="T23" fmla="*/ 28 h 60"/>
              <a:gd name="T24" fmla="*/ 32 w 60"/>
              <a:gd name="T25" fmla="*/ 16 h 60"/>
              <a:gd name="T26" fmla="*/ 30 w 60"/>
              <a:gd name="T27" fmla="*/ 15 h 60"/>
              <a:gd name="T28" fmla="*/ 27 w 60"/>
              <a:gd name="T29" fmla="*/ 17 h 60"/>
              <a:gd name="T30" fmla="*/ 28 w 60"/>
              <a:gd name="T31" fmla="*/ 20 h 60"/>
              <a:gd name="T32" fmla="*/ 34 w 60"/>
              <a:gd name="T33" fmla="*/ 27 h 60"/>
              <a:gd name="T34" fmla="*/ 35 w 60"/>
              <a:gd name="T35" fmla="*/ 27 h 60"/>
              <a:gd name="T36" fmla="*/ 34 w 60"/>
              <a:gd name="T37" fmla="*/ 27 h 60"/>
              <a:gd name="T38" fmla="*/ 19 w 60"/>
              <a:gd name="T39" fmla="*/ 27 h 60"/>
              <a:gd name="T40" fmla="*/ 18 w 60"/>
              <a:gd name="T41" fmla="*/ 27 h 60"/>
              <a:gd name="T42" fmla="*/ 15 w 60"/>
              <a:gd name="T43" fmla="*/ 31 h 60"/>
              <a:gd name="T44" fmla="*/ 18 w 60"/>
              <a:gd name="T45" fmla="*/ 33 h 60"/>
              <a:gd name="T46" fmla="*/ 34 w 60"/>
              <a:gd name="T47" fmla="*/ 33 h 60"/>
              <a:gd name="T48" fmla="*/ 35 w 60"/>
              <a:gd name="T49" fmla="*/ 33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60">
                <a:moveTo>
                  <a:pt x="30" y="0"/>
                </a:moveTo>
                <a:cubicBezTo>
                  <a:pt x="47" y="0"/>
                  <a:pt x="60" y="14"/>
                  <a:pt x="60" y="30"/>
                </a:cubicBezTo>
                <a:cubicBezTo>
                  <a:pt x="60" y="47"/>
                  <a:pt x="47" y="60"/>
                  <a:pt x="30" y="60"/>
                </a:cubicBezTo>
                <a:cubicBezTo>
                  <a:pt x="14" y="60"/>
                  <a:pt x="0" y="47"/>
                  <a:pt x="0" y="30"/>
                </a:cubicBezTo>
                <a:cubicBezTo>
                  <a:pt x="0" y="14"/>
                  <a:pt x="14" y="0"/>
                  <a:pt x="30" y="0"/>
                </a:cubicBezTo>
                <a:close/>
                <a:moveTo>
                  <a:pt x="35" y="33"/>
                </a:moveTo>
                <a:cubicBezTo>
                  <a:pt x="35" y="33"/>
                  <a:pt x="34" y="34"/>
                  <a:pt x="34" y="34"/>
                </a:cubicBezTo>
                <a:cubicBezTo>
                  <a:pt x="32" y="36"/>
                  <a:pt x="30" y="38"/>
                  <a:pt x="28" y="40"/>
                </a:cubicBezTo>
                <a:cubicBezTo>
                  <a:pt x="27" y="41"/>
                  <a:pt x="27" y="43"/>
                  <a:pt x="28" y="44"/>
                </a:cubicBezTo>
                <a:cubicBezTo>
                  <a:pt x="29" y="45"/>
                  <a:pt x="31" y="45"/>
                  <a:pt x="32" y="44"/>
                </a:cubicBezTo>
                <a:cubicBezTo>
                  <a:pt x="36" y="40"/>
                  <a:pt x="40" y="36"/>
                  <a:pt x="44" y="32"/>
                </a:cubicBezTo>
                <a:cubicBezTo>
                  <a:pt x="45" y="31"/>
                  <a:pt x="45" y="29"/>
                  <a:pt x="44" y="28"/>
                </a:cubicBezTo>
                <a:cubicBezTo>
                  <a:pt x="40" y="24"/>
                  <a:pt x="36" y="20"/>
                  <a:pt x="32" y="16"/>
                </a:cubicBezTo>
                <a:cubicBezTo>
                  <a:pt x="32" y="15"/>
                  <a:pt x="31" y="15"/>
                  <a:pt x="30" y="15"/>
                </a:cubicBezTo>
                <a:cubicBezTo>
                  <a:pt x="29" y="15"/>
                  <a:pt x="28" y="16"/>
                  <a:pt x="27" y="17"/>
                </a:cubicBezTo>
                <a:cubicBezTo>
                  <a:pt x="27" y="18"/>
                  <a:pt x="27" y="19"/>
                  <a:pt x="28" y="20"/>
                </a:cubicBezTo>
                <a:cubicBezTo>
                  <a:pt x="30" y="22"/>
                  <a:pt x="32" y="24"/>
                  <a:pt x="34" y="27"/>
                </a:cubicBezTo>
                <a:cubicBezTo>
                  <a:pt x="34" y="27"/>
                  <a:pt x="35" y="27"/>
                  <a:pt x="35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29" y="27"/>
                  <a:pt x="24" y="27"/>
                  <a:pt x="19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6" y="27"/>
                  <a:pt x="15" y="29"/>
                  <a:pt x="15" y="31"/>
                </a:cubicBezTo>
                <a:cubicBezTo>
                  <a:pt x="15" y="32"/>
                  <a:pt x="17" y="33"/>
                  <a:pt x="18" y="33"/>
                </a:cubicBezTo>
                <a:cubicBezTo>
                  <a:pt x="24" y="33"/>
                  <a:pt x="29" y="33"/>
                  <a:pt x="34" y="33"/>
                </a:cubicBezTo>
                <a:cubicBezTo>
                  <a:pt x="34" y="33"/>
                  <a:pt x="34" y="33"/>
                  <a:pt x="35" y="33"/>
                </a:cubicBezTo>
                <a:close/>
              </a:path>
            </a:pathLst>
          </a:custGeom>
          <a:solidFill>
            <a:srgbClr val="620CF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endParaRPr lang="en-US"/>
          </a:p>
        </p:txBody>
      </p:sp>
      <p:cxnSp>
        <p:nvCxnSpPr>
          <p:cNvPr id="28" name="Straight Connector 85">
            <a:extLst>
              <a:ext uri="{FF2B5EF4-FFF2-40B4-BE49-F238E27FC236}">
                <a16:creationId xmlns:a16="http://schemas.microsoft.com/office/drawing/2014/main" id="{F7EA6C9B-C0F4-75D1-A896-721676C72B6A}"/>
              </a:ext>
            </a:extLst>
          </p:cNvPr>
          <p:cNvCxnSpPr>
            <a:cxnSpLocks/>
          </p:cNvCxnSpPr>
          <p:nvPr/>
        </p:nvCxnSpPr>
        <p:spPr>
          <a:xfrm flipH="1">
            <a:off x="9060917" y="2920487"/>
            <a:ext cx="2404872" cy="0"/>
          </a:xfrm>
          <a:prstGeom prst="line">
            <a:avLst/>
          </a:prstGeom>
          <a:ln w="25400">
            <a:gradFill flip="none" rotWithShape="1">
              <a:gsLst>
                <a:gs pos="100000">
                  <a:srgbClr val="620CD2">
                    <a:alpha val="0"/>
                  </a:srgbClr>
                </a:gs>
                <a:gs pos="0">
                  <a:srgbClr val="620CEA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C8731FEE-97D5-0257-44D1-FCDE298A194F}"/>
              </a:ext>
            </a:extLst>
          </p:cNvPr>
          <p:cNvSpPr txBox="1"/>
          <p:nvPr/>
        </p:nvSpPr>
        <p:spPr>
          <a:xfrm>
            <a:off x="7528886" y="1440722"/>
            <a:ext cx="412809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ts val="3200"/>
              </a:lnSpc>
            </a:pP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Поиск</a:t>
            </a:r>
            <a:b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инвестиций</a:t>
            </a:r>
            <a:b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в компанию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93CF7D17-B5A1-980B-62D2-A8276155A242}"/>
              </a:ext>
            </a:extLst>
          </p:cNvPr>
          <p:cNvSpPr>
            <a:spLocks noEditPoints="1"/>
          </p:cNvSpPr>
          <p:nvPr/>
        </p:nvSpPr>
        <p:spPr bwMode="auto">
          <a:xfrm>
            <a:off x="8071059" y="3392753"/>
            <a:ext cx="214313" cy="214312"/>
          </a:xfrm>
          <a:custGeom>
            <a:avLst/>
            <a:gdLst>
              <a:gd name="T0" fmla="*/ 30 w 60"/>
              <a:gd name="T1" fmla="*/ 0 h 60"/>
              <a:gd name="T2" fmla="*/ 60 w 60"/>
              <a:gd name="T3" fmla="*/ 30 h 60"/>
              <a:gd name="T4" fmla="*/ 30 w 60"/>
              <a:gd name="T5" fmla="*/ 60 h 60"/>
              <a:gd name="T6" fmla="*/ 0 w 60"/>
              <a:gd name="T7" fmla="*/ 30 h 60"/>
              <a:gd name="T8" fmla="*/ 30 w 60"/>
              <a:gd name="T9" fmla="*/ 0 h 60"/>
              <a:gd name="T10" fmla="*/ 35 w 60"/>
              <a:gd name="T11" fmla="*/ 33 h 60"/>
              <a:gd name="T12" fmla="*/ 34 w 60"/>
              <a:gd name="T13" fmla="*/ 34 h 60"/>
              <a:gd name="T14" fmla="*/ 28 w 60"/>
              <a:gd name="T15" fmla="*/ 40 h 60"/>
              <a:gd name="T16" fmla="*/ 28 w 60"/>
              <a:gd name="T17" fmla="*/ 44 h 60"/>
              <a:gd name="T18" fmla="*/ 32 w 60"/>
              <a:gd name="T19" fmla="*/ 44 h 60"/>
              <a:gd name="T20" fmla="*/ 44 w 60"/>
              <a:gd name="T21" fmla="*/ 32 h 60"/>
              <a:gd name="T22" fmla="*/ 44 w 60"/>
              <a:gd name="T23" fmla="*/ 28 h 60"/>
              <a:gd name="T24" fmla="*/ 32 w 60"/>
              <a:gd name="T25" fmla="*/ 16 h 60"/>
              <a:gd name="T26" fmla="*/ 30 w 60"/>
              <a:gd name="T27" fmla="*/ 15 h 60"/>
              <a:gd name="T28" fmla="*/ 27 w 60"/>
              <a:gd name="T29" fmla="*/ 17 h 60"/>
              <a:gd name="T30" fmla="*/ 28 w 60"/>
              <a:gd name="T31" fmla="*/ 20 h 60"/>
              <a:gd name="T32" fmla="*/ 34 w 60"/>
              <a:gd name="T33" fmla="*/ 27 h 60"/>
              <a:gd name="T34" fmla="*/ 35 w 60"/>
              <a:gd name="T35" fmla="*/ 27 h 60"/>
              <a:gd name="T36" fmla="*/ 34 w 60"/>
              <a:gd name="T37" fmla="*/ 27 h 60"/>
              <a:gd name="T38" fmla="*/ 19 w 60"/>
              <a:gd name="T39" fmla="*/ 27 h 60"/>
              <a:gd name="T40" fmla="*/ 18 w 60"/>
              <a:gd name="T41" fmla="*/ 27 h 60"/>
              <a:gd name="T42" fmla="*/ 15 w 60"/>
              <a:gd name="T43" fmla="*/ 31 h 60"/>
              <a:gd name="T44" fmla="*/ 18 w 60"/>
              <a:gd name="T45" fmla="*/ 33 h 60"/>
              <a:gd name="T46" fmla="*/ 34 w 60"/>
              <a:gd name="T47" fmla="*/ 33 h 60"/>
              <a:gd name="T48" fmla="*/ 35 w 60"/>
              <a:gd name="T49" fmla="*/ 33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60">
                <a:moveTo>
                  <a:pt x="30" y="0"/>
                </a:moveTo>
                <a:cubicBezTo>
                  <a:pt x="47" y="0"/>
                  <a:pt x="60" y="14"/>
                  <a:pt x="60" y="30"/>
                </a:cubicBezTo>
                <a:cubicBezTo>
                  <a:pt x="60" y="47"/>
                  <a:pt x="47" y="60"/>
                  <a:pt x="30" y="60"/>
                </a:cubicBezTo>
                <a:cubicBezTo>
                  <a:pt x="14" y="60"/>
                  <a:pt x="0" y="47"/>
                  <a:pt x="0" y="30"/>
                </a:cubicBezTo>
                <a:cubicBezTo>
                  <a:pt x="0" y="14"/>
                  <a:pt x="14" y="0"/>
                  <a:pt x="30" y="0"/>
                </a:cubicBezTo>
                <a:close/>
                <a:moveTo>
                  <a:pt x="35" y="33"/>
                </a:moveTo>
                <a:cubicBezTo>
                  <a:pt x="35" y="33"/>
                  <a:pt x="34" y="34"/>
                  <a:pt x="34" y="34"/>
                </a:cubicBezTo>
                <a:cubicBezTo>
                  <a:pt x="32" y="36"/>
                  <a:pt x="30" y="38"/>
                  <a:pt x="28" y="40"/>
                </a:cubicBezTo>
                <a:cubicBezTo>
                  <a:pt x="27" y="41"/>
                  <a:pt x="27" y="43"/>
                  <a:pt x="28" y="44"/>
                </a:cubicBezTo>
                <a:cubicBezTo>
                  <a:pt x="29" y="45"/>
                  <a:pt x="31" y="45"/>
                  <a:pt x="32" y="44"/>
                </a:cubicBezTo>
                <a:cubicBezTo>
                  <a:pt x="36" y="40"/>
                  <a:pt x="40" y="36"/>
                  <a:pt x="44" y="32"/>
                </a:cubicBezTo>
                <a:cubicBezTo>
                  <a:pt x="45" y="31"/>
                  <a:pt x="45" y="29"/>
                  <a:pt x="44" y="28"/>
                </a:cubicBezTo>
                <a:cubicBezTo>
                  <a:pt x="40" y="24"/>
                  <a:pt x="36" y="20"/>
                  <a:pt x="32" y="16"/>
                </a:cubicBezTo>
                <a:cubicBezTo>
                  <a:pt x="32" y="15"/>
                  <a:pt x="31" y="15"/>
                  <a:pt x="30" y="15"/>
                </a:cubicBezTo>
                <a:cubicBezTo>
                  <a:pt x="29" y="15"/>
                  <a:pt x="28" y="16"/>
                  <a:pt x="27" y="17"/>
                </a:cubicBezTo>
                <a:cubicBezTo>
                  <a:pt x="27" y="18"/>
                  <a:pt x="27" y="19"/>
                  <a:pt x="28" y="20"/>
                </a:cubicBezTo>
                <a:cubicBezTo>
                  <a:pt x="30" y="22"/>
                  <a:pt x="32" y="24"/>
                  <a:pt x="34" y="27"/>
                </a:cubicBezTo>
                <a:cubicBezTo>
                  <a:pt x="34" y="27"/>
                  <a:pt x="35" y="27"/>
                  <a:pt x="35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29" y="27"/>
                  <a:pt x="24" y="27"/>
                  <a:pt x="19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6" y="27"/>
                  <a:pt x="15" y="29"/>
                  <a:pt x="15" y="31"/>
                </a:cubicBezTo>
                <a:cubicBezTo>
                  <a:pt x="15" y="32"/>
                  <a:pt x="17" y="33"/>
                  <a:pt x="18" y="33"/>
                </a:cubicBezTo>
                <a:cubicBezTo>
                  <a:pt x="24" y="33"/>
                  <a:pt x="29" y="33"/>
                  <a:pt x="34" y="33"/>
                </a:cubicBezTo>
                <a:cubicBezTo>
                  <a:pt x="34" y="33"/>
                  <a:pt x="34" y="33"/>
                  <a:pt x="35" y="33"/>
                </a:cubicBezTo>
                <a:close/>
              </a:path>
            </a:pathLst>
          </a:custGeom>
          <a:solidFill>
            <a:srgbClr val="620CF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endParaRPr lang="en-US"/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17CDDDD3-C28D-34A2-E727-F6ED3AB74436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1767918" y="3392753"/>
            <a:ext cx="214313" cy="214312"/>
          </a:xfrm>
          <a:custGeom>
            <a:avLst/>
            <a:gdLst>
              <a:gd name="T0" fmla="*/ 30 w 60"/>
              <a:gd name="T1" fmla="*/ 0 h 60"/>
              <a:gd name="T2" fmla="*/ 60 w 60"/>
              <a:gd name="T3" fmla="*/ 30 h 60"/>
              <a:gd name="T4" fmla="*/ 30 w 60"/>
              <a:gd name="T5" fmla="*/ 60 h 60"/>
              <a:gd name="T6" fmla="*/ 0 w 60"/>
              <a:gd name="T7" fmla="*/ 30 h 60"/>
              <a:gd name="T8" fmla="*/ 30 w 60"/>
              <a:gd name="T9" fmla="*/ 0 h 60"/>
              <a:gd name="T10" fmla="*/ 35 w 60"/>
              <a:gd name="T11" fmla="*/ 33 h 60"/>
              <a:gd name="T12" fmla="*/ 34 w 60"/>
              <a:gd name="T13" fmla="*/ 34 h 60"/>
              <a:gd name="T14" fmla="*/ 28 w 60"/>
              <a:gd name="T15" fmla="*/ 40 h 60"/>
              <a:gd name="T16" fmla="*/ 28 w 60"/>
              <a:gd name="T17" fmla="*/ 44 h 60"/>
              <a:gd name="T18" fmla="*/ 32 w 60"/>
              <a:gd name="T19" fmla="*/ 44 h 60"/>
              <a:gd name="T20" fmla="*/ 44 w 60"/>
              <a:gd name="T21" fmla="*/ 32 h 60"/>
              <a:gd name="T22" fmla="*/ 44 w 60"/>
              <a:gd name="T23" fmla="*/ 28 h 60"/>
              <a:gd name="T24" fmla="*/ 32 w 60"/>
              <a:gd name="T25" fmla="*/ 16 h 60"/>
              <a:gd name="T26" fmla="*/ 30 w 60"/>
              <a:gd name="T27" fmla="*/ 15 h 60"/>
              <a:gd name="T28" fmla="*/ 27 w 60"/>
              <a:gd name="T29" fmla="*/ 17 h 60"/>
              <a:gd name="T30" fmla="*/ 28 w 60"/>
              <a:gd name="T31" fmla="*/ 20 h 60"/>
              <a:gd name="T32" fmla="*/ 34 w 60"/>
              <a:gd name="T33" fmla="*/ 27 h 60"/>
              <a:gd name="T34" fmla="*/ 35 w 60"/>
              <a:gd name="T35" fmla="*/ 27 h 60"/>
              <a:gd name="T36" fmla="*/ 34 w 60"/>
              <a:gd name="T37" fmla="*/ 27 h 60"/>
              <a:gd name="T38" fmla="*/ 19 w 60"/>
              <a:gd name="T39" fmla="*/ 27 h 60"/>
              <a:gd name="T40" fmla="*/ 18 w 60"/>
              <a:gd name="T41" fmla="*/ 27 h 60"/>
              <a:gd name="T42" fmla="*/ 15 w 60"/>
              <a:gd name="T43" fmla="*/ 31 h 60"/>
              <a:gd name="T44" fmla="*/ 18 w 60"/>
              <a:gd name="T45" fmla="*/ 33 h 60"/>
              <a:gd name="T46" fmla="*/ 34 w 60"/>
              <a:gd name="T47" fmla="*/ 33 h 60"/>
              <a:gd name="T48" fmla="*/ 35 w 60"/>
              <a:gd name="T49" fmla="*/ 33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60">
                <a:moveTo>
                  <a:pt x="30" y="0"/>
                </a:moveTo>
                <a:cubicBezTo>
                  <a:pt x="47" y="0"/>
                  <a:pt x="60" y="14"/>
                  <a:pt x="60" y="30"/>
                </a:cubicBezTo>
                <a:cubicBezTo>
                  <a:pt x="60" y="47"/>
                  <a:pt x="47" y="60"/>
                  <a:pt x="30" y="60"/>
                </a:cubicBezTo>
                <a:cubicBezTo>
                  <a:pt x="14" y="60"/>
                  <a:pt x="0" y="47"/>
                  <a:pt x="0" y="30"/>
                </a:cubicBezTo>
                <a:cubicBezTo>
                  <a:pt x="0" y="14"/>
                  <a:pt x="14" y="0"/>
                  <a:pt x="30" y="0"/>
                </a:cubicBezTo>
                <a:close/>
                <a:moveTo>
                  <a:pt x="35" y="33"/>
                </a:moveTo>
                <a:cubicBezTo>
                  <a:pt x="35" y="33"/>
                  <a:pt x="34" y="34"/>
                  <a:pt x="34" y="34"/>
                </a:cubicBezTo>
                <a:cubicBezTo>
                  <a:pt x="32" y="36"/>
                  <a:pt x="30" y="38"/>
                  <a:pt x="28" y="40"/>
                </a:cubicBezTo>
                <a:cubicBezTo>
                  <a:pt x="27" y="41"/>
                  <a:pt x="27" y="43"/>
                  <a:pt x="28" y="44"/>
                </a:cubicBezTo>
                <a:cubicBezTo>
                  <a:pt x="29" y="45"/>
                  <a:pt x="31" y="45"/>
                  <a:pt x="32" y="44"/>
                </a:cubicBezTo>
                <a:cubicBezTo>
                  <a:pt x="36" y="40"/>
                  <a:pt x="40" y="36"/>
                  <a:pt x="44" y="32"/>
                </a:cubicBezTo>
                <a:cubicBezTo>
                  <a:pt x="45" y="31"/>
                  <a:pt x="45" y="29"/>
                  <a:pt x="44" y="28"/>
                </a:cubicBezTo>
                <a:cubicBezTo>
                  <a:pt x="40" y="24"/>
                  <a:pt x="36" y="20"/>
                  <a:pt x="32" y="16"/>
                </a:cubicBezTo>
                <a:cubicBezTo>
                  <a:pt x="32" y="15"/>
                  <a:pt x="31" y="15"/>
                  <a:pt x="30" y="15"/>
                </a:cubicBezTo>
                <a:cubicBezTo>
                  <a:pt x="29" y="15"/>
                  <a:pt x="28" y="16"/>
                  <a:pt x="27" y="17"/>
                </a:cubicBezTo>
                <a:cubicBezTo>
                  <a:pt x="27" y="18"/>
                  <a:pt x="27" y="19"/>
                  <a:pt x="28" y="20"/>
                </a:cubicBezTo>
                <a:cubicBezTo>
                  <a:pt x="30" y="22"/>
                  <a:pt x="32" y="24"/>
                  <a:pt x="34" y="27"/>
                </a:cubicBezTo>
                <a:cubicBezTo>
                  <a:pt x="34" y="27"/>
                  <a:pt x="35" y="27"/>
                  <a:pt x="35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29" y="27"/>
                  <a:pt x="24" y="27"/>
                  <a:pt x="19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6" y="27"/>
                  <a:pt x="15" y="29"/>
                  <a:pt x="15" y="31"/>
                </a:cubicBezTo>
                <a:cubicBezTo>
                  <a:pt x="15" y="32"/>
                  <a:pt x="17" y="33"/>
                  <a:pt x="18" y="33"/>
                </a:cubicBezTo>
                <a:cubicBezTo>
                  <a:pt x="24" y="33"/>
                  <a:pt x="29" y="33"/>
                  <a:pt x="34" y="33"/>
                </a:cubicBezTo>
                <a:cubicBezTo>
                  <a:pt x="34" y="33"/>
                  <a:pt x="34" y="33"/>
                  <a:pt x="35" y="33"/>
                </a:cubicBezTo>
                <a:close/>
              </a:path>
            </a:pathLst>
          </a:custGeom>
          <a:solidFill>
            <a:srgbClr val="620CF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endParaRPr lang="en-US"/>
          </a:p>
        </p:txBody>
      </p:sp>
      <p:cxnSp>
        <p:nvCxnSpPr>
          <p:cNvPr id="30" name="Straight Connector 85">
            <a:extLst>
              <a:ext uri="{FF2B5EF4-FFF2-40B4-BE49-F238E27FC236}">
                <a16:creationId xmlns:a16="http://schemas.microsoft.com/office/drawing/2014/main" id="{4693B65E-8A63-ADC1-1995-DCB04761D7D7}"/>
              </a:ext>
            </a:extLst>
          </p:cNvPr>
          <p:cNvCxnSpPr>
            <a:cxnSpLocks/>
          </p:cNvCxnSpPr>
          <p:nvPr/>
        </p:nvCxnSpPr>
        <p:spPr>
          <a:xfrm flipH="1">
            <a:off x="9060917" y="4729516"/>
            <a:ext cx="2404872" cy="0"/>
          </a:xfrm>
          <a:prstGeom prst="line">
            <a:avLst/>
          </a:prstGeom>
          <a:ln w="25400">
            <a:gradFill flip="none" rotWithShape="1">
              <a:gsLst>
                <a:gs pos="100000">
                  <a:srgbClr val="620CD2">
                    <a:alpha val="0"/>
                  </a:srgbClr>
                </a:gs>
                <a:gs pos="0">
                  <a:srgbClr val="620CEA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35169EA6-98A4-908A-A6E4-53D39DAAE862}"/>
              </a:ext>
            </a:extLst>
          </p:cNvPr>
          <p:cNvSpPr txBox="1"/>
          <p:nvPr/>
        </p:nvSpPr>
        <p:spPr>
          <a:xfrm>
            <a:off x="7528886" y="3249751"/>
            <a:ext cx="4128091" cy="8824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ts val="3200"/>
              </a:lnSpc>
            </a:pP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Обучение</a:t>
            </a:r>
            <a:b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аудитории</a:t>
            </a:r>
          </a:p>
        </p:txBody>
      </p:sp>
      <p:sp>
        <p:nvSpPr>
          <p:cNvPr id="33" name="Freeform 5">
            <a:extLst>
              <a:ext uri="{FF2B5EF4-FFF2-40B4-BE49-F238E27FC236}">
                <a16:creationId xmlns:a16="http://schemas.microsoft.com/office/drawing/2014/main" id="{30DD0BD0-6648-38AF-7B2D-83A3FA45EF9B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5282083" y="5232171"/>
            <a:ext cx="214313" cy="214312"/>
          </a:xfrm>
          <a:custGeom>
            <a:avLst/>
            <a:gdLst>
              <a:gd name="T0" fmla="*/ 30 w 60"/>
              <a:gd name="T1" fmla="*/ 0 h 60"/>
              <a:gd name="T2" fmla="*/ 60 w 60"/>
              <a:gd name="T3" fmla="*/ 30 h 60"/>
              <a:gd name="T4" fmla="*/ 30 w 60"/>
              <a:gd name="T5" fmla="*/ 60 h 60"/>
              <a:gd name="T6" fmla="*/ 0 w 60"/>
              <a:gd name="T7" fmla="*/ 30 h 60"/>
              <a:gd name="T8" fmla="*/ 30 w 60"/>
              <a:gd name="T9" fmla="*/ 0 h 60"/>
              <a:gd name="T10" fmla="*/ 35 w 60"/>
              <a:gd name="T11" fmla="*/ 33 h 60"/>
              <a:gd name="T12" fmla="*/ 34 w 60"/>
              <a:gd name="T13" fmla="*/ 34 h 60"/>
              <a:gd name="T14" fmla="*/ 28 w 60"/>
              <a:gd name="T15" fmla="*/ 40 h 60"/>
              <a:gd name="T16" fmla="*/ 28 w 60"/>
              <a:gd name="T17" fmla="*/ 44 h 60"/>
              <a:gd name="T18" fmla="*/ 32 w 60"/>
              <a:gd name="T19" fmla="*/ 44 h 60"/>
              <a:gd name="T20" fmla="*/ 44 w 60"/>
              <a:gd name="T21" fmla="*/ 32 h 60"/>
              <a:gd name="T22" fmla="*/ 44 w 60"/>
              <a:gd name="T23" fmla="*/ 28 h 60"/>
              <a:gd name="T24" fmla="*/ 32 w 60"/>
              <a:gd name="T25" fmla="*/ 16 h 60"/>
              <a:gd name="T26" fmla="*/ 30 w 60"/>
              <a:gd name="T27" fmla="*/ 15 h 60"/>
              <a:gd name="T28" fmla="*/ 27 w 60"/>
              <a:gd name="T29" fmla="*/ 17 h 60"/>
              <a:gd name="T30" fmla="*/ 28 w 60"/>
              <a:gd name="T31" fmla="*/ 20 h 60"/>
              <a:gd name="T32" fmla="*/ 34 w 60"/>
              <a:gd name="T33" fmla="*/ 27 h 60"/>
              <a:gd name="T34" fmla="*/ 35 w 60"/>
              <a:gd name="T35" fmla="*/ 27 h 60"/>
              <a:gd name="T36" fmla="*/ 34 w 60"/>
              <a:gd name="T37" fmla="*/ 27 h 60"/>
              <a:gd name="T38" fmla="*/ 19 w 60"/>
              <a:gd name="T39" fmla="*/ 27 h 60"/>
              <a:gd name="T40" fmla="*/ 18 w 60"/>
              <a:gd name="T41" fmla="*/ 27 h 60"/>
              <a:gd name="T42" fmla="*/ 15 w 60"/>
              <a:gd name="T43" fmla="*/ 31 h 60"/>
              <a:gd name="T44" fmla="*/ 18 w 60"/>
              <a:gd name="T45" fmla="*/ 33 h 60"/>
              <a:gd name="T46" fmla="*/ 34 w 60"/>
              <a:gd name="T47" fmla="*/ 33 h 60"/>
              <a:gd name="T48" fmla="*/ 35 w 60"/>
              <a:gd name="T49" fmla="*/ 33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60">
                <a:moveTo>
                  <a:pt x="30" y="0"/>
                </a:moveTo>
                <a:cubicBezTo>
                  <a:pt x="47" y="0"/>
                  <a:pt x="60" y="14"/>
                  <a:pt x="60" y="30"/>
                </a:cubicBezTo>
                <a:cubicBezTo>
                  <a:pt x="60" y="47"/>
                  <a:pt x="47" y="60"/>
                  <a:pt x="30" y="60"/>
                </a:cubicBezTo>
                <a:cubicBezTo>
                  <a:pt x="14" y="60"/>
                  <a:pt x="0" y="47"/>
                  <a:pt x="0" y="30"/>
                </a:cubicBezTo>
                <a:cubicBezTo>
                  <a:pt x="0" y="14"/>
                  <a:pt x="14" y="0"/>
                  <a:pt x="30" y="0"/>
                </a:cubicBezTo>
                <a:close/>
                <a:moveTo>
                  <a:pt x="35" y="33"/>
                </a:moveTo>
                <a:cubicBezTo>
                  <a:pt x="35" y="33"/>
                  <a:pt x="34" y="34"/>
                  <a:pt x="34" y="34"/>
                </a:cubicBezTo>
                <a:cubicBezTo>
                  <a:pt x="32" y="36"/>
                  <a:pt x="30" y="38"/>
                  <a:pt x="28" y="40"/>
                </a:cubicBezTo>
                <a:cubicBezTo>
                  <a:pt x="27" y="41"/>
                  <a:pt x="27" y="43"/>
                  <a:pt x="28" y="44"/>
                </a:cubicBezTo>
                <a:cubicBezTo>
                  <a:pt x="29" y="45"/>
                  <a:pt x="31" y="45"/>
                  <a:pt x="32" y="44"/>
                </a:cubicBezTo>
                <a:cubicBezTo>
                  <a:pt x="36" y="40"/>
                  <a:pt x="40" y="36"/>
                  <a:pt x="44" y="32"/>
                </a:cubicBezTo>
                <a:cubicBezTo>
                  <a:pt x="45" y="31"/>
                  <a:pt x="45" y="29"/>
                  <a:pt x="44" y="28"/>
                </a:cubicBezTo>
                <a:cubicBezTo>
                  <a:pt x="40" y="24"/>
                  <a:pt x="36" y="20"/>
                  <a:pt x="32" y="16"/>
                </a:cubicBezTo>
                <a:cubicBezTo>
                  <a:pt x="32" y="15"/>
                  <a:pt x="31" y="15"/>
                  <a:pt x="30" y="15"/>
                </a:cubicBezTo>
                <a:cubicBezTo>
                  <a:pt x="29" y="15"/>
                  <a:pt x="28" y="16"/>
                  <a:pt x="27" y="17"/>
                </a:cubicBezTo>
                <a:cubicBezTo>
                  <a:pt x="27" y="18"/>
                  <a:pt x="27" y="19"/>
                  <a:pt x="28" y="20"/>
                </a:cubicBezTo>
                <a:cubicBezTo>
                  <a:pt x="30" y="22"/>
                  <a:pt x="32" y="24"/>
                  <a:pt x="34" y="27"/>
                </a:cubicBezTo>
                <a:cubicBezTo>
                  <a:pt x="34" y="27"/>
                  <a:pt x="35" y="27"/>
                  <a:pt x="35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29" y="27"/>
                  <a:pt x="24" y="27"/>
                  <a:pt x="19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6" y="27"/>
                  <a:pt x="15" y="29"/>
                  <a:pt x="15" y="31"/>
                </a:cubicBezTo>
                <a:cubicBezTo>
                  <a:pt x="15" y="32"/>
                  <a:pt x="17" y="33"/>
                  <a:pt x="18" y="33"/>
                </a:cubicBezTo>
                <a:cubicBezTo>
                  <a:pt x="24" y="33"/>
                  <a:pt x="29" y="33"/>
                  <a:pt x="34" y="33"/>
                </a:cubicBezTo>
                <a:cubicBezTo>
                  <a:pt x="34" y="33"/>
                  <a:pt x="34" y="33"/>
                  <a:pt x="35" y="33"/>
                </a:cubicBezTo>
                <a:close/>
              </a:path>
            </a:pathLst>
          </a:custGeom>
          <a:solidFill>
            <a:srgbClr val="620CF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541B9F-835A-C9C0-B32F-A750AE5EE29F}"/>
              </a:ext>
            </a:extLst>
          </p:cNvPr>
          <p:cNvSpPr txBox="1"/>
          <p:nvPr/>
        </p:nvSpPr>
        <p:spPr>
          <a:xfrm>
            <a:off x="11043051" y="5089169"/>
            <a:ext cx="412809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ts val="3200"/>
              </a:lnSpc>
            </a:pP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Отчетное</a:t>
            </a:r>
            <a:b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выступление</a:t>
            </a:r>
            <a:b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в компании</a:t>
            </a: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D0F5FFB7-8926-0354-9AFF-35D15F7BE4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577" y="-5269832"/>
            <a:ext cx="606274" cy="5043199"/>
          </a:xfrm>
          <a:prstGeom prst="rect">
            <a:avLst/>
          </a:prstGeom>
        </p:spPr>
      </p:pic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F06E9CE9-4D56-E753-9664-305A298904DA}"/>
              </a:ext>
            </a:extLst>
          </p:cNvPr>
          <p:cNvGrpSpPr/>
          <p:nvPr/>
        </p:nvGrpSpPr>
        <p:grpSpPr>
          <a:xfrm>
            <a:off x="-1" y="-457195"/>
            <a:ext cx="5836681" cy="7268818"/>
            <a:chOff x="5317227" y="-111040"/>
            <a:chExt cx="3762311" cy="6858000"/>
          </a:xfrm>
        </p:grpSpPr>
        <p:sp>
          <p:nvSpPr>
            <p:cNvPr id="43" name="Rectangle 9">
              <a:extLst>
                <a:ext uri="{FF2B5EF4-FFF2-40B4-BE49-F238E27FC236}">
                  <a16:creationId xmlns:a16="http://schemas.microsoft.com/office/drawing/2014/main" id="{84712805-AC5F-1FAC-C19F-3368A5422FAB}"/>
                </a:ext>
              </a:extLst>
            </p:cNvPr>
            <p:cNvSpPr/>
            <p:nvPr/>
          </p:nvSpPr>
          <p:spPr>
            <a:xfrm>
              <a:off x="5317227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44" name="Rectangle 31">
              <a:extLst>
                <a:ext uri="{FF2B5EF4-FFF2-40B4-BE49-F238E27FC236}">
                  <a16:creationId xmlns:a16="http://schemas.microsoft.com/office/drawing/2014/main" id="{48F55814-2F8B-7B86-18E9-B194B37870EC}"/>
                </a:ext>
              </a:extLst>
            </p:cNvPr>
            <p:cNvSpPr/>
            <p:nvPr/>
          </p:nvSpPr>
          <p:spPr>
            <a:xfrm>
              <a:off x="6257805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45" name="Rectangle 32">
              <a:extLst>
                <a:ext uri="{FF2B5EF4-FFF2-40B4-BE49-F238E27FC236}">
                  <a16:creationId xmlns:a16="http://schemas.microsoft.com/office/drawing/2014/main" id="{F5B8D4DD-422A-463A-DD12-C4DED14A7012}"/>
                </a:ext>
              </a:extLst>
            </p:cNvPr>
            <p:cNvSpPr/>
            <p:nvPr/>
          </p:nvSpPr>
          <p:spPr>
            <a:xfrm>
              <a:off x="7198382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46" name="Rectangle 33">
              <a:extLst>
                <a:ext uri="{FF2B5EF4-FFF2-40B4-BE49-F238E27FC236}">
                  <a16:creationId xmlns:a16="http://schemas.microsoft.com/office/drawing/2014/main" id="{585E8437-B22C-66CB-87FE-B38DCD287F2B}"/>
                </a:ext>
              </a:extLst>
            </p:cNvPr>
            <p:cNvSpPr/>
            <p:nvPr/>
          </p:nvSpPr>
          <p:spPr>
            <a:xfrm>
              <a:off x="8138960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47682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4.44444E-6 L 0.06576 4.44444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4.44444E-6 L 0.06576 4.44444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-3.7037E-6 L 0.06576 -3.7037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0E55AFAA-A481-4C79-7FAC-26F2EA21EC6C}"/>
              </a:ext>
            </a:extLst>
          </p:cNvPr>
          <p:cNvGrpSpPr/>
          <p:nvPr/>
        </p:nvGrpSpPr>
        <p:grpSpPr>
          <a:xfrm>
            <a:off x="4140311" y="2929476"/>
            <a:ext cx="3925335" cy="4888488"/>
            <a:chOff x="5317227" y="-111040"/>
            <a:chExt cx="3762311" cy="6858000"/>
          </a:xfrm>
        </p:grpSpPr>
        <p:sp>
          <p:nvSpPr>
            <p:cNvPr id="43" name="Rectangle 9">
              <a:extLst>
                <a:ext uri="{FF2B5EF4-FFF2-40B4-BE49-F238E27FC236}">
                  <a16:creationId xmlns:a16="http://schemas.microsoft.com/office/drawing/2014/main" id="{91E5E844-63DF-F4C1-534D-996E8FC5B7D3}"/>
                </a:ext>
              </a:extLst>
            </p:cNvPr>
            <p:cNvSpPr/>
            <p:nvPr/>
          </p:nvSpPr>
          <p:spPr>
            <a:xfrm>
              <a:off x="5317227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44" name="Rectangle 31">
              <a:extLst>
                <a:ext uri="{FF2B5EF4-FFF2-40B4-BE49-F238E27FC236}">
                  <a16:creationId xmlns:a16="http://schemas.microsoft.com/office/drawing/2014/main" id="{203EC4B7-DE83-25C1-2014-DC6C269390B7}"/>
                </a:ext>
              </a:extLst>
            </p:cNvPr>
            <p:cNvSpPr/>
            <p:nvPr/>
          </p:nvSpPr>
          <p:spPr>
            <a:xfrm>
              <a:off x="6257805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45" name="Rectangle 32">
              <a:extLst>
                <a:ext uri="{FF2B5EF4-FFF2-40B4-BE49-F238E27FC236}">
                  <a16:creationId xmlns:a16="http://schemas.microsoft.com/office/drawing/2014/main" id="{626D0005-783E-EFF3-3052-EF7512529543}"/>
                </a:ext>
              </a:extLst>
            </p:cNvPr>
            <p:cNvSpPr/>
            <p:nvPr/>
          </p:nvSpPr>
          <p:spPr>
            <a:xfrm>
              <a:off x="7198382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46" name="Rectangle 33">
              <a:extLst>
                <a:ext uri="{FF2B5EF4-FFF2-40B4-BE49-F238E27FC236}">
                  <a16:creationId xmlns:a16="http://schemas.microsoft.com/office/drawing/2014/main" id="{06D18B4F-37AA-E95D-6626-A77F8206165C}"/>
                </a:ext>
              </a:extLst>
            </p:cNvPr>
            <p:cNvSpPr/>
            <p:nvPr/>
          </p:nvSpPr>
          <p:spPr>
            <a:xfrm>
              <a:off x="8138960" y="-111040"/>
              <a:ext cx="940578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8" name="Рисунок 3">
            <a:extLst>
              <a:ext uri="{FF2B5EF4-FFF2-40B4-BE49-F238E27FC236}">
                <a16:creationId xmlns:a16="http://schemas.microsoft.com/office/drawing/2014/main" id="{B63F4BEE-48AE-F06A-6DA6-C8982BFE428C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306BE464-478F-81B6-3B64-29F8F5EF6AB8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86F94626-DE5D-5CDE-C5AB-08EC87502FA9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27D32363-4996-BC63-62AD-37B68BDCEF3B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0CF7CFDB-7A74-EC0A-6085-A444E06E742E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6612FEDD-013B-92AC-4475-870F7116F32C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B2EBED1A-9481-C73D-3E09-821A49346615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AD1CBA0D-CF7C-181F-0780-454F30ADFE2C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29262002-7FA6-242C-1F7F-5498AD6537FA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B1BADB8A-087E-8EF7-C819-4DA4B76178C8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E75AA717-1E66-FF94-A1E7-B9B27F4A6897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46F477F9-AF6E-52E4-CB25-A418271737C3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1" name="!!Oval 131">
            <a:extLst>
              <a:ext uri="{FF2B5EF4-FFF2-40B4-BE49-F238E27FC236}">
                <a16:creationId xmlns:a16="http://schemas.microsoft.com/office/drawing/2014/main" id="{4245BDFE-C8E8-07C6-A46D-D232960778D2}"/>
              </a:ext>
            </a:extLst>
          </p:cNvPr>
          <p:cNvGrpSpPr/>
          <p:nvPr/>
        </p:nvGrpSpPr>
        <p:grpSpPr>
          <a:xfrm>
            <a:off x="5170912" y="1177870"/>
            <a:ext cx="1846174" cy="759138"/>
            <a:chOff x="5170912" y="1177870"/>
            <a:chExt cx="1846174" cy="759138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0C1C4287-4318-F0FF-B328-5E46695B9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4916" y="1177870"/>
              <a:ext cx="1842169" cy="573607"/>
            </a:xfrm>
            <a:custGeom>
              <a:avLst/>
              <a:gdLst>
                <a:gd name="T0" fmla="*/ 195 w 390"/>
                <a:gd name="T1" fmla="*/ 0 h 105"/>
                <a:gd name="T2" fmla="*/ 0 w 390"/>
                <a:gd name="T3" fmla="*/ 53 h 105"/>
                <a:gd name="T4" fmla="*/ 10 w 390"/>
                <a:gd name="T5" fmla="*/ 69 h 105"/>
                <a:gd name="T6" fmla="*/ 100 w 390"/>
                <a:gd name="T7" fmla="*/ 98 h 105"/>
                <a:gd name="T8" fmla="*/ 195 w 390"/>
                <a:gd name="T9" fmla="*/ 105 h 105"/>
                <a:gd name="T10" fmla="*/ 290 w 390"/>
                <a:gd name="T11" fmla="*/ 98 h 105"/>
                <a:gd name="T12" fmla="*/ 380 w 390"/>
                <a:gd name="T13" fmla="*/ 69 h 105"/>
                <a:gd name="T14" fmla="*/ 390 w 390"/>
                <a:gd name="T15" fmla="*/ 53 h 105"/>
                <a:gd name="T16" fmla="*/ 195 w 390"/>
                <a:gd name="T1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05">
                  <a:moveTo>
                    <a:pt x="195" y="0"/>
                  </a:moveTo>
                  <a:cubicBezTo>
                    <a:pt x="87" y="0"/>
                    <a:pt x="0" y="24"/>
                    <a:pt x="0" y="53"/>
                  </a:cubicBezTo>
                  <a:cubicBezTo>
                    <a:pt x="0" y="58"/>
                    <a:pt x="3" y="64"/>
                    <a:pt x="10" y="69"/>
                  </a:cubicBezTo>
                  <a:cubicBezTo>
                    <a:pt x="25" y="82"/>
                    <a:pt x="58" y="92"/>
                    <a:pt x="100" y="98"/>
                  </a:cubicBezTo>
                  <a:cubicBezTo>
                    <a:pt x="128" y="103"/>
                    <a:pt x="160" y="105"/>
                    <a:pt x="195" y="105"/>
                  </a:cubicBezTo>
                  <a:cubicBezTo>
                    <a:pt x="229" y="105"/>
                    <a:pt x="262" y="103"/>
                    <a:pt x="290" y="98"/>
                  </a:cubicBezTo>
                  <a:cubicBezTo>
                    <a:pt x="332" y="92"/>
                    <a:pt x="364" y="82"/>
                    <a:pt x="380" y="69"/>
                  </a:cubicBezTo>
                  <a:cubicBezTo>
                    <a:pt x="386" y="64"/>
                    <a:pt x="390" y="58"/>
                    <a:pt x="390" y="53"/>
                  </a:cubicBezTo>
                  <a:cubicBezTo>
                    <a:pt x="390" y="24"/>
                    <a:pt x="302" y="0"/>
                    <a:pt x="195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0FEED456-374C-3949-CBC0-E41F3D9A6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912" y="1466992"/>
              <a:ext cx="1846174" cy="470016"/>
            </a:xfrm>
            <a:custGeom>
              <a:avLst/>
              <a:gdLst>
                <a:gd name="T0" fmla="*/ 391 w 391"/>
                <a:gd name="T1" fmla="*/ 30 h 86"/>
                <a:gd name="T2" fmla="*/ 391 w 391"/>
                <a:gd name="T3" fmla="*/ 0 h 86"/>
                <a:gd name="T4" fmla="*/ 381 w 391"/>
                <a:gd name="T5" fmla="*/ 16 h 86"/>
                <a:gd name="T6" fmla="*/ 291 w 391"/>
                <a:gd name="T7" fmla="*/ 45 h 86"/>
                <a:gd name="T8" fmla="*/ 196 w 391"/>
                <a:gd name="T9" fmla="*/ 52 h 86"/>
                <a:gd name="T10" fmla="*/ 101 w 391"/>
                <a:gd name="T11" fmla="*/ 45 h 86"/>
                <a:gd name="T12" fmla="*/ 11 w 391"/>
                <a:gd name="T13" fmla="*/ 16 h 86"/>
                <a:gd name="T14" fmla="*/ 1 w 391"/>
                <a:gd name="T15" fmla="*/ 0 h 86"/>
                <a:gd name="T16" fmla="*/ 1 w 391"/>
                <a:gd name="T17" fmla="*/ 30 h 86"/>
                <a:gd name="T18" fmla="*/ 0 w 391"/>
                <a:gd name="T19" fmla="*/ 33 h 86"/>
                <a:gd name="T20" fmla="*/ 21 w 391"/>
                <a:gd name="T21" fmla="*/ 57 h 86"/>
                <a:gd name="T22" fmla="*/ 101 w 391"/>
                <a:gd name="T23" fmla="*/ 79 h 86"/>
                <a:gd name="T24" fmla="*/ 196 w 391"/>
                <a:gd name="T25" fmla="*/ 86 h 86"/>
                <a:gd name="T26" fmla="*/ 290 w 391"/>
                <a:gd name="T27" fmla="*/ 79 h 86"/>
                <a:gd name="T28" fmla="*/ 371 w 391"/>
                <a:gd name="T29" fmla="*/ 57 h 86"/>
                <a:gd name="T30" fmla="*/ 391 w 391"/>
                <a:gd name="T31" fmla="*/ 33 h 86"/>
                <a:gd name="T32" fmla="*/ 391 w 391"/>
                <a:gd name="T33" fmla="*/ 3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1" h="86">
                  <a:moveTo>
                    <a:pt x="391" y="30"/>
                  </a:moveTo>
                  <a:cubicBezTo>
                    <a:pt x="391" y="0"/>
                    <a:pt x="391" y="0"/>
                    <a:pt x="391" y="0"/>
                  </a:cubicBezTo>
                  <a:cubicBezTo>
                    <a:pt x="391" y="5"/>
                    <a:pt x="387" y="11"/>
                    <a:pt x="381" y="16"/>
                  </a:cubicBezTo>
                  <a:cubicBezTo>
                    <a:pt x="365" y="29"/>
                    <a:pt x="333" y="39"/>
                    <a:pt x="291" y="45"/>
                  </a:cubicBezTo>
                  <a:cubicBezTo>
                    <a:pt x="263" y="50"/>
                    <a:pt x="230" y="52"/>
                    <a:pt x="196" y="52"/>
                  </a:cubicBezTo>
                  <a:cubicBezTo>
                    <a:pt x="161" y="52"/>
                    <a:pt x="129" y="50"/>
                    <a:pt x="101" y="45"/>
                  </a:cubicBezTo>
                  <a:cubicBezTo>
                    <a:pt x="59" y="39"/>
                    <a:pt x="26" y="29"/>
                    <a:pt x="11" y="16"/>
                  </a:cubicBezTo>
                  <a:cubicBezTo>
                    <a:pt x="4" y="11"/>
                    <a:pt x="1" y="5"/>
                    <a:pt x="1" y="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1"/>
                    <a:pt x="0" y="32"/>
                    <a:pt x="0" y="33"/>
                  </a:cubicBezTo>
                  <a:cubicBezTo>
                    <a:pt x="0" y="42"/>
                    <a:pt x="7" y="49"/>
                    <a:pt x="21" y="57"/>
                  </a:cubicBezTo>
                  <a:cubicBezTo>
                    <a:pt x="38" y="66"/>
                    <a:pt x="66" y="74"/>
                    <a:pt x="101" y="79"/>
                  </a:cubicBezTo>
                  <a:cubicBezTo>
                    <a:pt x="129" y="83"/>
                    <a:pt x="161" y="86"/>
                    <a:pt x="196" y="86"/>
                  </a:cubicBezTo>
                  <a:cubicBezTo>
                    <a:pt x="230" y="86"/>
                    <a:pt x="262" y="83"/>
                    <a:pt x="290" y="79"/>
                  </a:cubicBezTo>
                  <a:cubicBezTo>
                    <a:pt x="325" y="74"/>
                    <a:pt x="353" y="66"/>
                    <a:pt x="371" y="57"/>
                  </a:cubicBezTo>
                  <a:cubicBezTo>
                    <a:pt x="384" y="49"/>
                    <a:pt x="391" y="42"/>
                    <a:pt x="391" y="33"/>
                  </a:cubicBezTo>
                  <a:cubicBezTo>
                    <a:pt x="391" y="32"/>
                    <a:pt x="391" y="31"/>
                    <a:pt x="391" y="30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A0084A9-34C2-AE3C-8834-2E072324A228}"/>
              </a:ext>
            </a:extLst>
          </p:cNvPr>
          <p:cNvGrpSpPr/>
          <p:nvPr/>
        </p:nvGrpSpPr>
        <p:grpSpPr>
          <a:xfrm>
            <a:off x="4685006" y="1781473"/>
            <a:ext cx="2817984" cy="974047"/>
            <a:chOff x="4685006" y="1779306"/>
            <a:chExt cx="2817984" cy="974047"/>
          </a:xfrm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64177196-523E-63F2-0869-F20F1E037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1779306"/>
              <a:ext cx="2817984" cy="786969"/>
            </a:xfrm>
            <a:custGeom>
              <a:avLst/>
              <a:gdLst>
                <a:gd name="T0" fmla="*/ 474 w 597"/>
                <a:gd name="T1" fmla="*/ 0 h 144"/>
                <a:gd name="T2" fmla="*/ 393 w 597"/>
                <a:gd name="T3" fmla="*/ 22 h 144"/>
                <a:gd name="T4" fmla="*/ 299 w 597"/>
                <a:gd name="T5" fmla="*/ 29 h 144"/>
                <a:gd name="T6" fmla="*/ 204 w 597"/>
                <a:gd name="T7" fmla="*/ 22 h 144"/>
                <a:gd name="T8" fmla="*/ 124 w 597"/>
                <a:gd name="T9" fmla="*/ 0 h 144"/>
                <a:gd name="T10" fmla="*/ 0 w 597"/>
                <a:gd name="T11" fmla="*/ 64 h 144"/>
                <a:gd name="T12" fmla="*/ 7 w 597"/>
                <a:gd name="T13" fmla="*/ 81 h 144"/>
                <a:gd name="T14" fmla="*/ 41 w 597"/>
                <a:gd name="T15" fmla="*/ 104 h 144"/>
                <a:gd name="T16" fmla="*/ 122 w 597"/>
                <a:gd name="T17" fmla="*/ 128 h 144"/>
                <a:gd name="T18" fmla="*/ 299 w 597"/>
                <a:gd name="T19" fmla="*/ 144 h 144"/>
                <a:gd name="T20" fmla="*/ 476 w 597"/>
                <a:gd name="T21" fmla="*/ 128 h 144"/>
                <a:gd name="T22" fmla="*/ 556 w 597"/>
                <a:gd name="T23" fmla="*/ 104 h 144"/>
                <a:gd name="T24" fmla="*/ 590 w 597"/>
                <a:gd name="T25" fmla="*/ 81 h 144"/>
                <a:gd name="T26" fmla="*/ 597 w 597"/>
                <a:gd name="T27" fmla="*/ 64 h 144"/>
                <a:gd name="T28" fmla="*/ 474 w 597"/>
                <a:gd name="T29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7" h="144">
                  <a:moveTo>
                    <a:pt x="474" y="0"/>
                  </a:moveTo>
                  <a:cubicBezTo>
                    <a:pt x="456" y="9"/>
                    <a:pt x="428" y="17"/>
                    <a:pt x="393" y="22"/>
                  </a:cubicBezTo>
                  <a:cubicBezTo>
                    <a:pt x="365" y="26"/>
                    <a:pt x="333" y="29"/>
                    <a:pt x="299" y="29"/>
                  </a:cubicBezTo>
                  <a:cubicBezTo>
                    <a:pt x="264" y="29"/>
                    <a:pt x="232" y="26"/>
                    <a:pt x="204" y="22"/>
                  </a:cubicBezTo>
                  <a:cubicBezTo>
                    <a:pt x="169" y="17"/>
                    <a:pt x="141" y="9"/>
                    <a:pt x="124" y="0"/>
                  </a:cubicBezTo>
                  <a:cubicBezTo>
                    <a:pt x="49" y="14"/>
                    <a:pt x="0" y="38"/>
                    <a:pt x="0" y="64"/>
                  </a:cubicBezTo>
                  <a:cubicBezTo>
                    <a:pt x="0" y="70"/>
                    <a:pt x="3" y="76"/>
                    <a:pt x="7" y="81"/>
                  </a:cubicBezTo>
                  <a:cubicBezTo>
                    <a:pt x="14" y="89"/>
                    <a:pt x="25" y="97"/>
                    <a:pt x="41" y="104"/>
                  </a:cubicBezTo>
                  <a:cubicBezTo>
                    <a:pt x="62" y="114"/>
                    <a:pt x="89" y="122"/>
                    <a:pt x="122" y="128"/>
                  </a:cubicBezTo>
                  <a:cubicBezTo>
                    <a:pt x="171" y="138"/>
                    <a:pt x="232" y="144"/>
                    <a:pt x="299" y="144"/>
                  </a:cubicBezTo>
                  <a:cubicBezTo>
                    <a:pt x="365" y="144"/>
                    <a:pt x="426" y="138"/>
                    <a:pt x="476" y="128"/>
                  </a:cubicBezTo>
                  <a:cubicBezTo>
                    <a:pt x="508" y="122"/>
                    <a:pt x="536" y="114"/>
                    <a:pt x="556" y="104"/>
                  </a:cubicBezTo>
                  <a:cubicBezTo>
                    <a:pt x="572" y="97"/>
                    <a:pt x="584" y="89"/>
                    <a:pt x="590" y="81"/>
                  </a:cubicBezTo>
                  <a:cubicBezTo>
                    <a:pt x="595" y="76"/>
                    <a:pt x="597" y="70"/>
                    <a:pt x="597" y="64"/>
                  </a:cubicBezTo>
                  <a:cubicBezTo>
                    <a:pt x="597" y="38"/>
                    <a:pt x="548" y="14"/>
                    <a:pt x="47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6B728246-8BD5-22C5-BA41-6F3E6F9AC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2128726"/>
              <a:ext cx="2817984" cy="624627"/>
            </a:xfrm>
            <a:custGeom>
              <a:avLst/>
              <a:gdLst>
                <a:gd name="T0" fmla="*/ 590 w 597"/>
                <a:gd name="T1" fmla="*/ 17 h 114"/>
                <a:gd name="T2" fmla="*/ 556 w 597"/>
                <a:gd name="T3" fmla="*/ 40 h 114"/>
                <a:gd name="T4" fmla="*/ 476 w 597"/>
                <a:gd name="T5" fmla="*/ 64 h 114"/>
                <a:gd name="T6" fmla="*/ 299 w 597"/>
                <a:gd name="T7" fmla="*/ 80 h 114"/>
                <a:gd name="T8" fmla="*/ 122 w 597"/>
                <a:gd name="T9" fmla="*/ 64 h 114"/>
                <a:gd name="T10" fmla="*/ 41 w 597"/>
                <a:gd name="T11" fmla="*/ 40 h 114"/>
                <a:gd name="T12" fmla="*/ 7 w 597"/>
                <a:gd name="T13" fmla="*/ 17 h 114"/>
                <a:gd name="T14" fmla="*/ 0 w 597"/>
                <a:gd name="T15" fmla="*/ 0 h 114"/>
                <a:gd name="T16" fmla="*/ 0 w 597"/>
                <a:gd name="T17" fmla="*/ 34 h 114"/>
                <a:gd name="T18" fmla="*/ 6 w 597"/>
                <a:gd name="T19" fmla="*/ 49 h 114"/>
                <a:gd name="T20" fmla="*/ 47 w 597"/>
                <a:gd name="T21" fmla="*/ 77 h 114"/>
                <a:gd name="T22" fmla="*/ 181 w 597"/>
                <a:gd name="T23" fmla="*/ 107 h 114"/>
                <a:gd name="T24" fmla="*/ 299 w 597"/>
                <a:gd name="T25" fmla="*/ 114 h 114"/>
                <a:gd name="T26" fmla="*/ 417 w 597"/>
                <a:gd name="T27" fmla="*/ 107 h 114"/>
                <a:gd name="T28" fmla="*/ 550 w 597"/>
                <a:gd name="T29" fmla="*/ 77 h 114"/>
                <a:gd name="T30" fmla="*/ 591 w 597"/>
                <a:gd name="T31" fmla="*/ 49 h 114"/>
                <a:gd name="T32" fmla="*/ 597 w 597"/>
                <a:gd name="T33" fmla="*/ 34 h 114"/>
                <a:gd name="T34" fmla="*/ 597 w 597"/>
                <a:gd name="T35" fmla="*/ 0 h 114"/>
                <a:gd name="T36" fmla="*/ 590 w 597"/>
                <a:gd name="T37" fmla="*/ 1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7" h="114">
                  <a:moveTo>
                    <a:pt x="590" y="17"/>
                  </a:moveTo>
                  <a:cubicBezTo>
                    <a:pt x="584" y="25"/>
                    <a:pt x="572" y="33"/>
                    <a:pt x="556" y="40"/>
                  </a:cubicBezTo>
                  <a:cubicBezTo>
                    <a:pt x="536" y="50"/>
                    <a:pt x="508" y="58"/>
                    <a:pt x="476" y="64"/>
                  </a:cubicBezTo>
                  <a:cubicBezTo>
                    <a:pt x="426" y="74"/>
                    <a:pt x="365" y="80"/>
                    <a:pt x="299" y="80"/>
                  </a:cubicBezTo>
                  <a:cubicBezTo>
                    <a:pt x="232" y="80"/>
                    <a:pt x="171" y="74"/>
                    <a:pt x="122" y="64"/>
                  </a:cubicBezTo>
                  <a:cubicBezTo>
                    <a:pt x="89" y="58"/>
                    <a:pt x="62" y="50"/>
                    <a:pt x="41" y="40"/>
                  </a:cubicBezTo>
                  <a:cubicBezTo>
                    <a:pt x="25" y="33"/>
                    <a:pt x="14" y="25"/>
                    <a:pt x="7" y="17"/>
                  </a:cubicBezTo>
                  <a:cubicBezTo>
                    <a:pt x="3" y="12"/>
                    <a:pt x="0" y="6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9"/>
                    <a:pt x="2" y="44"/>
                    <a:pt x="6" y="49"/>
                  </a:cubicBezTo>
                  <a:cubicBezTo>
                    <a:pt x="13" y="59"/>
                    <a:pt x="28" y="69"/>
                    <a:pt x="47" y="77"/>
                  </a:cubicBezTo>
                  <a:cubicBezTo>
                    <a:pt x="79" y="90"/>
                    <a:pt x="126" y="101"/>
                    <a:pt x="181" y="107"/>
                  </a:cubicBezTo>
                  <a:cubicBezTo>
                    <a:pt x="217" y="111"/>
                    <a:pt x="257" y="114"/>
                    <a:pt x="299" y="114"/>
                  </a:cubicBezTo>
                  <a:cubicBezTo>
                    <a:pt x="341" y="114"/>
                    <a:pt x="380" y="111"/>
                    <a:pt x="417" y="107"/>
                  </a:cubicBezTo>
                  <a:cubicBezTo>
                    <a:pt x="471" y="101"/>
                    <a:pt x="518" y="90"/>
                    <a:pt x="550" y="77"/>
                  </a:cubicBezTo>
                  <a:cubicBezTo>
                    <a:pt x="570" y="69"/>
                    <a:pt x="584" y="59"/>
                    <a:pt x="591" y="49"/>
                  </a:cubicBezTo>
                  <a:cubicBezTo>
                    <a:pt x="595" y="44"/>
                    <a:pt x="597" y="39"/>
                    <a:pt x="597" y="34"/>
                  </a:cubicBezTo>
                  <a:cubicBezTo>
                    <a:pt x="597" y="0"/>
                    <a:pt x="597" y="0"/>
                    <a:pt x="597" y="0"/>
                  </a:cubicBezTo>
                  <a:cubicBezTo>
                    <a:pt x="597" y="6"/>
                    <a:pt x="595" y="12"/>
                    <a:pt x="590" y="17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B33D6A43-4B65-8BCD-8B0E-3574C5238FCB}"/>
              </a:ext>
            </a:extLst>
          </p:cNvPr>
          <p:cNvGrpSpPr/>
          <p:nvPr/>
        </p:nvGrpSpPr>
        <p:grpSpPr>
          <a:xfrm>
            <a:off x="4240482" y="2375972"/>
            <a:ext cx="3711034" cy="1116288"/>
            <a:chOff x="4240482" y="2397748"/>
            <a:chExt cx="3711034" cy="1116288"/>
          </a:xfrm>
        </p:grpSpPr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3CF99B6F-D029-B353-93F3-034E6103B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2397748"/>
              <a:ext cx="3711034" cy="907564"/>
            </a:xfrm>
            <a:custGeom>
              <a:avLst/>
              <a:gdLst>
                <a:gd name="T0" fmla="*/ 275 w 786"/>
                <a:gd name="T1" fmla="*/ 58 h 166"/>
                <a:gd name="T2" fmla="*/ 141 w 786"/>
                <a:gd name="T3" fmla="*/ 28 h 166"/>
                <a:gd name="T4" fmla="*/ 100 w 786"/>
                <a:gd name="T5" fmla="*/ 0 h 166"/>
                <a:gd name="T6" fmla="*/ 0 w 786"/>
                <a:gd name="T7" fmla="*/ 67 h 166"/>
                <a:gd name="T8" fmla="*/ 7 w 786"/>
                <a:gd name="T9" fmla="*/ 86 h 166"/>
                <a:gd name="T10" fmla="*/ 19 w 786"/>
                <a:gd name="T11" fmla="*/ 97 h 166"/>
                <a:gd name="T12" fmla="*/ 68 w 786"/>
                <a:gd name="T13" fmla="*/ 123 h 166"/>
                <a:gd name="T14" fmla="*/ 393 w 786"/>
                <a:gd name="T15" fmla="*/ 166 h 166"/>
                <a:gd name="T16" fmla="*/ 718 w 786"/>
                <a:gd name="T17" fmla="*/ 123 h 166"/>
                <a:gd name="T18" fmla="*/ 767 w 786"/>
                <a:gd name="T19" fmla="*/ 97 h 166"/>
                <a:gd name="T20" fmla="*/ 779 w 786"/>
                <a:gd name="T21" fmla="*/ 86 h 166"/>
                <a:gd name="T22" fmla="*/ 786 w 786"/>
                <a:gd name="T23" fmla="*/ 67 h 166"/>
                <a:gd name="T24" fmla="*/ 685 w 786"/>
                <a:gd name="T25" fmla="*/ 0 h 166"/>
                <a:gd name="T26" fmla="*/ 644 w 786"/>
                <a:gd name="T27" fmla="*/ 28 h 166"/>
                <a:gd name="T28" fmla="*/ 511 w 786"/>
                <a:gd name="T29" fmla="*/ 58 h 166"/>
                <a:gd name="T30" fmla="*/ 393 w 786"/>
                <a:gd name="T31" fmla="*/ 65 h 166"/>
                <a:gd name="T32" fmla="*/ 275 w 786"/>
                <a:gd name="T33" fmla="*/ 58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6" h="166">
                  <a:moveTo>
                    <a:pt x="275" y="58"/>
                  </a:moveTo>
                  <a:cubicBezTo>
                    <a:pt x="220" y="52"/>
                    <a:pt x="173" y="41"/>
                    <a:pt x="141" y="28"/>
                  </a:cubicBezTo>
                  <a:cubicBezTo>
                    <a:pt x="122" y="20"/>
                    <a:pt x="107" y="10"/>
                    <a:pt x="100" y="0"/>
                  </a:cubicBezTo>
                  <a:cubicBezTo>
                    <a:pt x="38" y="18"/>
                    <a:pt x="0" y="41"/>
                    <a:pt x="0" y="67"/>
                  </a:cubicBezTo>
                  <a:cubicBezTo>
                    <a:pt x="0" y="73"/>
                    <a:pt x="2" y="79"/>
                    <a:pt x="7" y="86"/>
                  </a:cubicBezTo>
                  <a:cubicBezTo>
                    <a:pt x="10" y="90"/>
                    <a:pt x="14" y="94"/>
                    <a:pt x="19" y="97"/>
                  </a:cubicBezTo>
                  <a:cubicBezTo>
                    <a:pt x="30" y="107"/>
                    <a:pt x="47" y="115"/>
                    <a:pt x="68" y="123"/>
                  </a:cubicBezTo>
                  <a:cubicBezTo>
                    <a:pt x="139" y="149"/>
                    <a:pt x="258" y="166"/>
                    <a:pt x="393" y="166"/>
                  </a:cubicBezTo>
                  <a:cubicBezTo>
                    <a:pt x="528" y="166"/>
                    <a:pt x="647" y="149"/>
                    <a:pt x="718" y="123"/>
                  </a:cubicBezTo>
                  <a:cubicBezTo>
                    <a:pt x="738" y="115"/>
                    <a:pt x="755" y="107"/>
                    <a:pt x="767" y="97"/>
                  </a:cubicBezTo>
                  <a:cubicBezTo>
                    <a:pt x="771" y="94"/>
                    <a:pt x="775" y="90"/>
                    <a:pt x="779" y="86"/>
                  </a:cubicBezTo>
                  <a:cubicBezTo>
                    <a:pt x="783" y="79"/>
                    <a:pt x="786" y="73"/>
                    <a:pt x="786" y="67"/>
                  </a:cubicBezTo>
                  <a:cubicBezTo>
                    <a:pt x="786" y="41"/>
                    <a:pt x="748" y="18"/>
                    <a:pt x="685" y="0"/>
                  </a:cubicBezTo>
                  <a:cubicBezTo>
                    <a:pt x="678" y="10"/>
                    <a:pt x="664" y="20"/>
                    <a:pt x="644" y="28"/>
                  </a:cubicBezTo>
                  <a:cubicBezTo>
                    <a:pt x="612" y="41"/>
                    <a:pt x="565" y="52"/>
                    <a:pt x="511" y="58"/>
                  </a:cubicBezTo>
                  <a:cubicBezTo>
                    <a:pt x="474" y="62"/>
                    <a:pt x="435" y="65"/>
                    <a:pt x="393" y="65"/>
                  </a:cubicBezTo>
                  <a:cubicBezTo>
                    <a:pt x="351" y="65"/>
                    <a:pt x="311" y="62"/>
                    <a:pt x="275" y="58"/>
                  </a:cubicBezTo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3DDF25D8-23A3-CF50-44E6-5C50D01C1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2764174"/>
              <a:ext cx="3711034" cy="749862"/>
            </a:xfrm>
            <a:custGeom>
              <a:avLst/>
              <a:gdLst>
                <a:gd name="T0" fmla="*/ 786 w 786"/>
                <a:gd name="T1" fmla="*/ 0 h 137"/>
                <a:gd name="T2" fmla="*/ 779 w 786"/>
                <a:gd name="T3" fmla="*/ 19 h 137"/>
                <a:gd name="T4" fmla="*/ 767 w 786"/>
                <a:gd name="T5" fmla="*/ 30 h 137"/>
                <a:gd name="T6" fmla="*/ 718 w 786"/>
                <a:gd name="T7" fmla="*/ 56 h 137"/>
                <a:gd name="T8" fmla="*/ 393 w 786"/>
                <a:gd name="T9" fmla="*/ 99 h 137"/>
                <a:gd name="T10" fmla="*/ 68 w 786"/>
                <a:gd name="T11" fmla="*/ 56 h 137"/>
                <a:gd name="T12" fmla="*/ 19 w 786"/>
                <a:gd name="T13" fmla="*/ 30 h 137"/>
                <a:gd name="T14" fmla="*/ 7 w 786"/>
                <a:gd name="T15" fmla="*/ 19 h 137"/>
                <a:gd name="T16" fmla="*/ 0 w 786"/>
                <a:gd name="T17" fmla="*/ 0 h 137"/>
                <a:gd name="T18" fmla="*/ 0 w 786"/>
                <a:gd name="T19" fmla="*/ 36 h 137"/>
                <a:gd name="T20" fmla="*/ 0 w 786"/>
                <a:gd name="T21" fmla="*/ 36 h 137"/>
                <a:gd name="T22" fmla="*/ 0 w 786"/>
                <a:gd name="T23" fmla="*/ 37 h 137"/>
                <a:gd name="T24" fmla="*/ 19 w 786"/>
                <a:gd name="T25" fmla="*/ 68 h 137"/>
                <a:gd name="T26" fmla="*/ 393 w 786"/>
                <a:gd name="T27" fmla="*/ 137 h 137"/>
                <a:gd name="T28" fmla="*/ 767 w 786"/>
                <a:gd name="T29" fmla="*/ 68 h 137"/>
                <a:gd name="T30" fmla="*/ 786 w 786"/>
                <a:gd name="T31" fmla="*/ 37 h 137"/>
                <a:gd name="T32" fmla="*/ 786 w 786"/>
                <a:gd name="T33" fmla="*/ 36 h 137"/>
                <a:gd name="T34" fmla="*/ 786 w 786"/>
                <a:gd name="T35" fmla="*/ 36 h 137"/>
                <a:gd name="T36" fmla="*/ 786 w 786"/>
                <a:gd name="T3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86" h="137">
                  <a:moveTo>
                    <a:pt x="786" y="0"/>
                  </a:moveTo>
                  <a:cubicBezTo>
                    <a:pt x="786" y="6"/>
                    <a:pt x="783" y="12"/>
                    <a:pt x="779" y="19"/>
                  </a:cubicBezTo>
                  <a:cubicBezTo>
                    <a:pt x="775" y="23"/>
                    <a:pt x="771" y="27"/>
                    <a:pt x="767" y="30"/>
                  </a:cubicBezTo>
                  <a:cubicBezTo>
                    <a:pt x="755" y="40"/>
                    <a:pt x="738" y="48"/>
                    <a:pt x="718" y="56"/>
                  </a:cubicBezTo>
                  <a:cubicBezTo>
                    <a:pt x="647" y="82"/>
                    <a:pt x="528" y="99"/>
                    <a:pt x="393" y="99"/>
                  </a:cubicBezTo>
                  <a:cubicBezTo>
                    <a:pt x="258" y="99"/>
                    <a:pt x="139" y="82"/>
                    <a:pt x="68" y="56"/>
                  </a:cubicBezTo>
                  <a:cubicBezTo>
                    <a:pt x="47" y="48"/>
                    <a:pt x="30" y="40"/>
                    <a:pt x="19" y="30"/>
                  </a:cubicBezTo>
                  <a:cubicBezTo>
                    <a:pt x="14" y="27"/>
                    <a:pt x="10" y="23"/>
                    <a:pt x="7" y="19"/>
                  </a:cubicBezTo>
                  <a:cubicBezTo>
                    <a:pt x="2" y="12"/>
                    <a:pt x="0" y="6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8"/>
                    <a:pt x="6" y="58"/>
                    <a:pt x="19" y="68"/>
                  </a:cubicBezTo>
                  <a:cubicBezTo>
                    <a:pt x="69" y="108"/>
                    <a:pt x="218" y="137"/>
                    <a:pt x="393" y="137"/>
                  </a:cubicBezTo>
                  <a:cubicBezTo>
                    <a:pt x="568" y="137"/>
                    <a:pt x="716" y="108"/>
                    <a:pt x="767" y="68"/>
                  </a:cubicBezTo>
                  <a:cubicBezTo>
                    <a:pt x="779" y="58"/>
                    <a:pt x="786" y="48"/>
                    <a:pt x="786" y="37"/>
                  </a:cubicBezTo>
                  <a:cubicBezTo>
                    <a:pt x="786" y="37"/>
                    <a:pt x="786" y="37"/>
                    <a:pt x="786" y="36"/>
                  </a:cubicBezTo>
                  <a:cubicBezTo>
                    <a:pt x="786" y="36"/>
                    <a:pt x="786" y="36"/>
                    <a:pt x="786" y="36"/>
                  </a:cubicBezTo>
                  <a:lnTo>
                    <a:pt x="786" y="0"/>
                  </a:ln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FD0D8538-71F0-0E17-F606-80C9D3B89C3F}"/>
              </a:ext>
            </a:extLst>
          </p:cNvPr>
          <p:cNvGrpSpPr/>
          <p:nvPr/>
        </p:nvGrpSpPr>
        <p:grpSpPr>
          <a:xfrm>
            <a:off x="3706521" y="2946692"/>
            <a:ext cx="4778958" cy="1379127"/>
            <a:chOff x="3706521" y="2960531"/>
            <a:chExt cx="4778958" cy="1379127"/>
          </a:xfrm>
        </p:grpSpPr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65103425-C507-75CF-C47F-09392789F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521" y="2960531"/>
              <a:ext cx="4778958" cy="1171949"/>
            </a:xfrm>
            <a:custGeom>
              <a:avLst/>
              <a:gdLst>
                <a:gd name="T0" fmla="*/ 899 w 1012"/>
                <a:gd name="T1" fmla="*/ 0 h 214"/>
                <a:gd name="T2" fmla="*/ 899 w 1012"/>
                <a:gd name="T3" fmla="*/ 1 h 214"/>
                <a:gd name="T4" fmla="*/ 880 w 1012"/>
                <a:gd name="T5" fmla="*/ 32 h 214"/>
                <a:gd name="T6" fmla="*/ 506 w 1012"/>
                <a:gd name="T7" fmla="*/ 101 h 214"/>
                <a:gd name="T8" fmla="*/ 132 w 1012"/>
                <a:gd name="T9" fmla="*/ 32 h 214"/>
                <a:gd name="T10" fmla="*/ 113 w 1012"/>
                <a:gd name="T11" fmla="*/ 1 h 214"/>
                <a:gd name="T12" fmla="*/ 113 w 1012"/>
                <a:gd name="T13" fmla="*/ 0 h 214"/>
                <a:gd name="T14" fmla="*/ 0 w 1012"/>
                <a:gd name="T15" fmla="*/ 83 h 214"/>
                <a:gd name="T16" fmla="*/ 5 w 1012"/>
                <a:gd name="T17" fmla="*/ 102 h 214"/>
                <a:gd name="T18" fmla="*/ 185 w 1012"/>
                <a:gd name="T19" fmla="*/ 185 h 214"/>
                <a:gd name="T20" fmla="*/ 257 w 1012"/>
                <a:gd name="T21" fmla="*/ 198 h 214"/>
                <a:gd name="T22" fmla="*/ 506 w 1012"/>
                <a:gd name="T23" fmla="*/ 214 h 214"/>
                <a:gd name="T24" fmla="*/ 754 w 1012"/>
                <a:gd name="T25" fmla="*/ 198 h 214"/>
                <a:gd name="T26" fmla="*/ 826 w 1012"/>
                <a:gd name="T27" fmla="*/ 185 h 214"/>
                <a:gd name="T28" fmla="*/ 1006 w 1012"/>
                <a:gd name="T29" fmla="*/ 102 h 214"/>
                <a:gd name="T30" fmla="*/ 1012 w 1012"/>
                <a:gd name="T31" fmla="*/ 83 h 214"/>
                <a:gd name="T32" fmla="*/ 899 w 1012"/>
                <a:gd name="T3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12" h="214">
                  <a:moveTo>
                    <a:pt x="899" y="0"/>
                  </a:moveTo>
                  <a:cubicBezTo>
                    <a:pt x="899" y="1"/>
                    <a:pt x="899" y="1"/>
                    <a:pt x="899" y="1"/>
                  </a:cubicBezTo>
                  <a:cubicBezTo>
                    <a:pt x="899" y="12"/>
                    <a:pt x="892" y="22"/>
                    <a:pt x="880" y="32"/>
                  </a:cubicBezTo>
                  <a:cubicBezTo>
                    <a:pt x="829" y="72"/>
                    <a:pt x="681" y="101"/>
                    <a:pt x="506" y="101"/>
                  </a:cubicBezTo>
                  <a:cubicBezTo>
                    <a:pt x="331" y="101"/>
                    <a:pt x="182" y="72"/>
                    <a:pt x="132" y="32"/>
                  </a:cubicBezTo>
                  <a:cubicBezTo>
                    <a:pt x="119" y="22"/>
                    <a:pt x="113" y="12"/>
                    <a:pt x="113" y="1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42" y="23"/>
                    <a:pt x="0" y="52"/>
                    <a:pt x="0" y="83"/>
                  </a:cubicBezTo>
                  <a:cubicBezTo>
                    <a:pt x="0" y="89"/>
                    <a:pt x="1" y="96"/>
                    <a:pt x="5" y="102"/>
                  </a:cubicBezTo>
                  <a:cubicBezTo>
                    <a:pt x="23" y="135"/>
                    <a:pt x="90" y="164"/>
                    <a:pt x="185" y="185"/>
                  </a:cubicBezTo>
                  <a:cubicBezTo>
                    <a:pt x="208" y="190"/>
                    <a:pt x="232" y="194"/>
                    <a:pt x="257" y="198"/>
                  </a:cubicBezTo>
                  <a:cubicBezTo>
                    <a:pt x="331" y="208"/>
                    <a:pt x="415" y="214"/>
                    <a:pt x="506" y="214"/>
                  </a:cubicBezTo>
                  <a:cubicBezTo>
                    <a:pt x="596" y="214"/>
                    <a:pt x="680" y="208"/>
                    <a:pt x="754" y="198"/>
                  </a:cubicBezTo>
                  <a:cubicBezTo>
                    <a:pt x="779" y="194"/>
                    <a:pt x="803" y="190"/>
                    <a:pt x="826" y="185"/>
                  </a:cubicBezTo>
                  <a:cubicBezTo>
                    <a:pt x="922" y="164"/>
                    <a:pt x="988" y="135"/>
                    <a:pt x="1006" y="102"/>
                  </a:cubicBezTo>
                  <a:cubicBezTo>
                    <a:pt x="1010" y="96"/>
                    <a:pt x="1012" y="89"/>
                    <a:pt x="1012" y="83"/>
                  </a:cubicBezTo>
                  <a:cubicBezTo>
                    <a:pt x="1012" y="52"/>
                    <a:pt x="969" y="23"/>
                    <a:pt x="899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9A421F01-E317-74A1-CEED-2945F73EC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521" y="3415086"/>
              <a:ext cx="4778958" cy="924572"/>
            </a:xfrm>
            <a:custGeom>
              <a:avLst/>
              <a:gdLst>
                <a:gd name="T0" fmla="*/ 1006 w 1012"/>
                <a:gd name="T1" fmla="*/ 19 h 169"/>
                <a:gd name="T2" fmla="*/ 826 w 1012"/>
                <a:gd name="T3" fmla="*/ 102 h 169"/>
                <a:gd name="T4" fmla="*/ 754 w 1012"/>
                <a:gd name="T5" fmla="*/ 115 h 169"/>
                <a:gd name="T6" fmla="*/ 506 w 1012"/>
                <a:gd name="T7" fmla="*/ 131 h 169"/>
                <a:gd name="T8" fmla="*/ 257 w 1012"/>
                <a:gd name="T9" fmla="*/ 115 h 169"/>
                <a:gd name="T10" fmla="*/ 185 w 1012"/>
                <a:gd name="T11" fmla="*/ 102 h 169"/>
                <a:gd name="T12" fmla="*/ 5 w 1012"/>
                <a:gd name="T13" fmla="*/ 19 h 169"/>
                <a:gd name="T14" fmla="*/ 0 w 1012"/>
                <a:gd name="T15" fmla="*/ 0 h 169"/>
                <a:gd name="T16" fmla="*/ 0 w 1012"/>
                <a:gd name="T17" fmla="*/ 38 h 169"/>
                <a:gd name="T18" fmla="*/ 134 w 1012"/>
                <a:gd name="T19" fmla="*/ 127 h 169"/>
                <a:gd name="T20" fmla="*/ 144 w 1012"/>
                <a:gd name="T21" fmla="*/ 120 h 169"/>
                <a:gd name="T22" fmla="*/ 156 w 1012"/>
                <a:gd name="T23" fmla="*/ 114 h 169"/>
                <a:gd name="T24" fmla="*/ 170 w 1012"/>
                <a:gd name="T25" fmla="*/ 108 h 169"/>
                <a:gd name="T26" fmla="*/ 156 w 1012"/>
                <a:gd name="T27" fmla="*/ 114 h 169"/>
                <a:gd name="T28" fmla="*/ 144 w 1012"/>
                <a:gd name="T29" fmla="*/ 120 h 169"/>
                <a:gd name="T30" fmla="*/ 134 w 1012"/>
                <a:gd name="T31" fmla="*/ 127 h 169"/>
                <a:gd name="T32" fmla="*/ 176 w 1012"/>
                <a:gd name="T33" fmla="*/ 137 h 169"/>
                <a:gd name="T34" fmla="*/ 506 w 1012"/>
                <a:gd name="T35" fmla="*/ 169 h 169"/>
                <a:gd name="T36" fmla="*/ 835 w 1012"/>
                <a:gd name="T37" fmla="*/ 137 h 169"/>
                <a:gd name="T38" fmla="*/ 877 w 1012"/>
                <a:gd name="T39" fmla="*/ 127 h 169"/>
                <a:gd name="T40" fmla="*/ 1012 w 1012"/>
                <a:gd name="T41" fmla="*/ 38 h 169"/>
                <a:gd name="T42" fmla="*/ 1012 w 1012"/>
                <a:gd name="T43" fmla="*/ 0 h 169"/>
                <a:gd name="T44" fmla="*/ 1006 w 1012"/>
                <a:gd name="T45" fmla="*/ 1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12" h="169">
                  <a:moveTo>
                    <a:pt x="1006" y="19"/>
                  </a:moveTo>
                  <a:cubicBezTo>
                    <a:pt x="988" y="52"/>
                    <a:pt x="922" y="81"/>
                    <a:pt x="826" y="102"/>
                  </a:cubicBezTo>
                  <a:cubicBezTo>
                    <a:pt x="803" y="107"/>
                    <a:pt x="779" y="111"/>
                    <a:pt x="754" y="115"/>
                  </a:cubicBezTo>
                  <a:cubicBezTo>
                    <a:pt x="680" y="125"/>
                    <a:pt x="596" y="131"/>
                    <a:pt x="506" y="131"/>
                  </a:cubicBezTo>
                  <a:cubicBezTo>
                    <a:pt x="415" y="131"/>
                    <a:pt x="331" y="125"/>
                    <a:pt x="257" y="115"/>
                  </a:cubicBezTo>
                  <a:cubicBezTo>
                    <a:pt x="232" y="111"/>
                    <a:pt x="208" y="107"/>
                    <a:pt x="185" y="102"/>
                  </a:cubicBezTo>
                  <a:cubicBezTo>
                    <a:pt x="90" y="81"/>
                    <a:pt x="23" y="52"/>
                    <a:pt x="5" y="19"/>
                  </a:cubicBezTo>
                  <a:cubicBezTo>
                    <a:pt x="1" y="13"/>
                    <a:pt x="0" y="6"/>
                    <a:pt x="0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72"/>
                    <a:pt x="51" y="103"/>
                    <a:pt x="134" y="127"/>
                  </a:cubicBezTo>
                  <a:cubicBezTo>
                    <a:pt x="137" y="125"/>
                    <a:pt x="141" y="122"/>
                    <a:pt x="144" y="120"/>
                  </a:cubicBezTo>
                  <a:cubicBezTo>
                    <a:pt x="148" y="118"/>
                    <a:pt x="152" y="116"/>
                    <a:pt x="156" y="114"/>
                  </a:cubicBezTo>
                  <a:cubicBezTo>
                    <a:pt x="161" y="112"/>
                    <a:pt x="165" y="110"/>
                    <a:pt x="170" y="108"/>
                  </a:cubicBezTo>
                  <a:cubicBezTo>
                    <a:pt x="165" y="110"/>
                    <a:pt x="161" y="112"/>
                    <a:pt x="156" y="114"/>
                  </a:cubicBezTo>
                  <a:cubicBezTo>
                    <a:pt x="152" y="116"/>
                    <a:pt x="148" y="118"/>
                    <a:pt x="144" y="120"/>
                  </a:cubicBezTo>
                  <a:cubicBezTo>
                    <a:pt x="141" y="122"/>
                    <a:pt x="137" y="125"/>
                    <a:pt x="134" y="127"/>
                  </a:cubicBezTo>
                  <a:cubicBezTo>
                    <a:pt x="148" y="131"/>
                    <a:pt x="162" y="134"/>
                    <a:pt x="176" y="137"/>
                  </a:cubicBezTo>
                  <a:cubicBezTo>
                    <a:pt x="265" y="157"/>
                    <a:pt x="380" y="169"/>
                    <a:pt x="506" y="169"/>
                  </a:cubicBezTo>
                  <a:cubicBezTo>
                    <a:pt x="631" y="169"/>
                    <a:pt x="746" y="157"/>
                    <a:pt x="835" y="137"/>
                  </a:cubicBezTo>
                  <a:cubicBezTo>
                    <a:pt x="850" y="134"/>
                    <a:pt x="864" y="131"/>
                    <a:pt x="877" y="127"/>
                  </a:cubicBezTo>
                  <a:cubicBezTo>
                    <a:pt x="961" y="103"/>
                    <a:pt x="1012" y="72"/>
                    <a:pt x="1012" y="38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1012" y="6"/>
                    <a:pt x="1010" y="13"/>
                    <a:pt x="1006" y="19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E5F42A60-6097-5AAC-DBDA-64473B83A759}"/>
              </a:ext>
            </a:extLst>
          </p:cNvPr>
          <p:cNvGrpSpPr/>
          <p:nvPr/>
        </p:nvGrpSpPr>
        <p:grpSpPr>
          <a:xfrm>
            <a:off x="4685006" y="4814310"/>
            <a:ext cx="2823324" cy="814797"/>
            <a:chOff x="4685006" y="4865334"/>
            <a:chExt cx="2823324" cy="814797"/>
          </a:xfrm>
        </p:grpSpPr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20CE4081-CA5F-B781-892B-F6F5DE951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4865334"/>
              <a:ext cx="2823324" cy="618442"/>
            </a:xfrm>
            <a:custGeom>
              <a:avLst/>
              <a:gdLst>
                <a:gd name="T0" fmla="*/ 564 w 598"/>
                <a:gd name="T1" fmla="*/ 0 h 113"/>
                <a:gd name="T2" fmla="*/ 495 w 598"/>
                <a:gd name="T3" fmla="*/ 13 h 113"/>
                <a:gd name="T4" fmla="*/ 299 w 598"/>
                <a:gd name="T5" fmla="*/ 26 h 113"/>
                <a:gd name="T6" fmla="*/ 102 w 598"/>
                <a:gd name="T7" fmla="*/ 13 h 113"/>
                <a:gd name="T8" fmla="*/ 33 w 598"/>
                <a:gd name="T9" fmla="*/ 0 h 113"/>
                <a:gd name="T10" fmla="*/ 0 w 598"/>
                <a:gd name="T11" fmla="*/ 36 h 113"/>
                <a:gd name="T12" fmla="*/ 8 w 598"/>
                <a:gd name="T13" fmla="*/ 53 h 113"/>
                <a:gd name="T14" fmla="*/ 299 w 598"/>
                <a:gd name="T15" fmla="*/ 113 h 113"/>
                <a:gd name="T16" fmla="*/ 590 w 598"/>
                <a:gd name="T17" fmla="*/ 53 h 113"/>
                <a:gd name="T18" fmla="*/ 598 w 598"/>
                <a:gd name="T19" fmla="*/ 36 h 113"/>
                <a:gd name="T20" fmla="*/ 564 w 598"/>
                <a:gd name="T21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8" h="113">
                  <a:moveTo>
                    <a:pt x="564" y="0"/>
                  </a:moveTo>
                  <a:cubicBezTo>
                    <a:pt x="543" y="5"/>
                    <a:pt x="520" y="9"/>
                    <a:pt x="495" y="13"/>
                  </a:cubicBezTo>
                  <a:cubicBezTo>
                    <a:pt x="437" y="21"/>
                    <a:pt x="370" y="26"/>
                    <a:pt x="299" y="26"/>
                  </a:cubicBezTo>
                  <a:cubicBezTo>
                    <a:pt x="227" y="26"/>
                    <a:pt x="160" y="21"/>
                    <a:pt x="102" y="13"/>
                  </a:cubicBezTo>
                  <a:cubicBezTo>
                    <a:pt x="77" y="9"/>
                    <a:pt x="54" y="5"/>
                    <a:pt x="33" y="0"/>
                  </a:cubicBezTo>
                  <a:cubicBezTo>
                    <a:pt x="12" y="11"/>
                    <a:pt x="0" y="23"/>
                    <a:pt x="0" y="36"/>
                  </a:cubicBezTo>
                  <a:cubicBezTo>
                    <a:pt x="0" y="42"/>
                    <a:pt x="2" y="48"/>
                    <a:pt x="8" y="53"/>
                  </a:cubicBezTo>
                  <a:cubicBezTo>
                    <a:pt x="39" y="88"/>
                    <a:pt x="157" y="113"/>
                    <a:pt x="299" y="113"/>
                  </a:cubicBezTo>
                  <a:cubicBezTo>
                    <a:pt x="440" y="113"/>
                    <a:pt x="559" y="88"/>
                    <a:pt x="590" y="53"/>
                  </a:cubicBezTo>
                  <a:cubicBezTo>
                    <a:pt x="595" y="48"/>
                    <a:pt x="598" y="42"/>
                    <a:pt x="598" y="36"/>
                  </a:cubicBezTo>
                  <a:cubicBezTo>
                    <a:pt x="598" y="23"/>
                    <a:pt x="585" y="11"/>
                    <a:pt x="56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A3FD4035-0B1F-C93F-AD7A-5911B0F154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06" y="5061689"/>
              <a:ext cx="2823324" cy="618442"/>
            </a:xfrm>
            <a:custGeom>
              <a:avLst/>
              <a:gdLst>
                <a:gd name="T0" fmla="*/ 590 w 598"/>
                <a:gd name="T1" fmla="*/ 17 h 113"/>
                <a:gd name="T2" fmla="*/ 299 w 598"/>
                <a:gd name="T3" fmla="*/ 77 h 113"/>
                <a:gd name="T4" fmla="*/ 8 w 598"/>
                <a:gd name="T5" fmla="*/ 17 h 113"/>
                <a:gd name="T6" fmla="*/ 0 w 598"/>
                <a:gd name="T7" fmla="*/ 0 h 113"/>
                <a:gd name="T8" fmla="*/ 0 w 598"/>
                <a:gd name="T9" fmla="*/ 35 h 113"/>
                <a:gd name="T10" fmla="*/ 299 w 598"/>
                <a:gd name="T11" fmla="*/ 113 h 113"/>
                <a:gd name="T12" fmla="*/ 598 w 598"/>
                <a:gd name="T13" fmla="*/ 35 h 113"/>
                <a:gd name="T14" fmla="*/ 598 w 598"/>
                <a:gd name="T15" fmla="*/ 0 h 113"/>
                <a:gd name="T16" fmla="*/ 590 w 598"/>
                <a:gd name="T17" fmla="*/ 1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8" h="113">
                  <a:moveTo>
                    <a:pt x="590" y="17"/>
                  </a:moveTo>
                  <a:cubicBezTo>
                    <a:pt x="559" y="52"/>
                    <a:pt x="440" y="77"/>
                    <a:pt x="299" y="77"/>
                  </a:cubicBezTo>
                  <a:cubicBezTo>
                    <a:pt x="157" y="77"/>
                    <a:pt x="39" y="52"/>
                    <a:pt x="8" y="17"/>
                  </a:cubicBezTo>
                  <a:cubicBezTo>
                    <a:pt x="2" y="12"/>
                    <a:pt x="0" y="6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78"/>
                    <a:pt x="134" y="113"/>
                    <a:pt x="299" y="113"/>
                  </a:cubicBezTo>
                  <a:cubicBezTo>
                    <a:pt x="464" y="113"/>
                    <a:pt x="598" y="78"/>
                    <a:pt x="598" y="35"/>
                  </a:cubicBezTo>
                  <a:cubicBezTo>
                    <a:pt x="598" y="0"/>
                    <a:pt x="598" y="0"/>
                    <a:pt x="598" y="0"/>
                  </a:cubicBezTo>
                  <a:cubicBezTo>
                    <a:pt x="598" y="6"/>
                    <a:pt x="595" y="12"/>
                    <a:pt x="590" y="17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38FE194F-00EB-79DB-4963-34132C6E721B}"/>
              </a:ext>
            </a:extLst>
          </p:cNvPr>
          <p:cNvGrpSpPr/>
          <p:nvPr/>
        </p:nvGrpSpPr>
        <p:grpSpPr>
          <a:xfrm>
            <a:off x="4240482" y="4073803"/>
            <a:ext cx="3711034" cy="896741"/>
            <a:chOff x="4240482" y="4110834"/>
            <a:chExt cx="3711034" cy="896741"/>
          </a:xfrm>
        </p:grpSpPr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048F357E-6737-E502-5711-A88CABAC8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4110834"/>
              <a:ext cx="3711034" cy="722032"/>
            </a:xfrm>
            <a:custGeom>
              <a:avLst/>
              <a:gdLst>
                <a:gd name="T0" fmla="*/ 764 w 786"/>
                <a:gd name="T1" fmla="*/ 0 h 132"/>
                <a:gd name="T2" fmla="*/ 722 w 786"/>
                <a:gd name="T3" fmla="*/ 10 h 132"/>
                <a:gd name="T4" fmla="*/ 393 w 786"/>
                <a:gd name="T5" fmla="*/ 42 h 132"/>
                <a:gd name="T6" fmla="*/ 63 w 786"/>
                <a:gd name="T7" fmla="*/ 10 h 132"/>
                <a:gd name="T8" fmla="*/ 21 w 786"/>
                <a:gd name="T9" fmla="*/ 0 h 132"/>
                <a:gd name="T10" fmla="*/ 0 w 786"/>
                <a:gd name="T11" fmla="*/ 32 h 132"/>
                <a:gd name="T12" fmla="*/ 5 w 786"/>
                <a:gd name="T13" fmla="*/ 48 h 132"/>
                <a:gd name="T14" fmla="*/ 188 w 786"/>
                <a:gd name="T15" fmla="*/ 117 h 132"/>
                <a:gd name="T16" fmla="*/ 393 w 786"/>
                <a:gd name="T17" fmla="*/ 132 h 132"/>
                <a:gd name="T18" fmla="*/ 597 w 786"/>
                <a:gd name="T19" fmla="*/ 117 h 132"/>
                <a:gd name="T20" fmla="*/ 780 w 786"/>
                <a:gd name="T21" fmla="*/ 48 h 132"/>
                <a:gd name="T22" fmla="*/ 786 w 786"/>
                <a:gd name="T23" fmla="*/ 32 h 132"/>
                <a:gd name="T24" fmla="*/ 764 w 786"/>
                <a:gd name="T2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6" h="132">
                  <a:moveTo>
                    <a:pt x="764" y="0"/>
                  </a:moveTo>
                  <a:cubicBezTo>
                    <a:pt x="751" y="4"/>
                    <a:pt x="737" y="7"/>
                    <a:pt x="722" y="10"/>
                  </a:cubicBezTo>
                  <a:cubicBezTo>
                    <a:pt x="633" y="30"/>
                    <a:pt x="518" y="42"/>
                    <a:pt x="393" y="42"/>
                  </a:cubicBezTo>
                  <a:cubicBezTo>
                    <a:pt x="267" y="42"/>
                    <a:pt x="152" y="30"/>
                    <a:pt x="63" y="10"/>
                  </a:cubicBezTo>
                  <a:cubicBezTo>
                    <a:pt x="49" y="7"/>
                    <a:pt x="35" y="4"/>
                    <a:pt x="21" y="0"/>
                  </a:cubicBezTo>
                  <a:cubicBezTo>
                    <a:pt x="7" y="10"/>
                    <a:pt x="0" y="21"/>
                    <a:pt x="0" y="32"/>
                  </a:cubicBezTo>
                  <a:cubicBezTo>
                    <a:pt x="0" y="38"/>
                    <a:pt x="1" y="43"/>
                    <a:pt x="5" y="48"/>
                  </a:cubicBezTo>
                  <a:cubicBezTo>
                    <a:pt x="24" y="78"/>
                    <a:pt x="92" y="102"/>
                    <a:pt x="188" y="117"/>
                  </a:cubicBezTo>
                  <a:cubicBezTo>
                    <a:pt x="248" y="126"/>
                    <a:pt x="318" y="132"/>
                    <a:pt x="393" y="132"/>
                  </a:cubicBezTo>
                  <a:cubicBezTo>
                    <a:pt x="468" y="132"/>
                    <a:pt x="538" y="126"/>
                    <a:pt x="597" y="117"/>
                  </a:cubicBezTo>
                  <a:cubicBezTo>
                    <a:pt x="693" y="102"/>
                    <a:pt x="762" y="78"/>
                    <a:pt x="780" y="48"/>
                  </a:cubicBezTo>
                  <a:cubicBezTo>
                    <a:pt x="784" y="43"/>
                    <a:pt x="786" y="38"/>
                    <a:pt x="786" y="32"/>
                  </a:cubicBezTo>
                  <a:cubicBezTo>
                    <a:pt x="786" y="21"/>
                    <a:pt x="778" y="10"/>
                    <a:pt x="764" y="0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A6483595-3321-F443-02EA-55A66D8FD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482" y="4285543"/>
              <a:ext cx="3711034" cy="722032"/>
            </a:xfrm>
            <a:custGeom>
              <a:avLst/>
              <a:gdLst>
                <a:gd name="T0" fmla="*/ 780 w 786"/>
                <a:gd name="T1" fmla="*/ 16 h 132"/>
                <a:gd name="T2" fmla="*/ 597 w 786"/>
                <a:gd name="T3" fmla="*/ 85 h 132"/>
                <a:gd name="T4" fmla="*/ 393 w 786"/>
                <a:gd name="T5" fmla="*/ 100 h 132"/>
                <a:gd name="T6" fmla="*/ 188 w 786"/>
                <a:gd name="T7" fmla="*/ 85 h 132"/>
                <a:gd name="T8" fmla="*/ 5 w 786"/>
                <a:gd name="T9" fmla="*/ 16 h 132"/>
                <a:gd name="T10" fmla="*/ 0 w 786"/>
                <a:gd name="T11" fmla="*/ 0 h 132"/>
                <a:gd name="T12" fmla="*/ 0 w 786"/>
                <a:gd name="T13" fmla="*/ 33 h 132"/>
                <a:gd name="T14" fmla="*/ 127 w 786"/>
                <a:gd name="T15" fmla="*/ 106 h 132"/>
                <a:gd name="T16" fmla="*/ 196 w 786"/>
                <a:gd name="T17" fmla="*/ 119 h 132"/>
                <a:gd name="T18" fmla="*/ 393 w 786"/>
                <a:gd name="T19" fmla="*/ 132 h 132"/>
                <a:gd name="T20" fmla="*/ 589 w 786"/>
                <a:gd name="T21" fmla="*/ 119 h 132"/>
                <a:gd name="T22" fmla="*/ 658 w 786"/>
                <a:gd name="T23" fmla="*/ 106 h 132"/>
                <a:gd name="T24" fmla="*/ 786 w 786"/>
                <a:gd name="T25" fmla="*/ 33 h 132"/>
                <a:gd name="T26" fmla="*/ 786 w 786"/>
                <a:gd name="T27" fmla="*/ 0 h 132"/>
                <a:gd name="T28" fmla="*/ 780 w 786"/>
                <a:gd name="T29" fmla="*/ 1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6" h="132">
                  <a:moveTo>
                    <a:pt x="780" y="16"/>
                  </a:moveTo>
                  <a:cubicBezTo>
                    <a:pt x="762" y="46"/>
                    <a:pt x="693" y="70"/>
                    <a:pt x="597" y="85"/>
                  </a:cubicBezTo>
                  <a:cubicBezTo>
                    <a:pt x="538" y="94"/>
                    <a:pt x="468" y="100"/>
                    <a:pt x="393" y="100"/>
                  </a:cubicBezTo>
                  <a:cubicBezTo>
                    <a:pt x="318" y="100"/>
                    <a:pt x="248" y="94"/>
                    <a:pt x="188" y="85"/>
                  </a:cubicBezTo>
                  <a:cubicBezTo>
                    <a:pt x="92" y="70"/>
                    <a:pt x="24" y="46"/>
                    <a:pt x="5" y="16"/>
                  </a:cubicBezTo>
                  <a:cubicBezTo>
                    <a:pt x="1" y="11"/>
                    <a:pt x="0" y="6"/>
                    <a:pt x="0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62"/>
                    <a:pt x="49" y="88"/>
                    <a:pt x="127" y="106"/>
                  </a:cubicBezTo>
                  <a:cubicBezTo>
                    <a:pt x="148" y="111"/>
                    <a:pt x="171" y="115"/>
                    <a:pt x="196" y="119"/>
                  </a:cubicBezTo>
                  <a:cubicBezTo>
                    <a:pt x="254" y="127"/>
                    <a:pt x="321" y="132"/>
                    <a:pt x="393" y="132"/>
                  </a:cubicBezTo>
                  <a:cubicBezTo>
                    <a:pt x="464" y="132"/>
                    <a:pt x="531" y="127"/>
                    <a:pt x="589" y="119"/>
                  </a:cubicBezTo>
                  <a:cubicBezTo>
                    <a:pt x="614" y="115"/>
                    <a:pt x="637" y="111"/>
                    <a:pt x="658" y="106"/>
                  </a:cubicBezTo>
                  <a:cubicBezTo>
                    <a:pt x="736" y="88"/>
                    <a:pt x="786" y="62"/>
                    <a:pt x="786" y="33"/>
                  </a:cubicBezTo>
                  <a:cubicBezTo>
                    <a:pt x="786" y="0"/>
                    <a:pt x="786" y="0"/>
                    <a:pt x="786" y="0"/>
                  </a:cubicBezTo>
                  <a:cubicBezTo>
                    <a:pt x="786" y="6"/>
                    <a:pt x="784" y="11"/>
                    <a:pt x="780" y="16"/>
                  </a:cubicBezTo>
                  <a:close/>
                </a:path>
              </a:pathLst>
            </a:custGeom>
            <a:solidFill>
              <a:srgbClr val="620C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7BBDAFE6-EE78-1E0E-7B30-FB06F2A5ED53}"/>
              </a:ext>
            </a:extLst>
          </p:cNvPr>
          <p:cNvGrpSpPr/>
          <p:nvPr/>
        </p:nvGrpSpPr>
        <p:grpSpPr>
          <a:xfrm>
            <a:off x="163532" y="1440722"/>
            <a:ext cx="4439311" cy="1479765"/>
            <a:chOff x="230964" y="1440722"/>
            <a:chExt cx="4439311" cy="1479765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BC813AE4-E3D8-3EC1-0C2E-7BA8BDD32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24" name="Straight Connector 85">
              <a:extLst>
                <a:ext uri="{FF2B5EF4-FFF2-40B4-BE49-F238E27FC236}">
                  <a16:creationId xmlns:a16="http://schemas.microsoft.com/office/drawing/2014/main" id="{10A31B98-AE71-B040-4FB7-08F41327E4A5}"/>
                </a:ext>
              </a:extLst>
            </p:cNvPr>
            <p:cNvCxnSpPr>
              <a:cxnSpLocks/>
            </p:cNvCxnSpPr>
            <p:nvPr/>
          </p:nvCxnSpPr>
          <p:spPr>
            <a:xfrm>
              <a:off x="643370" y="2920487"/>
              <a:ext cx="2404872" cy="0"/>
            </a:xfrm>
            <a:prstGeom prst="line">
              <a:avLst/>
            </a:prstGeom>
            <a:ln w="25400">
              <a:gradFill flip="none" rotWithShape="1">
                <a:gsLst>
                  <a:gs pos="100000">
                    <a:srgbClr val="620CD2">
                      <a:alpha val="0"/>
                    </a:srgbClr>
                  </a:gs>
                  <a:gs pos="0">
                    <a:srgbClr val="620CEA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967A485-B95F-1329-4475-3454161A33D8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бработка </a:t>
              </a:r>
              <a:b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потенциальных</a:t>
              </a:r>
              <a:b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лиентов</a:t>
              </a:r>
              <a:endParaRPr lang="ru-RU" sz="2400" dirty="0">
                <a:effectLst/>
                <a:latin typeface="Unbounde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306CE6C-344D-F920-534A-A9FF9A990C9D}"/>
              </a:ext>
            </a:extLst>
          </p:cNvPr>
          <p:cNvGrpSpPr/>
          <p:nvPr/>
        </p:nvGrpSpPr>
        <p:grpSpPr>
          <a:xfrm>
            <a:off x="163532" y="3249751"/>
            <a:ext cx="4439311" cy="1479765"/>
            <a:chOff x="230964" y="1440722"/>
            <a:chExt cx="4439311" cy="1479765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73C6C8FB-D532-C1A1-464B-830B0CC559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17" name="Straight Connector 85">
              <a:extLst>
                <a:ext uri="{FF2B5EF4-FFF2-40B4-BE49-F238E27FC236}">
                  <a16:creationId xmlns:a16="http://schemas.microsoft.com/office/drawing/2014/main" id="{39B00574-15B2-A4EE-559B-8A95AD26EEAB}"/>
                </a:ext>
              </a:extLst>
            </p:cNvPr>
            <p:cNvCxnSpPr>
              <a:cxnSpLocks/>
            </p:cNvCxnSpPr>
            <p:nvPr/>
          </p:nvCxnSpPr>
          <p:spPr>
            <a:xfrm>
              <a:off x="643370" y="2920487"/>
              <a:ext cx="2404872" cy="0"/>
            </a:xfrm>
            <a:prstGeom prst="line">
              <a:avLst/>
            </a:prstGeom>
            <a:ln w="25400">
              <a:gradFill flip="none" rotWithShape="1">
                <a:gsLst>
                  <a:gs pos="100000">
                    <a:srgbClr val="620CD2">
                      <a:alpha val="0"/>
                    </a:srgbClr>
                  </a:gs>
                  <a:gs pos="0">
                    <a:srgbClr val="620CEA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27CB6C4-8CEC-D21C-265A-C4A335AAB715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Развитие 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артнерских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рограмм</a:t>
              </a: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C70203D5-0578-D4DB-184D-B8F7D0AC6320}"/>
              </a:ext>
            </a:extLst>
          </p:cNvPr>
          <p:cNvGrpSpPr/>
          <p:nvPr/>
        </p:nvGrpSpPr>
        <p:grpSpPr>
          <a:xfrm>
            <a:off x="163532" y="5107767"/>
            <a:ext cx="4439311" cy="1323439"/>
            <a:chOff x="230964" y="1440722"/>
            <a:chExt cx="4439311" cy="1323439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915F3402-4DAE-C54E-4DE5-011E14177F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64" y="1583724"/>
              <a:ext cx="214313" cy="214312"/>
            </a:xfrm>
            <a:custGeom>
              <a:avLst/>
              <a:gdLst>
                <a:gd name="T0" fmla="*/ 30 w 60"/>
                <a:gd name="T1" fmla="*/ 0 h 60"/>
                <a:gd name="T2" fmla="*/ 60 w 60"/>
                <a:gd name="T3" fmla="*/ 30 h 60"/>
                <a:gd name="T4" fmla="*/ 30 w 60"/>
                <a:gd name="T5" fmla="*/ 60 h 60"/>
                <a:gd name="T6" fmla="*/ 0 w 60"/>
                <a:gd name="T7" fmla="*/ 30 h 60"/>
                <a:gd name="T8" fmla="*/ 30 w 60"/>
                <a:gd name="T9" fmla="*/ 0 h 60"/>
                <a:gd name="T10" fmla="*/ 35 w 60"/>
                <a:gd name="T11" fmla="*/ 33 h 60"/>
                <a:gd name="T12" fmla="*/ 34 w 60"/>
                <a:gd name="T13" fmla="*/ 34 h 60"/>
                <a:gd name="T14" fmla="*/ 28 w 60"/>
                <a:gd name="T15" fmla="*/ 40 h 60"/>
                <a:gd name="T16" fmla="*/ 28 w 60"/>
                <a:gd name="T17" fmla="*/ 44 h 60"/>
                <a:gd name="T18" fmla="*/ 32 w 60"/>
                <a:gd name="T19" fmla="*/ 44 h 60"/>
                <a:gd name="T20" fmla="*/ 44 w 60"/>
                <a:gd name="T21" fmla="*/ 32 h 60"/>
                <a:gd name="T22" fmla="*/ 44 w 60"/>
                <a:gd name="T23" fmla="*/ 28 h 60"/>
                <a:gd name="T24" fmla="*/ 32 w 60"/>
                <a:gd name="T25" fmla="*/ 16 h 60"/>
                <a:gd name="T26" fmla="*/ 30 w 60"/>
                <a:gd name="T27" fmla="*/ 15 h 60"/>
                <a:gd name="T28" fmla="*/ 27 w 60"/>
                <a:gd name="T29" fmla="*/ 17 h 60"/>
                <a:gd name="T30" fmla="*/ 28 w 60"/>
                <a:gd name="T31" fmla="*/ 20 h 60"/>
                <a:gd name="T32" fmla="*/ 34 w 60"/>
                <a:gd name="T33" fmla="*/ 27 h 60"/>
                <a:gd name="T34" fmla="*/ 35 w 60"/>
                <a:gd name="T35" fmla="*/ 27 h 60"/>
                <a:gd name="T36" fmla="*/ 34 w 60"/>
                <a:gd name="T37" fmla="*/ 27 h 60"/>
                <a:gd name="T38" fmla="*/ 19 w 60"/>
                <a:gd name="T39" fmla="*/ 27 h 60"/>
                <a:gd name="T40" fmla="*/ 18 w 60"/>
                <a:gd name="T41" fmla="*/ 27 h 60"/>
                <a:gd name="T42" fmla="*/ 15 w 60"/>
                <a:gd name="T43" fmla="*/ 31 h 60"/>
                <a:gd name="T44" fmla="*/ 18 w 60"/>
                <a:gd name="T45" fmla="*/ 33 h 60"/>
                <a:gd name="T46" fmla="*/ 34 w 60"/>
                <a:gd name="T47" fmla="*/ 33 h 60"/>
                <a:gd name="T48" fmla="*/ 35 w 60"/>
                <a:gd name="T4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lose/>
                  <a:moveTo>
                    <a:pt x="35" y="33"/>
                  </a:moveTo>
                  <a:cubicBezTo>
                    <a:pt x="35" y="33"/>
                    <a:pt x="34" y="34"/>
                    <a:pt x="34" y="34"/>
                  </a:cubicBezTo>
                  <a:cubicBezTo>
                    <a:pt x="32" y="36"/>
                    <a:pt x="30" y="38"/>
                    <a:pt x="28" y="40"/>
                  </a:cubicBezTo>
                  <a:cubicBezTo>
                    <a:pt x="27" y="41"/>
                    <a:pt x="27" y="43"/>
                    <a:pt x="28" y="44"/>
                  </a:cubicBezTo>
                  <a:cubicBezTo>
                    <a:pt x="29" y="45"/>
                    <a:pt x="31" y="45"/>
                    <a:pt x="32" y="44"/>
                  </a:cubicBezTo>
                  <a:cubicBezTo>
                    <a:pt x="36" y="40"/>
                    <a:pt x="40" y="36"/>
                    <a:pt x="44" y="32"/>
                  </a:cubicBezTo>
                  <a:cubicBezTo>
                    <a:pt x="45" y="31"/>
                    <a:pt x="45" y="29"/>
                    <a:pt x="44" y="28"/>
                  </a:cubicBezTo>
                  <a:cubicBezTo>
                    <a:pt x="40" y="24"/>
                    <a:pt x="36" y="20"/>
                    <a:pt x="32" y="16"/>
                  </a:cubicBezTo>
                  <a:cubicBezTo>
                    <a:pt x="32" y="15"/>
                    <a:pt x="31" y="15"/>
                    <a:pt x="30" y="15"/>
                  </a:cubicBezTo>
                  <a:cubicBezTo>
                    <a:pt x="29" y="15"/>
                    <a:pt x="28" y="16"/>
                    <a:pt x="27" y="17"/>
                  </a:cubicBezTo>
                  <a:cubicBezTo>
                    <a:pt x="27" y="18"/>
                    <a:pt x="27" y="19"/>
                    <a:pt x="28" y="20"/>
                  </a:cubicBezTo>
                  <a:cubicBezTo>
                    <a:pt x="30" y="22"/>
                    <a:pt x="32" y="24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29" y="27"/>
                    <a:pt x="24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6" y="27"/>
                    <a:pt x="15" y="29"/>
                    <a:pt x="15" y="31"/>
                  </a:cubicBezTo>
                  <a:cubicBezTo>
                    <a:pt x="15" y="32"/>
                    <a:pt x="17" y="33"/>
                    <a:pt x="18" y="33"/>
                  </a:cubicBezTo>
                  <a:cubicBezTo>
                    <a:pt x="24" y="33"/>
                    <a:pt x="29" y="33"/>
                    <a:pt x="34" y="33"/>
                  </a:cubicBezTo>
                  <a:cubicBezTo>
                    <a:pt x="34" y="33"/>
                    <a:pt x="34" y="33"/>
                    <a:pt x="35" y="33"/>
                  </a:cubicBez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D40D90F-71C8-9357-1873-E05182E45C4D}"/>
                </a:ext>
              </a:extLst>
            </p:cNvPr>
            <p:cNvSpPr txBox="1"/>
            <p:nvPr/>
          </p:nvSpPr>
          <p:spPr>
            <a:xfrm>
              <a:off x="542184" y="1440722"/>
              <a:ext cx="4128091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овлечение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отенциальных</a:t>
              </a:r>
              <a:b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сотрудников</a:t>
              </a:r>
            </a:p>
          </p:txBody>
        </p:sp>
      </p:grpSp>
      <p:sp>
        <p:nvSpPr>
          <p:cNvPr id="27" name="Freeform 5">
            <a:extLst>
              <a:ext uri="{FF2B5EF4-FFF2-40B4-BE49-F238E27FC236}">
                <a16:creationId xmlns:a16="http://schemas.microsoft.com/office/drawing/2014/main" id="{3713A12D-B786-3580-3647-B67FAD746672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1767918" y="1583724"/>
            <a:ext cx="214313" cy="214312"/>
          </a:xfrm>
          <a:custGeom>
            <a:avLst/>
            <a:gdLst>
              <a:gd name="T0" fmla="*/ 30 w 60"/>
              <a:gd name="T1" fmla="*/ 0 h 60"/>
              <a:gd name="T2" fmla="*/ 60 w 60"/>
              <a:gd name="T3" fmla="*/ 30 h 60"/>
              <a:gd name="T4" fmla="*/ 30 w 60"/>
              <a:gd name="T5" fmla="*/ 60 h 60"/>
              <a:gd name="T6" fmla="*/ 0 w 60"/>
              <a:gd name="T7" fmla="*/ 30 h 60"/>
              <a:gd name="T8" fmla="*/ 30 w 60"/>
              <a:gd name="T9" fmla="*/ 0 h 60"/>
              <a:gd name="T10" fmla="*/ 35 w 60"/>
              <a:gd name="T11" fmla="*/ 33 h 60"/>
              <a:gd name="T12" fmla="*/ 34 w 60"/>
              <a:gd name="T13" fmla="*/ 34 h 60"/>
              <a:gd name="T14" fmla="*/ 28 w 60"/>
              <a:gd name="T15" fmla="*/ 40 h 60"/>
              <a:gd name="T16" fmla="*/ 28 w 60"/>
              <a:gd name="T17" fmla="*/ 44 h 60"/>
              <a:gd name="T18" fmla="*/ 32 w 60"/>
              <a:gd name="T19" fmla="*/ 44 h 60"/>
              <a:gd name="T20" fmla="*/ 44 w 60"/>
              <a:gd name="T21" fmla="*/ 32 h 60"/>
              <a:gd name="T22" fmla="*/ 44 w 60"/>
              <a:gd name="T23" fmla="*/ 28 h 60"/>
              <a:gd name="T24" fmla="*/ 32 w 60"/>
              <a:gd name="T25" fmla="*/ 16 h 60"/>
              <a:gd name="T26" fmla="*/ 30 w 60"/>
              <a:gd name="T27" fmla="*/ 15 h 60"/>
              <a:gd name="T28" fmla="*/ 27 w 60"/>
              <a:gd name="T29" fmla="*/ 17 h 60"/>
              <a:gd name="T30" fmla="*/ 28 w 60"/>
              <a:gd name="T31" fmla="*/ 20 h 60"/>
              <a:gd name="T32" fmla="*/ 34 w 60"/>
              <a:gd name="T33" fmla="*/ 27 h 60"/>
              <a:gd name="T34" fmla="*/ 35 w 60"/>
              <a:gd name="T35" fmla="*/ 27 h 60"/>
              <a:gd name="T36" fmla="*/ 34 w 60"/>
              <a:gd name="T37" fmla="*/ 27 h 60"/>
              <a:gd name="T38" fmla="*/ 19 w 60"/>
              <a:gd name="T39" fmla="*/ 27 h 60"/>
              <a:gd name="T40" fmla="*/ 18 w 60"/>
              <a:gd name="T41" fmla="*/ 27 h 60"/>
              <a:gd name="T42" fmla="*/ 15 w 60"/>
              <a:gd name="T43" fmla="*/ 31 h 60"/>
              <a:gd name="T44" fmla="*/ 18 w 60"/>
              <a:gd name="T45" fmla="*/ 33 h 60"/>
              <a:gd name="T46" fmla="*/ 34 w 60"/>
              <a:gd name="T47" fmla="*/ 33 h 60"/>
              <a:gd name="T48" fmla="*/ 35 w 60"/>
              <a:gd name="T49" fmla="*/ 33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60">
                <a:moveTo>
                  <a:pt x="30" y="0"/>
                </a:moveTo>
                <a:cubicBezTo>
                  <a:pt x="47" y="0"/>
                  <a:pt x="60" y="14"/>
                  <a:pt x="60" y="30"/>
                </a:cubicBezTo>
                <a:cubicBezTo>
                  <a:pt x="60" y="47"/>
                  <a:pt x="47" y="60"/>
                  <a:pt x="30" y="60"/>
                </a:cubicBezTo>
                <a:cubicBezTo>
                  <a:pt x="14" y="60"/>
                  <a:pt x="0" y="47"/>
                  <a:pt x="0" y="30"/>
                </a:cubicBezTo>
                <a:cubicBezTo>
                  <a:pt x="0" y="14"/>
                  <a:pt x="14" y="0"/>
                  <a:pt x="30" y="0"/>
                </a:cubicBezTo>
                <a:close/>
                <a:moveTo>
                  <a:pt x="35" y="33"/>
                </a:moveTo>
                <a:cubicBezTo>
                  <a:pt x="35" y="33"/>
                  <a:pt x="34" y="34"/>
                  <a:pt x="34" y="34"/>
                </a:cubicBezTo>
                <a:cubicBezTo>
                  <a:pt x="32" y="36"/>
                  <a:pt x="30" y="38"/>
                  <a:pt x="28" y="40"/>
                </a:cubicBezTo>
                <a:cubicBezTo>
                  <a:pt x="27" y="41"/>
                  <a:pt x="27" y="43"/>
                  <a:pt x="28" y="44"/>
                </a:cubicBezTo>
                <a:cubicBezTo>
                  <a:pt x="29" y="45"/>
                  <a:pt x="31" y="45"/>
                  <a:pt x="32" y="44"/>
                </a:cubicBezTo>
                <a:cubicBezTo>
                  <a:pt x="36" y="40"/>
                  <a:pt x="40" y="36"/>
                  <a:pt x="44" y="32"/>
                </a:cubicBezTo>
                <a:cubicBezTo>
                  <a:pt x="45" y="31"/>
                  <a:pt x="45" y="29"/>
                  <a:pt x="44" y="28"/>
                </a:cubicBezTo>
                <a:cubicBezTo>
                  <a:pt x="40" y="24"/>
                  <a:pt x="36" y="20"/>
                  <a:pt x="32" y="16"/>
                </a:cubicBezTo>
                <a:cubicBezTo>
                  <a:pt x="32" y="15"/>
                  <a:pt x="31" y="15"/>
                  <a:pt x="30" y="15"/>
                </a:cubicBezTo>
                <a:cubicBezTo>
                  <a:pt x="29" y="15"/>
                  <a:pt x="28" y="16"/>
                  <a:pt x="27" y="17"/>
                </a:cubicBezTo>
                <a:cubicBezTo>
                  <a:pt x="27" y="18"/>
                  <a:pt x="27" y="19"/>
                  <a:pt x="28" y="20"/>
                </a:cubicBezTo>
                <a:cubicBezTo>
                  <a:pt x="30" y="22"/>
                  <a:pt x="32" y="24"/>
                  <a:pt x="34" y="27"/>
                </a:cubicBezTo>
                <a:cubicBezTo>
                  <a:pt x="34" y="27"/>
                  <a:pt x="35" y="27"/>
                  <a:pt x="35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29" y="27"/>
                  <a:pt x="24" y="27"/>
                  <a:pt x="19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6" y="27"/>
                  <a:pt x="15" y="29"/>
                  <a:pt x="15" y="31"/>
                </a:cubicBezTo>
                <a:cubicBezTo>
                  <a:pt x="15" y="32"/>
                  <a:pt x="17" y="33"/>
                  <a:pt x="18" y="33"/>
                </a:cubicBezTo>
                <a:cubicBezTo>
                  <a:pt x="24" y="33"/>
                  <a:pt x="29" y="33"/>
                  <a:pt x="34" y="33"/>
                </a:cubicBezTo>
                <a:cubicBezTo>
                  <a:pt x="34" y="33"/>
                  <a:pt x="34" y="33"/>
                  <a:pt x="35" y="33"/>
                </a:cubicBezTo>
                <a:close/>
              </a:path>
            </a:pathLst>
          </a:custGeom>
          <a:solidFill>
            <a:srgbClr val="620CF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endParaRPr lang="en-US"/>
          </a:p>
        </p:txBody>
      </p:sp>
      <p:cxnSp>
        <p:nvCxnSpPr>
          <p:cNvPr id="28" name="Straight Connector 85">
            <a:extLst>
              <a:ext uri="{FF2B5EF4-FFF2-40B4-BE49-F238E27FC236}">
                <a16:creationId xmlns:a16="http://schemas.microsoft.com/office/drawing/2014/main" id="{F7EA6C9B-C0F4-75D1-A896-721676C72B6A}"/>
              </a:ext>
            </a:extLst>
          </p:cNvPr>
          <p:cNvCxnSpPr>
            <a:cxnSpLocks/>
          </p:cNvCxnSpPr>
          <p:nvPr/>
        </p:nvCxnSpPr>
        <p:spPr>
          <a:xfrm flipH="1">
            <a:off x="9060917" y="2920487"/>
            <a:ext cx="2404872" cy="0"/>
          </a:xfrm>
          <a:prstGeom prst="line">
            <a:avLst/>
          </a:prstGeom>
          <a:ln w="25400">
            <a:gradFill flip="none" rotWithShape="1">
              <a:gsLst>
                <a:gs pos="100000">
                  <a:srgbClr val="620CD2">
                    <a:alpha val="0"/>
                  </a:srgbClr>
                </a:gs>
                <a:gs pos="0">
                  <a:srgbClr val="620CEA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C8731FEE-97D5-0257-44D1-FCDE298A194F}"/>
              </a:ext>
            </a:extLst>
          </p:cNvPr>
          <p:cNvSpPr txBox="1"/>
          <p:nvPr/>
        </p:nvSpPr>
        <p:spPr>
          <a:xfrm>
            <a:off x="7528886" y="1440722"/>
            <a:ext cx="412809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ts val="3200"/>
              </a:lnSpc>
            </a:pP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Поиск</a:t>
            </a:r>
            <a:b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инвестиций</a:t>
            </a:r>
            <a:b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в компанию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93CF7D17-B5A1-980B-62D2-A8276155A242}"/>
              </a:ext>
            </a:extLst>
          </p:cNvPr>
          <p:cNvSpPr>
            <a:spLocks noEditPoints="1"/>
          </p:cNvSpPr>
          <p:nvPr/>
        </p:nvSpPr>
        <p:spPr bwMode="auto">
          <a:xfrm>
            <a:off x="8071059" y="3392753"/>
            <a:ext cx="214313" cy="214312"/>
          </a:xfrm>
          <a:custGeom>
            <a:avLst/>
            <a:gdLst>
              <a:gd name="T0" fmla="*/ 30 w 60"/>
              <a:gd name="T1" fmla="*/ 0 h 60"/>
              <a:gd name="T2" fmla="*/ 60 w 60"/>
              <a:gd name="T3" fmla="*/ 30 h 60"/>
              <a:gd name="T4" fmla="*/ 30 w 60"/>
              <a:gd name="T5" fmla="*/ 60 h 60"/>
              <a:gd name="T6" fmla="*/ 0 w 60"/>
              <a:gd name="T7" fmla="*/ 30 h 60"/>
              <a:gd name="T8" fmla="*/ 30 w 60"/>
              <a:gd name="T9" fmla="*/ 0 h 60"/>
              <a:gd name="T10" fmla="*/ 35 w 60"/>
              <a:gd name="T11" fmla="*/ 33 h 60"/>
              <a:gd name="T12" fmla="*/ 34 w 60"/>
              <a:gd name="T13" fmla="*/ 34 h 60"/>
              <a:gd name="T14" fmla="*/ 28 w 60"/>
              <a:gd name="T15" fmla="*/ 40 h 60"/>
              <a:gd name="T16" fmla="*/ 28 w 60"/>
              <a:gd name="T17" fmla="*/ 44 h 60"/>
              <a:gd name="T18" fmla="*/ 32 w 60"/>
              <a:gd name="T19" fmla="*/ 44 h 60"/>
              <a:gd name="T20" fmla="*/ 44 w 60"/>
              <a:gd name="T21" fmla="*/ 32 h 60"/>
              <a:gd name="T22" fmla="*/ 44 w 60"/>
              <a:gd name="T23" fmla="*/ 28 h 60"/>
              <a:gd name="T24" fmla="*/ 32 w 60"/>
              <a:gd name="T25" fmla="*/ 16 h 60"/>
              <a:gd name="T26" fmla="*/ 30 w 60"/>
              <a:gd name="T27" fmla="*/ 15 h 60"/>
              <a:gd name="T28" fmla="*/ 27 w 60"/>
              <a:gd name="T29" fmla="*/ 17 h 60"/>
              <a:gd name="T30" fmla="*/ 28 w 60"/>
              <a:gd name="T31" fmla="*/ 20 h 60"/>
              <a:gd name="T32" fmla="*/ 34 w 60"/>
              <a:gd name="T33" fmla="*/ 27 h 60"/>
              <a:gd name="T34" fmla="*/ 35 w 60"/>
              <a:gd name="T35" fmla="*/ 27 h 60"/>
              <a:gd name="T36" fmla="*/ 34 w 60"/>
              <a:gd name="T37" fmla="*/ 27 h 60"/>
              <a:gd name="T38" fmla="*/ 19 w 60"/>
              <a:gd name="T39" fmla="*/ 27 h 60"/>
              <a:gd name="T40" fmla="*/ 18 w 60"/>
              <a:gd name="T41" fmla="*/ 27 h 60"/>
              <a:gd name="T42" fmla="*/ 15 w 60"/>
              <a:gd name="T43" fmla="*/ 31 h 60"/>
              <a:gd name="T44" fmla="*/ 18 w 60"/>
              <a:gd name="T45" fmla="*/ 33 h 60"/>
              <a:gd name="T46" fmla="*/ 34 w 60"/>
              <a:gd name="T47" fmla="*/ 33 h 60"/>
              <a:gd name="T48" fmla="*/ 35 w 60"/>
              <a:gd name="T49" fmla="*/ 33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60">
                <a:moveTo>
                  <a:pt x="30" y="0"/>
                </a:moveTo>
                <a:cubicBezTo>
                  <a:pt x="47" y="0"/>
                  <a:pt x="60" y="14"/>
                  <a:pt x="60" y="30"/>
                </a:cubicBezTo>
                <a:cubicBezTo>
                  <a:pt x="60" y="47"/>
                  <a:pt x="47" y="60"/>
                  <a:pt x="30" y="60"/>
                </a:cubicBezTo>
                <a:cubicBezTo>
                  <a:pt x="14" y="60"/>
                  <a:pt x="0" y="47"/>
                  <a:pt x="0" y="30"/>
                </a:cubicBezTo>
                <a:cubicBezTo>
                  <a:pt x="0" y="14"/>
                  <a:pt x="14" y="0"/>
                  <a:pt x="30" y="0"/>
                </a:cubicBezTo>
                <a:close/>
                <a:moveTo>
                  <a:pt x="35" y="33"/>
                </a:moveTo>
                <a:cubicBezTo>
                  <a:pt x="35" y="33"/>
                  <a:pt x="34" y="34"/>
                  <a:pt x="34" y="34"/>
                </a:cubicBezTo>
                <a:cubicBezTo>
                  <a:pt x="32" y="36"/>
                  <a:pt x="30" y="38"/>
                  <a:pt x="28" y="40"/>
                </a:cubicBezTo>
                <a:cubicBezTo>
                  <a:pt x="27" y="41"/>
                  <a:pt x="27" y="43"/>
                  <a:pt x="28" y="44"/>
                </a:cubicBezTo>
                <a:cubicBezTo>
                  <a:pt x="29" y="45"/>
                  <a:pt x="31" y="45"/>
                  <a:pt x="32" y="44"/>
                </a:cubicBezTo>
                <a:cubicBezTo>
                  <a:pt x="36" y="40"/>
                  <a:pt x="40" y="36"/>
                  <a:pt x="44" y="32"/>
                </a:cubicBezTo>
                <a:cubicBezTo>
                  <a:pt x="45" y="31"/>
                  <a:pt x="45" y="29"/>
                  <a:pt x="44" y="28"/>
                </a:cubicBezTo>
                <a:cubicBezTo>
                  <a:pt x="40" y="24"/>
                  <a:pt x="36" y="20"/>
                  <a:pt x="32" y="16"/>
                </a:cubicBezTo>
                <a:cubicBezTo>
                  <a:pt x="32" y="15"/>
                  <a:pt x="31" y="15"/>
                  <a:pt x="30" y="15"/>
                </a:cubicBezTo>
                <a:cubicBezTo>
                  <a:pt x="29" y="15"/>
                  <a:pt x="28" y="16"/>
                  <a:pt x="27" y="17"/>
                </a:cubicBezTo>
                <a:cubicBezTo>
                  <a:pt x="27" y="18"/>
                  <a:pt x="27" y="19"/>
                  <a:pt x="28" y="20"/>
                </a:cubicBezTo>
                <a:cubicBezTo>
                  <a:pt x="30" y="22"/>
                  <a:pt x="32" y="24"/>
                  <a:pt x="34" y="27"/>
                </a:cubicBezTo>
                <a:cubicBezTo>
                  <a:pt x="34" y="27"/>
                  <a:pt x="35" y="27"/>
                  <a:pt x="35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29" y="27"/>
                  <a:pt x="24" y="27"/>
                  <a:pt x="19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6" y="27"/>
                  <a:pt x="15" y="29"/>
                  <a:pt x="15" y="31"/>
                </a:cubicBezTo>
                <a:cubicBezTo>
                  <a:pt x="15" y="32"/>
                  <a:pt x="17" y="33"/>
                  <a:pt x="18" y="33"/>
                </a:cubicBezTo>
                <a:cubicBezTo>
                  <a:pt x="24" y="33"/>
                  <a:pt x="29" y="33"/>
                  <a:pt x="34" y="33"/>
                </a:cubicBezTo>
                <a:cubicBezTo>
                  <a:pt x="34" y="33"/>
                  <a:pt x="34" y="33"/>
                  <a:pt x="35" y="33"/>
                </a:cubicBezTo>
                <a:close/>
              </a:path>
            </a:pathLst>
          </a:custGeom>
          <a:solidFill>
            <a:srgbClr val="620CF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endParaRPr lang="en-US"/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17CDDDD3-C28D-34A2-E727-F6ED3AB74436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1767918" y="3392753"/>
            <a:ext cx="214313" cy="214312"/>
          </a:xfrm>
          <a:custGeom>
            <a:avLst/>
            <a:gdLst>
              <a:gd name="T0" fmla="*/ 30 w 60"/>
              <a:gd name="T1" fmla="*/ 0 h 60"/>
              <a:gd name="T2" fmla="*/ 60 w 60"/>
              <a:gd name="T3" fmla="*/ 30 h 60"/>
              <a:gd name="T4" fmla="*/ 30 w 60"/>
              <a:gd name="T5" fmla="*/ 60 h 60"/>
              <a:gd name="T6" fmla="*/ 0 w 60"/>
              <a:gd name="T7" fmla="*/ 30 h 60"/>
              <a:gd name="T8" fmla="*/ 30 w 60"/>
              <a:gd name="T9" fmla="*/ 0 h 60"/>
              <a:gd name="T10" fmla="*/ 35 w 60"/>
              <a:gd name="T11" fmla="*/ 33 h 60"/>
              <a:gd name="T12" fmla="*/ 34 w 60"/>
              <a:gd name="T13" fmla="*/ 34 h 60"/>
              <a:gd name="T14" fmla="*/ 28 w 60"/>
              <a:gd name="T15" fmla="*/ 40 h 60"/>
              <a:gd name="T16" fmla="*/ 28 w 60"/>
              <a:gd name="T17" fmla="*/ 44 h 60"/>
              <a:gd name="T18" fmla="*/ 32 w 60"/>
              <a:gd name="T19" fmla="*/ 44 h 60"/>
              <a:gd name="T20" fmla="*/ 44 w 60"/>
              <a:gd name="T21" fmla="*/ 32 h 60"/>
              <a:gd name="T22" fmla="*/ 44 w 60"/>
              <a:gd name="T23" fmla="*/ 28 h 60"/>
              <a:gd name="T24" fmla="*/ 32 w 60"/>
              <a:gd name="T25" fmla="*/ 16 h 60"/>
              <a:gd name="T26" fmla="*/ 30 w 60"/>
              <a:gd name="T27" fmla="*/ 15 h 60"/>
              <a:gd name="T28" fmla="*/ 27 w 60"/>
              <a:gd name="T29" fmla="*/ 17 h 60"/>
              <a:gd name="T30" fmla="*/ 28 w 60"/>
              <a:gd name="T31" fmla="*/ 20 h 60"/>
              <a:gd name="T32" fmla="*/ 34 w 60"/>
              <a:gd name="T33" fmla="*/ 27 h 60"/>
              <a:gd name="T34" fmla="*/ 35 w 60"/>
              <a:gd name="T35" fmla="*/ 27 h 60"/>
              <a:gd name="T36" fmla="*/ 34 w 60"/>
              <a:gd name="T37" fmla="*/ 27 h 60"/>
              <a:gd name="T38" fmla="*/ 19 w 60"/>
              <a:gd name="T39" fmla="*/ 27 h 60"/>
              <a:gd name="T40" fmla="*/ 18 w 60"/>
              <a:gd name="T41" fmla="*/ 27 h 60"/>
              <a:gd name="T42" fmla="*/ 15 w 60"/>
              <a:gd name="T43" fmla="*/ 31 h 60"/>
              <a:gd name="T44" fmla="*/ 18 w 60"/>
              <a:gd name="T45" fmla="*/ 33 h 60"/>
              <a:gd name="T46" fmla="*/ 34 w 60"/>
              <a:gd name="T47" fmla="*/ 33 h 60"/>
              <a:gd name="T48" fmla="*/ 35 w 60"/>
              <a:gd name="T49" fmla="*/ 33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60">
                <a:moveTo>
                  <a:pt x="30" y="0"/>
                </a:moveTo>
                <a:cubicBezTo>
                  <a:pt x="47" y="0"/>
                  <a:pt x="60" y="14"/>
                  <a:pt x="60" y="30"/>
                </a:cubicBezTo>
                <a:cubicBezTo>
                  <a:pt x="60" y="47"/>
                  <a:pt x="47" y="60"/>
                  <a:pt x="30" y="60"/>
                </a:cubicBezTo>
                <a:cubicBezTo>
                  <a:pt x="14" y="60"/>
                  <a:pt x="0" y="47"/>
                  <a:pt x="0" y="30"/>
                </a:cubicBezTo>
                <a:cubicBezTo>
                  <a:pt x="0" y="14"/>
                  <a:pt x="14" y="0"/>
                  <a:pt x="30" y="0"/>
                </a:cubicBezTo>
                <a:close/>
                <a:moveTo>
                  <a:pt x="35" y="33"/>
                </a:moveTo>
                <a:cubicBezTo>
                  <a:pt x="35" y="33"/>
                  <a:pt x="34" y="34"/>
                  <a:pt x="34" y="34"/>
                </a:cubicBezTo>
                <a:cubicBezTo>
                  <a:pt x="32" y="36"/>
                  <a:pt x="30" y="38"/>
                  <a:pt x="28" y="40"/>
                </a:cubicBezTo>
                <a:cubicBezTo>
                  <a:pt x="27" y="41"/>
                  <a:pt x="27" y="43"/>
                  <a:pt x="28" y="44"/>
                </a:cubicBezTo>
                <a:cubicBezTo>
                  <a:pt x="29" y="45"/>
                  <a:pt x="31" y="45"/>
                  <a:pt x="32" y="44"/>
                </a:cubicBezTo>
                <a:cubicBezTo>
                  <a:pt x="36" y="40"/>
                  <a:pt x="40" y="36"/>
                  <a:pt x="44" y="32"/>
                </a:cubicBezTo>
                <a:cubicBezTo>
                  <a:pt x="45" y="31"/>
                  <a:pt x="45" y="29"/>
                  <a:pt x="44" y="28"/>
                </a:cubicBezTo>
                <a:cubicBezTo>
                  <a:pt x="40" y="24"/>
                  <a:pt x="36" y="20"/>
                  <a:pt x="32" y="16"/>
                </a:cubicBezTo>
                <a:cubicBezTo>
                  <a:pt x="32" y="15"/>
                  <a:pt x="31" y="15"/>
                  <a:pt x="30" y="15"/>
                </a:cubicBezTo>
                <a:cubicBezTo>
                  <a:pt x="29" y="15"/>
                  <a:pt x="28" y="16"/>
                  <a:pt x="27" y="17"/>
                </a:cubicBezTo>
                <a:cubicBezTo>
                  <a:pt x="27" y="18"/>
                  <a:pt x="27" y="19"/>
                  <a:pt x="28" y="20"/>
                </a:cubicBezTo>
                <a:cubicBezTo>
                  <a:pt x="30" y="22"/>
                  <a:pt x="32" y="24"/>
                  <a:pt x="34" y="27"/>
                </a:cubicBezTo>
                <a:cubicBezTo>
                  <a:pt x="34" y="27"/>
                  <a:pt x="35" y="27"/>
                  <a:pt x="35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29" y="27"/>
                  <a:pt x="24" y="27"/>
                  <a:pt x="19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6" y="27"/>
                  <a:pt x="15" y="29"/>
                  <a:pt x="15" y="31"/>
                </a:cubicBezTo>
                <a:cubicBezTo>
                  <a:pt x="15" y="32"/>
                  <a:pt x="17" y="33"/>
                  <a:pt x="18" y="33"/>
                </a:cubicBezTo>
                <a:cubicBezTo>
                  <a:pt x="24" y="33"/>
                  <a:pt x="29" y="33"/>
                  <a:pt x="34" y="33"/>
                </a:cubicBezTo>
                <a:cubicBezTo>
                  <a:pt x="34" y="33"/>
                  <a:pt x="34" y="33"/>
                  <a:pt x="35" y="33"/>
                </a:cubicBezTo>
                <a:close/>
              </a:path>
            </a:pathLst>
          </a:custGeom>
          <a:solidFill>
            <a:srgbClr val="620CF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endParaRPr lang="en-US"/>
          </a:p>
        </p:txBody>
      </p:sp>
      <p:cxnSp>
        <p:nvCxnSpPr>
          <p:cNvPr id="30" name="Straight Connector 85">
            <a:extLst>
              <a:ext uri="{FF2B5EF4-FFF2-40B4-BE49-F238E27FC236}">
                <a16:creationId xmlns:a16="http://schemas.microsoft.com/office/drawing/2014/main" id="{4693B65E-8A63-ADC1-1995-DCB04761D7D7}"/>
              </a:ext>
            </a:extLst>
          </p:cNvPr>
          <p:cNvCxnSpPr>
            <a:cxnSpLocks/>
          </p:cNvCxnSpPr>
          <p:nvPr/>
        </p:nvCxnSpPr>
        <p:spPr>
          <a:xfrm flipH="1">
            <a:off x="9060917" y="4729516"/>
            <a:ext cx="2404872" cy="0"/>
          </a:xfrm>
          <a:prstGeom prst="line">
            <a:avLst/>
          </a:prstGeom>
          <a:ln w="25400">
            <a:gradFill flip="none" rotWithShape="1">
              <a:gsLst>
                <a:gs pos="100000">
                  <a:srgbClr val="620CD2">
                    <a:alpha val="0"/>
                  </a:srgbClr>
                </a:gs>
                <a:gs pos="0">
                  <a:srgbClr val="620CEA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35169EA6-98A4-908A-A6E4-53D39DAAE862}"/>
              </a:ext>
            </a:extLst>
          </p:cNvPr>
          <p:cNvSpPr txBox="1"/>
          <p:nvPr/>
        </p:nvSpPr>
        <p:spPr>
          <a:xfrm>
            <a:off x="7528886" y="3249751"/>
            <a:ext cx="4128091" cy="8824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ts val="3200"/>
              </a:lnSpc>
            </a:pP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Обучение</a:t>
            </a:r>
            <a:b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аудитории</a:t>
            </a:r>
          </a:p>
        </p:txBody>
      </p:sp>
      <p:sp>
        <p:nvSpPr>
          <p:cNvPr id="33" name="Freeform 5">
            <a:extLst>
              <a:ext uri="{FF2B5EF4-FFF2-40B4-BE49-F238E27FC236}">
                <a16:creationId xmlns:a16="http://schemas.microsoft.com/office/drawing/2014/main" id="{D477B17C-0F8B-52E6-6C99-32CC7691AE47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1767918" y="5232171"/>
            <a:ext cx="214313" cy="214312"/>
          </a:xfrm>
          <a:custGeom>
            <a:avLst/>
            <a:gdLst>
              <a:gd name="T0" fmla="*/ 30 w 60"/>
              <a:gd name="T1" fmla="*/ 0 h 60"/>
              <a:gd name="T2" fmla="*/ 60 w 60"/>
              <a:gd name="T3" fmla="*/ 30 h 60"/>
              <a:gd name="T4" fmla="*/ 30 w 60"/>
              <a:gd name="T5" fmla="*/ 60 h 60"/>
              <a:gd name="T6" fmla="*/ 0 w 60"/>
              <a:gd name="T7" fmla="*/ 30 h 60"/>
              <a:gd name="T8" fmla="*/ 30 w 60"/>
              <a:gd name="T9" fmla="*/ 0 h 60"/>
              <a:gd name="T10" fmla="*/ 35 w 60"/>
              <a:gd name="T11" fmla="*/ 33 h 60"/>
              <a:gd name="T12" fmla="*/ 34 w 60"/>
              <a:gd name="T13" fmla="*/ 34 h 60"/>
              <a:gd name="T14" fmla="*/ 28 w 60"/>
              <a:gd name="T15" fmla="*/ 40 h 60"/>
              <a:gd name="T16" fmla="*/ 28 w 60"/>
              <a:gd name="T17" fmla="*/ 44 h 60"/>
              <a:gd name="T18" fmla="*/ 32 w 60"/>
              <a:gd name="T19" fmla="*/ 44 h 60"/>
              <a:gd name="T20" fmla="*/ 44 w 60"/>
              <a:gd name="T21" fmla="*/ 32 h 60"/>
              <a:gd name="T22" fmla="*/ 44 w 60"/>
              <a:gd name="T23" fmla="*/ 28 h 60"/>
              <a:gd name="T24" fmla="*/ 32 w 60"/>
              <a:gd name="T25" fmla="*/ 16 h 60"/>
              <a:gd name="T26" fmla="*/ 30 w 60"/>
              <a:gd name="T27" fmla="*/ 15 h 60"/>
              <a:gd name="T28" fmla="*/ 27 w 60"/>
              <a:gd name="T29" fmla="*/ 17 h 60"/>
              <a:gd name="T30" fmla="*/ 28 w 60"/>
              <a:gd name="T31" fmla="*/ 20 h 60"/>
              <a:gd name="T32" fmla="*/ 34 w 60"/>
              <a:gd name="T33" fmla="*/ 27 h 60"/>
              <a:gd name="T34" fmla="*/ 35 w 60"/>
              <a:gd name="T35" fmla="*/ 27 h 60"/>
              <a:gd name="T36" fmla="*/ 34 w 60"/>
              <a:gd name="T37" fmla="*/ 27 h 60"/>
              <a:gd name="T38" fmla="*/ 19 w 60"/>
              <a:gd name="T39" fmla="*/ 27 h 60"/>
              <a:gd name="T40" fmla="*/ 18 w 60"/>
              <a:gd name="T41" fmla="*/ 27 h 60"/>
              <a:gd name="T42" fmla="*/ 15 w 60"/>
              <a:gd name="T43" fmla="*/ 31 h 60"/>
              <a:gd name="T44" fmla="*/ 18 w 60"/>
              <a:gd name="T45" fmla="*/ 33 h 60"/>
              <a:gd name="T46" fmla="*/ 34 w 60"/>
              <a:gd name="T47" fmla="*/ 33 h 60"/>
              <a:gd name="T48" fmla="*/ 35 w 60"/>
              <a:gd name="T49" fmla="*/ 33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60">
                <a:moveTo>
                  <a:pt x="30" y="0"/>
                </a:moveTo>
                <a:cubicBezTo>
                  <a:pt x="47" y="0"/>
                  <a:pt x="60" y="14"/>
                  <a:pt x="60" y="30"/>
                </a:cubicBezTo>
                <a:cubicBezTo>
                  <a:pt x="60" y="47"/>
                  <a:pt x="47" y="60"/>
                  <a:pt x="30" y="60"/>
                </a:cubicBezTo>
                <a:cubicBezTo>
                  <a:pt x="14" y="60"/>
                  <a:pt x="0" y="47"/>
                  <a:pt x="0" y="30"/>
                </a:cubicBezTo>
                <a:cubicBezTo>
                  <a:pt x="0" y="14"/>
                  <a:pt x="14" y="0"/>
                  <a:pt x="30" y="0"/>
                </a:cubicBezTo>
                <a:close/>
                <a:moveTo>
                  <a:pt x="35" y="33"/>
                </a:moveTo>
                <a:cubicBezTo>
                  <a:pt x="35" y="33"/>
                  <a:pt x="34" y="34"/>
                  <a:pt x="34" y="34"/>
                </a:cubicBezTo>
                <a:cubicBezTo>
                  <a:pt x="32" y="36"/>
                  <a:pt x="30" y="38"/>
                  <a:pt x="28" y="40"/>
                </a:cubicBezTo>
                <a:cubicBezTo>
                  <a:pt x="27" y="41"/>
                  <a:pt x="27" y="43"/>
                  <a:pt x="28" y="44"/>
                </a:cubicBezTo>
                <a:cubicBezTo>
                  <a:pt x="29" y="45"/>
                  <a:pt x="31" y="45"/>
                  <a:pt x="32" y="44"/>
                </a:cubicBezTo>
                <a:cubicBezTo>
                  <a:pt x="36" y="40"/>
                  <a:pt x="40" y="36"/>
                  <a:pt x="44" y="32"/>
                </a:cubicBezTo>
                <a:cubicBezTo>
                  <a:pt x="45" y="31"/>
                  <a:pt x="45" y="29"/>
                  <a:pt x="44" y="28"/>
                </a:cubicBezTo>
                <a:cubicBezTo>
                  <a:pt x="40" y="24"/>
                  <a:pt x="36" y="20"/>
                  <a:pt x="32" y="16"/>
                </a:cubicBezTo>
                <a:cubicBezTo>
                  <a:pt x="32" y="15"/>
                  <a:pt x="31" y="15"/>
                  <a:pt x="30" y="15"/>
                </a:cubicBezTo>
                <a:cubicBezTo>
                  <a:pt x="29" y="15"/>
                  <a:pt x="28" y="16"/>
                  <a:pt x="27" y="17"/>
                </a:cubicBezTo>
                <a:cubicBezTo>
                  <a:pt x="27" y="18"/>
                  <a:pt x="27" y="19"/>
                  <a:pt x="28" y="20"/>
                </a:cubicBezTo>
                <a:cubicBezTo>
                  <a:pt x="30" y="22"/>
                  <a:pt x="32" y="24"/>
                  <a:pt x="34" y="27"/>
                </a:cubicBezTo>
                <a:cubicBezTo>
                  <a:pt x="34" y="27"/>
                  <a:pt x="35" y="27"/>
                  <a:pt x="35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29" y="27"/>
                  <a:pt x="24" y="27"/>
                  <a:pt x="19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6" y="27"/>
                  <a:pt x="15" y="29"/>
                  <a:pt x="15" y="31"/>
                </a:cubicBezTo>
                <a:cubicBezTo>
                  <a:pt x="15" y="32"/>
                  <a:pt x="17" y="33"/>
                  <a:pt x="18" y="33"/>
                </a:cubicBezTo>
                <a:cubicBezTo>
                  <a:pt x="24" y="33"/>
                  <a:pt x="29" y="33"/>
                  <a:pt x="34" y="33"/>
                </a:cubicBezTo>
                <a:cubicBezTo>
                  <a:pt x="34" y="33"/>
                  <a:pt x="34" y="33"/>
                  <a:pt x="35" y="33"/>
                </a:cubicBezTo>
                <a:close/>
              </a:path>
            </a:pathLst>
          </a:custGeom>
          <a:solidFill>
            <a:srgbClr val="620CF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E7589B1-2DEE-9904-CFC3-951135F01A34}"/>
              </a:ext>
            </a:extLst>
          </p:cNvPr>
          <p:cNvSpPr txBox="1"/>
          <p:nvPr/>
        </p:nvSpPr>
        <p:spPr>
          <a:xfrm>
            <a:off x="7528886" y="5089169"/>
            <a:ext cx="412809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ts val="3200"/>
              </a:lnSpc>
            </a:pP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Отчетное</a:t>
            </a:r>
            <a:b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выступление</a:t>
            </a:r>
            <a:b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latin typeface="Unbounded" panose="020B0305040102020103" pitchFamily="34" charset="0"/>
                <a:cs typeface="Times New Roman" panose="02020603050405020304" pitchFamily="18" charset="0"/>
              </a:rPr>
              <a:t>в компании</a:t>
            </a: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04356101-F420-F9E6-44CA-8BE1526DA7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577" y="176318"/>
            <a:ext cx="606274" cy="1367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34331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4.44444E-6 L 0.06576 4.44444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4.44444E-6 L 0.06576 4.44444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-3.7037E-6 L 0.06576 -3.7037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63DA251D-C477-7AC2-56DA-ADFE8924065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20CF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A571D667-82C2-0928-2841-1D3066625BA6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64" name="Овал 63">
            <a:extLst>
              <a:ext uri="{FF2B5EF4-FFF2-40B4-BE49-F238E27FC236}">
                <a16:creationId xmlns:a16="http://schemas.microsoft.com/office/drawing/2014/main" id="{7D7D2BBE-597F-60CE-F7C7-EAC968B08729}"/>
              </a:ext>
            </a:extLst>
          </p:cNvPr>
          <p:cNvSpPr/>
          <p:nvPr/>
        </p:nvSpPr>
        <p:spPr>
          <a:xfrm>
            <a:off x="1384596" y="131497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65" name="Овал 64">
            <a:extLst>
              <a:ext uri="{FF2B5EF4-FFF2-40B4-BE49-F238E27FC236}">
                <a16:creationId xmlns:a16="http://schemas.microsoft.com/office/drawing/2014/main" id="{67E03627-799B-369A-58E9-3BFD823F38F2}"/>
              </a:ext>
            </a:extLst>
          </p:cNvPr>
          <p:cNvSpPr/>
          <p:nvPr/>
        </p:nvSpPr>
        <p:spPr>
          <a:xfrm>
            <a:off x="-703394" y="-56200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66" name="Овал 65">
            <a:extLst>
              <a:ext uri="{FF2B5EF4-FFF2-40B4-BE49-F238E27FC236}">
                <a16:creationId xmlns:a16="http://schemas.microsoft.com/office/drawing/2014/main" id="{43A0514E-CF9B-9244-026D-858BC163F6A6}"/>
              </a:ext>
            </a:extLst>
          </p:cNvPr>
          <p:cNvSpPr/>
          <p:nvPr/>
        </p:nvSpPr>
        <p:spPr>
          <a:xfrm>
            <a:off x="4660581" y="132408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id="{1A391178-71EA-9365-5B00-F1413490666B}"/>
              </a:ext>
            </a:extLst>
          </p:cNvPr>
          <p:cNvSpPr/>
          <p:nvPr/>
        </p:nvSpPr>
        <p:spPr>
          <a:xfrm>
            <a:off x="5792288" y="-53818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68" name="Овал 67">
            <a:extLst>
              <a:ext uri="{FF2B5EF4-FFF2-40B4-BE49-F238E27FC236}">
                <a16:creationId xmlns:a16="http://schemas.microsoft.com/office/drawing/2014/main" id="{8EA89B52-05D5-FD91-428C-EB0AB2787489}"/>
              </a:ext>
            </a:extLst>
          </p:cNvPr>
          <p:cNvSpPr/>
          <p:nvPr/>
        </p:nvSpPr>
        <p:spPr>
          <a:xfrm>
            <a:off x="11099977" y="1309990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69" name="Овал 68">
            <a:extLst>
              <a:ext uri="{FF2B5EF4-FFF2-40B4-BE49-F238E27FC236}">
                <a16:creationId xmlns:a16="http://schemas.microsoft.com/office/drawing/2014/main" id="{EA9EA479-FDEA-31F4-40C1-E38A6D0223BF}"/>
              </a:ext>
            </a:extLst>
          </p:cNvPr>
          <p:cNvSpPr/>
          <p:nvPr/>
        </p:nvSpPr>
        <p:spPr>
          <a:xfrm>
            <a:off x="9011986" y="-566982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70" name="Овал 69">
            <a:extLst>
              <a:ext uri="{FF2B5EF4-FFF2-40B4-BE49-F238E27FC236}">
                <a16:creationId xmlns:a16="http://schemas.microsoft.com/office/drawing/2014/main" id="{65E02EFC-B5C7-0653-3DB9-3BD6A09A0BF4}"/>
              </a:ext>
            </a:extLst>
          </p:cNvPr>
          <p:cNvSpPr/>
          <p:nvPr/>
        </p:nvSpPr>
        <p:spPr>
          <a:xfrm>
            <a:off x="-975099" y="381462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74" name="Овал 73">
            <a:extLst>
              <a:ext uri="{FF2B5EF4-FFF2-40B4-BE49-F238E27FC236}">
                <a16:creationId xmlns:a16="http://schemas.microsoft.com/office/drawing/2014/main" id="{6457B556-22FC-950F-C65A-FBA8BED44DA5}"/>
              </a:ext>
            </a:extLst>
          </p:cNvPr>
          <p:cNvSpPr/>
          <p:nvPr/>
        </p:nvSpPr>
        <p:spPr>
          <a:xfrm>
            <a:off x="5520584" y="383844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75" name="Овал 74">
            <a:extLst>
              <a:ext uri="{FF2B5EF4-FFF2-40B4-BE49-F238E27FC236}">
                <a16:creationId xmlns:a16="http://schemas.microsoft.com/office/drawing/2014/main" id="{F3558E4E-36D4-BF8D-EE91-A15A903E9FE9}"/>
              </a:ext>
            </a:extLst>
          </p:cNvPr>
          <p:cNvSpPr/>
          <p:nvPr/>
        </p:nvSpPr>
        <p:spPr>
          <a:xfrm>
            <a:off x="-1563397" y="1596492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76" name="Овал 75">
            <a:extLst>
              <a:ext uri="{FF2B5EF4-FFF2-40B4-BE49-F238E27FC236}">
                <a16:creationId xmlns:a16="http://schemas.microsoft.com/office/drawing/2014/main" id="{AA54BECE-1380-15EB-2CE9-CA35C9464FE9}"/>
              </a:ext>
            </a:extLst>
          </p:cNvPr>
          <p:cNvSpPr/>
          <p:nvPr/>
        </p:nvSpPr>
        <p:spPr>
          <a:xfrm>
            <a:off x="2572591" y="-55288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77" name="Овал 76">
            <a:extLst>
              <a:ext uri="{FF2B5EF4-FFF2-40B4-BE49-F238E27FC236}">
                <a16:creationId xmlns:a16="http://schemas.microsoft.com/office/drawing/2014/main" id="{2AD74D73-FED1-C19D-77A6-FDF0CF5A14FE}"/>
              </a:ext>
            </a:extLst>
          </p:cNvPr>
          <p:cNvSpPr/>
          <p:nvPr/>
        </p:nvSpPr>
        <p:spPr>
          <a:xfrm>
            <a:off x="7880279" y="1338788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78" name="Овал 77">
            <a:extLst>
              <a:ext uri="{FF2B5EF4-FFF2-40B4-BE49-F238E27FC236}">
                <a16:creationId xmlns:a16="http://schemas.microsoft.com/office/drawing/2014/main" id="{6B71A555-B24C-EA34-2BBE-0FC9B83D8542}"/>
              </a:ext>
            </a:extLst>
          </p:cNvPr>
          <p:cNvSpPr/>
          <p:nvPr/>
        </p:nvSpPr>
        <p:spPr>
          <a:xfrm>
            <a:off x="8527425" y="4115829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79" name="Овал 78">
            <a:extLst>
              <a:ext uri="{FF2B5EF4-FFF2-40B4-BE49-F238E27FC236}">
                <a16:creationId xmlns:a16="http://schemas.microsoft.com/office/drawing/2014/main" id="{2FB759C2-57BF-FBAD-CAE9-1D87AAD52F54}"/>
              </a:ext>
            </a:extLst>
          </p:cNvPr>
          <p:cNvSpPr/>
          <p:nvPr/>
        </p:nvSpPr>
        <p:spPr>
          <a:xfrm>
            <a:off x="2088030" y="412992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80" name="Овал 79">
            <a:extLst>
              <a:ext uri="{FF2B5EF4-FFF2-40B4-BE49-F238E27FC236}">
                <a16:creationId xmlns:a16="http://schemas.microsoft.com/office/drawing/2014/main" id="{C4E37BD2-216A-B1B8-FE0E-71CED05892D1}"/>
              </a:ext>
            </a:extLst>
          </p:cNvPr>
          <p:cNvSpPr/>
          <p:nvPr/>
        </p:nvSpPr>
        <p:spPr>
          <a:xfrm>
            <a:off x="4443032" y="79009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81" name="Овал 80">
            <a:extLst>
              <a:ext uri="{FF2B5EF4-FFF2-40B4-BE49-F238E27FC236}">
                <a16:creationId xmlns:a16="http://schemas.microsoft.com/office/drawing/2014/main" id="{530D1111-238B-43BC-844B-246F5419173A}"/>
              </a:ext>
            </a:extLst>
          </p:cNvPr>
          <p:cNvSpPr/>
          <p:nvPr/>
        </p:nvSpPr>
        <p:spPr>
          <a:xfrm>
            <a:off x="9968269" y="597781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82" name="Овал 81">
            <a:extLst>
              <a:ext uri="{FF2B5EF4-FFF2-40B4-BE49-F238E27FC236}">
                <a16:creationId xmlns:a16="http://schemas.microsoft.com/office/drawing/2014/main" id="{EA747986-7F4D-6023-5910-6D7EAB8702F6}"/>
              </a:ext>
            </a:extLst>
          </p:cNvPr>
          <p:cNvSpPr/>
          <p:nvPr/>
        </p:nvSpPr>
        <p:spPr>
          <a:xfrm>
            <a:off x="4495997" y="5077187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28EA5A71-F61A-459E-BDF6-08B16EA1AA7C}"/>
              </a:ext>
            </a:extLst>
          </p:cNvPr>
          <p:cNvGrpSpPr/>
          <p:nvPr/>
        </p:nvGrpSpPr>
        <p:grpSpPr>
          <a:xfrm>
            <a:off x="623888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7CE6BA80-8884-5BCC-784E-9F4DACB0B34C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F738C5CA-71B1-79C8-8BCB-985D2AEDAD76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6" name="Рисунок 3">
            <a:extLst>
              <a:ext uri="{FF2B5EF4-FFF2-40B4-BE49-F238E27FC236}">
                <a16:creationId xmlns:a16="http://schemas.microsoft.com/office/drawing/2014/main" id="{B671C51F-D534-25D7-9AB0-B300C4E4F848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CEBB71C0-F5B3-55D8-A3D2-8FCEC46693A9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 99">
              <a:extLst>
                <a:ext uri="{FF2B5EF4-FFF2-40B4-BE49-F238E27FC236}">
                  <a16:creationId xmlns:a16="http://schemas.microsoft.com/office/drawing/2014/main" id="{45EAD989-AC80-A92A-2728-C299CF4BD79B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" name="Полилиния 100">
              <a:extLst>
                <a:ext uri="{FF2B5EF4-FFF2-40B4-BE49-F238E27FC236}">
                  <a16:creationId xmlns:a16="http://schemas.microsoft.com/office/drawing/2014/main" id="{CF509365-A7F6-6A40-1A31-14EFFA49B90C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" name="Полилиния 101">
              <a:extLst>
                <a:ext uri="{FF2B5EF4-FFF2-40B4-BE49-F238E27FC236}">
                  <a16:creationId xmlns:a16="http://schemas.microsoft.com/office/drawing/2014/main" id="{18A6A711-7607-AE7E-9F0C-E06EEE468BE7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" name="Полилиния 102">
              <a:extLst>
                <a:ext uri="{FF2B5EF4-FFF2-40B4-BE49-F238E27FC236}">
                  <a16:creationId xmlns:a16="http://schemas.microsoft.com/office/drawing/2014/main" id="{54D18848-7CC3-2755-0E8C-FDF6DFBEE8AD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" name="Полилиния 103">
              <a:extLst>
                <a:ext uri="{FF2B5EF4-FFF2-40B4-BE49-F238E27FC236}">
                  <a16:creationId xmlns:a16="http://schemas.microsoft.com/office/drawing/2014/main" id="{42B0020E-DA9A-B9E4-EFC6-0311C460F535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" name="Полилиния 104">
              <a:extLst>
                <a:ext uri="{FF2B5EF4-FFF2-40B4-BE49-F238E27FC236}">
                  <a16:creationId xmlns:a16="http://schemas.microsoft.com/office/drawing/2014/main" id="{293BF571-1C62-EF8D-8814-139A6DD469E7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" name="Полилиния 105">
              <a:extLst>
                <a:ext uri="{FF2B5EF4-FFF2-40B4-BE49-F238E27FC236}">
                  <a16:creationId xmlns:a16="http://schemas.microsoft.com/office/drawing/2014/main" id="{924B42FC-255E-ECD7-024D-537F08A8F86C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" name="Полилиния 106">
              <a:extLst>
                <a:ext uri="{FF2B5EF4-FFF2-40B4-BE49-F238E27FC236}">
                  <a16:creationId xmlns:a16="http://schemas.microsoft.com/office/drawing/2014/main" id="{E4E1AB4F-A8E0-5180-8E7D-03B656FC1045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" name="Полилиния 107">
              <a:extLst>
                <a:ext uri="{FF2B5EF4-FFF2-40B4-BE49-F238E27FC236}">
                  <a16:creationId xmlns:a16="http://schemas.microsoft.com/office/drawing/2014/main" id="{4A795F15-DC16-E0B7-742D-9D90E25AA79B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" name="Полилиния 108">
              <a:extLst>
                <a:ext uri="{FF2B5EF4-FFF2-40B4-BE49-F238E27FC236}">
                  <a16:creationId xmlns:a16="http://schemas.microsoft.com/office/drawing/2014/main" id="{CA77AE4C-996B-12D2-478E-E6979A491232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10" name="TextBox 109">
            <a:extLst>
              <a:ext uri="{FF2B5EF4-FFF2-40B4-BE49-F238E27FC236}">
                <a16:creationId xmlns:a16="http://schemas.microsoft.com/office/drawing/2014/main" id="{F326559F-D747-15E7-0B2A-DC8D170CA496}"/>
              </a:ext>
            </a:extLst>
          </p:cNvPr>
          <p:cNvSpPr txBox="1"/>
          <p:nvPr/>
        </p:nvSpPr>
        <p:spPr>
          <a:xfrm>
            <a:off x="527074" y="1521175"/>
            <a:ext cx="8193338" cy="17790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000" b="1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SemiBold" panose="020B0305040102020103" pitchFamily="34" charset="0"/>
              </a:rPr>
              <a:t>КОММУНИКАЦИОННЫЕ</a:t>
            </a:r>
            <a:br>
              <a:rPr lang="ru-RU" sz="6000" b="1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SemiBold" panose="020B0305040102020103" pitchFamily="34" charset="0"/>
              </a:rPr>
            </a:br>
            <a:r>
              <a:rPr lang="ru-RU" sz="6000" b="1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SemiBold" panose="020B0305040102020103" pitchFamily="34" charset="0"/>
              </a:rPr>
              <a:t>ПРЕЗЕНТАЦИИ 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BB67D761-8415-64FF-7C5A-AE9EAF85C757}"/>
              </a:ext>
            </a:extLst>
          </p:cNvPr>
          <p:cNvSpPr txBox="1"/>
          <p:nvPr/>
        </p:nvSpPr>
        <p:spPr>
          <a:xfrm>
            <a:off x="1187239" y="3311085"/>
            <a:ext cx="9720009" cy="25300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8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Medium" panose="020B0305040102020103" pitchFamily="34" charset="0"/>
              </a:rPr>
              <a:t>— Инструмент, </a:t>
            </a:r>
            <a:br>
              <a:rPr lang="ru-RU" sz="28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Medium" panose="020B0305040102020103" pitchFamily="34" charset="0"/>
              </a:rPr>
            </a:br>
            <a:r>
              <a:rPr lang="ru-RU" sz="28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Medium" panose="020B0305040102020103" pitchFamily="34" charset="0"/>
              </a:rPr>
              <a:t>который качественного </a:t>
            </a:r>
            <a:br>
              <a:rPr lang="ru-RU" sz="28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Medium" panose="020B0305040102020103" pitchFamily="34" charset="0"/>
              </a:rPr>
            </a:br>
            <a:r>
              <a:rPr lang="ru-RU" sz="28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Medium" panose="020B0305040102020103" pitchFamily="34" charset="0"/>
              </a:rPr>
              <a:t>донесет необходимую ценность, </a:t>
            </a:r>
            <a:br>
              <a:rPr lang="ru-RU" sz="28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Medium" panose="020B0305040102020103" pitchFamily="34" charset="0"/>
              </a:rPr>
            </a:br>
            <a:r>
              <a:rPr lang="ru-RU" sz="28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Medium" panose="020B0305040102020103" pitchFamily="34" charset="0"/>
              </a:rPr>
              <a:t>с помощью синергии контентного </a:t>
            </a:r>
            <a:br>
              <a:rPr lang="ru-RU" sz="28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Medium" panose="020B0305040102020103" pitchFamily="34" charset="0"/>
              </a:rPr>
            </a:br>
            <a:r>
              <a:rPr lang="ru-RU" sz="28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Medium" panose="020B0305040102020103" pitchFamily="34" charset="0"/>
              </a:rPr>
              <a:t>и визуального наполнения</a:t>
            </a:r>
          </a:p>
        </p:txBody>
      </p:sp>
      <p:grpSp>
        <p:nvGrpSpPr>
          <p:cNvPr id="112" name="Group 73">
            <a:extLst>
              <a:ext uri="{FF2B5EF4-FFF2-40B4-BE49-F238E27FC236}">
                <a16:creationId xmlns:a16="http://schemas.microsoft.com/office/drawing/2014/main" id="{9B0FBD64-CCF8-9F04-E24B-82E4B68F9B2A}"/>
              </a:ext>
            </a:extLst>
          </p:cNvPr>
          <p:cNvGrpSpPr/>
          <p:nvPr/>
        </p:nvGrpSpPr>
        <p:grpSpPr>
          <a:xfrm>
            <a:off x="9661085" y="7859812"/>
            <a:ext cx="3333884" cy="2424642"/>
            <a:chOff x="-2" y="0"/>
            <a:chExt cx="6428641" cy="6858000"/>
          </a:xfrm>
        </p:grpSpPr>
        <p:sp>
          <p:nvSpPr>
            <p:cNvPr id="113" name="Rectangle 36">
              <a:extLst>
                <a:ext uri="{FF2B5EF4-FFF2-40B4-BE49-F238E27FC236}">
                  <a16:creationId xmlns:a16="http://schemas.microsoft.com/office/drawing/2014/main" id="{8B6CED46-64ED-2A08-B14A-E986114E7593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4" name="Rectangle 9">
              <a:extLst>
                <a:ext uri="{FF2B5EF4-FFF2-40B4-BE49-F238E27FC236}">
                  <a16:creationId xmlns:a16="http://schemas.microsoft.com/office/drawing/2014/main" id="{712F4F73-5881-3F37-E363-FA5502EDBF2E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5" name="Rectangle 31">
              <a:extLst>
                <a:ext uri="{FF2B5EF4-FFF2-40B4-BE49-F238E27FC236}">
                  <a16:creationId xmlns:a16="http://schemas.microsoft.com/office/drawing/2014/main" id="{DE2B08FF-1427-8DBB-7E2D-ADA9EA3A111D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6" name="Rectangle 32">
              <a:extLst>
                <a:ext uri="{FF2B5EF4-FFF2-40B4-BE49-F238E27FC236}">
                  <a16:creationId xmlns:a16="http://schemas.microsoft.com/office/drawing/2014/main" id="{B2230A0A-48D1-EEA6-BFAE-34BF7F26E6EE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7" name="Rectangle 33">
              <a:extLst>
                <a:ext uri="{FF2B5EF4-FFF2-40B4-BE49-F238E27FC236}">
                  <a16:creationId xmlns:a16="http://schemas.microsoft.com/office/drawing/2014/main" id="{06272225-732E-2258-149D-D5096432B1F7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8" name="Rectangle 34">
              <a:extLst>
                <a:ext uri="{FF2B5EF4-FFF2-40B4-BE49-F238E27FC236}">
                  <a16:creationId xmlns:a16="http://schemas.microsoft.com/office/drawing/2014/main" id="{35AC9AEA-923F-D116-D891-4EE5F1DF7081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9" name="Rectangle 35">
              <a:extLst>
                <a:ext uri="{FF2B5EF4-FFF2-40B4-BE49-F238E27FC236}">
                  <a16:creationId xmlns:a16="http://schemas.microsoft.com/office/drawing/2014/main" id="{7911424F-AEB1-5466-4534-73C20C9004E9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0" name="Rectangle 37">
              <a:extLst>
                <a:ext uri="{FF2B5EF4-FFF2-40B4-BE49-F238E27FC236}">
                  <a16:creationId xmlns:a16="http://schemas.microsoft.com/office/drawing/2014/main" id="{FBA12D0D-4504-576E-7821-DC5C353963C0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1" name="Rectangle 48">
              <a:extLst>
                <a:ext uri="{FF2B5EF4-FFF2-40B4-BE49-F238E27FC236}">
                  <a16:creationId xmlns:a16="http://schemas.microsoft.com/office/drawing/2014/main" id="{BE7AE5AB-A0DA-EC90-32C2-2AD056F6A865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2" name="Rectangle 49">
              <a:extLst>
                <a:ext uri="{FF2B5EF4-FFF2-40B4-BE49-F238E27FC236}">
                  <a16:creationId xmlns:a16="http://schemas.microsoft.com/office/drawing/2014/main" id="{889F5CFC-ADAC-1C6B-0400-BE076BCD9337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grpSp>
        <p:nvGrpSpPr>
          <p:cNvPr id="134" name="Группа 133">
            <a:extLst>
              <a:ext uri="{FF2B5EF4-FFF2-40B4-BE49-F238E27FC236}">
                <a16:creationId xmlns:a16="http://schemas.microsoft.com/office/drawing/2014/main" id="{0CEC441A-337D-1598-B68A-79F4F5C46E50}"/>
              </a:ext>
            </a:extLst>
          </p:cNvPr>
          <p:cNvGrpSpPr/>
          <p:nvPr/>
        </p:nvGrpSpPr>
        <p:grpSpPr>
          <a:xfrm>
            <a:off x="-5084237" y="2190147"/>
            <a:ext cx="4857016" cy="1363166"/>
            <a:chOff x="611777" y="2405270"/>
            <a:chExt cx="4857016" cy="1363166"/>
          </a:xfrm>
        </p:grpSpPr>
        <p:sp>
          <p:nvSpPr>
            <p:cNvPr id="135" name="Скругленный прямоугольник 134">
              <a:extLst>
                <a:ext uri="{FF2B5EF4-FFF2-40B4-BE49-F238E27FC236}">
                  <a16:creationId xmlns:a16="http://schemas.microsoft.com/office/drawing/2014/main" id="{B9D193B4-F2E4-0799-78AA-39D7F0485C47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2F61B524-30E9-2C99-8CCF-3E2944C0A0ED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На какие презентации делают ставку компании сегодня</a:t>
              </a:r>
            </a:p>
          </p:txBody>
        </p:sp>
        <p:sp>
          <p:nvSpPr>
            <p:cNvPr id="137" name="Прямоугольник 136">
              <a:extLst>
                <a:ext uri="{FF2B5EF4-FFF2-40B4-BE49-F238E27FC236}">
                  <a16:creationId xmlns:a16="http://schemas.microsoft.com/office/drawing/2014/main" id="{596A0406-91A1-D584-AA65-DC3DAA7DFD8F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38" name="Группа 137">
            <a:extLst>
              <a:ext uri="{FF2B5EF4-FFF2-40B4-BE49-F238E27FC236}">
                <a16:creationId xmlns:a16="http://schemas.microsoft.com/office/drawing/2014/main" id="{A701A3FF-C262-F072-B839-71BDAD57C613}"/>
              </a:ext>
            </a:extLst>
          </p:cNvPr>
          <p:cNvGrpSpPr/>
          <p:nvPr/>
        </p:nvGrpSpPr>
        <p:grpSpPr>
          <a:xfrm>
            <a:off x="-6057565" y="4794172"/>
            <a:ext cx="4857016" cy="1363166"/>
            <a:chOff x="611777" y="2405270"/>
            <a:chExt cx="4857016" cy="1363166"/>
          </a:xfrm>
        </p:grpSpPr>
        <p:sp>
          <p:nvSpPr>
            <p:cNvPr id="139" name="Скругленный прямоугольник 138">
              <a:extLst>
                <a:ext uri="{FF2B5EF4-FFF2-40B4-BE49-F238E27FC236}">
                  <a16:creationId xmlns:a16="http://schemas.microsoft.com/office/drawing/2014/main" id="{90F61F0C-0BFE-B298-1291-B43F4D934C5C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0D3617BE-B9BC-87FC-E827-EAD531A23197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ый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и современный визуал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Разбираем терминологию</a:t>
              </a:r>
            </a:p>
          </p:txBody>
        </p:sp>
        <p:sp>
          <p:nvSpPr>
            <p:cNvPr id="141" name="Прямоугольник 140">
              <a:extLst>
                <a:ext uri="{FF2B5EF4-FFF2-40B4-BE49-F238E27FC236}">
                  <a16:creationId xmlns:a16="http://schemas.microsoft.com/office/drawing/2014/main" id="{D1216CCA-F3A5-7E49-D61F-75856A0FC5DD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2" name="Группа 141">
            <a:extLst>
              <a:ext uri="{FF2B5EF4-FFF2-40B4-BE49-F238E27FC236}">
                <a16:creationId xmlns:a16="http://schemas.microsoft.com/office/drawing/2014/main" id="{478E5AB1-8C23-B7EA-C97F-BD13C8F5C5A7}"/>
              </a:ext>
            </a:extLst>
          </p:cNvPr>
          <p:cNvGrpSpPr/>
          <p:nvPr/>
        </p:nvGrpSpPr>
        <p:grpSpPr>
          <a:xfrm>
            <a:off x="513712" y="7508090"/>
            <a:ext cx="4857016" cy="1363166"/>
            <a:chOff x="611777" y="2405270"/>
            <a:chExt cx="4857016" cy="1363166"/>
          </a:xfrm>
        </p:grpSpPr>
        <p:sp>
          <p:nvSpPr>
            <p:cNvPr id="143" name="Скругленный прямоугольник 142">
              <a:extLst>
                <a:ext uri="{FF2B5EF4-FFF2-40B4-BE49-F238E27FC236}">
                  <a16:creationId xmlns:a16="http://schemas.microsoft.com/office/drawing/2014/main" id="{5BD337BD-06FC-3474-D6F5-81435D4CB00E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71750D17-8137-9C67-8A84-8A937F7ED9BF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Тренды дизайн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 ближайшее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5-летие </a:t>
              </a:r>
            </a:p>
          </p:txBody>
        </p:sp>
        <p:sp>
          <p:nvSpPr>
            <p:cNvPr id="145" name="Прямоугольник 144">
              <a:extLst>
                <a:ext uri="{FF2B5EF4-FFF2-40B4-BE49-F238E27FC236}">
                  <a16:creationId xmlns:a16="http://schemas.microsoft.com/office/drawing/2014/main" id="{4E5CC6AB-A6F2-ACE5-1B68-5EB32F9177E2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6" name="Группа 145">
            <a:extLst>
              <a:ext uri="{FF2B5EF4-FFF2-40B4-BE49-F238E27FC236}">
                <a16:creationId xmlns:a16="http://schemas.microsoft.com/office/drawing/2014/main" id="{1F022967-3B46-C4D2-0F58-25A5E2F7C510}"/>
              </a:ext>
            </a:extLst>
          </p:cNvPr>
          <p:cNvGrpSpPr/>
          <p:nvPr/>
        </p:nvGrpSpPr>
        <p:grpSpPr>
          <a:xfrm>
            <a:off x="13132194" y="1047515"/>
            <a:ext cx="4857016" cy="1363166"/>
            <a:chOff x="611777" y="2405270"/>
            <a:chExt cx="4857016" cy="1363166"/>
          </a:xfrm>
        </p:grpSpPr>
        <p:sp>
          <p:nvSpPr>
            <p:cNvPr id="147" name="Скругленный прямоугольник 146">
              <a:extLst>
                <a:ext uri="{FF2B5EF4-FFF2-40B4-BE49-F238E27FC236}">
                  <a16:creationId xmlns:a16="http://schemas.microsoft.com/office/drawing/2014/main" id="{2C025B7C-53D6-5BA8-81BD-48754CD997E2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8BE6CF0E-77BD-AD81-0F49-6E3F65E3CD24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Азбу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ого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изуала</a:t>
              </a:r>
            </a:p>
          </p:txBody>
        </p:sp>
        <p:sp>
          <p:nvSpPr>
            <p:cNvPr id="149" name="Прямоугольник 148">
              <a:extLst>
                <a:ext uri="{FF2B5EF4-FFF2-40B4-BE49-F238E27FC236}">
                  <a16:creationId xmlns:a16="http://schemas.microsoft.com/office/drawing/2014/main" id="{E3DE4072-DE9B-63FA-A568-850359AE7123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50" name="Группа 149">
            <a:extLst>
              <a:ext uri="{FF2B5EF4-FFF2-40B4-BE49-F238E27FC236}">
                <a16:creationId xmlns:a16="http://schemas.microsoft.com/office/drawing/2014/main" id="{4E5087F5-F06B-AB3A-013A-000D6FE03BAA}"/>
              </a:ext>
            </a:extLst>
          </p:cNvPr>
          <p:cNvGrpSpPr/>
          <p:nvPr/>
        </p:nvGrpSpPr>
        <p:grpSpPr>
          <a:xfrm>
            <a:off x="12481566" y="4963369"/>
            <a:ext cx="4857016" cy="1363166"/>
            <a:chOff x="611777" y="2405270"/>
            <a:chExt cx="4857016" cy="1363166"/>
          </a:xfrm>
        </p:grpSpPr>
        <p:sp>
          <p:nvSpPr>
            <p:cNvPr id="151" name="Скругленный прямоугольник 150">
              <a:extLst>
                <a:ext uri="{FF2B5EF4-FFF2-40B4-BE49-F238E27FC236}">
                  <a16:creationId xmlns:a16="http://schemas.microsoft.com/office/drawing/2014/main" id="{90BE248C-9AC0-C0BC-58B0-A9524F7E1831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C4FE694E-4480-8338-D991-A1CE51F47669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Методи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оформления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слайдов на практике</a:t>
              </a:r>
            </a:p>
          </p:txBody>
        </p:sp>
        <p:sp>
          <p:nvSpPr>
            <p:cNvPr id="153" name="Прямоугольник 152">
              <a:extLst>
                <a:ext uri="{FF2B5EF4-FFF2-40B4-BE49-F238E27FC236}">
                  <a16:creationId xmlns:a16="http://schemas.microsoft.com/office/drawing/2014/main" id="{C705F5F7-C146-D97C-4C2B-F77309F144A4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54" name="Группа 153">
            <a:extLst>
              <a:ext uri="{FF2B5EF4-FFF2-40B4-BE49-F238E27FC236}">
                <a16:creationId xmlns:a16="http://schemas.microsoft.com/office/drawing/2014/main" id="{DCD29543-1FA6-E05E-0209-FF9301BB9491}"/>
              </a:ext>
            </a:extLst>
          </p:cNvPr>
          <p:cNvGrpSpPr/>
          <p:nvPr/>
        </p:nvGrpSpPr>
        <p:grpSpPr>
          <a:xfrm>
            <a:off x="6399343" y="8610257"/>
            <a:ext cx="4857016" cy="1363166"/>
            <a:chOff x="611777" y="2405270"/>
            <a:chExt cx="4857016" cy="1363166"/>
          </a:xfrm>
        </p:grpSpPr>
        <p:sp>
          <p:nvSpPr>
            <p:cNvPr id="155" name="Скругленный прямоугольник 154">
              <a:extLst>
                <a:ext uri="{FF2B5EF4-FFF2-40B4-BE49-F238E27FC236}">
                  <a16:creationId xmlns:a16="http://schemas.microsoft.com/office/drawing/2014/main" id="{074D9040-43C9-2ECF-B202-73188FEBE9EA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EE574752-4ADA-0C58-F4F0-DD92B2E79F08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резентации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+ </a:t>
              </a:r>
              <a:r>
                <a:rPr lang="ru-RU" sz="2000" dirty="0" err="1">
                  <a:latin typeface="Unbounded" panose="020B0305040102020103" pitchFamily="34" charset="0"/>
                  <a:cs typeface="Times New Roman" panose="02020603050405020304" pitchFamily="18" charset="0"/>
                </a:rPr>
                <a:t>ТенЧат</a:t>
              </a: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= результат</a:t>
              </a:r>
            </a:p>
          </p:txBody>
        </p:sp>
        <p:sp>
          <p:nvSpPr>
            <p:cNvPr id="157" name="Прямоугольник 156">
              <a:extLst>
                <a:ext uri="{FF2B5EF4-FFF2-40B4-BE49-F238E27FC236}">
                  <a16:creationId xmlns:a16="http://schemas.microsoft.com/office/drawing/2014/main" id="{421C125A-3F50-AEEC-EA59-439BC1787A0E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472320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3000" fill="hold"/>
                                        <p:tgtEl>
                                          <p:spTgt spid="6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8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5000" fill="hold"/>
                                        <p:tgtEl>
                                          <p:spTgt spid="6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8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7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8" dur="8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" dur="5000" fill="hold"/>
                                        <p:tgtEl>
                                          <p:spTgt spid="6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2" dur="8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3000" fill="hold"/>
                                        <p:tgtEl>
                                          <p:spTgt spid="6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6" dur="8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2000" fill="hold"/>
                                        <p:tgtEl>
                                          <p:spTgt spid="7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0" dur="8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5000" fill="hold"/>
                                        <p:tgtEl>
                                          <p:spTgt spid="6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4" dur="3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6" dur="5000" fill="hold"/>
                                        <p:tgtEl>
                                          <p:spTgt spid="6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8" dur="8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0" dur="2000" fill="hold"/>
                                        <p:tgtEl>
                                          <p:spTgt spid="7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2" dur="8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4" dur="5000" fill="hold"/>
                                        <p:tgtEl>
                                          <p:spTgt spid="7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6" dur="5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8" dur="2000" fill="hold"/>
                                        <p:tgtEl>
                                          <p:spTgt spid="7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0" dur="8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2" dur="3000" fill="hold"/>
                                        <p:tgtEl>
                                          <p:spTgt spid="7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4" dur="8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6" dur="5000" fill="hold"/>
                                        <p:tgtEl>
                                          <p:spTgt spid="7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8" dur="5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0" dur="3000" fill="hold"/>
                                        <p:tgtEl>
                                          <p:spTgt spid="8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2" dur="8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4" dur="5000" fill="hold"/>
                                        <p:tgtEl>
                                          <p:spTgt spid="8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6" dur="8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8" dur="3000" fill="hold"/>
                                        <p:tgtEl>
                                          <p:spTgt spid="8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9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1.11111E-6 L 0.06575 1.11111E-6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4401 -0.00093 L 0.06914 -0.00093 " pathEditMode="relative" rAng="0" ptsTypes="AA">
                                      <p:cBhvr>
                                        <p:cTn id="72" dur="2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65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4" grpId="1" animBg="1"/>
      <p:bldP spid="65" grpId="0" animBg="1"/>
      <p:bldP spid="65" grpId="1" animBg="1"/>
      <p:bldP spid="66" grpId="0" animBg="1"/>
      <p:bldP spid="66" grpId="1" animBg="1"/>
      <p:bldP spid="67" grpId="0" animBg="1"/>
      <p:bldP spid="67" grpId="1" animBg="1"/>
      <p:bldP spid="68" grpId="0" animBg="1"/>
      <p:bldP spid="68" grpId="1" animBg="1"/>
      <p:bldP spid="69" grpId="0" animBg="1"/>
      <p:bldP spid="69" grpId="1" animBg="1"/>
      <p:bldP spid="70" grpId="0" animBg="1"/>
      <p:bldP spid="70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  <p:bldP spid="79" grpId="0" animBg="1"/>
      <p:bldP spid="79" grpId="1" animBg="1"/>
      <p:bldP spid="80" grpId="0" animBg="1"/>
      <p:bldP spid="80" grpId="1" animBg="1"/>
      <p:bldP spid="81" grpId="0" animBg="1"/>
      <p:bldP spid="81" grpId="1" animBg="1"/>
      <p:bldP spid="82" grpId="0" animBg="1"/>
      <p:bldP spid="82" grpId="1" animBg="1"/>
      <p:bldP spid="110" grpId="0"/>
      <p:bldP spid="11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513614" y="1134499"/>
            <a:ext cx="11389623" cy="8753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ЧТО ВАС ЖДЕТ </a:t>
            </a:r>
            <a:endParaRPr lang="ru-RU" sz="4400" b="1" dirty="0"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Oval 131">
            <a:extLst>
              <a:ext uri="{FF2B5EF4-FFF2-40B4-BE49-F238E27FC236}">
                <a16:creationId xmlns:a16="http://schemas.microsoft.com/office/drawing/2014/main" id="{276EEF5D-F78C-B26E-DECD-C77D3F1482D1}"/>
              </a:ext>
            </a:extLst>
          </p:cNvPr>
          <p:cNvSpPr/>
          <p:nvPr/>
        </p:nvSpPr>
        <p:spPr>
          <a:xfrm>
            <a:off x="7084494" y="-1500448"/>
            <a:ext cx="6485696" cy="6485696"/>
          </a:xfrm>
          <a:prstGeom prst="ellipse">
            <a:avLst/>
          </a:prstGeom>
          <a:gradFill flip="none" rotWithShape="1">
            <a:gsLst>
              <a:gs pos="100000">
                <a:srgbClr val="C0DCFD">
                  <a:alpha val="0"/>
                </a:srgbClr>
              </a:gs>
              <a:gs pos="0">
                <a:srgbClr val="620CFD">
                  <a:alpha val="28632"/>
                </a:srgbClr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9" name="Group 73">
            <a:extLst>
              <a:ext uri="{FF2B5EF4-FFF2-40B4-BE49-F238E27FC236}">
                <a16:creationId xmlns:a16="http://schemas.microsoft.com/office/drawing/2014/main" id="{35E67D2F-B7C3-B295-35E6-FC63796E3A00}"/>
              </a:ext>
            </a:extLst>
          </p:cNvPr>
          <p:cNvGrpSpPr/>
          <p:nvPr/>
        </p:nvGrpSpPr>
        <p:grpSpPr>
          <a:xfrm>
            <a:off x="7778778" y="0"/>
            <a:ext cx="9429752" cy="6858000"/>
            <a:chOff x="-2" y="0"/>
            <a:chExt cx="6428641" cy="6858000"/>
          </a:xfrm>
        </p:grpSpPr>
        <p:sp>
          <p:nvSpPr>
            <p:cNvPr id="30" name="Rectangle 36">
              <a:extLst>
                <a:ext uri="{FF2B5EF4-FFF2-40B4-BE49-F238E27FC236}">
                  <a16:creationId xmlns:a16="http://schemas.microsoft.com/office/drawing/2014/main" id="{6B639D09-947B-C295-89E5-D3A7FED4C562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C53A0486-4FEC-606C-49B2-3FDFBA486CDC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CB477ED-8E12-B1BF-B8A7-3C0791AD06EE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941091D-EDDA-A164-26A5-C572323EC7A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200F815-13CC-7E6B-07CF-6C3058F6FC6E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128BDE-2C15-EEFD-DC03-849CC99CC0F5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F04D5FF-393F-4F2F-7D30-44C7741775D5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7" name="Rectangle 37">
              <a:extLst>
                <a:ext uri="{FF2B5EF4-FFF2-40B4-BE49-F238E27FC236}">
                  <a16:creationId xmlns:a16="http://schemas.microsoft.com/office/drawing/2014/main" id="{E77182A8-0D9D-1D4B-7DE2-D3C02E6B9837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8" name="Rectangle 48">
              <a:extLst>
                <a:ext uri="{FF2B5EF4-FFF2-40B4-BE49-F238E27FC236}">
                  <a16:creationId xmlns:a16="http://schemas.microsoft.com/office/drawing/2014/main" id="{2D657C40-FF42-B366-A67D-3943F761017E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9" name="Rectangle 49">
              <a:extLst>
                <a:ext uri="{FF2B5EF4-FFF2-40B4-BE49-F238E27FC236}">
                  <a16:creationId xmlns:a16="http://schemas.microsoft.com/office/drawing/2014/main" id="{A4E5D924-F2E5-0073-3EFE-88569B3773E2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8E2067B-2AE3-38F9-43E7-4B95E4B09078}"/>
              </a:ext>
            </a:extLst>
          </p:cNvPr>
          <p:cNvGrpSpPr/>
          <p:nvPr/>
        </p:nvGrpSpPr>
        <p:grpSpPr>
          <a:xfrm>
            <a:off x="815160" y="2172059"/>
            <a:ext cx="4857016" cy="1363166"/>
            <a:chOff x="611777" y="2405270"/>
            <a:chExt cx="4857016" cy="1363166"/>
          </a:xfrm>
        </p:grpSpPr>
        <p:sp>
          <p:nvSpPr>
            <p:cNvPr id="5" name="Скругленный прямоугольник 4">
              <a:extLst>
                <a:ext uri="{FF2B5EF4-FFF2-40B4-BE49-F238E27FC236}">
                  <a16:creationId xmlns:a16="http://schemas.microsoft.com/office/drawing/2014/main" id="{A7F4FB1F-7CB9-0392-E88E-05F8570BD35A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1C36F64-CC19-9AA3-6893-F3FE7D967910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На какие презентации делают ставку компании сегодня</a:t>
              </a: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19197928-64DB-9EA7-85E1-312760B10401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9AFEDB3-80B5-9A2A-AD4C-89FC4DCFFA98}"/>
              </a:ext>
            </a:extLst>
          </p:cNvPr>
          <p:cNvGrpSpPr/>
          <p:nvPr/>
        </p:nvGrpSpPr>
        <p:grpSpPr>
          <a:xfrm>
            <a:off x="1179548" y="3716841"/>
            <a:ext cx="4857016" cy="1363166"/>
            <a:chOff x="611777" y="2405270"/>
            <a:chExt cx="4857016" cy="1363166"/>
          </a:xfrm>
        </p:grpSpPr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04266423-83B6-B053-32BE-FA22D1949E9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92F0A0F-B8D9-CC2B-4135-042748D7E5ED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ый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и современный визуал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Разбираем терминологию</a:t>
              </a: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BF6A9C1A-6EA0-F8AC-74EC-7FD19A995EBC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5F9BCE64-2736-D050-26B1-B81E3AD61828}"/>
              </a:ext>
            </a:extLst>
          </p:cNvPr>
          <p:cNvGrpSpPr/>
          <p:nvPr/>
        </p:nvGrpSpPr>
        <p:grpSpPr>
          <a:xfrm>
            <a:off x="513712" y="5261623"/>
            <a:ext cx="4857016" cy="1363166"/>
            <a:chOff x="611777" y="2405270"/>
            <a:chExt cx="4857016" cy="1363166"/>
          </a:xfrm>
        </p:grpSpPr>
        <p:sp>
          <p:nvSpPr>
            <p:cNvPr id="15" name="Скругленный прямоугольник 14">
              <a:extLst>
                <a:ext uri="{FF2B5EF4-FFF2-40B4-BE49-F238E27FC236}">
                  <a16:creationId xmlns:a16="http://schemas.microsoft.com/office/drawing/2014/main" id="{3BA1765F-B5D6-C20A-0972-59DF1A8D3A1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3006BE3-2E8B-0497-3D07-C701AF6EA6A1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Тренды дизайн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 ближайшее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5-летие </a:t>
              </a: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B87F739B-4D12-3F01-E7F6-8B2159450E25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AEDE9B22-2CD9-D79F-D8C3-683B6E11B10D}"/>
              </a:ext>
            </a:extLst>
          </p:cNvPr>
          <p:cNvGrpSpPr/>
          <p:nvPr/>
        </p:nvGrpSpPr>
        <p:grpSpPr>
          <a:xfrm>
            <a:off x="5934891" y="2172059"/>
            <a:ext cx="4857016" cy="1363166"/>
            <a:chOff x="611777" y="2405270"/>
            <a:chExt cx="4857016" cy="1363166"/>
          </a:xfrm>
        </p:grpSpPr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CF04D4B2-EFA1-1BE0-9334-A3C11FB0404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8DF981C-58D9-6EFC-B35D-28D92119103A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Азбу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ого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изуала</a:t>
              </a: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D9D36EAF-E32C-E2F6-ECE4-F55205B9259B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2A22449B-F3F2-9012-D8EB-6828B988225F}"/>
              </a:ext>
            </a:extLst>
          </p:cNvPr>
          <p:cNvGrpSpPr/>
          <p:nvPr/>
        </p:nvGrpSpPr>
        <p:grpSpPr>
          <a:xfrm>
            <a:off x="6299279" y="3716841"/>
            <a:ext cx="4857016" cy="1363166"/>
            <a:chOff x="611777" y="2405270"/>
            <a:chExt cx="4857016" cy="1363166"/>
          </a:xfrm>
        </p:grpSpPr>
        <p:sp>
          <p:nvSpPr>
            <p:cNvPr id="23" name="Скругленный прямоугольник 22">
              <a:extLst>
                <a:ext uri="{FF2B5EF4-FFF2-40B4-BE49-F238E27FC236}">
                  <a16:creationId xmlns:a16="http://schemas.microsoft.com/office/drawing/2014/main" id="{F19019FB-484B-063A-C0F1-75F5F3B3CFD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BBBBF49-432E-C74C-DF03-D20345CEDC74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Методи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оформления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слайдов на практике</a:t>
              </a: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D3399DB1-82A0-B6CF-384C-9EA39DF495AD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0AEB9D68-0AAB-CD6D-25A5-FC460F1FFE21}"/>
              </a:ext>
            </a:extLst>
          </p:cNvPr>
          <p:cNvGrpSpPr/>
          <p:nvPr/>
        </p:nvGrpSpPr>
        <p:grpSpPr>
          <a:xfrm>
            <a:off x="5633443" y="5261623"/>
            <a:ext cx="4857016" cy="1363166"/>
            <a:chOff x="611777" y="2405270"/>
            <a:chExt cx="4857016" cy="1363166"/>
          </a:xfrm>
        </p:grpSpPr>
        <p:sp>
          <p:nvSpPr>
            <p:cNvPr id="27" name="Скругленный прямоугольник 26">
              <a:extLst>
                <a:ext uri="{FF2B5EF4-FFF2-40B4-BE49-F238E27FC236}">
                  <a16:creationId xmlns:a16="http://schemas.microsoft.com/office/drawing/2014/main" id="{2A288FAD-4AD3-DE3D-94C2-865EDD5A7CE3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A8691D3-AEB8-607D-0A93-0F3654F79B76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резентации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+ </a:t>
              </a:r>
              <a:r>
                <a:rPr lang="ru-RU" sz="2000" dirty="0" err="1">
                  <a:latin typeface="Unbounded" panose="020B0305040102020103" pitchFamily="34" charset="0"/>
                  <a:cs typeface="Times New Roman" panose="02020603050405020304" pitchFamily="18" charset="0"/>
                </a:rPr>
                <a:t>ТенЧат</a:t>
              </a: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= результат</a:t>
              </a:r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9C58F58E-156F-0E6B-4B76-D9E0FBDED56F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328D1BCA-6C6B-58AE-23B9-A81210814282}"/>
              </a:ext>
            </a:extLst>
          </p:cNvPr>
          <p:cNvSpPr/>
          <p:nvPr/>
        </p:nvSpPr>
        <p:spPr>
          <a:xfrm>
            <a:off x="612041" y="8173144"/>
            <a:ext cx="4009927" cy="3077061"/>
          </a:xfrm>
          <a:prstGeom prst="roundRect">
            <a:avLst>
              <a:gd name="adj" fmla="val 10818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0B11851-3A6D-F0FF-26FA-883875540114}"/>
              </a:ext>
            </a:extLst>
          </p:cNvPr>
          <p:cNvSpPr txBox="1"/>
          <p:nvPr/>
        </p:nvSpPr>
        <p:spPr>
          <a:xfrm>
            <a:off x="936602" y="8512072"/>
            <a:ext cx="3412348" cy="549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1</a:t>
            </a:r>
            <a:endParaRPr lang="ru-RU" sz="2400" b="1" dirty="0">
              <a:solidFill>
                <a:schemeClr val="bg1"/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DC2D996-1FC6-8D16-9B6E-8E2E20787EE8}"/>
              </a:ext>
            </a:extLst>
          </p:cNvPr>
          <p:cNvSpPr txBox="1"/>
          <p:nvPr/>
        </p:nvSpPr>
        <p:spPr>
          <a:xfrm>
            <a:off x="894075" y="9126407"/>
            <a:ext cx="3297640" cy="1396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оверенные структуры бизнес-презентаций 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од разные задачи</a:t>
            </a:r>
          </a:p>
        </p:txBody>
      </p:sp>
    </p:spTree>
    <p:extLst>
      <p:ext uri="{BB962C8B-B14F-4D97-AF65-F5344CB8AC3E}">
        <p14:creationId xmlns:p14="http://schemas.microsoft.com/office/powerpoint/2010/main" val="24967950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3.33333E-6 L 0.06576 3.33333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3.33333E-6 L 0.06576 3.33333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3.33333E-6 L 0.06576 3.33333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3.33333E-6 L 0.06576 3.33333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3.33333E-6 L 0.06576 3.33333E-6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3.33333E-6 L 0.06576 3.33333E-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3.33333E-6 L 0.06576 3.33333E-6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27059130-641E-7247-9B2B-0602940EE081}"/>
              </a:ext>
            </a:extLst>
          </p:cNvPr>
          <p:cNvSpPr txBox="1"/>
          <p:nvPr/>
        </p:nvSpPr>
        <p:spPr>
          <a:xfrm>
            <a:off x="513614" y="1220703"/>
            <a:ext cx="11389623" cy="22082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5500"/>
              </a:lnSpc>
            </a:pP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БИЗНЕС </a:t>
            </a:r>
            <a:b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</a:b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СТРОИТСЯ </a:t>
            </a:r>
            <a:b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</a:b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НА КОММУНИКАЦИЯХ</a:t>
            </a:r>
          </a:p>
        </p:txBody>
      </p: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" name="!!1">
            <a:extLst>
              <a:ext uri="{FF2B5EF4-FFF2-40B4-BE49-F238E27FC236}">
                <a16:creationId xmlns:a16="http://schemas.microsoft.com/office/drawing/2014/main" id="{66088432-684B-8D84-0538-08D906B20D65}"/>
              </a:ext>
            </a:extLst>
          </p:cNvPr>
          <p:cNvGrpSpPr/>
          <p:nvPr/>
        </p:nvGrpSpPr>
        <p:grpSpPr>
          <a:xfrm>
            <a:off x="-3281082" y="3429000"/>
            <a:ext cx="16369553" cy="2754715"/>
            <a:chOff x="-8380656" y="3711125"/>
            <a:chExt cx="39283186" cy="6610687"/>
          </a:xfrm>
        </p:grpSpPr>
        <p:sp>
          <p:nvSpPr>
            <p:cNvPr id="2" name="Полилиния 1">
              <a:extLst>
                <a:ext uri="{FF2B5EF4-FFF2-40B4-BE49-F238E27FC236}">
                  <a16:creationId xmlns:a16="http://schemas.microsoft.com/office/drawing/2014/main" id="{29E17D07-B6DB-B285-AD31-56570FF26668}"/>
                </a:ext>
              </a:extLst>
            </p:cNvPr>
            <p:cNvSpPr/>
            <p:nvPr/>
          </p:nvSpPr>
          <p:spPr>
            <a:xfrm>
              <a:off x="-1343917" y="3711125"/>
              <a:ext cx="7973327" cy="1673803"/>
            </a:xfrm>
            <a:custGeom>
              <a:avLst/>
              <a:gdLst>
                <a:gd name="connsiteX0" fmla="*/ 2618174 w 5360120"/>
                <a:gd name="connsiteY0" fmla="*/ 0 h 1115727"/>
                <a:gd name="connsiteX1" fmla="*/ 2679502 w 5360120"/>
                <a:gd name="connsiteY1" fmla="*/ 0 h 1115727"/>
                <a:gd name="connsiteX2" fmla="*/ 2740830 w 5360120"/>
                <a:gd name="connsiteY2" fmla="*/ 0 h 1115727"/>
                <a:gd name="connsiteX3" fmla="*/ 2803273 w 5360120"/>
                <a:gd name="connsiteY3" fmla="*/ 3340 h 1115727"/>
                <a:gd name="connsiteX4" fmla="*/ 2864601 w 5360120"/>
                <a:gd name="connsiteY4" fmla="*/ 7793 h 1115727"/>
                <a:gd name="connsiteX5" fmla="*/ 2923699 w 5360120"/>
                <a:gd name="connsiteY5" fmla="*/ 14473 h 1115727"/>
                <a:gd name="connsiteX6" fmla="*/ 2985027 w 5360120"/>
                <a:gd name="connsiteY6" fmla="*/ 23379 h 1115727"/>
                <a:gd name="connsiteX7" fmla="*/ 3043010 w 5360120"/>
                <a:gd name="connsiteY7" fmla="*/ 33399 h 1115727"/>
                <a:gd name="connsiteX8" fmla="*/ 3102109 w 5360120"/>
                <a:gd name="connsiteY8" fmla="*/ 46758 h 1115727"/>
                <a:gd name="connsiteX9" fmla="*/ 3160091 w 5360120"/>
                <a:gd name="connsiteY9" fmla="*/ 61231 h 1115727"/>
                <a:gd name="connsiteX10" fmla="*/ 3215843 w 5360120"/>
                <a:gd name="connsiteY10" fmla="*/ 77930 h 1115727"/>
                <a:gd name="connsiteX11" fmla="*/ 3270481 w 5360120"/>
                <a:gd name="connsiteY11" fmla="*/ 95743 h 1115727"/>
                <a:gd name="connsiteX12" fmla="*/ 3325119 w 5360120"/>
                <a:gd name="connsiteY12" fmla="*/ 116895 h 1115727"/>
                <a:gd name="connsiteX13" fmla="*/ 3376411 w 5360120"/>
                <a:gd name="connsiteY13" fmla="*/ 139161 h 1115727"/>
                <a:gd name="connsiteX14" fmla="*/ 3427704 w 5360120"/>
                <a:gd name="connsiteY14" fmla="*/ 163653 h 1115727"/>
                <a:gd name="connsiteX15" fmla="*/ 3477881 w 5360120"/>
                <a:gd name="connsiteY15" fmla="*/ 189259 h 1115727"/>
                <a:gd name="connsiteX16" fmla="*/ 3524713 w 5360120"/>
                <a:gd name="connsiteY16" fmla="*/ 215978 h 1115727"/>
                <a:gd name="connsiteX17" fmla="*/ 3569315 w 5360120"/>
                <a:gd name="connsiteY17" fmla="*/ 247150 h 1115727"/>
                <a:gd name="connsiteX18" fmla="*/ 3570430 w 5360120"/>
                <a:gd name="connsiteY18" fmla="*/ 248263 h 1115727"/>
                <a:gd name="connsiteX19" fmla="*/ 3581581 w 5360120"/>
                <a:gd name="connsiteY19" fmla="*/ 256056 h 1115727"/>
                <a:gd name="connsiteX20" fmla="*/ 3612802 w 5360120"/>
                <a:gd name="connsiteY20" fmla="*/ 277209 h 1115727"/>
                <a:gd name="connsiteX21" fmla="*/ 3671900 w 5360120"/>
                <a:gd name="connsiteY21" fmla="*/ 318401 h 1115727"/>
                <a:gd name="connsiteX22" fmla="*/ 3767795 w 5360120"/>
                <a:gd name="connsiteY22" fmla="*/ 386311 h 1115727"/>
                <a:gd name="connsiteX23" fmla="*/ 3912752 w 5360120"/>
                <a:gd name="connsiteY23" fmla="*/ 487620 h 1115727"/>
                <a:gd name="connsiteX24" fmla="*/ 4114577 w 5360120"/>
                <a:gd name="connsiteY24" fmla="*/ 627895 h 1115727"/>
                <a:gd name="connsiteX25" fmla="*/ 4383305 w 5360120"/>
                <a:gd name="connsiteY25" fmla="*/ 817154 h 1115727"/>
                <a:gd name="connsiteX26" fmla="*/ 4434597 w 5360120"/>
                <a:gd name="connsiteY26" fmla="*/ 851666 h 1115727"/>
                <a:gd name="connsiteX27" fmla="*/ 4490350 w 5360120"/>
                <a:gd name="connsiteY27" fmla="*/ 885065 h 1115727"/>
                <a:gd name="connsiteX28" fmla="*/ 4548333 w 5360120"/>
                <a:gd name="connsiteY28" fmla="*/ 915123 h 1115727"/>
                <a:gd name="connsiteX29" fmla="*/ 4608546 w 5360120"/>
                <a:gd name="connsiteY29" fmla="*/ 944069 h 1115727"/>
                <a:gd name="connsiteX30" fmla="*/ 4670989 w 5360120"/>
                <a:gd name="connsiteY30" fmla="*/ 971901 h 1115727"/>
                <a:gd name="connsiteX31" fmla="*/ 4736777 w 5360120"/>
                <a:gd name="connsiteY31" fmla="*/ 995280 h 1115727"/>
                <a:gd name="connsiteX32" fmla="*/ 4802565 w 5360120"/>
                <a:gd name="connsiteY32" fmla="*/ 1017546 h 1115727"/>
                <a:gd name="connsiteX33" fmla="*/ 4871699 w 5360120"/>
                <a:gd name="connsiteY33" fmla="*/ 1038698 h 1115727"/>
                <a:gd name="connsiteX34" fmla="*/ 4940832 w 5360120"/>
                <a:gd name="connsiteY34" fmla="*/ 1056511 h 1115727"/>
                <a:gd name="connsiteX35" fmla="*/ 5012195 w 5360120"/>
                <a:gd name="connsiteY35" fmla="*/ 1072097 h 1115727"/>
                <a:gd name="connsiteX36" fmla="*/ 5086904 w 5360120"/>
                <a:gd name="connsiteY36" fmla="*/ 1086570 h 1115727"/>
                <a:gd name="connsiteX37" fmla="*/ 5160497 w 5360120"/>
                <a:gd name="connsiteY37" fmla="*/ 1097703 h 1115727"/>
                <a:gd name="connsiteX38" fmla="*/ 5236321 w 5360120"/>
                <a:gd name="connsiteY38" fmla="*/ 1106609 h 1115727"/>
                <a:gd name="connsiteX39" fmla="*/ 5311030 w 5360120"/>
                <a:gd name="connsiteY39" fmla="*/ 1112176 h 1115727"/>
                <a:gd name="connsiteX40" fmla="*/ 5360120 w 5360120"/>
                <a:gd name="connsiteY40" fmla="*/ 1115727 h 1115727"/>
                <a:gd name="connsiteX41" fmla="*/ 0 w 5360120"/>
                <a:gd name="connsiteY41" fmla="*/ 1115727 h 1115727"/>
                <a:gd name="connsiteX42" fmla="*/ 49090 w 5360120"/>
                <a:gd name="connsiteY42" fmla="*/ 1112176 h 1115727"/>
                <a:gd name="connsiteX43" fmla="*/ 124914 w 5360120"/>
                <a:gd name="connsiteY43" fmla="*/ 1106609 h 1115727"/>
                <a:gd name="connsiteX44" fmla="*/ 200738 w 5360120"/>
                <a:gd name="connsiteY44" fmla="*/ 1097703 h 1115727"/>
                <a:gd name="connsiteX45" fmla="*/ 275446 w 5360120"/>
                <a:gd name="connsiteY45" fmla="*/ 1086570 h 1115727"/>
                <a:gd name="connsiteX46" fmla="*/ 347925 w 5360120"/>
                <a:gd name="connsiteY46" fmla="*/ 1072097 h 1115727"/>
                <a:gd name="connsiteX47" fmla="*/ 420403 w 5360120"/>
                <a:gd name="connsiteY47" fmla="*/ 1056511 h 1115727"/>
                <a:gd name="connsiteX48" fmla="*/ 489537 w 5360120"/>
                <a:gd name="connsiteY48" fmla="*/ 1038698 h 1115727"/>
                <a:gd name="connsiteX49" fmla="*/ 558670 w 5360120"/>
                <a:gd name="connsiteY49" fmla="*/ 1017546 h 1115727"/>
                <a:gd name="connsiteX50" fmla="*/ 624458 w 5360120"/>
                <a:gd name="connsiteY50" fmla="*/ 995280 h 1115727"/>
                <a:gd name="connsiteX51" fmla="*/ 690246 w 5360120"/>
                <a:gd name="connsiteY51" fmla="*/ 971901 h 1115727"/>
                <a:gd name="connsiteX52" fmla="*/ 751574 w 5360120"/>
                <a:gd name="connsiteY52" fmla="*/ 944069 h 1115727"/>
                <a:gd name="connsiteX53" fmla="*/ 811787 w 5360120"/>
                <a:gd name="connsiteY53" fmla="*/ 915123 h 1115727"/>
                <a:gd name="connsiteX54" fmla="*/ 869770 w 5360120"/>
                <a:gd name="connsiteY54" fmla="*/ 885065 h 1115727"/>
                <a:gd name="connsiteX55" fmla="*/ 924408 w 5360120"/>
                <a:gd name="connsiteY55" fmla="*/ 851666 h 1115727"/>
                <a:gd name="connsiteX56" fmla="*/ 977930 w 5360120"/>
                <a:gd name="connsiteY56" fmla="*/ 817154 h 1115727"/>
                <a:gd name="connsiteX57" fmla="*/ 979045 w 5360120"/>
                <a:gd name="connsiteY57" fmla="*/ 816041 h 1115727"/>
                <a:gd name="connsiteX58" fmla="*/ 990196 w 5360120"/>
                <a:gd name="connsiteY58" fmla="*/ 808248 h 1115727"/>
                <a:gd name="connsiteX59" fmla="*/ 1021417 w 5360120"/>
                <a:gd name="connsiteY59" fmla="*/ 787095 h 1115727"/>
                <a:gd name="connsiteX60" fmla="*/ 1078285 w 5360120"/>
                <a:gd name="connsiteY60" fmla="*/ 745904 h 1115727"/>
                <a:gd name="connsiteX61" fmla="*/ 1176410 w 5360120"/>
                <a:gd name="connsiteY61" fmla="*/ 677993 h 1115727"/>
                <a:gd name="connsiteX62" fmla="*/ 1321367 w 5360120"/>
                <a:gd name="connsiteY62" fmla="*/ 576684 h 1115727"/>
                <a:gd name="connsiteX63" fmla="*/ 1522076 w 5360120"/>
                <a:gd name="connsiteY63" fmla="*/ 434183 h 1115727"/>
                <a:gd name="connsiteX64" fmla="*/ 1789689 w 5360120"/>
                <a:gd name="connsiteY64" fmla="*/ 247150 h 1115727"/>
                <a:gd name="connsiteX65" fmla="*/ 1836522 w 5360120"/>
                <a:gd name="connsiteY65" fmla="*/ 215978 h 1115727"/>
                <a:gd name="connsiteX66" fmla="*/ 1883354 w 5360120"/>
                <a:gd name="connsiteY66" fmla="*/ 189259 h 1115727"/>
                <a:gd name="connsiteX67" fmla="*/ 1931301 w 5360120"/>
                <a:gd name="connsiteY67" fmla="*/ 163653 h 1115727"/>
                <a:gd name="connsiteX68" fmla="*/ 1982594 w 5360120"/>
                <a:gd name="connsiteY68" fmla="*/ 139161 h 1115727"/>
                <a:gd name="connsiteX69" fmla="*/ 2036116 w 5360120"/>
                <a:gd name="connsiteY69" fmla="*/ 116895 h 1115727"/>
                <a:gd name="connsiteX70" fmla="*/ 2088524 w 5360120"/>
                <a:gd name="connsiteY70" fmla="*/ 95743 h 1115727"/>
                <a:gd name="connsiteX71" fmla="*/ 2145392 w 5360120"/>
                <a:gd name="connsiteY71" fmla="*/ 77930 h 1115727"/>
                <a:gd name="connsiteX72" fmla="*/ 2201144 w 5360120"/>
                <a:gd name="connsiteY72" fmla="*/ 61231 h 1115727"/>
                <a:gd name="connsiteX73" fmla="*/ 2259127 w 5360120"/>
                <a:gd name="connsiteY73" fmla="*/ 46758 h 1115727"/>
                <a:gd name="connsiteX74" fmla="*/ 2317110 w 5360120"/>
                <a:gd name="connsiteY74" fmla="*/ 33399 h 1115727"/>
                <a:gd name="connsiteX75" fmla="*/ 2376208 w 5360120"/>
                <a:gd name="connsiteY75" fmla="*/ 23379 h 1115727"/>
                <a:gd name="connsiteX76" fmla="*/ 2435305 w 5360120"/>
                <a:gd name="connsiteY76" fmla="*/ 14473 h 1115727"/>
                <a:gd name="connsiteX77" fmla="*/ 2496633 w 5360120"/>
                <a:gd name="connsiteY77" fmla="*/ 7793 h 1115727"/>
                <a:gd name="connsiteX78" fmla="*/ 2557961 w 5360120"/>
                <a:gd name="connsiteY78" fmla="*/ 3340 h 11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60120" h="1115727">
                  <a:moveTo>
                    <a:pt x="2618174" y="0"/>
                  </a:moveTo>
                  <a:lnTo>
                    <a:pt x="2679502" y="0"/>
                  </a:lnTo>
                  <a:lnTo>
                    <a:pt x="2740830" y="0"/>
                  </a:lnTo>
                  <a:lnTo>
                    <a:pt x="2803273" y="3340"/>
                  </a:lnTo>
                  <a:lnTo>
                    <a:pt x="2864601" y="7793"/>
                  </a:lnTo>
                  <a:lnTo>
                    <a:pt x="2923699" y="14473"/>
                  </a:lnTo>
                  <a:lnTo>
                    <a:pt x="2985027" y="23379"/>
                  </a:lnTo>
                  <a:lnTo>
                    <a:pt x="3043010" y="33399"/>
                  </a:lnTo>
                  <a:lnTo>
                    <a:pt x="3102109" y="46758"/>
                  </a:lnTo>
                  <a:lnTo>
                    <a:pt x="3160091" y="61231"/>
                  </a:lnTo>
                  <a:lnTo>
                    <a:pt x="3215843" y="77930"/>
                  </a:lnTo>
                  <a:lnTo>
                    <a:pt x="3270481" y="95743"/>
                  </a:lnTo>
                  <a:lnTo>
                    <a:pt x="3325119" y="116895"/>
                  </a:lnTo>
                  <a:lnTo>
                    <a:pt x="3376411" y="139161"/>
                  </a:lnTo>
                  <a:lnTo>
                    <a:pt x="3427704" y="163653"/>
                  </a:lnTo>
                  <a:lnTo>
                    <a:pt x="3477881" y="189259"/>
                  </a:lnTo>
                  <a:lnTo>
                    <a:pt x="3524713" y="215978"/>
                  </a:lnTo>
                  <a:lnTo>
                    <a:pt x="3569315" y="247150"/>
                  </a:lnTo>
                  <a:lnTo>
                    <a:pt x="3570430" y="248263"/>
                  </a:lnTo>
                  <a:lnTo>
                    <a:pt x="3581581" y="256056"/>
                  </a:lnTo>
                  <a:lnTo>
                    <a:pt x="3612802" y="277209"/>
                  </a:lnTo>
                  <a:lnTo>
                    <a:pt x="3671900" y="318401"/>
                  </a:lnTo>
                  <a:lnTo>
                    <a:pt x="3767795" y="386311"/>
                  </a:lnTo>
                  <a:lnTo>
                    <a:pt x="3912752" y="487620"/>
                  </a:lnTo>
                  <a:lnTo>
                    <a:pt x="4114577" y="627895"/>
                  </a:lnTo>
                  <a:lnTo>
                    <a:pt x="4383305" y="817154"/>
                  </a:lnTo>
                  <a:lnTo>
                    <a:pt x="4434597" y="851666"/>
                  </a:lnTo>
                  <a:lnTo>
                    <a:pt x="4490350" y="885065"/>
                  </a:lnTo>
                  <a:lnTo>
                    <a:pt x="4548333" y="915123"/>
                  </a:lnTo>
                  <a:lnTo>
                    <a:pt x="4608546" y="944069"/>
                  </a:lnTo>
                  <a:lnTo>
                    <a:pt x="4670989" y="971901"/>
                  </a:lnTo>
                  <a:lnTo>
                    <a:pt x="4736777" y="995280"/>
                  </a:lnTo>
                  <a:lnTo>
                    <a:pt x="4802565" y="1017546"/>
                  </a:lnTo>
                  <a:lnTo>
                    <a:pt x="4871699" y="1038698"/>
                  </a:lnTo>
                  <a:lnTo>
                    <a:pt x="4940832" y="1056511"/>
                  </a:lnTo>
                  <a:lnTo>
                    <a:pt x="5012195" y="1072097"/>
                  </a:lnTo>
                  <a:lnTo>
                    <a:pt x="5086904" y="1086570"/>
                  </a:lnTo>
                  <a:lnTo>
                    <a:pt x="5160497" y="1097703"/>
                  </a:lnTo>
                  <a:lnTo>
                    <a:pt x="5236321" y="1106609"/>
                  </a:lnTo>
                  <a:lnTo>
                    <a:pt x="5311030" y="1112176"/>
                  </a:lnTo>
                  <a:lnTo>
                    <a:pt x="5360120" y="1115727"/>
                  </a:lnTo>
                  <a:lnTo>
                    <a:pt x="0" y="1115727"/>
                  </a:lnTo>
                  <a:lnTo>
                    <a:pt x="49090" y="1112176"/>
                  </a:lnTo>
                  <a:lnTo>
                    <a:pt x="124914" y="1106609"/>
                  </a:lnTo>
                  <a:lnTo>
                    <a:pt x="200738" y="1097703"/>
                  </a:lnTo>
                  <a:lnTo>
                    <a:pt x="275446" y="1086570"/>
                  </a:lnTo>
                  <a:lnTo>
                    <a:pt x="347925" y="1072097"/>
                  </a:lnTo>
                  <a:lnTo>
                    <a:pt x="420403" y="1056511"/>
                  </a:lnTo>
                  <a:lnTo>
                    <a:pt x="489537" y="1038698"/>
                  </a:lnTo>
                  <a:lnTo>
                    <a:pt x="558670" y="1017546"/>
                  </a:lnTo>
                  <a:lnTo>
                    <a:pt x="624458" y="995280"/>
                  </a:lnTo>
                  <a:lnTo>
                    <a:pt x="690246" y="971901"/>
                  </a:lnTo>
                  <a:lnTo>
                    <a:pt x="751574" y="944069"/>
                  </a:lnTo>
                  <a:lnTo>
                    <a:pt x="811787" y="915123"/>
                  </a:lnTo>
                  <a:lnTo>
                    <a:pt x="869770" y="885065"/>
                  </a:lnTo>
                  <a:lnTo>
                    <a:pt x="924408" y="851666"/>
                  </a:lnTo>
                  <a:lnTo>
                    <a:pt x="977930" y="817154"/>
                  </a:lnTo>
                  <a:lnTo>
                    <a:pt x="979045" y="816041"/>
                  </a:lnTo>
                  <a:lnTo>
                    <a:pt x="990196" y="808248"/>
                  </a:lnTo>
                  <a:lnTo>
                    <a:pt x="1021417" y="787095"/>
                  </a:lnTo>
                  <a:lnTo>
                    <a:pt x="1078285" y="745904"/>
                  </a:lnTo>
                  <a:lnTo>
                    <a:pt x="1176410" y="677993"/>
                  </a:lnTo>
                  <a:lnTo>
                    <a:pt x="1321367" y="576684"/>
                  </a:lnTo>
                  <a:lnTo>
                    <a:pt x="1522076" y="434183"/>
                  </a:lnTo>
                  <a:lnTo>
                    <a:pt x="1789689" y="247150"/>
                  </a:lnTo>
                  <a:lnTo>
                    <a:pt x="1836522" y="215978"/>
                  </a:lnTo>
                  <a:lnTo>
                    <a:pt x="1883354" y="189259"/>
                  </a:lnTo>
                  <a:lnTo>
                    <a:pt x="1931301" y="163653"/>
                  </a:lnTo>
                  <a:lnTo>
                    <a:pt x="1982594" y="139161"/>
                  </a:lnTo>
                  <a:lnTo>
                    <a:pt x="2036116" y="116895"/>
                  </a:lnTo>
                  <a:lnTo>
                    <a:pt x="2088524" y="95743"/>
                  </a:lnTo>
                  <a:lnTo>
                    <a:pt x="2145392" y="77930"/>
                  </a:lnTo>
                  <a:lnTo>
                    <a:pt x="2201144" y="61231"/>
                  </a:lnTo>
                  <a:lnTo>
                    <a:pt x="2259127" y="46758"/>
                  </a:lnTo>
                  <a:lnTo>
                    <a:pt x="2317110" y="33399"/>
                  </a:lnTo>
                  <a:lnTo>
                    <a:pt x="2376208" y="23379"/>
                  </a:lnTo>
                  <a:lnTo>
                    <a:pt x="2435305" y="14473"/>
                  </a:lnTo>
                  <a:lnTo>
                    <a:pt x="2496633" y="7793"/>
                  </a:lnTo>
                  <a:lnTo>
                    <a:pt x="2557961" y="334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F123B59C-20EF-755A-4FAC-B84775281660}"/>
                </a:ext>
              </a:extLst>
            </p:cNvPr>
            <p:cNvSpPr/>
            <p:nvPr/>
          </p:nvSpPr>
          <p:spPr>
            <a:xfrm>
              <a:off x="-8380656" y="5339476"/>
              <a:ext cx="39283186" cy="498233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  <p:sp>
          <p:nvSpPr>
            <p:cNvPr id="4" name="Полилиния 3">
              <a:extLst>
                <a:ext uri="{FF2B5EF4-FFF2-40B4-BE49-F238E27FC236}">
                  <a16:creationId xmlns:a16="http://schemas.microsoft.com/office/drawing/2014/main" id="{E6DB81A8-B86B-C1D9-5C4D-629B11ED2188}"/>
                </a:ext>
              </a:extLst>
            </p:cNvPr>
            <p:cNvSpPr/>
            <p:nvPr/>
          </p:nvSpPr>
          <p:spPr>
            <a:xfrm>
              <a:off x="884305" y="4299818"/>
              <a:ext cx="4952525" cy="1039660"/>
            </a:xfrm>
            <a:custGeom>
              <a:avLst/>
              <a:gdLst>
                <a:gd name="connsiteX0" fmla="*/ 2618174 w 5360120"/>
                <a:gd name="connsiteY0" fmla="*/ 0 h 1115727"/>
                <a:gd name="connsiteX1" fmla="*/ 2679502 w 5360120"/>
                <a:gd name="connsiteY1" fmla="*/ 0 h 1115727"/>
                <a:gd name="connsiteX2" fmla="*/ 2740830 w 5360120"/>
                <a:gd name="connsiteY2" fmla="*/ 0 h 1115727"/>
                <a:gd name="connsiteX3" fmla="*/ 2803273 w 5360120"/>
                <a:gd name="connsiteY3" fmla="*/ 3340 h 1115727"/>
                <a:gd name="connsiteX4" fmla="*/ 2864601 w 5360120"/>
                <a:gd name="connsiteY4" fmla="*/ 7793 h 1115727"/>
                <a:gd name="connsiteX5" fmla="*/ 2923699 w 5360120"/>
                <a:gd name="connsiteY5" fmla="*/ 14473 h 1115727"/>
                <a:gd name="connsiteX6" fmla="*/ 2985027 w 5360120"/>
                <a:gd name="connsiteY6" fmla="*/ 23379 h 1115727"/>
                <a:gd name="connsiteX7" fmla="*/ 3043010 w 5360120"/>
                <a:gd name="connsiteY7" fmla="*/ 33399 h 1115727"/>
                <a:gd name="connsiteX8" fmla="*/ 3102109 w 5360120"/>
                <a:gd name="connsiteY8" fmla="*/ 46758 h 1115727"/>
                <a:gd name="connsiteX9" fmla="*/ 3160091 w 5360120"/>
                <a:gd name="connsiteY9" fmla="*/ 61231 h 1115727"/>
                <a:gd name="connsiteX10" fmla="*/ 3215843 w 5360120"/>
                <a:gd name="connsiteY10" fmla="*/ 77930 h 1115727"/>
                <a:gd name="connsiteX11" fmla="*/ 3270481 w 5360120"/>
                <a:gd name="connsiteY11" fmla="*/ 95743 h 1115727"/>
                <a:gd name="connsiteX12" fmla="*/ 3325119 w 5360120"/>
                <a:gd name="connsiteY12" fmla="*/ 116895 h 1115727"/>
                <a:gd name="connsiteX13" fmla="*/ 3376411 w 5360120"/>
                <a:gd name="connsiteY13" fmla="*/ 139161 h 1115727"/>
                <a:gd name="connsiteX14" fmla="*/ 3427704 w 5360120"/>
                <a:gd name="connsiteY14" fmla="*/ 163653 h 1115727"/>
                <a:gd name="connsiteX15" fmla="*/ 3477881 w 5360120"/>
                <a:gd name="connsiteY15" fmla="*/ 189259 h 1115727"/>
                <a:gd name="connsiteX16" fmla="*/ 3524713 w 5360120"/>
                <a:gd name="connsiteY16" fmla="*/ 215978 h 1115727"/>
                <a:gd name="connsiteX17" fmla="*/ 3569315 w 5360120"/>
                <a:gd name="connsiteY17" fmla="*/ 247150 h 1115727"/>
                <a:gd name="connsiteX18" fmla="*/ 3570430 w 5360120"/>
                <a:gd name="connsiteY18" fmla="*/ 248263 h 1115727"/>
                <a:gd name="connsiteX19" fmla="*/ 3581581 w 5360120"/>
                <a:gd name="connsiteY19" fmla="*/ 256056 h 1115727"/>
                <a:gd name="connsiteX20" fmla="*/ 3612802 w 5360120"/>
                <a:gd name="connsiteY20" fmla="*/ 277209 h 1115727"/>
                <a:gd name="connsiteX21" fmla="*/ 3671900 w 5360120"/>
                <a:gd name="connsiteY21" fmla="*/ 318401 h 1115727"/>
                <a:gd name="connsiteX22" fmla="*/ 3767795 w 5360120"/>
                <a:gd name="connsiteY22" fmla="*/ 386311 h 1115727"/>
                <a:gd name="connsiteX23" fmla="*/ 3912752 w 5360120"/>
                <a:gd name="connsiteY23" fmla="*/ 487620 h 1115727"/>
                <a:gd name="connsiteX24" fmla="*/ 4114577 w 5360120"/>
                <a:gd name="connsiteY24" fmla="*/ 627895 h 1115727"/>
                <a:gd name="connsiteX25" fmla="*/ 4383305 w 5360120"/>
                <a:gd name="connsiteY25" fmla="*/ 817154 h 1115727"/>
                <a:gd name="connsiteX26" fmla="*/ 4434597 w 5360120"/>
                <a:gd name="connsiteY26" fmla="*/ 851666 h 1115727"/>
                <a:gd name="connsiteX27" fmla="*/ 4490350 w 5360120"/>
                <a:gd name="connsiteY27" fmla="*/ 885065 h 1115727"/>
                <a:gd name="connsiteX28" fmla="*/ 4548333 w 5360120"/>
                <a:gd name="connsiteY28" fmla="*/ 915123 h 1115727"/>
                <a:gd name="connsiteX29" fmla="*/ 4608546 w 5360120"/>
                <a:gd name="connsiteY29" fmla="*/ 944069 h 1115727"/>
                <a:gd name="connsiteX30" fmla="*/ 4670989 w 5360120"/>
                <a:gd name="connsiteY30" fmla="*/ 971901 h 1115727"/>
                <a:gd name="connsiteX31" fmla="*/ 4736777 w 5360120"/>
                <a:gd name="connsiteY31" fmla="*/ 995280 h 1115727"/>
                <a:gd name="connsiteX32" fmla="*/ 4802565 w 5360120"/>
                <a:gd name="connsiteY32" fmla="*/ 1017546 h 1115727"/>
                <a:gd name="connsiteX33" fmla="*/ 4871699 w 5360120"/>
                <a:gd name="connsiteY33" fmla="*/ 1038698 h 1115727"/>
                <a:gd name="connsiteX34" fmla="*/ 4940832 w 5360120"/>
                <a:gd name="connsiteY34" fmla="*/ 1056511 h 1115727"/>
                <a:gd name="connsiteX35" fmla="*/ 5012195 w 5360120"/>
                <a:gd name="connsiteY35" fmla="*/ 1072097 h 1115727"/>
                <a:gd name="connsiteX36" fmla="*/ 5086904 w 5360120"/>
                <a:gd name="connsiteY36" fmla="*/ 1086570 h 1115727"/>
                <a:gd name="connsiteX37" fmla="*/ 5160497 w 5360120"/>
                <a:gd name="connsiteY37" fmla="*/ 1097703 h 1115727"/>
                <a:gd name="connsiteX38" fmla="*/ 5236321 w 5360120"/>
                <a:gd name="connsiteY38" fmla="*/ 1106609 h 1115727"/>
                <a:gd name="connsiteX39" fmla="*/ 5311030 w 5360120"/>
                <a:gd name="connsiteY39" fmla="*/ 1112176 h 1115727"/>
                <a:gd name="connsiteX40" fmla="*/ 5360120 w 5360120"/>
                <a:gd name="connsiteY40" fmla="*/ 1115727 h 1115727"/>
                <a:gd name="connsiteX41" fmla="*/ 0 w 5360120"/>
                <a:gd name="connsiteY41" fmla="*/ 1115727 h 1115727"/>
                <a:gd name="connsiteX42" fmla="*/ 49090 w 5360120"/>
                <a:gd name="connsiteY42" fmla="*/ 1112176 h 1115727"/>
                <a:gd name="connsiteX43" fmla="*/ 124914 w 5360120"/>
                <a:gd name="connsiteY43" fmla="*/ 1106609 h 1115727"/>
                <a:gd name="connsiteX44" fmla="*/ 200738 w 5360120"/>
                <a:gd name="connsiteY44" fmla="*/ 1097703 h 1115727"/>
                <a:gd name="connsiteX45" fmla="*/ 275446 w 5360120"/>
                <a:gd name="connsiteY45" fmla="*/ 1086570 h 1115727"/>
                <a:gd name="connsiteX46" fmla="*/ 347925 w 5360120"/>
                <a:gd name="connsiteY46" fmla="*/ 1072097 h 1115727"/>
                <a:gd name="connsiteX47" fmla="*/ 420403 w 5360120"/>
                <a:gd name="connsiteY47" fmla="*/ 1056511 h 1115727"/>
                <a:gd name="connsiteX48" fmla="*/ 489537 w 5360120"/>
                <a:gd name="connsiteY48" fmla="*/ 1038698 h 1115727"/>
                <a:gd name="connsiteX49" fmla="*/ 558670 w 5360120"/>
                <a:gd name="connsiteY49" fmla="*/ 1017546 h 1115727"/>
                <a:gd name="connsiteX50" fmla="*/ 624458 w 5360120"/>
                <a:gd name="connsiteY50" fmla="*/ 995280 h 1115727"/>
                <a:gd name="connsiteX51" fmla="*/ 690246 w 5360120"/>
                <a:gd name="connsiteY51" fmla="*/ 971901 h 1115727"/>
                <a:gd name="connsiteX52" fmla="*/ 751574 w 5360120"/>
                <a:gd name="connsiteY52" fmla="*/ 944069 h 1115727"/>
                <a:gd name="connsiteX53" fmla="*/ 811787 w 5360120"/>
                <a:gd name="connsiteY53" fmla="*/ 915123 h 1115727"/>
                <a:gd name="connsiteX54" fmla="*/ 869770 w 5360120"/>
                <a:gd name="connsiteY54" fmla="*/ 885065 h 1115727"/>
                <a:gd name="connsiteX55" fmla="*/ 924408 w 5360120"/>
                <a:gd name="connsiteY55" fmla="*/ 851666 h 1115727"/>
                <a:gd name="connsiteX56" fmla="*/ 977930 w 5360120"/>
                <a:gd name="connsiteY56" fmla="*/ 817154 h 1115727"/>
                <a:gd name="connsiteX57" fmla="*/ 979045 w 5360120"/>
                <a:gd name="connsiteY57" fmla="*/ 816041 h 1115727"/>
                <a:gd name="connsiteX58" fmla="*/ 990196 w 5360120"/>
                <a:gd name="connsiteY58" fmla="*/ 808248 h 1115727"/>
                <a:gd name="connsiteX59" fmla="*/ 1021417 w 5360120"/>
                <a:gd name="connsiteY59" fmla="*/ 787095 h 1115727"/>
                <a:gd name="connsiteX60" fmla="*/ 1078285 w 5360120"/>
                <a:gd name="connsiteY60" fmla="*/ 745904 h 1115727"/>
                <a:gd name="connsiteX61" fmla="*/ 1176410 w 5360120"/>
                <a:gd name="connsiteY61" fmla="*/ 677993 h 1115727"/>
                <a:gd name="connsiteX62" fmla="*/ 1321367 w 5360120"/>
                <a:gd name="connsiteY62" fmla="*/ 576684 h 1115727"/>
                <a:gd name="connsiteX63" fmla="*/ 1522076 w 5360120"/>
                <a:gd name="connsiteY63" fmla="*/ 434183 h 1115727"/>
                <a:gd name="connsiteX64" fmla="*/ 1789689 w 5360120"/>
                <a:gd name="connsiteY64" fmla="*/ 247150 h 1115727"/>
                <a:gd name="connsiteX65" fmla="*/ 1836522 w 5360120"/>
                <a:gd name="connsiteY65" fmla="*/ 215978 h 1115727"/>
                <a:gd name="connsiteX66" fmla="*/ 1883354 w 5360120"/>
                <a:gd name="connsiteY66" fmla="*/ 189259 h 1115727"/>
                <a:gd name="connsiteX67" fmla="*/ 1931301 w 5360120"/>
                <a:gd name="connsiteY67" fmla="*/ 163653 h 1115727"/>
                <a:gd name="connsiteX68" fmla="*/ 1982594 w 5360120"/>
                <a:gd name="connsiteY68" fmla="*/ 139161 h 1115727"/>
                <a:gd name="connsiteX69" fmla="*/ 2036116 w 5360120"/>
                <a:gd name="connsiteY69" fmla="*/ 116895 h 1115727"/>
                <a:gd name="connsiteX70" fmla="*/ 2088524 w 5360120"/>
                <a:gd name="connsiteY70" fmla="*/ 95743 h 1115727"/>
                <a:gd name="connsiteX71" fmla="*/ 2145392 w 5360120"/>
                <a:gd name="connsiteY71" fmla="*/ 77930 h 1115727"/>
                <a:gd name="connsiteX72" fmla="*/ 2201144 w 5360120"/>
                <a:gd name="connsiteY72" fmla="*/ 61231 h 1115727"/>
                <a:gd name="connsiteX73" fmla="*/ 2259127 w 5360120"/>
                <a:gd name="connsiteY73" fmla="*/ 46758 h 1115727"/>
                <a:gd name="connsiteX74" fmla="*/ 2317110 w 5360120"/>
                <a:gd name="connsiteY74" fmla="*/ 33399 h 1115727"/>
                <a:gd name="connsiteX75" fmla="*/ 2376208 w 5360120"/>
                <a:gd name="connsiteY75" fmla="*/ 23379 h 1115727"/>
                <a:gd name="connsiteX76" fmla="*/ 2435305 w 5360120"/>
                <a:gd name="connsiteY76" fmla="*/ 14473 h 1115727"/>
                <a:gd name="connsiteX77" fmla="*/ 2496633 w 5360120"/>
                <a:gd name="connsiteY77" fmla="*/ 7793 h 1115727"/>
                <a:gd name="connsiteX78" fmla="*/ 2557961 w 5360120"/>
                <a:gd name="connsiteY78" fmla="*/ 3340 h 11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60120" h="1115727">
                  <a:moveTo>
                    <a:pt x="2618174" y="0"/>
                  </a:moveTo>
                  <a:lnTo>
                    <a:pt x="2679502" y="0"/>
                  </a:lnTo>
                  <a:lnTo>
                    <a:pt x="2740830" y="0"/>
                  </a:lnTo>
                  <a:lnTo>
                    <a:pt x="2803273" y="3340"/>
                  </a:lnTo>
                  <a:lnTo>
                    <a:pt x="2864601" y="7793"/>
                  </a:lnTo>
                  <a:lnTo>
                    <a:pt x="2923699" y="14473"/>
                  </a:lnTo>
                  <a:lnTo>
                    <a:pt x="2985027" y="23379"/>
                  </a:lnTo>
                  <a:lnTo>
                    <a:pt x="3043010" y="33399"/>
                  </a:lnTo>
                  <a:lnTo>
                    <a:pt x="3102109" y="46758"/>
                  </a:lnTo>
                  <a:lnTo>
                    <a:pt x="3160091" y="61231"/>
                  </a:lnTo>
                  <a:lnTo>
                    <a:pt x="3215843" y="77930"/>
                  </a:lnTo>
                  <a:lnTo>
                    <a:pt x="3270481" y="95743"/>
                  </a:lnTo>
                  <a:lnTo>
                    <a:pt x="3325119" y="116895"/>
                  </a:lnTo>
                  <a:lnTo>
                    <a:pt x="3376411" y="139161"/>
                  </a:lnTo>
                  <a:lnTo>
                    <a:pt x="3427704" y="163653"/>
                  </a:lnTo>
                  <a:lnTo>
                    <a:pt x="3477881" y="189259"/>
                  </a:lnTo>
                  <a:lnTo>
                    <a:pt x="3524713" y="215978"/>
                  </a:lnTo>
                  <a:lnTo>
                    <a:pt x="3569315" y="247150"/>
                  </a:lnTo>
                  <a:lnTo>
                    <a:pt x="3570430" y="248263"/>
                  </a:lnTo>
                  <a:lnTo>
                    <a:pt x="3581581" y="256056"/>
                  </a:lnTo>
                  <a:lnTo>
                    <a:pt x="3612802" y="277209"/>
                  </a:lnTo>
                  <a:lnTo>
                    <a:pt x="3671900" y="318401"/>
                  </a:lnTo>
                  <a:lnTo>
                    <a:pt x="3767795" y="386311"/>
                  </a:lnTo>
                  <a:lnTo>
                    <a:pt x="3912752" y="487620"/>
                  </a:lnTo>
                  <a:lnTo>
                    <a:pt x="4114577" y="627895"/>
                  </a:lnTo>
                  <a:lnTo>
                    <a:pt x="4383305" y="817154"/>
                  </a:lnTo>
                  <a:lnTo>
                    <a:pt x="4434597" y="851666"/>
                  </a:lnTo>
                  <a:lnTo>
                    <a:pt x="4490350" y="885065"/>
                  </a:lnTo>
                  <a:lnTo>
                    <a:pt x="4548333" y="915123"/>
                  </a:lnTo>
                  <a:lnTo>
                    <a:pt x="4608546" y="944069"/>
                  </a:lnTo>
                  <a:lnTo>
                    <a:pt x="4670989" y="971901"/>
                  </a:lnTo>
                  <a:lnTo>
                    <a:pt x="4736777" y="995280"/>
                  </a:lnTo>
                  <a:lnTo>
                    <a:pt x="4802565" y="1017546"/>
                  </a:lnTo>
                  <a:lnTo>
                    <a:pt x="4871699" y="1038698"/>
                  </a:lnTo>
                  <a:lnTo>
                    <a:pt x="4940832" y="1056511"/>
                  </a:lnTo>
                  <a:lnTo>
                    <a:pt x="5012195" y="1072097"/>
                  </a:lnTo>
                  <a:lnTo>
                    <a:pt x="5086904" y="1086570"/>
                  </a:lnTo>
                  <a:lnTo>
                    <a:pt x="5160497" y="1097703"/>
                  </a:lnTo>
                  <a:lnTo>
                    <a:pt x="5236321" y="1106609"/>
                  </a:lnTo>
                  <a:lnTo>
                    <a:pt x="5311030" y="1112176"/>
                  </a:lnTo>
                  <a:lnTo>
                    <a:pt x="5360120" y="1115727"/>
                  </a:lnTo>
                  <a:lnTo>
                    <a:pt x="0" y="1115727"/>
                  </a:lnTo>
                  <a:lnTo>
                    <a:pt x="49090" y="1112176"/>
                  </a:lnTo>
                  <a:lnTo>
                    <a:pt x="124914" y="1106609"/>
                  </a:lnTo>
                  <a:lnTo>
                    <a:pt x="200738" y="1097703"/>
                  </a:lnTo>
                  <a:lnTo>
                    <a:pt x="275446" y="1086570"/>
                  </a:lnTo>
                  <a:lnTo>
                    <a:pt x="347925" y="1072097"/>
                  </a:lnTo>
                  <a:lnTo>
                    <a:pt x="420403" y="1056511"/>
                  </a:lnTo>
                  <a:lnTo>
                    <a:pt x="489537" y="1038698"/>
                  </a:lnTo>
                  <a:lnTo>
                    <a:pt x="558670" y="1017546"/>
                  </a:lnTo>
                  <a:lnTo>
                    <a:pt x="624458" y="995280"/>
                  </a:lnTo>
                  <a:lnTo>
                    <a:pt x="690246" y="971901"/>
                  </a:lnTo>
                  <a:lnTo>
                    <a:pt x="751574" y="944069"/>
                  </a:lnTo>
                  <a:lnTo>
                    <a:pt x="811787" y="915123"/>
                  </a:lnTo>
                  <a:lnTo>
                    <a:pt x="869770" y="885065"/>
                  </a:lnTo>
                  <a:lnTo>
                    <a:pt x="924408" y="851666"/>
                  </a:lnTo>
                  <a:lnTo>
                    <a:pt x="977930" y="817154"/>
                  </a:lnTo>
                  <a:lnTo>
                    <a:pt x="979045" y="816041"/>
                  </a:lnTo>
                  <a:lnTo>
                    <a:pt x="990196" y="808248"/>
                  </a:lnTo>
                  <a:lnTo>
                    <a:pt x="1021417" y="787095"/>
                  </a:lnTo>
                  <a:lnTo>
                    <a:pt x="1078285" y="745904"/>
                  </a:lnTo>
                  <a:lnTo>
                    <a:pt x="1176410" y="677993"/>
                  </a:lnTo>
                  <a:lnTo>
                    <a:pt x="1321367" y="576684"/>
                  </a:lnTo>
                  <a:lnTo>
                    <a:pt x="1522076" y="434183"/>
                  </a:lnTo>
                  <a:lnTo>
                    <a:pt x="1789689" y="247150"/>
                  </a:lnTo>
                  <a:lnTo>
                    <a:pt x="1836522" y="215978"/>
                  </a:lnTo>
                  <a:lnTo>
                    <a:pt x="1883354" y="189259"/>
                  </a:lnTo>
                  <a:lnTo>
                    <a:pt x="1931301" y="163653"/>
                  </a:lnTo>
                  <a:lnTo>
                    <a:pt x="1982594" y="139161"/>
                  </a:lnTo>
                  <a:lnTo>
                    <a:pt x="2036116" y="116895"/>
                  </a:lnTo>
                  <a:lnTo>
                    <a:pt x="2088524" y="95743"/>
                  </a:lnTo>
                  <a:lnTo>
                    <a:pt x="2145392" y="77930"/>
                  </a:lnTo>
                  <a:lnTo>
                    <a:pt x="2201144" y="61231"/>
                  </a:lnTo>
                  <a:lnTo>
                    <a:pt x="2259127" y="46758"/>
                  </a:lnTo>
                  <a:lnTo>
                    <a:pt x="2317110" y="33399"/>
                  </a:lnTo>
                  <a:lnTo>
                    <a:pt x="2376208" y="23379"/>
                  </a:lnTo>
                  <a:lnTo>
                    <a:pt x="2435305" y="14473"/>
                  </a:lnTo>
                  <a:lnTo>
                    <a:pt x="2496633" y="7793"/>
                  </a:lnTo>
                  <a:lnTo>
                    <a:pt x="2557961" y="3340"/>
                  </a:ln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</p:grpSp>
      <p:sp>
        <p:nvSpPr>
          <p:cNvPr id="10" name="Овал 9">
            <a:extLst>
              <a:ext uri="{FF2B5EF4-FFF2-40B4-BE49-F238E27FC236}">
                <a16:creationId xmlns:a16="http://schemas.microsoft.com/office/drawing/2014/main" id="{A81C2DB6-A998-6597-E1F1-2A3CD37395C3}"/>
              </a:ext>
            </a:extLst>
          </p:cNvPr>
          <p:cNvSpPr/>
          <p:nvPr/>
        </p:nvSpPr>
        <p:spPr>
          <a:xfrm rot="5400000">
            <a:off x="6404103" y="-99293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C1EC4CF1-79D8-4A01-3854-D85FF539982E}"/>
              </a:ext>
            </a:extLst>
          </p:cNvPr>
          <p:cNvSpPr/>
          <p:nvPr/>
        </p:nvSpPr>
        <p:spPr>
          <a:xfrm rot="5732377">
            <a:off x="9932721" y="0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043FB44F-0804-1010-B971-6339147A5F13}"/>
              </a:ext>
            </a:extLst>
          </p:cNvPr>
          <p:cNvSpPr/>
          <p:nvPr/>
        </p:nvSpPr>
        <p:spPr>
          <a:xfrm rot="11095245">
            <a:off x="4796846" y="-62609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FCCF162F-9745-F382-66CD-C0B273DE6C18}"/>
              </a:ext>
            </a:extLst>
          </p:cNvPr>
          <p:cNvSpPr/>
          <p:nvPr/>
        </p:nvSpPr>
        <p:spPr>
          <a:xfrm rot="17731941">
            <a:off x="10889004" y="1164763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AB0D6405-D85B-B4A1-00E0-A94CB0603189}"/>
              </a:ext>
            </a:extLst>
          </p:cNvPr>
          <p:cNvGrpSpPr/>
          <p:nvPr/>
        </p:nvGrpSpPr>
        <p:grpSpPr>
          <a:xfrm>
            <a:off x="1222219" y="3863300"/>
            <a:ext cx="750136" cy="750136"/>
            <a:chOff x="7871724" y="7154806"/>
            <a:chExt cx="2600444" cy="2600444"/>
          </a:xfrm>
        </p:grpSpPr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93462B23-6DF3-5557-B154-19790FA2DF47}"/>
                </a:ext>
              </a:extLst>
            </p:cNvPr>
            <p:cNvSpPr/>
            <p:nvPr/>
          </p:nvSpPr>
          <p:spPr>
            <a:xfrm>
              <a:off x="7871724" y="7154806"/>
              <a:ext cx="2600444" cy="2600444"/>
            </a:xfrm>
            <a:prstGeom prst="ellipse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 dirty="0"/>
            </a:p>
          </p:txBody>
        </p:sp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622AC6CC-FBB3-9CB4-3AD8-CF30A707DFD9}"/>
                </a:ext>
              </a:extLst>
            </p:cNvPr>
            <p:cNvSpPr/>
            <p:nvPr/>
          </p:nvSpPr>
          <p:spPr>
            <a:xfrm>
              <a:off x="8097382" y="7606122"/>
              <a:ext cx="2149128" cy="2149128"/>
            </a:xfrm>
            <a:prstGeom prst="ellipse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 dirty="0"/>
            </a:p>
          </p:txBody>
        </p: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E4C29DA3-83A7-D074-723C-C318399DC8F5}"/>
                </a:ext>
              </a:extLst>
            </p:cNvPr>
            <p:cNvSpPr/>
            <p:nvPr/>
          </p:nvSpPr>
          <p:spPr>
            <a:xfrm>
              <a:off x="8364611" y="8140579"/>
              <a:ext cx="1614671" cy="1614671"/>
            </a:xfrm>
            <a:prstGeom prst="ellipse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Unbounded" panose="020B0305040102020103" pitchFamily="34" charset="0"/>
                </a:rPr>
                <a:t>1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44E2BA5-30A2-3DE9-18E6-AF722143FFB5}"/>
              </a:ext>
            </a:extLst>
          </p:cNvPr>
          <p:cNvSpPr txBox="1"/>
          <p:nvPr/>
        </p:nvSpPr>
        <p:spPr>
          <a:xfrm>
            <a:off x="1444703" y="4743625"/>
            <a:ext cx="6796863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4500"/>
              </a:lnSpc>
            </a:pPr>
            <a:r>
              <a:rPr lang="ru-RU" sz="4000" dirty="0">
                <a:solidFill>
                  <a:schemeClr val="bg1"/>
                </a:solidFill>
                <a:effectLst/>
                <a:latin typeface="Unbounded" panose="020B0305040102020103" pitchFamily="34" charset="0"/>
              </a:rPr>
              <a:t>Переговоры </a:t>
            </a:r>
            <a:br>
              <a:rPr lang="ru-RU" sz="4000" dirty="0">
                <a:solidFill>
                  <a:schemeClr val="bg1"/>
                </a:solidFill>
                <a:effectLst/>
                <a:latin typeface="Unbounded" panose="020B0305040102020103" pitchFamily="34" charset="0"/>
              </a:rPr>
            </a:br>
            <a:r>
              <a:rPr lang="ru-RU" sz="4000" dirty="0">
                <a:solidFill>
                  <a:schemeClr val="bg1"/>
                </a:solidFill>
                <a:effectLst/>
                <a:latin typeface="Unbounded" panose="020B0305040102020103" pitchFamily="34" charset="0"/>
              </a:rPr>
              <a:t>в мессенджерах</a:t>
            </a:r>
            <a:endParaRPr lang="ru-RU" sz="3600" dirty="0">
              <a:solidFill>
                <a:schemeClr val="bg1"/>
              </a:solidFill>
              <a:effectLst/>
              <a:latin typeface="Unbounde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85823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1.11111E-6 L 0.06576 1.11111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8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3000" fill="hold"/>
                                        <p:tgtEl>
                                          <p:spTgt spid="1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8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5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3000" fill="hold"/>
                                        <p:tgtEl>
                                          <p:spTgt spid="1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0" dur="8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5000" fill="hold"/>
                                        <p:tgtEl>
                                          <p:spTgt spid="1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  <p:bldP spid="10" grpId="0" animBg="1"/>
      <p:bldP spid="10" grpId="1" animBg="1"/>
      <p:bldP spid="12" grpId="0" animBg="1"/>
      <p:bldP spid="12" grpId="1" animBg="1"/>
      <p:bldP spid="14" grpId="0" animBg="1"/>
      <p:bldP spid="14" grpId="1" animBg="1"/>
      <p:bldP spid="15" grpId="0" animBg="1"/>
      <p:bldP spid="15" grpId="1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4820C330-AFE2-A7B7-C987-08EC320A90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C0DCFD">
                  <a:alpha val="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513614" y="1134499"/>
            <a:ext cx="11389623" cy="8753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 ТАКЖЕ</a:t>
            </a:r>
            <a:endParaRPr lang="ru-RU" sz="4400" b="1" dirty="0"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Oval 131">
            <a:extLst>
              <a:ext uri="{FF2B5EF4-FFF2-40B4-BE49-F238E27FC236}">
                <a16:creationId xmlns:a16="http://schemas.microsoft.com/office/drawing/2014/main" id="{276EEF5D-F78C-B26E-DECD-C77D3F1482D1}"/>
              </a:ext>
            </a:extLst>
          </p:cNvPr>
          <p:cNvSpPr/>
          <p:nvPr/>
        </p:nvSpPr>
        <p:spPr>
          <a:xfrm>
            <a:off x="7084494" y="-1500448"/>
            <a:ext cx="6485696" cy="6485696"/>
          </a:xfrm>
          <a:prstGeom prst="ellipse">
            <a:avLst/>
          </a:prstGeom>
          <a:gradFill flip="none" rotWithShape="1">
            <a:gsLst>
              <a:gs pos="100000">
                <a:srgbClr val="C0DCFD">
                  <a:alpha val="0"/>
                </a:srgbClr>
              </a:gs>
              <a:gs pos="0">
                <a:srgbClr val="620CFD">
                  <a:alpha val="28632"/>
                </a:srgbClr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9" name="Group 73">
            <a:extLst>
              <a:ext uri="{FF2B5EF4-FFF2-40B4-BE49-F238E27FC236}">
                <a16:creationId xmlns:a16="http://schemas.microsoft.com/office/drawing/2014/main" id="{35E67D2F-B7C3-B295-35E6-FC63796E3A00}"/>
              </a:ext>
            </a:extLst>
          </p:cNvPr>
          <p:cNvGrpSpPr/>
          <p:nvPr/>
        </p:nvGrpSpPr>
        <p:grpSpPr>
          <a:xfrm>
            <a:off x="-557464" y="2724093"/>
            <a:ext cx="13464284" cy="9792204"/>
            <a:chOff x="-2" y="0"/>
            <a:chExt cx="6428641" cy="6858000"/>
          </a:xfrm>
        </p:grpSpPr>
        <p:sp>
          <p:nvSpPr>
            <p:cNvPr id="30" name="Rectangle 36">
              <a:extLst>
                <a:ext uri="{FF2B5EF4-FFF2-40B4-BE49-F238E27FC236}">
                  <a16:creationId xmlns:a16="http://schemas.microsoft.com/office/drawing/2014/main" id="{6B639D09-947B-C295-89E5-D3A7FED4C562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C53A0486-4FEC-606C-49B2-3FDFBA486CDC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CB477ED-8E12-B1BF-B8A7-3C0791AD06EE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941091D-EDDA-A164-26A5-C572323EC7A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200F815-13CC-7E6B-07CF-6C3058F6FC6E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128BDE-2C15-EEFD-DC03-849CC99CC0F5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F04D5FF-393F-4F2F-7D30-44C7741775D5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7" name="Rectangle 37">
              <a:extLst>
                <a:ext uri="{FF2B5EF4-FFF2-40B4-BE49-F238E27FC236}">
                  <a16:creationId xmlns:a16="http://schemas.microsoft.com/office/drawing/2014/main" id="{E77182A8-0D9D-1D4B-7DE2-D3C02E6B9837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8" name="Rectangle 48">
              <a:extLst>
                <a:ext uri="{FF2B5EF4-FFF2-40B4-BE49-F238E27FC236}">
                  <a16:creationId xmlns:a16="http://schemas.microsoft.com/office/drawing/2014/main" id="{2D657C40-FF42-B366-A67D-3943F761017E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9" name="Rectangle 49">
              <a:extLst>
                <a:ext uri="{FF2B5EF4-FFF2-40B4-BE49-F238E27FC236}">
                  <a16:creationId xmlns:a16="http://schemas.microsoft.com/office/drawing/2014/main" id="{A4E5D924-F2E5-0073-3EFE-88569B3773E2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8E2067B-2AE3-38F9-43E7-4B95E4B09078}"/>
              </a:ext>
            </a:extLst>
          </p:cNvPr>
          <p:cNvGrpSpPr/>
          <p:nvPr/>
        </p:nvGrpSpPr>
        <p:grpSpPr>
          <a:xfrm flipV="1">
            <a:off x="15303401" y="8547715"/>
            <a:ext cx="1456851" cy="408879"/>
            <a:chOff x="611777" y="2405270"/>
            <a:chExt cx="4857016" cy="1363166"/>
          </a:xfrm>
        </p:grpSpPr>
        <p:sp>
          <p:nvSpPr>
            <p:cNvPr id="5" name="Скругленный прямоугольник 4">
              <a:extLst>
                <a:ext uri="{FF2B5EF4-FFF2-40B4-BE49-F238E27FC236}">
                  <a16:creationId xmlns:a16="http://schemas.microsoft.com/office/drawing/2014/main" id="{A7F4FB1F-7CB9-0392-E88E-05F8570BD35A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1C36F64-CC19-9AA3-6893-F3FE7D967910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На какие презентации делают ставку компании сегодня</a:t>
              </a: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19197928-64DB-9EA7-85E1-312760B10401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9AFEDB3-80B5-9A2A-AD4C-89FC4DCFFA98}"/>
              </a:ext>
            </a:extLst>
          </p:cNvPr>
          <p:cNvGrpSpPr/>
          <p:nvPr/>
        </p:nvGrpSpPr>
        <p:grpSpPr>
          <a:xfrm flipV="1">
            <a:off x="15667789" y="10092497"/>
            <a:ext cx="1456851" cy="408879"/>
            <a:chOff x="611777" y="2405270"/>
            <a:chExt cx="4857016" cy="1363166"/>
          </a:xfrm>
        </p:grpSpPr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04266423-83B6-B053-32BE-FA22D1949E9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92F0A0F-B8D9-CC2B-4135-042748D7E5ED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ый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и современный визуал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Разбираем терминологию</a:t>
              </a: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BF6A9C1A-6EA0-F8AC-74EC-7FD19A995EBC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5F9BCE64-2736-D050-26B1-B81E3AD61828}"/>
              </a:ext>
            </a:extLst>
          </p:cNvPr>
          <p:cNvGrpSpPr/>
          <p:nvPr/>
        </p:nvGrpSpPr>
        <p:grpSpPr>
          <a:xfrm flipV="1">
            <a:off x="15001953" y="11637279"/>
            <a:ext cx="1456851" cy="408879"/>
            <a:chOff x="611777" y="2405270"/>
            <a:chExt cx="4857016" cy="1363166"/>
          </a:xfrm>
        </p:grpSpPr>
        <p:sp>
          <p:nvSpPr>
            <p:cNvPr id="15" name="Скругленный прямоугольник 14">
              <a:extLst>
                <a:ext uri="{FF2B5EF4-FFF2-40B4-BE49-F238E27FC236}">
                  <a16:creationId xmlns:a16="http://schemas.microsoft.com/office/drawing/2014/main" id="{3BA1765F-B5D6-C20A-0972-59DF1A8D3A1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3006BE3-2E8B-0497-3D07-C701AF6EA6A1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Тренды дизайн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 ближайшее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5-летие </a:t>
              </a: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B87F739B-4D12-3F01-E7F6-8B2159450E25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AEDE9B22-2CD9-D79F-D8C3-683B6E11B10D}"/>
              </a:ext>
            </a:extLst>
          </p:cNvPr>
          <p:cNvGrpSpPr/>
          <p:nvPr/>
        </p:nvGrpSpPr>
        <p:grpSpPr>
          <a:xfrm flipV="1">
            <a:off x="20423132" y="8547715"/>
            <a:ext cx="1456851" cy="408879"/>
            <a:chOff x="611777" y="2405270"/>
            <a:chExt cx="4857016" cy="1363166"/>
          </a:xfrm>
        </p:grpSpPr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CF04D4B2-EFA1-1BE0-9334-A3C11FB0404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8DF981C-58D9-6EFC-B35D-28D92119103A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Азбу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ого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изуала</a:t>
              </a: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D9D36EAF-E32C-E2F6-ECE4-F55205B9259B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2A22449B-F3F2-9012-D8EB-6828B988225F}"/>
              </a:ext>
            </a:extLst>
          </p:cNvPr>
          <p:cNvGrpSpPr/>
          <p:nvPr/>
        </p:nvGrpSpPr>
        <p:grpSpPr>
          <a:xfrm flipV="1">
            <a:off x="20787520" y="10092497"/>
            <a:ext cx="1456851" cy="408879"/>
            <a:chOff x="611777" y="2405270"/>
            <a:chExt cx="4857016" cy="1363166"/>
          </a:xfrm>
        </p:grpSpPr>
        <p:sp>
          <p:nvSpPr>
            <p:cNvPr id="23" name="Скругленный прямоугольник 22">
              <a:extLst>
                <a:ext uri="{FF2B5EF4-FFF2-40B4-BE49-F238E27FC236}">
                  <a16:creationId xmlns:a16="http://schemas.microsoft.com/office/drawing/2014/main" id="{F19019FB-484B-063A-C0F1-75F5F3B3CFD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BBBBF49-432E-C74C-DF03-D20345CEDC74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Методи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оформления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слайдов на практике</a:t>
              </a: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D3399DB1-82A0-B6CF-384C-9EA39DF495AD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0AEB9D68-0AAB-CD6D-25A5-FC460F1FFE21}"/>
              </a:ext>
            </a:extLst>
          </p:cNvPr>
          <p:cNvGrpSpPr/>
          <p:nvPr/>
        </p:nvGrpSpPr>
        <p:grpSpPr>
          <a:xfrm flipV="1">
            <a:off x="20121684" y="11637279"/>
            <a:ext cx="1456851" cy="408879"/>
            <a:chOff x="611777" y="2405270"/>
            <a:chExt cx="4857016" cy="1363166"/>
          </a:xfrm>
        </p:grpSpPr>
        <p:sp>
          <p:nvSpPr>
            <p:cNvPr id="27" name="Скругленный прямоугольник 26">
              <a:extLst>
                <a:ext uri="{FF2B5EF4-FFF2-40B4-BE49-F238E27FC236}">
                  <a16:creationId xmlns:a16="http://schemas.microsoft.com/office/drawing/2014/main" id="{2A288FAD-4AD3-DE3D-94C2-865EDD5A7CE3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A8691D3-AEB8-607D-0A93-0F3654F79B76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резентации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+ </a:t>
              </a:r>
              <a:r>
                <a:rPr lang="ru-RU" sz="2000" dirty="0" err="1">
                  <a:latin typeface="Unbounded" panose="020B0305040102020103" pitchFamily="34" charset="0"/>
                  <a:cs typeface="Times New Roman" panose="02020603050405020304" pitchFamily="18" charset="0"/>
                </a:rPr>
                <a:t>ТенЧат</a:t>
              </a: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= результат</a:t>
              </a:r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9C58F58E-156F-0E6B-4B76-D9E0FBDED56F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0B03D86C-0C8C-7285-0A3C-A4E4022B6418}"/>
              </a:ext>
            </a:extLst>
          </p:cNvPr>
          <p:cNvSpPr/>
          <p:nvPr/>
        </p:nvSpPr>
        <p:spPr>
          <a:xfrm>
            <a:off x="612041" y="2646440"/>
            <a:ext cx="4009927" cy="3077061"/>
          </a:xfrm>
          <a:prstGeom prst="roundRect">
            <a:avLst>
              <a:gd name="adj" fmla="val 10818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6FF4A3-D37D-9E42-6CD4-E7F96A3F3ADB}"/>
              </a:ext>
            </a:extLst>
          </p:cNvPr>
          <p:cNvSpPr txBox="1"/>
          <p:nvPr/>
        </p:nvSpPr>
        <p:spPr>
          <a:xfrm>
            <a:off x="936602" y="3088098"/>
            <a:ext cx="3412348" cy="549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1</a:t>
            </a:r>
            <a:endParaRPr lang="ru-RU" sz="2400" b="1" dirty="0">
              <a:solidFill>
                <a:schemeClr val="bg1"/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2FADAEE-DBC1-0E32-C25A-F2B902A696D7}"/>
              </a:ext>
            </a:extLst>
          </p:cNvPr>
          <p:cNvSpPr txBox="1"/>
          <p:nvPr/>
        </p:nvSpPr>
        <p:spPr>
          <a:xfrm>
            <a:off x="894075" y="3702433"/>
            <a:ext cx="3297640" cy="1396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оверенные структуры бизнес-презентаций 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од разные задачи</a:t>
            </a:r>
          </a:p>
        </p:txBody>
      </p:sp>
      <p:sp>
        <p:nvSpPr>
          <p:cNvPr id="41" name="Скругленный прямоугольник 40">
            <a:extLst>
              <a:ext uri="{FF2B5EF4-FFF2-40B4-BE49-F238E27FC236}">
                <a16:creationId xmlns:a16="http://schemas.microsoft.com/office/drawing/2014/main" id="{B2D5F329-37AC-F436-20FB-AD090F27DC43}"/>
              </a:ext>
            </a:extLst>
          </p:cNvPr>
          <p:cNvSpPr/>
          <p:nvPr/>
        </p:nvSpPr>
        <p:spPr>
          <a:xfrm>
            <a:off x="4331457" y="7486218"/>
            <a:ext cx="52098" cy="2475022"/>
          </a:xfrm>
          <a:prstGeom prst="roundRect">
            <a:avLst/>
          </a:prstGeom>
          <a:gradFill>
            <a:gsLst>
              <a:gs pos="100000">
                <a:srgbClr val="C0DCFD">
                  <a:alpha val="4267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E283FF1-84AF-A1B7-E607-51E859AA0778}"/>
              </a:ext>
            </a:extLst>
          </p:cNvPr>
          <p:cNvSpPr txBox="1"/>
          <p:nvPr/>
        </p:nvSpPr>
        <p:spPr>
          <a:xfrm>
            <a:off x="4690120" y="7518099"/>
            <a:ext cx="9667656" cy="549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</a:t>
            </a: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endParaRPr lang="ru-RU" sz="2400" b="1" dirty="0">
              <a:solidFill>
                <a:schemeClr val="bg1"/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612541A-5722-B369-2E78-78EA68D27C80}"/>
              </a:ext>
            </a:extLst>
          </p:cNvPr>
          <p:cNvSpPr txBox="1"/>
          <p:nvPr/>
        </p:nvSpPr>
        <p:spPr>
          <a:xfrm>
            <a:off x="4647592" y="8132434"/>
            <a:ext cx="3952733" cy="14026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Инсайт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«Как эффективно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именять презентации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компании сегодня»</a:t>
            </a:r>
          </a:p>
        </p:txBody>
      </p:sp>
    </p:spTree>
    <p:extLst>
      <p:ext uri="{BB962C8B-B14F-4D97-AF65-F5344CB8AC3E}">
        <p14:creationId xmlns:p14="http://schemas.microsoft.com/office/powerpoint/2010/main" val="23895293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3.33333E-6 L 0.06576 3.33333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2.59259E-6 L 0.06576 2.59259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2.59259E-6 L 0.06575 2.59259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1.11111E-6 L 0.06576 1.11111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1.11111E-6 L 0.06576 1.11111E-6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3.7037E-7 L 0.06576 -3.7037E-7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3.7037E-7 L 0.06575 -3.7037E-7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513614" y="1134499"/>
            <a:ext cx="11389623" cy="8753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 ТАКЖЕ</a:t>
            </a:r>
            <a:endParaRPr lang="ru-RU" sz="4400" b="1" dirty="0"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Oval 131">
            <a:extLst>
              <a:ext uri="{FF2B5EF4-FFF2-40B4-BE49-F238E27FC236}">
                <a16:creationId xmlns:a16="http://schemas.microsoft.com/office/drawing/2014/main" id="{276EEF5D-F78C-B26E-DECD-C77D3F1482D1}"/>
              </a:ext>
            </a:extLst>
          </p:cNvPr>
          <p:cNvSpPr/>
          <p:nvPr/>
        </p:nvSpPr>
        <p:spPr>
          <a:xfrm>
            <a:off x="7084494" y="-1500448"/>
            <a:ext cx="6485696" cy="6485696"/>
          </a:xfrm>
          <a:prstGeom prst="ellipse">
            <a:avLst/>
          </a:prstGeom>
          <a:gradFill flip="none" rotWithShape="1">
            <a:gsLst>
              <a:gs pos="100000">
                <a:srgbClr val="C0DCFD">
                  <a:alpha val="0"/>
                </a:srgbClr>
              </a:gs>
              <a:gs pos="0">
                <a:srgbClr val="620CFD">
                  <a:alpha val="28632"/>
                </a:srgbClr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9" name="Group 73">
            <a:extLst>
              <a:ext uri="{FF2B5EF4-FFF2-40B4-BE49-F238E27FC236}">
                <a16:creationId xmlns:a16="http://schemas.microsoft.com/office/drawing/2014/main" id="{35E67D2F-B7C3-B295-35E6-FC63796E3A00}"/>
              </a:ext>
            </a:extLst>
          </p:cNvPr>
          <p:cNvGrpSpPr/>
          <p:nvPr/>
        </p:nvGrpSpPr>
        <p:grpSpPr>
          <a:xfrm>
            <a:off x="-557464" y="2724093"/>
            <a:ext cx="13464284" cy="9792204"/>
            <a:chOff x="-2" y="0"/>
            <a:chExt cx="6428641" cy="6858000"/>
          </a:xfrm>
        </p:grpSpPr>
        <p:sp>
          <p:nvSpPr>
            <p:cNvPr id="30" name="Rectangle 36">
              <a:extLst>
                <a:ext uri="{FF2B5EF4-FFF2-40B4-BE49-F238E27FC236}">
                  <a16:creationId xmlns:a16="http://schemas.microsoft.com/office/drawing/2014/main" id="{6B639D09-947B-C295-89E5-D3A7FED4C562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C53A0486-4FEC-606C-49B2-3FDFBA486CDC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CB477ED-8E12-B1BF-B8A7-3C0791AD06EE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941091D-EDDA-A164-26A5-C572323EC7A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200F815-13CC-7E6B-07CF-6C3058F6FC6E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128BDE-2C15-EEFD-DC03-849CC99CC0F5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F04D5FF-393F-4F2F-7D30-44C7741775D5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7" name="Rectangle 37">
              <a:extLst>
                <a:ext uri="{FF2B5EF4-FFF2-40B4-BE49-F238E27FC236}">
                  <a16:creationId xmlns:a16="http://schemas.microsoft.com/office/drawing/2014/main" id="{E77182A8-0D9D-1D4B-7DE2-D3C02E6B9837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8" name="Rectangle 48">
              <a:extLst>
                <a:ext uri="{FF2B5EF4-FFF2-40B4-BE49-F238E27FC236}">
                  <a16:creationId xmlns:a16="http://schemas.microsoft.com/office/drawing/2014/main" id="{2D657C40-FF42-B366-A67D-3943F761017E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9" name="Rectangle 49">
              <a:extLst>
                <a:ext uri="{FF2B5EF4-FFF2-40B4-BE49-F238E27FC236}">
                  <a16:creationId xmlns:a16="http://schemas.microsoft.com/office/drawing/2014/main" id="{A4E5D924-F2E5-0073-3EFE-88569B3773E2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8E2067B-2AE3-38F9-43E7-4B95E4B09078}"/>
              </a:ext>
            </a:extLst>
          </p:cNvPr>
          <p:cNvGrpSpPr/>
          <p:nvPr/>
        </p:nvGrpSpPr>
        <p:grpSpPr>
          <a:xfrm flipV="1">
            <a:off x="15303401" y="8547715"/>
            <a:ext cx="1456851" cy="408879"/>
            <a:chOff x="611777" y="2405270"/>
            <a:chExt cx="4857016" cy="1363166"/>
          </a:xfrm>
        </p:grpSpPr>
        <p:sp>
          <p:nvSpPr>
            <p:cNvPr id="5" name="Скругленный прямоугольник 4">
              <a:extLst>
                <a:ext uri="{FF2B5EF4-FFF2-40B4-BE49-F238E27FC236}">
                  <a16:creationId xmlns:a16="http://schemas.microsoft.com/office/drawing/2014/main" id="{A7F4FB1F-7CB9-0392-E88E-05F8570BD35A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1C36F64-CC19-9AA3-6893-F3FE7D967910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На какие презентации делают ставку компании сегодня</a:t>
              </a: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19197928-64DB-9EA7-85E1-312760B10401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9AFEDB3-80B5-9A2A-AD4C-89FC4DCFFA98}"/>
              </a:ext>
            </a:extLst>
          </p:cNvPr>
          <p:cNvGrpSpPr/>
          <p:nvPr/>
        </p:nvGrpSpPr>
        <p:grpSpPr>
          <a:xfrm flipV="1">
            <a:off x="15667789" y="10092497"/>
            <a:ext cx="1456851" cy="408879"/>
            <a:chOff x="611777" y="2405270"/>
            <a:chExt cx="4857016" cy="1363166"/>
          </a:xfrm>
        </p:grpSpPr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04266423-83B6-B053-32BE-FA22D1949E9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92F0A0F-B8D9-CC2B-4135-042748D7E5ED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ый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и современный визуал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Разбираем терминологию</a:t>
              </a: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BF6A9C1A-6EA0-F8AC-74EC-7FD19A995EBC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5F9BCE64-2736-D050-26B1-B81E3AD61828}"/>
              </a:ext>
            </a:extLst>
          </p:cNvPr>
          <p:cNvGrpSpPr/>
          <p:nvPr/>
        </p:nvGrpSpPr>
        <p:grpSpPr>
          <a:xfrm flipV="1">
            <a:off x="15001953" y="11637279"/>
            <a:ext cx="1456851" cy="408879"/>
            <a:chOff x="611777" y="2405270"/>
            <a:chExt cx="4857016" cy="1363166"/>
          </a:xfrm>
        </p:grpSpPr>
        <p:sp>
          <p:nvSpPr>
            <p:cNvPr id="15" name="Скругленный прямоугольник 14">
              <a:extLst>
                <a:ext uri="{FF2B5EF4-FFF2-40B4-BE49-F238E27FC236}">
                  <a16:creationId xmlns:a16="http://schemas.microsoft.com/office/drawing/2014/main" id="{3BA1765F-B5D6-C20A-0972-59DF1A8D3A1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3006BE3-2E8B-0497-3D07-C701AF6EA6A1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Тренды дизайн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 ближайшее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5-летие </a:t>
              </a: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B87F739B-4D12-3F01-E7F6-8B2159450E25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AEDE9B22-2CD9-D79F-D8C3-683B6E11B10D}"/>
              </a:ext>
            </a:extLst>
          </p:cNvPr>
          <p:cNvGrpSpPr/>
          <p:nvPr/>
        </p:nvGrpSpPr>
        <p:grpSpPr>
          <a:xfrm flipV="1">
            <a:off x="20423132" y="8547715"/>
            <a:ext cx="1456851" cy="408879"/>
            <a:chOff x="611777" y="2405270"/>
            <a:chExt cx="4857016" cy="1363166"/>
          </a:xfrm>
        </p:grpSpPr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CF04D4B2-EFA1-1BE0-9334-A3C11FB0404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8DF981C-58D9-6EFC-B35D-28D92119103A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Азбу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ого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изуала</a:t>
              </a: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D9D36EAF-E32C-E2F6-ECE4-F55205B9259B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2A22449B-F3F2-9012-D8EB-6828B988225F}"/>
              </a:ext>
            </a:extLst>
          </p:cNvPr>
          <p:cNvGrpSpPr/>
          <p:nvPr/>
        </p:nvGrpSpPr>
        <p:grpSpPr>
          <a:xfrm flipV="1">
            <a:off x="20787520" y="10092497"/>
            <a:ext cx="1456851" cy="408879"/>
            <a:chOff x="611777" y="2405270"/>
            <a:chExt cx="4857016" cy="1363166"/>
          </a:xfrm>
        </p:grpSpPr>
        <p:sp>
          <p:nvSpPr>
            <p:cNvPr id="23" name="Скругленный прямоугольник 22">
              <a:extLst>
                <a:ext uri="{FF2B5EF4-FFF2-40B4-BE49-F238E27FC236}">
                  <a16:creationId xmlns:a16="http://schemas.microsoft.com/office/drawing/2014/main" id="{F19019FB-484B-063A-C0F1-75F5F3B3CFD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BBBBF49-432E-C74C-DF03-D20345CEDC74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Методи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оформления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слайдов на практике</a:t>
              </a: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D3399DB1-82A0-B6CF-384C-9EA39DF495AD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0AEB9D68-0AAB-CD6D-25A5-FC460F1FFE21}"/>
              </a:ext>
            </a:extLst>
          </p:cNvPr>
          <p:cNvGrpSpPr/>
          <p:nvPr/>
        </p:nvGrpSpPr>
        <p:grpSpPr>
          <a:xfrm flipV="1">
            <a:off x="20121684" y="11637279"/>
            <a:ext cx="1456851" cy="408879"/>
            <a:chOff x="611777" y="2405270"/>
            <a:chExt cx="4857016" cy="1363166"/>
          </a:xfrm>
        </p:grpSpPr>
        <p:sp>
          <p:nvSpPr>
            <p:cNvPr id="27" name="Скругленный прямоугольник 26">
              <a:extLst>
                <a:ext uri="{FF2B5EF4-FFF2-40B4-BE49-F238E27FC236}">
                  <a16:creationId xmlns:a16="http://schemas.microsoft.com/office/drawing/2014/main" id="{2A288FAD-4AD3-DE3D-94C2-865EDD5A7CE3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A8691D3-AEB8-607D-0A93-0F3654F79B76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резентации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+ </a:t>
              </a:r>
              <a:r>
                <a:rPr lang="ru-RU" sz="2000" dirty="0" err="1">
                  <a:latin typeface="Unbounded" panose="020B0305040102020103" pitchFamily="34" charset="0"/>
                  <a:cs typeface="Times New Roman" panose="02020603050405020304" pitchFamily="18" charset="0"/>
                </a:rPr>
                <a:t>ТенЧат</a:t>
              </a: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= результат</a:t>
              </a:r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9C58F58E-156F-0E6B-4B76-D9E0FBDED56F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0B03D86C-0C8C-7285-0A3C-A4E4022B6418}"/>
              </a:ext>
            </a:extLst>
          </p:cNvPr>
          <p:cNvSpPr/>
          <p:nvPr/>
        </p:nvSpPr>
        <p:spPr>
          <a:xfrm>
            <a:off x="612041" y="2646440"/>
            <a:ext cx="7814783" cy="3077061"/>
          </a:xfrm>
          <a:prstGeom prst="roundRect">
            <a:avLst>
              <a:gd name="adj" fmla="val 10818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6FF4A3-D37D-9E42-6CD4-E7F96A3F3ADB}"/>
              </a:ext>
            </a:extLst>
          </p:cNvPr>
          <p:cNvSpPr txBox="1"/>
          <p:nvPr/>
        </p:nvSpPr>
        <p:spPr>
          <a:xfrm>
            <a:off x="936602" y="3138451"/>
            <a:ext cx="3412348" cy="549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1</a:t>
            </a:r>
            <a:endParaRPr lang="ru-RU" sz="2400" b="1" dirty="0">
              <a:solidFill>
                <a:schemeClr val="bg1"/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2FADAEE-DBC1-0E32-C25A-F2B902A696D7}"/>
              </a:ext>
            </a:extLst>
          </p:cNvPr>
          <p:cNvSpPr txBox="1"/>
          <p:nvPr/>
        </p:nvSpPr>
        <p:spPr>
          <a:xfrm>
            <a:off x="894075" y="3752786"/>
            <a:ext cx="3297640" cy="1396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оверенные структуры бизнес-презентаций 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од разные задачи</a:t>
            </a:r>
          </a:p>
        </p:txBody>
      </p:sp>
      <p:sp>
        <p:nvSpPr>
          <p:cNvPr id="41" name="Скругленный прямоугольник 40">
            <a:extLst>
              <a:ext uri="{FF2B5EF4-FFF2-40B4-BE49-F238E27FC236}">
                <a16:creationId xmlns:a16="http://schemas.microsoft.com/office/drawing/2014/main" id="{9F4EEDBB-2824-6905-83FC-17A5CC5F07DB}"/>
              </a:ext>
            </a:extLst>
          </p:cNvPr>
          <p:cNvSpPr/>
          <p:nvPr/>
        </p:nvSpPr>
        <p:spPr>
          <a:xfrm>
            <a:off x="4331457" y="2947459"/>
            <a:ext cx="52098" cy="2475022"/>
          </a:xfrm>
          <a:prstGeom prst="roundRect">
            <a:avLst/>
          </a:prstGeom>
          <a:gradFill>
            <a:gsLst>
              <a:gs pos="100000">
                <a:srgbClr val="C0DCFD">
                  <a:alpha val="4267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45AE66F-FFD4-A052-F533-4724BFBA30BA}"/>
              </a:ext>
            </a:extLst>
          </p:cNvPr>
          <p:cNvSpPr txBox="1"/>
          <p:nvPr/>
        </p:nvSpPr>
        <p:spPr>
          <a:xfrm>
            <a:off x="4690120" y="3132423"/>
            <a:ext cx="9667656" cy="549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</a:t>
            </a: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endParaRPr lang="ru-RU" sz="2400" b="1" dirty="0">
              <a:solidFill>
                <a:schemeClr val="bg1"/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DF85C0E-05E8-7B45-36A7-E3270BBC7A0B}"/>
              </a:ext>
            </a:extLst>
          </p:cNvPr>
          <p:cNvSpPr txBox="1"/>
          <p:nvPr/>
        </p:nvSpPr>
        <p:spPr>
          <a:xfrm>
            <a:off x="4647592" y="3746758"/>
            <a:ext cx="3952733" cy="14026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Инсайт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«Как эффективно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именять презентации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компании сегодня»</a:t>
            </a:r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6F0125FB-2964-732C-6FC3-FC3520F7A42A}"/>
              </a:ext>
            </a:extLst>
          </p:cNvPr>
          <p:cNvSpPr/>
          <p:nvPr/>
        </p:nvSpPr>
        <p:spPr>
          <a:xfrm>
            <a:off x="8395941" y="7124234"/>
            <a:ext cx="52098" cy="2475022"/>
          </a:xfrm>
          <a:prstGeom prst="roundRect">
            <a:avLst/>
          </a:prstGeom>
          <a:gradFill>
            <a:gsLst>
              <a:gs pos="100000">
                <a:srgbClr val="C0DCFD">
                  <a:alpha val="4267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842324B-9D01-4246-5F74-154107E46619}"/>
              </a:ext>
            </a:extLst>
          </p:cNvPr>
          <p:cNvSpPr txBox="1"/>
          <p:nvPr/>
        </p:nvSpPr>
        <p:spPr>
          <a:xfrm>
            <a:off x="8754116" y="7248469"/>
            <a:ext cx="9667656" cy="20356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СЕКРЕТ-</a:t>
            </a:r>
            <a:b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</a:b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БОНУС</a:t>
            </a:r>
            <a:b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</a:b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В КОНЦЕ </a:t>
            </a:r>
            <a:b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</a:b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ЛЕКЦИИ</a:t>
            </a:r>
          </a:p>
        </p:txBody>
      </p:sp>
    </p:spTree>
    <p:extLst>
      <p:ext uri="{BB962C8B-B14F-4D97-AF65-F5344CB8AC3E}">
        <p14:creationId xmlns:p14="http://schemas.microsoft.com/office/powerpoint/2010/main" val="31783850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3.33333E-6 L 0.06576 3.33333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2.59259E-6 L 0.06576 2.59259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2.59259E-6 L 0.06575 2.59259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1.11111E-6 L 0.06576 1.11111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1.11111E-6 L 0.06576 1.11111E-6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3.7037E-7 L 0.06576 -3.7037E-7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3.7037E-7 L 0.06575 -3.7037E-7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513614" y="1134499"/>
            <a:ext cx="11389623" cy="8753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 ТАКЖЕ</a:t>
            </a:r>
            <a:endParaRPr lang="ru-RU" sz="4400" b="1" dirty="0"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Oval 131">
            <a:extLst>
              <a:ext uri="{FF2B5EF4-FFF2-40B4-BE49-F238E27FC236}">
                <a16:creationId xmlns:a16="http://schemas.microsoft.com/office/drawing/2014/main" id="{276EEF5D-F78C-B26E-DECD-C77D3F1482D1}"/>
              </a:ext>
            </a:extLst>
          </p:cNvPr>
          <p:cNvSpPr/>
          <p:nvPr/>
        </p:nvSpPr>
        <p:spPr>
          <a:xfrm>
            <a:off x="7084494" y="-1500448"/>
            <a:ext cx="6485696" cy="6485696"/>
          </a:xfrm>
          <a:prstGeom prst="ellipse">
            <a:avLst/>
          </a:prstGeom>
          <a:gradFill flip="none" rotWithShape="1">
            <a:gsLst>
              <a:gs pos="100000">
                <a:srgbClr val="C0DCFD">
                  <a:alpha val="0"/>
                </a:srgbClr>
              </a:gs>
              <a:gs pos="0">
                <a:srgbClr val="620CFD">
                  <a:alpha val="28632"/>
                </a:srgbClr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9" name="Group 73">
            <a:extLst>
              <a:ext uri="{FF2B5EF4-FFF2-40B4-BE49-F238E27FC236}">
                <a16:creationId xmlns:a16="http://schemas.microsoft.com/office/drawing/2014/main" id="{35E67D2F-B7C3-B295-35E6-FC63796E3A00}"/>
              </a:ext>
            </a:extLst>
          </p:cNvPr>
          <p:cNvGrpSpPr/>
          <p:nvPr/>
        </p:nvGrpSpPr>
        <p:grpSpPr>
          <a:xfrm>
            <a:off x="-557464" y="2724093"/>
            <a:ext cx="13464284" cy="9792204"/>
            <a:chOff x="-2" y="0"/>
            <a:chExt cx="6428641" cy="6858000"/>
          </a:xfrm>
        </p:grpSpPr>
        <p:sp>
          <p:nvSpPr>
            <p:cNvPr id="30" name="Rectangle 36">
              <a:extLst>
                <a:ext uri="{FF2B5EF4-FFF2-40B4-BE49-F238E27FC236}">
                  <a16:creationId xmlns:a16="http://schemas.microsoft.com/office/drawing/2014/main" id="{6B639D09-947B-C295-89E5-D3A7FED4C562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C53A0486-4FEC-606C-49B2-3FDFBA486CDC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CB477ED-8E12-B1BF-B8A7-3C0791AD06EE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941091D-EDDA-A164-26A5-C572323EC7A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200F815-13CC-7E6B-07CF-6C3058F6FC6E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128BDE-2C15-EEFD-DC03-849CC99CC0F5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F04D5FF-393F-4F2F-7D30-44C7741775D5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7" name="Rectangle 37">
              <a:extLst>
                <a:ext uri="{FF2B5EF4-FFF2-40B4-BE49-F238E27FC236}">
                  <a16:creationId xmlns:a16="http://schemas.microsoft.com/office/drawing/2014/main" id="{E77182A8-0D9D-1D4B-7DE2-D3C02E6B9837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8" name="Rectangle 48">
              <a:extLst>
                <a:ext uri="{FF2B5EF4-FFF2-40B4-BE49-F238E27FC236}">
                  <a16:creationId xmlns:a16="http://schemas.microsoft.com/office/drawing/2014/main" id="{2D657C40-FF42-B366-A67D-3943F761017E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9" name="Rectangle 49">
              <a:extLst>
                <a:ext uri="{FF2B5EF4-FFF2-40B4-BE49-F238E27FC236}">
                  <a16:creationId xmlns:a16="http://schemas.microsoft.com/office/drawing/2014/main" id="{A4E5D924-F2E5-0073-3EFE-88569B3773E2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0B03D86C-0C8C-7285-0A3C-A4E4022B6418}"/>
              </a:ext>
            </a:extLst>
          </p:cNvPr>
          <p:cNvSpPr/>
          <p:nvPr/>
        </p:nvSpPr>
        <p:spPr>
          <a:xfrm>
            <a:off x="612041" y="2646440"/>
            <a:ext cx="10934658" cy="3077061"/>
          </a:xfrm>
          <a:prstGeom prst="roundRect">
            <a:avLst>
              <a:gd name="adj" fmla="val 10818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6FF4A3-D37D-9E42-6CD4-E7F96A3F3ADB}"/>
              </a:ext>
            </a:extLst>
          </p:cNvPr>
          <p:cNvSpPr txBox="1"/>
          <p:nvPr/>
        </p:nvSpPr>
        <p:spPr>
          <a:xfrm>
            <a:off x="936602" y="3077722"/>
            <a:ext cx="3412348" cy="549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1</a:t>
            </a:r>
            <a:endParaRPr lang="ru-RU" sz="2400" b="1" dirty="0">
              <a:solidFill>
                <a:schemeClr val="bg1"/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2FADAEE-DBC1-0E32-C25A-F2B902A696D7}"/>
              </a:ext>
            </a:extLst>
          </p:cNvPr>
          <p:cNvSpPr txBox="1"/>
          <p:nvPr/>
        </p:nvSpPr>
        <p:spPr>
          <a:xfrm>
            <a:off x="894075" y="3692057"/>
            <a:ext cx="3297640" cy="1396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оверенные структуры бизнес-презентаций 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од разные задачи</a:t>
            </a:r>
          </a:p>
        </p:txBody>
      </p:sp>
      <p:sp>
        <p:nvSpPr>
          <p:cNvPr id="41" name="Скругленный прямоугольник 40">
            <a:extLst>
              <a:ext uri="{FF2B5EF4-FFF2-40B4-BE49-F238E27FC236}">
                <a16:creationId xmlns:a16="http://schemas.microsoft.com/office/drawing/2014/main" id="{9F4EEDBB-2824-6905-83FC-17A5CC5F07DB}"/>
              </a:ext>
            </a:extLst>
          </p:cNvPr>
          <p:cNvSpPr/>
          <p:nvPr/>
        </p:nvSpPr>
        <p:spPr>
          <a:xfrm>
            <a:off x="4331457" y="2947459"/>
            <a:ext cx="52098" cy="2475022"/>
          </a:xfrm>
          <a:prstGeom prst="roundRect">
            <a:avLst/>
          </a:prstGeom>
          <a:gradFill>
            <a:gsLst>
              <a:gs pos="100000">
                <a:srgbClr val="C0DCFD">
                  <a:alpha val="4267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45AE66F-FFD4-A052-F533-4724BFBA30BA}"/>
              </a:ext>
            </a:extLst>
          </p:cNvPr>
          <p:cNvSpPr txBox="1"/>
          <p:nvPr/>
        </p:nvSpPr>
        <p:spPr>
          <a:xfrm>
            <a:off x="4690120" y="3071694"/>
            <a:ext cx="9667656" cy="549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</a:t>
            </a: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endParaRPr lang="ru-RU" sz="2400" b="1" dirty="0">
              <a:solidFill>
                <a:schemeClr val="bg1"/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DF85C0E-05E8-7B45-36A7-E3270BBC7A0B}"/>
              </a:ext>
            </a:extLst>
          </p:cNvPr>
          <p:cNvSpPr txBox="1"/>
          <p:nvPr/>
        </p:nvSpPr>
        <p:spPr>
          <a:xfrm>
            <a:off x="4647592" y="3686029"/>
            <a:ext cx="3952733" cy="14026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Инсайт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«Как эффективно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именять презентации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компании сегодня»</a:t>
            </a:r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BDE38257-6024-D84C-3ECB-0674737ED50C}"/>
              </a:ext>
            </a:extLst>
          </p:cNvPr>
          <p:cNvSpPr/>
          <p:nvPr/>
        </p:nvSpPr>
        <p:spPr>
          <a:xfrm>
            <a:off x="8395941" y="2947459"/>
            <a:ext cx="52098" cy="2475022"/>
          </a:xfrm>
          <a:prstGeom prst="roundRect">
            <a:avLst/>
          </a:prstGeom>
          <a:gradFill>
            <a:gsLst>
              <a:gs pos="100000">
                <a:srgbClr val="C0DCFD">
                  <a:alpha val="4267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99CC052-A314-0A74-EC6E-A9CA1DC4A973}"/>
              </a:ext>
            </a:extLst>
          </p:cNvPr>
          <p:cNvSpPr txBox="1"/>
          <p:nvPr/>
        </p:nvSpPr>
        <p:spPr>
          <a:xfrm>
            <a:off x="8754116" y="3071694"/>
            <a:ext cx="9667656" cy="20356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СЕКРЕТ-</a:t>
            </a:r>
            <a:b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</a:b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БОНУС</a:t>
            </a:r>
            <a:b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</a:b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В КОНЦЕ </a:t>
            </a:r>
            <a:b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</a:b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ЛЕКЦИИ</a:t>
            </a:r>
          </a:p>
        </p:txBody>
      </p:sp>
    </p:spTree>
    <p:extLst>
      <p:ext uri="{BB962C8B-B14F-4D97-AF65-F5344CB8AC3E}">
        <p14:creationId xmlns:p14="http://schemas.microsoft.com/office/powerpoint/2010/main" val="29652379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3.33333E-6 L 0.06576 3.33333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Видео 5">
            <a:hlinkClick r:id="" action="ppaction://media"/>
            <a:extLst>
              <a:ext uri="{FF2B5EF4-FFF2-40B4-BE49-F238E27FC236}">
                <a16:creationId xmlns:a16="http://schemas.microsoft.com/office/drawing/2014/main" id="{4B1015BE-1EF6-C081-3F90-123B5EAE696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8" name="Group 73">
            <a:extLst>
              <a:ext uri="{FF2B5EF4-FFF2-40B4-BE49-F238E27FC236}">
                <a16:creationId xmlns:a16="http://schemas.microsoft.com/office/drawing/2014/main" id="{E5A1831E-A947-DB10-3B71-AC6D7597237F}"/>
              </a:ext>
            </a:extLst>
          </p:cNvPr>
          <p:cNvGrpSpPr/>
          <p:nvPr/>
        </p:nvGrpSpPr>
        <p:grpSpPr>
          <a:xfrm>
            <a:off x="-5859768" y="-299247"/>
            <a:ext cx="8012418" cy="7157247"/>
            <a:chOff x="-2" y="0"/>
            <a:chExt cx="6428641" cy="6858000"/>
          </a:xfrm>
        </p:grpSpPr>
        <p:sp>
          <p:nvSpPr>
            <p:cNvPr id="9" name="Rectangle 36">
              <a:extLst>
                <a:ext uri="{FF2B5EF4-FFF2-40B4-BE49-F238E27FC236}">
                  <a16:creationId xmlns:a16="http://schemas.microsoft.com/office/drawing/2014/main" id="{9AF2A627-1DDD-693C-14D8-5380920BB26F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497D19C-7815-02D7-E7DF-316A3A50B81F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" name="Rectangle 31">
              <a:extLst>
                <a:ext uri="{FF2B5EF4-FFF2-40B4-BE49-F238E27FC236}">
                  <a16:creationId xmlns:a16="http://schemas.microsoft.com/office/drawing/2014/main" id="{42724591-200D-7C18-2F5A-2E49C598A630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" name="Rectangle 32">
              <a:extLst>
                <a:ext uri="{FF2B5EF4-FFF2-40B4-BE49-F238E27FC236}">
                  <a16:creationId xmlns:a16="http://schemas.microsoft.com/office/drawing/2014/main" id="{6846C0F3-FF49-40F6-1274-F7F3510CB0C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3" name="Rectangle 33">
              <a:extLst>
                <a:ext uri="{FF2B5EF4-FFF2-40B4-BE49-F238E27FC236}">
                  <a16:creationId xmlns:a16="http://schemas.microsoft.com/office/drawing/2014/main" id="{3BA9757C-5529-9D9B-4474-868587EC424A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4" name="Rectangle 34">
              <a:extLst>
                <a:ext uri="{FF2B5EF4-FFF2-40B4-BE49-F238E27FC236}">
                  <a16:creationId xmlns:a16="http://schemas.microsoft.com/office/drawing/2014/main" id="{7476E11C-C54F-B530-F9C8-1CFE498C1A9D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5" name="Rectangle 35">
              <a:extLst>
                <a:ext uri="{FF2B5EF4-FFF2-40B4-BE49-F238E27FC236}">
                  <a16:creationId xmlns:a16="http://schemas.microsoft.com/office/drawing/2014/main" id="{FD825FD6-08F5-75B0-96B1-77E0B67DE6BE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6" name="Rectangle 37">
              <a:extLst>
                <a:ext uri="{FF2B5EF4-FFF2-40B4-BE49-F238E27FC236}">
                  <a16:creationId xmlns:a16="http://schemas.microsoft.com/office/drawing/2014/main" id="{4C6B3C7C-0BA2-640B-2AB5-D4B7A1948621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7" name="Rectangle 48">
              <a:extLst>
                <a:ext uri="{FF2B5EF4-FFF2-40B4-BE49-F238E27FC236}">
                  <a16:creationId xmlns:a16="http://schemas.microsoft.com/office/drawing/2014/main" id="{C4D2068F-D612-A854-D0CC-82DBF2D71D3B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8" name="Rectangle 49">
              <a:extLst>
                <a:ext uri="{FF2B5EF4-FFF2-40B4-BE49-F238E27FC236}">
                  <a16:creationId xmlns:a16="http://schemas.microsoft.com/office/drawing/2014/main" id="{6E36FCC9-AE9F-FF67-B33D-02CBF00E290C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D7D231DD-DB08-C9A5-7C3F-F55507692440}"/>
              </a:ext>
            </a:extLst>
          </p:cNvPr>
          <p:cNvGrpSpPr/>
          <p:nvPr/>
        </p:nvGrpSpPr>
        <p:grpSpPr>
          <a:xfrm rot="19740494">
            <a:off x="14205212" y="4820311"/>
            <a:ext cx="3515826" cy="2037689"/>
            <a:chOff x="3798277" y="833242"/>
            <a:chExt cx="10676641" cy="6187927"/>
          </a:xfrm>
        </p:grpSpPr>
        <p:grpSp>
          <p:nvGrpSpPr>
            <p:cNvPr id="3" name="Группа 2">
              <a:extLst>
                <a:ext uri="{FF2B5EF4-FFF2-40B4-BE49-F238E27FC236}">
                  <a16:creationId xmlns:a16="http://schemas.microsoft.com/office/drawing/2014/main" id="{CB2DE076-70B0-A8DE-62B2-1D1A5CD1BE17}"/>
                </a:ext>
              </a:extLst>
            </p:cNvPr>
            <p:cNvGrpSpPr/>
            <p:nvPr/>
          </p:nvGrpSpPr>
          <p:grpSpPr>
            <a:xfrm>
              <a:off x="5416678" y="1306242"/>
              <a:ext cx="6775322" cy="4971268"/>
              <a:chOff x="5416678" y="1347338"/>
              <a:chExt cx="6775322" cy="4971268"/>
            </a:xfrm>
          </p:grpSpPr>
          <p:pic>
            <p:nvPicPr>
              <p:cNvPr id="5" name="Рисунок 4">
                <a:extLst>
                  <a:ext uri="{FF2B5EF4-FFF2-40B4-BE49-F238E27FC236}">
                    <a16:creationId xmlns:a16="http://schemas.microsoft.com/office/drawing/2014/main" id="{841268F5-49F0-6D8F-55C9-7952A4D787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416678" y="1347338"/>
                <a:ext cx="6775322" cy="4234576"/>
              </a:xfrm>
              <a:prstGeom prst="rect">
                <a:avLst/>
              </a:prstGeom>
            </p:spPr>
          </p:pic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E86AD2AE-97F5-070E-ED18-4363A9ABCC5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61644" b="14892"/>
              <a:stretch/>
            </p:blipFill>
            <p:spPr>
              <a:xfrm>
                <a:off x="5416678" y="5325018"/>
                <a:ext cx="6775322" cy="993588"/>
              </a:xfrm>
              <a:prstGeom prst="rect">
                <a:avLst/>
              </a:prstGeom>
            </p:spPr>
          </p:pic>
        </p:grpSp>
        <p:pic>
          <p:nvPicPr>
            <p:cNvPr id="4" name="Picture 4">
              <a:extLst>
                <a:ext uri="{FF2B5EF4-FFF2-40B4-BE49-F238E27FC236}">
                  <a16:creationId xmlns:a16="http://schemas.microsoft.com/office/drawing/2014/main" id="{BDD64DBB-21E0-215E-1EE1-02AB75E7A3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3" r="1"/>
            <a:stretch/>
          </p:blipFill>
          <p:spPr>
            <a:xfrm>
              <a:off x="3798277" y="833242"/>
              <a:ext cx="10676641" cy="6187927"/>
            </a:xfrm>
            <a:prstGeom prst="rect">
              <a:avLst/>
            </a:prstGeom>
          </p:spPr>
        </p:pic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F4A668DE-074C-8A70-6047-893C5FE144DA}"/>
              </a:ext>
            </a:extLst>
          </p:cNvPr>
          <p:cNvSpPr txBox="1"/>
          <p:nvPr/>
        </p:nvSpPr>
        <p:spPr>
          <a:xfrm>
            <a:off x="-12239014" y="1134499"/>
            <a:ext cx="11389623" cy="344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КАКИЕ 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ЗЕНТАЦИИ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ЕЛАЮТ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АВКУ 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МПАНИИ 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ЕГОДНЯ</a:t>
            </a:r>
          </a:p>
        </p:txBody>
      </p:sp>
    </p:spTree>
    <p:extLst>
      <p:ext uri="{BB962C8B-B14F-4D97-AF65-F5344CB8AC3E}">
        <p14:creationId xmlns:p14="http://schemas.microsoft.com/office/powerpoint/2010/main" val="38435478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33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3.33333E-6 L 0.06576 3.33333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9" repeatCount="indefinite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10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" fill="hold">
                      <p:stCondLst>
                        <p:cond delay="0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4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513614" y="1134499"/>
            <a:ext cx="11389623" cy="344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КАКИЕ 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ЗЕНТАЦИИ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ЕЛАЮТ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АВКУ 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МПАНИИ 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ЕГОДНЯ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7FC04FA7-9069-B7F1-5C3D-3EB027266B41}"/>
              </a:ext>
            </a:extLst>
          </p:cNvPr>
          <p:cNvGrpSpPr/>
          <p:nvPr/>
        </p:nvGrpSpPr>
        <p:grpSpPr>
          <a:xfrm>
            <a:off x="3798277" y="833242"/>
            <a:ext cx="10676641" cy="6187927"/>
            <a:chOff x="3798277" y="833242"/>
            <a:chExt cx="10676641" cy="6187927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DC7883C4-9980-E7ED-975B-8CEB76059833}"/>
                </a:ext>
              </a:extLst>
            </p:cNvPr>
            <p:cNvGrpSpPr/>
            <p:nvPr/>
          </p:nvGrpSpPr>
          <p:grpSpPr>
            <a:xfrm>
              <a:off x="5416678" y="1306242"/>
              <a:ext cx="6775322" cy="4971268"/>
              <a:chOff x="5416678" y="1347338"/>
              <a:chExt cx="6775322" cy="4971268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A0BF1A68-6371-76F8-0E1E-E94FE0AAAA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416678" y="1347338"/>
                <a:ext cx="6775322" cy="4234576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5FF03EE7-FBE5-BC83-4F5D-15F9E59EAF3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t="61644" b="14892"/>
              <a:stretch/>
            </p:blipFill>
            <p:spPr>
              <a:xfrm>
                <a:off x="5416678" y="5325018"/>
                <a:ext cx="6775322" cy="993588"/>
              </a:xfrm>
              <a:prstGeom prst="rect">
                <a:avLst/>
              </a:prstGeom>
            </p:spPr>
          </p:pic>
        </p:grpSp>
        <p:pic>
          <p:nvPicPr>
            <p:cNvPr id="4" name="Picture 4">
              <a:extLst>
                <a:ext uri="{FF2B5EF4-FFF2-40B4-BE49-F238E27FC236}">
                  <a16:creationId xmlns:a16="http://schemas.microsoft.com/office/drawing/2014/main" id="{681405A0-4B2B-F5F5-9E3E-7D3EFDDCBB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3" r="1"/>
            <a:stretch/>
          </p:blipFill>
          <p:spPr>
            <a:xfrm>
              <a:off x="3798277" y="833242"/>
              <a:ext cx="10676641" cy="6187927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7D1FD88F-8DC9-1C04-0EB6-C1A380DB0EE5}"/>
              </a:ext>
            </a:extLst>
          </p:cNvPr>
          <p:cNvSpPr txBox="1"/>
          <p:nvPr/>
        </p:nvSpPr>
        <p:spPr>
          <a:xfrm>
            <a:off x="457778" y="7192912"/>
            <a:ext cx="7162222" cy="1724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ДАЮЩИЕ ПРЕЗЕНТАЦИИ</a:t>
            </a:r>
            <a:endParaRPr lang="ru-RU" sz="4400" b="1" dirty="0"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9AA64A9-1BE9-F36F-FA69-236BB772885D}"/>
              </a:ext>
            </a:extLst>
          </p:cNvPr>
          <p:cNvSpPr txBox="1"/>
          <p:nvPr/>
        </p:nvSpPr>
        <p:spPr>
          <a:xfrm>
            <a:off x="485074" y="8956002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>
                <a:latin typeface="Unbounded Blond" panose="020B0305040102020103" pitchFamily="34" charset="0"/>
                <a:cs typeface="Times New Roman" panose="02020603050405020304" pitchFamily="18" charset="0"/>
              </a:rPr>
              <a:t>Потребители давно стали «</a:t>
            </a:r>
            <a:r>
              <a:rPr lang="ru-RU" sz="2400" b="1" dirty="0" err="1">
                <a:latin typeface="Unbounded Blond" panose="020B0305040102020103" pitchFamily="34" charset="0"/>
                <a:cs typeface="Times New Roman" panose="02020603050405020304" pitchFamily="18" charset="0"/>
              </a:rPr>
              <a:t>выбиральщиками</a:t>
            </a:r>
            <a:r>
              <a:rPr lang="ru-RU" sz="2400" b="1" dirty="0">
                <a:latin typeface="Unbounded Blond" panose="020B0305040102020103" pitchFamily="34" charset="0"/>
                <a:cs typeface="Times New Roman" panose="02020603050405020304" pitchFamily="18" charset="0"/>
              </a:rPr>
              <a:t>»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5916CD69-CA9C-FD3F-9BE5-73983F43EAF1}"/>
              </a:ext>
            </a:extLst>
          </p:cNvPr>
          <p:cNvGrpSpPr/>
          <p:nvPr/>
        </p:nvGrpSpPr>
        <p:grpSpPr>
          <a:xfrm rot="20342243">
            <a:off x="770884" y="7578878"/>
            <a:ext cx="5872191" cy="2177407"/>
            <a:chOff x="0" y="1755775"/>
            <a:chExt cx="12188825" cy="4519613"/>
          </a:xfrm>
          <a:solidFill>
            <a:srgbClr val="620CFD"/>
          </a:solidFill>
        </p:grpSpPr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6B9F2D5-E0AF-A322-3858-722C4D726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755775"/>
              <a:ext cx="6181725" cy="1624013"/>
            </a:xfrm>
            <a:custGeom>
              <a:avLst/>
              <a:gdLst>
                <a:gd name="T0" fmla="*/ 1484 w 1708"/>
                <a:gd name="T1" fmla="*/ 448 h 448"/>
                <a:gd name="T2" fmla="*/ 1484 w 1708"/>
                <a:gd name="T3" fmla="*/ 400 h 448"/>
                <a:gd name="T4" fmla="*/ 1660 w 1708"/>
                <a:gd name="T5" fmla="*/ 224 h 448"/>
                <a:gd name="T6" fmla="*/ 1484 w 1708"/>
                <a:gd name="T7" fmla="*/ 48 h 448"/>
                <a:gd name="T8" fmla="*/ 1398 w 1708"/>
                <a:gd name="T9" fmla="*/ 70 h 448"/>
                <a:gd name="T10" fmla="*/ 1330 w 1708"/>
                <a:gd name="T11" fmla="*/ 138 h 448"/>
                <a:gd name="T12" fmla="*/ 1312 w 1708"/>
                <a:gd name="T13" fmla="*/ 184 h 448"/>
                <a:gd name="T14" fmla="*/ 1309 w 1708"/>
                <a:gd name="T15" fmla="*/ 209 h 448"/>
                <a:gd name="T16" fmla="*/ 1304 w 1708"/>
                <a:gd name="T17" fmla="*/ 244 h 448"/>
                <a:gd name="T18" fmla="*/ 1280 w 1708"/>
                <a:gd name="T19" fmla="*/ 293 h 448"/>
                <a:gd name="T20" fmla="*/ 1213 w 1708"/>
                <a:gd name="T21" fmla="*/ 332 h 448"/>
                <a:gd name="T22" fmla="*/ 1213 w 1708"/>
                <a:gd name="T23" fmla="*/ 332 h 448"/>
                <a:gd name="T24" fmla="*/ 0 w 1708"/>
                <a:gd name="T25" fmla="*/ 332 h 448"/>
                <a:gd name="T26" fmla="*/ 0 w 1708"/>
                <a:gd name="T27" fmla="*/ 284 h 448"/>
                <a:gd name="T28" fmla="*/ 1213 w 1708"/>
                <a:gd name="T29" fmla="*/ 284 h 448"/>
                <a:gd name="T30" fmla="*/ 1213 w 1708"/>
                <a:gd name="T31" fmla="*/ 284 h 448"/>
                <a:gd name="T32" fmla="*/ 1242 w 1708"/>
                <a:gd name="T33" fmla="*/ 263 h 448"/>
                <a:gd name="T34" fmla="*/ 1258 w 1708"/>
                <a:gd name="T35" fmla="*/ 231 h 448"/>
                <a:gd name="T36" fmla="*/ 1261 w 1708"/>
                <a:gd name="T37" fmla="*/ 205 h 448"/>
                <a:gd name="T38" fmla="*/ 1266 w 1708"/>
                <a:gd name="T39" fmla="*/ 174 h 448"/>
                <a:gd name="T40" fmla="*/ 1288 w 1708"/>
                <a:gd name="T41" fmla="*/ 115 h 448"/>
                <a:gd name="T42" fmla="*/ 1374 w 1708"/>
                <a:gd name="T43" fmla="*/ 28 h 448"/>
                <a:gd name="T44" fmla="*/ 1484 w 1708"/>
                <a:gd name="T45" fmla="*/ 0 h 448"/>
                <a:gd name="T46" fmla="*/ 1708 w 1708"/>
                <a:gd name="T47" fmla="*/ 224 h 448"/>
                <a:gd name="T48" fmla="*/ 1484 w 1708"/>
                <a:gd name="T49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08" h="448">
                  <a:moveTo>
                    <a:pt x="1484" y="448"/>
                  </a:moveTo>
                  <a:cubicBezTo>
                    <a:pt x="1484" y="400"/>
                    <a:pt x="1484" y="400"/>
                    <a:pt x="1484" y="400"/>
                  </a:cubicBezTo>
                  <a:cubicBezTo>
                    <a:pt x="1581" y="400"/>
                    <a:pt x="1660" y="321"/>
                    <a:pt x="1660" y="224"/>
                  </a:cubicBezTo>
                  <a:cubicBezTo>
                    <a:pt x="1660" y="126"/>
                    <a:pt x="1581" y="48"/>
                    <a:pt x="1484" y="48"/>
                  </a:cubicBezTo>
                  <a:cubicBezTo>
                    <a:pt x="1454" y="48"/>
                    <a:pt x="1424" y="55"/>
                    <a:pt x="1398" y="70"/>
                  </a:cubicBezTo>
                  <a:cubicBezTo>
                    <a:pt x="1369" y="86"/>
                    <a:pt x="1346" y="110"/>
                    <a:pt x="1330" y="138"/>
                  </a:cubicBezTo>
                  <a:cubicBezTo>
                    <a:pt x="1322" y="153"/>
                    <a:pt x="1316" y="168"/>
                    <a:pt x="1312" y="184"/>
                  </a:cubicBezTo>
                  <a:cubicBezTo>
                    <a:pt x="1311" y="192"/>
                    <a:pt x="1310" y="200"/>
                    <a:pt x="1309" y="209"/>
                  </a:cubicBezTo>
                  <a:cubicBezTo>
                    <a:pt x="1308" y="220"/>
                    <a:pt x="1307" y="232"/>
                    <a:pt x="1304" y="244"/>
                  </a:cubicBezTo>
                  <a:cubicBezTo>
                    <a:pt x="1299" y="263"/>
                    <a:pt x="1291" y="279"/>
                    <a:pt x="1280" y="293"/>
                  </a:cubicBezTo>
                  <a:cubicBezTo>
                    <a:pt x="1271" y="304"/>
                    <a:pt x="1246" y="332"/>
                    <a:pt x="1213" y="332"/>
                  </a:cubicBezTo>
                  <a:cubicBezTo>
                    <a:pt x="1213" y="332"/>
                    <a:pt x="1213" y="332"/>
                    <a:pt x="1213" y="332"/>
                  </a:cubicBezTo>
                  <a:cubicBezTo>
                    <a:pt x="0" y="332"/>
                    <a:pt x="0" y="332"/>
                    <a:pt x="0" y="332"/>
                  </a:cubicBezTo>
                  <a:cubicBezTo>
                    <a:pt x="0" y="284"/>
                    <a:pt x="0" y="284"/>
                    <a:pt x="0" y="284"/>
                  </a:cubicBezTo>
                  <a:cubicBezTo>
                    <a:pt x="1213" y="284"/>
                    <a:pt x="1213" y="284"/>
                    <a:pt x="1213" y="284"/>
                  </a:cubicBezTo>
                  <a:cubicBezTo>
                    <a:pt x="1213" y="284"/>
                    <a:pt x="1213" y="284"/>
                    <a:pt x="1213" y="284"/>
                  </a:cubicBezTo>
                  <a:cubicBezTo>
                    <a:pt x="1221" y="284"/>
                    <a:pt x="1233" y="275"/>
                    <a:pt x="1242" y="263"/>
                  </a:cubicBezTo>
                  <a:cubicBezTo>
                    <a:pt x="1249" y="254"/>
                    <a:pt x="1254" y="243"/>
                    <a:pt x="1258" y="231"/>
                  </a:cubicBezTo>
                  <a:cubicBezTo>
                    <a:pt x="1260" y="224"/>
                    <a:pt x="1261" y="215"/>
                    <a:pt x="1261" y="205"/>
                  </a:cubicBezTo>
                  <a:cubicBezTo>
                    <a:pt x="1262" y="195"/>
                    <a:pt x="1263" y="184"/>
                    <a:pt x="1266" y="174"/>
                  </a:cubicBezTo>
                  <a:cubicBezTo>
                    <a:pt x="1270" y="153"/>
                    <a:pt x="1278" y="133"/>
                    <a:pt x="1288" y="115"/>
                  </a:cubicBezTo>
                  <a:cubicBezTo>
                    <a:pt x="1308" y="79"/>
                    <a:pt x="1338" y="49"/>
                    <a:pt x="1374" y="28"/>
                  </a:cubicBezTo>
                  <a:cubicBezTo>
                    <a:pt x="1407" y="9"/>
                    <a:pt x="1445" y="0"/>
                    <a:pt x="1484" y="0"/>
                  </a:cubicBezTo>
                  <a:cubicBezTo>
                    <a:pt x="1607" y="0"/>
                    <a:pt x="1708" y="100"/>
                    <a:pt x="1708" y="224"/>
                  </a:cubicBezTo>
                  <a:cubicBezTo>
                    <a:pt x="1708" y="347"/>
                    <a:pt x="1607" y="448"/>
                    <a:pt x="1484" y="44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BC83227E-E0DC-D1AA-FAFE-F115FABFE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300" y="3205163"/>
              <a:ext cx="1622425" cy="1624013"/>
            </a:xfrm>
            <a:custGeom>
              <a:avLst/>
              <a:gdLst>
                <a:gd name="T0" fmla="*/ 224 w 448"/>
                <a:gd name="T1" fmla="*/ 448 h 448"/>
                <a:gd name="T2" fmla="*/ 0 w 448"/>
                <a:gd name="T3" fmla="*/ 224 h 448"/>
                <a:gd name="T4" fmla="*/ 224 w 448"/>
                <a:gd name="T5" fmla="*/ 0 h 448"/>
                <a:gd name="T6" fmla="*/ 224 w 448"/>
                <a:gd name="T7" fmla="*/ 48 h 448"/>
                <a:gd name="T8" fmla="*/ 48 w 448"/>
                <a:gd name="T9" fmla="*/ 224 h 448"/>
                <a:gd name="T10" fmla="*/ 224 w 448"/>
                <a:gd name="T11" fmla="*/ 400 h 448"/>
                <a:gd name="T12" fmla="*/ 400 w 448"/>
                <a:gd name="T13" fmla="*/ 224 h 448"/>
                <a:gd name="T14" fmla="*/ 448 w 448"/>
                <a:gd name="T15" fmla="*/ 224 h 448"/>
                <a:gd name="T16" fmla="*/ 224 w 448"/>
                <a:gd name="T17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448">
                  <a:moveTo>
                    <a:pt x="224" y="448"/>
                  </a:moveTo>
                  <a:cubicBezTo>
                    <a:pt x="100" y="448"/>
                    <a:pt x="0" y="347"/>
                    <a:pt x="0" y="224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224" y="48"/>
                    <a:pt x="224" y="48"/>
                    <a:pt x="224" y="48"/>
                  </a:cubicBezTo>
                  <a:cubicBezTo>
                    <a:pt x="127" y="48"/>
                    <a:pt x="48" y="126"/>
                    <a:pt x="48" y="224"/>
                  </a:cubicBezTo>
                  <a:cubicBezTo>
                    <a:pt x="48" y="321"/>
                    <a:pt x="127" y="400"/>
                    <a:pt x="224" y="400"/>
                  </a:cubicBezTo>
                  <a:cubicBezTo>
                    <a:pt x="321" y="400"/>
                    <a:pt x="400" y="321"/>
                    <a:pt x="400" y="22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48" y="347"/>
                    <a:pt x="347" y="448"/>
                    <a:pt x="224" y="44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B7A086D-C3D1-9B07-1D4C-16703FCA9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100" y="3205163"/>
              <a:ext cx="1620838" cy="1624013"/>
            </a:xfrm>
            <a:custGeom>
              <a:avLst/>
              <a:gdLst>
                <a:gd name="T0" fmla="*/ 224 w 448"/>
                <a:gd name="T1" fmla="*/ 448 h 448"/>
                <a:gd name="T2" fmla="*/ 224 w 448"/>
                <a:gd name="T3" fmla="*/ 400 h 448"/>
                <a:gd name="T4" fmla="*/ 400 w 448"/>
                <a:gd name="T5" fmla="*/ 224 h 448"/>
                <a:gd name="T6" fmla="*/ 224 w 448"/>
                <a:gd name="T7" fmla="*/ 48 h 448"/>
                <a:gd name="T8" fmla="*/ 48 w 448"/>
                <a:gd name="T9" fmla="*/ 224 h 448"/>
                <a:gd name="T10" fmla="*/ 0 w 448"/>
                <a:gd name="T11" fmla="*/ 224 h 448"/>
                <a:gd name="T12" fmla="*/ 224 w 448"/>
                <a:gd name="T13" fmla="*/ 0 h 448"/>
                <a:gd name="T14" fmla="*/ 448 w 448"/>
                <a:gd name="T15" fmla="*/ 224 h 448"/>
                <a:gd name="T16" fmla="*/ 224 w 448"/>
                <a:gd name="T17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448">
                  <a:moveTo>
                    <a:pt x="224" y="448"/>
                  </a:moveTo>
                  <a:cubicBezTo>
                    <a:pt x="224" y="400"/>
                    <a:pt x="224" y="400"/>
                    <a:pt x="224" y="400"/>
                  </a:cubicBezTo>
                  <a:cubicBezTo>
                    <a:pt x="321" y="400"/>
                    <a:pt x="400" y="321"/>
                    <a:pt x="400" y="224"/>
                  </a:cubicBezTo>
                  <a:cubicBezTo>
                    <a:pt x="400" y="126"/>
                    <a:pt x="321" y="48"/>
                    <a:pt x="224" y="48"/>
                  </a:cubicBezTo>
                  <a:cubicBezTo>
                    <a:pt x="127" y="48"/>
                    <a:pt x="48" y="126"/>
                    <a:pt x="48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347" y="0"/>
                    <a:pt x="448" y="100"/>
                    <a:pt x="448" y="224"/>
                  </a:cubicBezTo>
                  <a:cubicBezTo>
                    <a:pt x="448" y="347"/>
                    <a:pt x="347" y="448"/>
                    <a:pt x="224" y="44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CC3FDCED-C577-2189-98AE-8CB7C5A1F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100" y="4651375"/>
              <a:ext cx="6181725" cy="1624013"/>
            </a:xfrm>
            <a:custGeom>
              <a:avLst/>
              <a:gdLst>
                <a:gd name="T0" fmla="*/ 224 w 1708"/>
                <a:gd name="T1" fmla="*/ 448 h 448"/>
                <a:gd name="T2" fmla="*/ 0 w 1708"/>
                <a:gd name="T3" fmla="*/ 224 h 448"/>
                <a:gd name="T4" fmla="*/ 224 w 1708"/>
                <a:gd name="T5" fmla="*/ 0 h 448"/>
                <a:gd name="T6" fmla="*/ 224 w 1708"/>
                <a:gd name="T7" fmla="*/ 48 h 448"/>
                <a:gd name="T8" fmla="*/ 48 w 1708"/>
                <a:gd name="T9" fmla="*/ 224 h 448"/>
                <a:gd name="T10" fmla="*/ 224 w 1708"/>
                <a:gd name="T11" fmla="*/ 400 h 448"/>
                <a:gd name="T12" fmla="*/ 310 w 1708"/>
                <a:gd name="T13" fmla="*/ 378 h 448"/>
                <a:gd name="T14" fmla="*/ 378 w 1708"/>
                <a:gd name="T15" fmla="*/ 310 h 448"/>
                <a:gd name="T16" fmla="*/ 395 w 1708"/>
                <a:gd name="T17" fmla="*/ 264 h 448"/>
                <a:gd name="T18" fmla="*/ 398 w 1708"/>
                <a:gd name="T19" fmla="*/ 239 h 448"/>
                <a:gd name="T20" fmla="*/ 404 w 1708"/>
                <a:gd name="T21" fmla="*/ 204 h 448"/>
                <a:gd name="T22" fmla="*/ 428 w 1708"/>
                <a:gd name="T23" fmla="*/ 155 h 448"/>
                <a:gd name="T24" fmla="*/ 495 w 1708"/>
                <a:gd name="T25" fmla="*/ 116 h 448"/>
                <a:gd name="T26" fmla="*/ 495 w 1708"/>
                <a:gd name="T27" fmla="*/ 116 h 448"/>
                <a:gd name="T28" fmla="*/ 1463 w 1708"/>
                <a:gd name="T29" fmla="*/ 116 h 448"/>
                <a:gd name="T30" fmla="*/ 1708 w 1708"/>
                <a:gd name="T31" fmla="*/ 116 h 448"/>
                <a:gd name="T32" fmla="*/ 1708 w 1708"/>
                <a:gd name="T33" fmla="*/ 164 h 448"/>
                <a:gd name="T34" fmla="*/ 1463 w 1708"/>
                <a:gd name="T35" fmla="*/ 164 h 448"/>
                <a:gd name="T36" fmla="*/ 495 w 1708"/>
                <a:gd name="T37" fmla="*/ 164 h 448"/>
                <a:gd name="T38" fmla="*/ 495 w 1708"/>
                <a:gd name="T39" fmla="*/ 164 h 448"/>
                <a:gd name="T40" fmla="*/ 466 w 1708"/>
                <a:gd name="T41" fmla="*/ 185 h 448"/>
                <a:gd name="T42" fmla="*/ 450 w 1708"/>
                <a:gd name="T43" fmla="*/ 217 h 448"/>
                <a:gd name="T44" fmla="*/ 446 w 1708"/>
                <a:gd name="T45" fmla="*/ 243 h 448"/>
                <a:gd name="T46" fmla="*/ 442 w 1708"/>
                <a:gd name="T47" fmla="*/ 274 h 448"/>
                <a:gd name="T48" fmla="*/ 420 w 1708"/>
                <a:gd name="T49" fmla="*/ 333 h 448"/>
                <a:gd name="T50" fmla="*/ 334 w 1708"/>
                <a:gd name="T51" fmla="*/ 420 h 448"/>
                <a:gd name="T52" fmla="*/ 224 w 1708"/>
                <a:gd name="T53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08" h="448">
                  <a:moveTo>
                    <a:pt x="224" y="448"/>
                  </a:moveTo>
                  <a:cubicBezTo>
                    <a:pt x="100" y="448"/>
                    <a:pt x="0" y="348"/>
                    <a:pt x="0" y="224"/>
                  </a:cubicBezTo>
                  <a:cubicBezTo>
                    <a:pt x="0" y="101"/>
                    <a:pt x="100" y="0"/>
                    <a:pt x="224" y="0"/>
                  </a:cubicBezTo>
                  <a:cubicBezTo>
                    <a:pt x="224" y="48"/>
                    <a:pt x="224" y="48"/>
                    <a:pt x="224" y="48"/>
                  </a:cubicBezTo>
                  <a:cubicBezTo>
                    <a:pt x="127" y="48"/>
                    <a:pt x="48" y="127"/>
                    <a:pt x="48" y="224"/>
                  </a:cubicBezTo>
                  <a:cubicBezTo>
                    <a:pt x="48" y="322"/>
                    <a:pt x="127" y="400"/>
                    <a:pt x="224" y="400"/>
                  </a:cubicBezTo>
                  <a:cubicBezTo>
                    <a:pt x="254" y="400"/>
                    <a:pt x="284" y="393"/>
                    <a:pt x="310" y="378"/>
                  </a:cubicBezTo>
                  <a:cubicBezTo>
                    <a:pt x="339" y="362"/>
                    <a:pt x="362" y="338"/>
                    <a:pt x="378" y="310"/>
                  </a:cubicBezTo>
                  <a:cubicBezTo>
                    <a:pt x="386" y="295"/>
                    <a:pt x="392" y="280"/>
                    <a:pt x="395" y="264"/>
                  </a:cubicBezTo>
                  <a:cubicBezTo>
                    <a:pt x="397" y="256"/>
                    <a:pt x="398" y="248"/>
                    <a:pt x="398" y="239"/>
                  </a:cubicBezTo>
                  <a:cubicBezTo>
                    <a:pt x="399" y="228"/>
                    <a:pt x="400" y="216"/>
                    <a:pt x="404" y="204"/>
                  </a:cubicBezTo>
                  <a:cubicBezTo>
                    <a:pt x="409" y="185"/>
                    <a:pt x="417" y="169"/>
                    <a:pt x="428" y="155"/>
                  </a:cubicBezTo>
                  <a:cubicBezTo>
                    <a:pt x="437" y="144"/>
                    <a:pt x="462" y="116"/>
                    <a:pt x="495" y="116"/>
                  </a:cubicBezTo>
                  <a:cubicBezTo>
                    <a:pt x="495" y="116"/>
                    <a:pt x="495" y="116"/>
                    <a:pt x="495" y="116"/>
                  </a:cubicBezTo>
                  <a:cubicBezTo>
                    <a:pt x="502" y="116"/>
                    <a:pt x="1263" y="116"/>
                    <a:pt x="1463" y="116"/>
                  </a:cubicBezTo>
                  <a:cubicBezTo>
                    <a:pt x="1708" y="116"/>
                    <a:pt x="1708" y="116"/>
                    <a:pt x="1708" y="116"/>
                  </a:cubicBezTo>
                  <a:cubicBezTo>
                    <a:pt x="1708" y="164"/>
                    <a:pt x="1708" y="164"/>
                    <a:pt x="1708" y="164"/>
                  </a:cubicBezTo>
                  <a:cubicBezTo>
                    <a:pt x="1463" y="164"/>
                    <a:pt x="1463" y="164"/>
                    <a:pt x="1463" y="164"/>
                  </a:cubicBezTo>
                  <a:cubicBezTo>
                    <a:pt x="1263" y="164"/>
                    <a:pt x="502" y="164"/>
                    <a:pt x="495" y="164"/>
                  </a:cubicBezTo>
                  <a:cubicBezTo>
                    <a:pt x="495" y="164"/>
                    <a:pt x="495" y="164"/>
                    <a:pt x="495" y="164"/>
                  </a:cubicBezTo>
                  <a:cubicBezTo>
                    <a:pt x="487" y="164"/>
                    <a:pt x="475" y="173"/>
                    <a:pt x="466" y="185"/>
                  </a:cubicBezTo>
                  <a:cubicBezTo>
                    <a:pt x="459" y="194"/>
                    <a:pt x="453" y="205"/>
                    <a:pt x="450" y="217"/>
                  </a:cubicBezTo>
                  <a:cubicBezTo>
                    <a:pt x="448" y="224"/>
                    <a:pt x="447" y="233"/>
                    <a:pt x="446" y="243"/>
                  </a:cubicBezTo>
                  <a:cubicBezTo>
                    <a:pt x="446" y="253"/>
                    <a:pt x="445" y="264"/>
                    <a:pt x="442" y="274"/>
                  </a:cubicBezTo>
                  <a:cubicBezTo>
                    <a:pt x="438" y="295"/>
                    <a:pt x="430" y="315"/>
                    <a:pt x="420" y="333"/>
                  </a:cubicBezTo>
                  <a:cubicBezTo>
                    <a:pt x="400" y="369"/>
                    <a:pt x="370" y="399"/>
                    <a:pt x="334" y="420"/>
                  </a:cubicBezTo>
                  <a:cubicBezTo>
                    <a:pt x="300" y="439"/>
                    <a:pt x="262" y="448"/>
                    <a:pt x="224" y="44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041437B8-CD3A-5CB2-9288-56CFBFAFADD8}"/>
              </a:ext>
            </a:extLst>
          </p:cNvPr>
          <p:cNvGrpSpPr/>
          <p:nvPr/>
        </p:nvGrpSpPr>
        <p:grpSpPr>
          <a:xfrm rot="20332051">
            <a:off x="-10006485" y="-2019811"/>
            <a:ext cx="6380859" cy="6308619"/>
            <a:chOff x="2762173" y="2407335"/>
            <a:chExt cx="1760019" cy="1740094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24441590-72B3-BAE3-0446-02EC8162D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173" y="3241436"/>
              <a:ext cx="1753088" cy="905993"/>
            </a:xfrm>
            <a:custGeom>
              <a:avLst/>
              <a:gdLst>
                <a:gd name="T0" fmla="*/ 470 w 1012"/>
                <a:gd name="T1" fmla="*/ 0 h 523"/>
                <a:gd name="T2" fmla="*/ 0 w 1012"/>
                <a:gd name="T3" fmla="*/ 171 h 523"/>
                <a:gd name="T4" fmla="*/ 1012 w 1012"/>
                <a:gd name="T5" fmla="*/ 523 h 523"/>
                <a:gd name="T6" fmla="*/ 470 w 1012"/>
                <a:gd name="T7" fmla="*/ 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12" h="523">
                  <a:moveTo>
                    <a:pt x="470" y="0"/>
                  </a:moveTo>
                  <a:lnTo>
                    <a:pt x="0" y="171"/>
                  </a:lnTo>
                  <a:lnTo>
                    <a:pt x="1012" y="523"/>
                  </a:lnTo>
                  <a:lnTo>
                    <a:pt x="470" y="0"/>
                  </a:lnTo>
                  <a:close/>
                </a:path>
              </a:pathLst>
            </a:custGeom>
            <a:solidFill>
              <a:srgbClr val="A16D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A622EF5D-8577-9DA3-5EC5-3BDE2DFE5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7144" y="2407335"/>
              <a:ext cx="925048" cy="1709780"/>
            </a:xfrm>
            <a:custGeom>
              <a:avLst/>
              <a:gdLst>
                <a:gd name="T0" fmla="*/ 120 w 534"/>
                <a:gd name="T1" fmla="*/ 0 h 987"/>
                <a:gd name="T2" fmla="*/ 0 w 534"/>
                <a:gd name="T3" fmla="*/ 472 h 987"/>
                <a:gd name="T4" fmla="*/ 534 w 534"/>
                <a:gd name="T5" fmla="*/ 987 h 987"/>
                <a:gd name="T6" fmla="*/ 120 w 534"/>
                <a:gd name="T7" fmla="*/ 0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4" h="987">
                  <a:moveTo>
                    <a:pt x="120" y="0"/>
                  </a:moveTo>
                  <a:lnTo>
                    <a:pt x="0" y="472"/>
                  </a:lnTo>
                  <a:lnTo>
                    <a:pt x="534" y="987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rgbClr val="A16D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55DFD4C3-49CB-EE91-5B5A-23F271503D36}"/>
              </a:ext>
            </a:extLst>
          </p:cNvPr>
          <p:cNvGrpSpPr/>
          <p:nvPr/>
        </p:nvGrpSpPr>
        <p:grpSpPr>
          <a:xfrm>
            <a:off x="7730065" y="8078565"/>
            <a:ext cx="3838048" cy="9322339"/>
            <a:chOff x="7730065" y="-1746752"/>
            <a:chExt cx="3838048" cy="9322339"/>
          </a:xfrm>
        </p:grpSpPr>
        <p:pic>
          <p:nvPicPr>
            <p:cNvPr id="27" name="Рисунок 26">
              <a:extLst>
                <a:ext uri="{FF2B5EF4-FFF2-40B4-BE49-F238E27FC236}">
                  <a16:creationId xmlns:a16="http://schemas.microsoft.com/office/drawing/2014/main" id="{FB12A566-4784-433E-902F-9F7C35DDC96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730065" y="641060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28" name="Рисунок 27">
              <a:extLst>
                <a:ext uri="{FF2B5EF4-FFF2-40B4-BE49-F238E27FC236}">
                  <a16:creationId xmlns:a16="http://schemas.microsoft.com/office/drawing/2014/main" id="{F8E83698-8A4F-58A0-D979-20CD8676BF1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7730065" y="3028872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C96580ED-EEB1-8D19-E82E-CCF4F6BF30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7730065" y="5416685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30" name="Рисунок 29">
              <a:extLst>
                <a:ext uri="{FF2B5EF4-FFF2-40B4-BE49-F238E27FC236}">
                  <a16:creationId xmlns:a16="http://schemas.microsoft.com/office/drawing/2014/main" id="{0AE31AF0-1D61-F4CE-4DFC-354D367E019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>
              <a:off x="7730065" y="-1746752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5196611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3.33333E-6 L 0.06576 3.33333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7FC04FA7-9069-B7F1-5C3D-3EB027266B41}"/>
              </a:ext>
            </a:extLst>
          </p:cNvPr>
          <p:cNvGrpSpPr/>
          <p:nvPr/>
        </p:nvGrpSpPr>
        <p:grpSpPr>
          <a:xfrm>
            <a:off x="-63214749" y="-32866347"/>
            <a:ext cx="103719086" cy="60113114"/>
            <a:chOff x="3798277" y="833242"/>
            <a:chExt cx="10676641" cy="6187927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DC7883C4-9980-E7ED-975B-8CEB76059833}"/>
                </a:ext>
              </a:extLst>
            </p:cNvPr>
            <p:cNvGrpSpPr/>
            <p:nvPr/>
          </p:nvGrpSpPr>
          <p:grpSpPr>
            <a:xfrm>
              <a:off x="5416678" y="1306242"/>
              <a:ext cx="6775322" cy="4971268"/>
              <a:chOff x="5416678" y="1347338"/>
              <a:chExt cx="6775322" cy="4971268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A0BF1A68-6371-76F8-0E1E-E94FE0AAAA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416678" y="1347338"/>
                <a:ext cx="6775322" cy="4234576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5FF03EE7-FBE5-BC83-4F5D-15F9E59EAF3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t="61644" b="14892"/>
              <a:stretch/>
            </p:blipFill>
            <p:spPr>
              <a:xfrm>
                <a:off x="5416678" y="5325018"/>
                <a:ext cx="6775322" cy="993588"/>
              </a:xfrm>
              <a:prstGeom prst="rect">
                <a:avLst/>
              </a:prstGeom>
            </p:spPr>
          </p:pic>
        </p:grpSp>
        <p:pic>
          <p:nvPicPr>
            <p:cNvPr id="4" name="Picture 4">
              <a:extLst>
                <a:ext uri="{FF2B5EF4-FFF2-40B4-BE49-F238E27FC236}">
                  <a16:creationId xmlns:a16="http://schemas.microsoft.com/office/drawing/2014/main" id="{681405A0-4B2B-F5F5-9E3E-7D3EFDDCBB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3" r="1"/>
            <a:stretch/>
          </p:blipFill>
          <p:spPr>
            <a:xfrm>
              <a:off x="3798277" y="833242"/>
              <a:ext cx="10676641" cy="6187927"/>
            </a:xfrm>
            <a:prstGeom prst="rect">
              <a:avLst/>
            </a:prstGeom>
          </p:spPr>
        </p:pic>
      </p:grpSp>
      <p:sp>
        <p:nvSpPr>
          <p:cNvPr id="3" name="Полилиния 2">
            <a:extLst>
              <a:ext uri="{FF2B5EF4-FFF2-40B4-BE49-F238E27FC236}">
                <a16:creationId xmlns:a16="http://schemas.microsoft.com/office/drawing/2014/main" id="{CC755D31-CC2C-926D-59C9-A89BE23C910E}"/>
              </a:ext>
            </a:extLst>
          </p:cNvPr>
          <p:cNvSpPr/>
          <p:nvPr/>
        </p:nvSpPr>
        <p:spPr>
          <a:xfrm>
            <a:off x="-11750038" y="-12024360"/>
            <a:ext cx="42748199" cy="32461200"/>
          </a:xfrm>
          <a:custGeom>
            <a:avLst/>
            <a:gdLst>
              <a:gd name="connsiteX0" fmla="*/ 11750040 w 42748199"/>
              <a:gd name="connsiteY0" fmla="*/ 12024360 h 32461200"/>
              <a:gd name="connsiteX1" fmla="*/ 11750040 w 42748199"/>
              <a:gd name="connsiteY1" fmla="*/ 18882360 h 32461200"/>
              <a:gd name="connsiteX2" fmla="*/ 23942039 w 42748199"/>
              <a:gd name="connsiteY2" fmla="*/ 18882360 h 32461200"/>
              <a:gd name="connsiteX3" fmla="*/ 23942039 w 42748199"/>
              <a:gd name="connsiteY3" fmla="*/ 12024360 h 32461200"/>
              <a:gd name="connsiteX4" fmla="*/ 0 w 42748199"/>
              <a:gd name="connsiteY4" fmla="*/ 0 h 32461200"/>
              <a:gd name="connsiteX5" fmla="*/ 42748199 w 42748199"/>
              <a:gd name="connsiteY5" fmla="*/ 0 h 32461200"/>
              <a:gd name="connsiteX6" fmla="*/ 42748199 w 42748199"/>
              <a:gd name="connsiteY6" fmla="*/ 32461200 h 32461200"/>
              <a:gd name="connsiteX7" fmla="*/ 0 w 42748199"/>
              <a:gd name="connsiteY7" fmla="*/ 32461200 h 3246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48199" h="32461200">
                <a:moveTo>
                  <a:pt x="11750040" y="12024360"/>
                </a:moveTo>
                <a:lnTo>
                  <a:pt x="11750040" y="18882360"/>
                </a:lnTo>
                <a:lnTo>
                  <a:pt x="23942039" y="18882360"/>
                </a:lnTo>
                <a:lnTo>
                  <a:pt x="23942039" y="12024360"/>
                </a:lnTo>
                <a:close/>
                <a:moveTo>
                  <a:pt x="0" y="0"/>
                </a:moveTo>
                <a:lnTo>
                  <a:pt x="42748199" y="0"/>
                </a:lnTo>
                <a:lnTo>
                  <a:pt x="42748199" y="32461200"/>
                </a:lnTo>
                <a:lnTo>
                  <a:pt x="0" y="32461200"/>
                </a:lnTo>
                <a:close/>
              </a:path>
            </a:pathLst>
          </a:cu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1FBEB3D6-A354-41BE-8FB3-FEFEEB6FDC44}"/>
              </a:ext>
            </a:extLst>
          </p:cNvPr>
          <p:cNvSpPr/>
          <p:nvPr/>
        </p:nvSpPr>
        <p:spPr>
          <a:xfrm>
            <a:off x="587375" y="584200"/>
            <a:ext cx="5363974" cy="1074119"/>
          </a:xfrm>
          <a:prstGeom prst="roundRect">
            <a:avLst/>
          </a:prstGeom>
          <a:gradFill>
            <a:gsLst>
              <a:gs pos="100000">
                <a:srgbClr val="C0DCFD">
                  <a:alpha val="0"/>
                </a:srgbClr>
              </a:gs>
              <a:gs pos="0">
                <a:srgbClr val="C0DCFD"/>
              </a:gs>
            </a:gsLst>
            <a:lin ang="16200000" scaled="1"/>
          </a:gradFill>
          <a:ln>
            <a:solidFill>
              <a:srgbClr val="620CFD">
                <a:alpha val="1388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4942BF1-A8E0-D942-0A4F-BDD68530D0FF}"/>
              </a:ext>
            </a:extLst>
          </p:cNvPr>
          <p:cNvSpPr txBox="1"/>
          <p:nvPr/>
        </p:nvSpPr>
        <p:spPr>
          <a:xfrm>
            <a:off x="753202" y="769368"/>
            <a:ext cx="5198147" cy="7037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 Blon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какие презентации </a:t>
            </a:r>
            <a:br>
              <a:rPr lang="ru-RU" dirty="0">
                <a:latin typeface="Unbounded Blon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dirty="0">
                <a:latin typeface="Unbounded Blon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елают ставку компании сегодня</a:t>
            </a:r>
            <a:endParaRPr lang="ru-RU" sz="1600" dirty="0">
              <a:effectLst/>
              <a:latin typeface="Unbounded Blon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6BC2A07-5AA6-9AB0-A7BC-EFA5184DDC5E}"/>
              </a:ext>
            </a:extLst>
          </p:cNvPr>
          <p:cNvSpPr txBox="1"/>
          <p:nvPr/>
        </p:nvSpPr>
        <p:spPr>
          <a:xfrm>
            <a:off x="457778" y="1926908"/>
            <a:ext cx="7162222" cy="1724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ДАЮЩИЕ ПРЕЗЕНТАЦИИ</a:t>
            </a:r>
            <a:endParaRPr lang="ru-RU" sz="4400" b="1" dirty="0"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4B9DD4-0140-27E1-2607-8DE5832D01A0}"/>
              </a:ext>
            </a:extLst>
          </p:cNvPr>
          <p:cNvSpPr txBox="1"/>
          <p:nvPr/>
        </p:nvSpPr>
        <p:spPr>
          <a:xfrm>
            <a:off x="485074" y="3689998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>
                <a:latin typeface="Unbounded Blond" panose="020B0305040102020103" pitchFamily="34" charset="0"/>
                <a:cs typeface="Times New Roman" panose="02020603050405020304" pitchFamily="18" charset="0"/>
              </a:rPr>
              <a:t>Потребители давно стали «</a:t>
            </a:r>
            <a:r>
              <a:rPr lang="ru-RU" sz="2400" b="1" dirty="0" err="1">
                <a:latin typeface="Unbounded Blond" panose="020B0305040102020103" pitchFamily="34" charset="0"/>
                <a:cs typeface="Times New Roman" panose="02020603050405020304" pitchFamily="18" charset="0"/>
              </a:rPr>
              <a:t>выбиральщиками</a:t>
            </a:r>
            <a:r>
              <a:rPr lang="ru-RU" sz="2400" b="1" dirty="0">
                <a:latin typeface="Unbounded Blond" panose="020B0305040102020103" pitchFamily="34" charset="0"/>
                <a:cs typeface="Times New Roman" panose="02020603050405020304" pitchFamily="18" charset="0"/>
              </a:rPr>
              <a:t>»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420A30C4-4A18-4144-5CE9-0A7EBC42987D}"/>
              </a:ext>
            </a:extLst>
          </p:cNvPr>
          <p:cNvGrpSpPr/>
          <p:nvPr/>
        </p:nvGrpSpPr>
        <p:grpSpPr>
          <a:xfrm rot="20883689">
            <a:off x="142876" y="4806520"/>
            <a:ext cx="12188825" cy="4519613"/>
            <a:chOff x="0" y="1755775"/>
            <a:chExt cx="12188825" cy="4519613"/>
          </a:xfrm>
          <a:solidFill>
            <a:srgbClr val="620CFD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AB56CD7A-2CB1-0661-3755-DE5E472A9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755775"/>
              <a:ext cx="6181725" cy="1624013"/>
            </a:xfrm>
            <a:custGeom>
              <a:avLst/>
              <a:gdLst>
                <a:gd name="T0" fmla="*/ 1484 w 1708"/>
                <a:gd name="T1" fmla="*/ 448 h 448"/>
                <a:gd name="T2" fmla="*/ 1484 w 1708"/>
                <a:gd name="T3" fmla="*/ 400 h 448"/>
                <a:gd name="T4" fmla="*/ 1660 w 1708"/>
                <a:gd name="T5" fmla="*/ 224 h 448"/>
                <a:gd name="T6" fmla="*/ 1484 w 1708"/>
                <a:gd name="T7" fmla="*/ 48 h 448"/>
                <a:gd name="T8" fmla="*/ 1398 w 1708"/>
                <a:gd name="T9" fmla="*/ 70 h 448"/>
                <a:gd name="T10" fmla="*/ 1330 w 1708"/>
                <a:gd name="T11" fmla="*/ 138 h 448"/>
                <a:gd name="T12" fmla="*/ 1312 w 1708"/>
                <a:gd name="T13" fmla="*/ 184 h 448"/>
                <a:gd name="T14" fmla="*/ 1309 w 1708"/>
                <a:gd name="T15" fmla="*/ 209 h 448"/>
                <a:gd name="T16" fmla="*/ 1304 w 1708"/>
                <a:gd name="T17" fmla="*/ 244 h 448"/>
                <a:gd name="T18" fmla="*/ 1280 w 1708"/>
                <a:gd name="T19" fmla="*/ 293 h 448"/>
                <a:gd name="T20" fmla="*/ 1213 w 1708"/>
                <a:gd name="T21" fmla="*/ 332 h 448"/>
                <a:gd name="T22" fmla="*/ 1213 w 1708"/>
                <a:gd name="T23" fmla="*/ 332 h 448"/>
                <a:gd name="T24" fmla="*/ 0 w 1708"/>
                <a:gd name="T25" fmla="*/ 332 h 448"/>
                <a:gd name="T26" fmla="*/ 0 w 1708"/>
                <a:gd name="T27" fmla="*/ 284 h 448"/>
                <a:gd name="T28" fmla="*/ 1213 w 1708"/>
                <a:gd name="T29" fmla="*/ 284 h 448"/>
                <a:gd name="T30" fmla="*/ 1213 w 1708"/>
                <a:gd name="T31" fmla="*/ 284 h 448"/>
                <a:gd name="T32" fmla="*/ 1242 w 1708"/>
                <a:gd name="T33" fmla="*/ 263 h 448"/>
                <a:gd name="T34" fmla="*/ 1258 w 1708"/>
                <a:gd name="T35" fmla="*/ 231 h 448"/>
                <a:gd name="T36" fmla="*/ 1261 w 1708"/>
                <a:gd name="T37" fmla="*/ 205 h 448"/>
                <a:gd name="T38" fmla="*/ 1266 w 1708"/>
                <a:gd name="T39" fmla="*/ 174 h 448"/>
                <a:gd name="T40" fmla="*/ 1288 w 1708"/>
                <a:gd name="T41" fmla="*/ 115 h 448"/>
                <a:gd name="T42" fmla="*/ 1374 w 1708"/>
                <a:gd name="T43" fmla="*/ 28 h 448"/>
                <a:gd name="T44" fmla="*/ 1484 w 1708"/>
                <a:gd name="T45" fmla="*/ 0 h 448"/>
                <a:gd name="T46" fmla="*/ 1708 w 1708"/>
                <a:gd name="T47" fmla="*/ 224 h 448"/>
                <a:gd name="T48" fmla="*/ 1484 w 1708"/>
                <a:gd name="T49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08" h="448">
                  <a:moveTo>
                    <a:pt x="1484" y="448"/>
                  </a:moveTo>
                  <a:cubicBezTo>
                    <a:pt x="1484" y="400"/>
                    <a:pt x="1484" y="400"/>
                    <a:pt x="1484" y="400"/>
                  </a:cubicBezTo>
                  <a:cubicBezTo>
                    <a:pt x="1581" y="400"/>
                    <a:pt x="1660" y="321"/>
                    <a:pt x="1660" y="224"/>
                  </a:cubicBezTo>
                  <a:cubicBezTo>
                    <a:pt x="1660" y="126"/>
                    <a:pt x="1581" y="48"/>
                    <a:pt x="1484" y="48"/>
                  </a:cubicBezTo>
                  <a:cubicBezTo>
                    <a:pt x="1454" y="48"/>
                    <a:pt x="1424" y="55"/>
                    <a:pt x="1398" y="70"/>
                  </a:cubicBezTo>
                  <a:cubicBezTo>
                    <a:pt x="1369" y="86"/>
                    <a:pt x="1346" y="110"/>
                    <a:pt x="1330" y="138"/>
                  </a:cubicBezTo>
                  <a:cubicBezTo>
                    <a:pt x="1322" y="153"/>
                    <a:pt x="1316" y="168"/>
                    <a:pt x="1312" y="184"/>
                  </a:cubicBezTo>
                  <a:cubicBezTo>
                    <a:pt x="1311" y="192"/>
                    <a:pt x="1310" y="200"/>
                    <a:pt x="1309" y="209"/>
                  </a:cubicBezTo>
                  <a:cubicBezTo>
                    <a:pt x="1308" y="220"/>
                    <a:pt x="1307" y="232"/>
                    <a:pt x="1304" y="244"/>
                  </a:cubicBezTo>
                  <a:cubicBezTo>
                    <a:pt x="1299" y="263"/>
                    <a:pt x="1291" y="279"/>
                    <a:pt x="1280" y="293"/>
                  </a:cubicBezTo>
                  <a:cubicBezTo>
                    <a:pt x="1271" y="304"/>
                    <a:pt x="1246" y="332"/>
                    <a:pt x="1213" y="332"/>
                  </a:cubicBezTo>
                  <a:cubicBezTo>
                    <a:pt x="1213" y="332"/>
                    <a:pt x="1213" y="332"/>
                    <a:pt x="1213" y="332"/>
                  </a:cubicBezTo>
                  <a:cubicBezTo>
                    <a:pt x="0" y="332"/>
                    <a:pt x="0" y="332"/>
                    <a:pt x="0" y="332"/>
                  </a:cubicBezTo>
                  <a:cubicBezTo>
                    <a:pt x="0" y="284"/>
                    <a:pt x="0" y="284"/>
                    <a:pt x="0" y="284"/>
                  </a:cubicBezTo>
                  <a:cubicBezTo>
                    <a:pt x="1213" y="284"/>
                    <a:pt x="1213" y="284"/>
                    <a:pt x="1213" y="284"/>
                  </a:cubicBezTo>
                  <a:cubicBezTo>
                    <a:pt x="1213" y="284"/>
                    <a:pt x="1213" y="284"/>
                    <a:pt x="1213" y="284"/>
                  </a:cubicBezTo>
                  <a:cubicBezTo>
                    <a:pt x="1221" y="284"/>
                    <a:pt x="1233" y="275"/>
                    <a:pt x="1242" y="263"/>
                  </a:cubicBezTo>
                  <a:cubicBezTo>
                    <a:pt x="1249" y="254"/>
                    <a:pt x="1254" y="243"/>
                    <a:pt x="1258" y="231"/>
                  </a:cubicBezTo>
                  <a:cubicBezTo>
                    <a:pt x="1260" y="224"/>
                    <a:pt x="1261" y="215"/>
                    <a:pt x="1261" y="205"/>
                  </a:cubicBezTo>
                  <a:cubicBezTo>
                    <a:pt x="1262" y="195"/>
                    <a:pt x="1263" y="184"/>
                    <a:pt x="1266" y="174"/>
                  </a:cubicBezTo>
                  <a:cubicBezTo>
                    <a:pt x="1270" y="153"/>
                    <a:pt x="1278" y="133"/>
                    <a:pt x="1288" y="115"/>
                  </a:cubicBezTo>
                  <a:cubicBezTo>
                    <a:pt x="1308" y="79"/>
                    <a:pt x="1338" y="49"/>
                    <a:pt x="1374" y="28"/>
                  </a:cubicBezTo>
                  <a:cubicBezTo>
                    <a:pt x="1407" y="9"/>
                    <a:pt x="1445" y="0"/>
                    <a:pt x="1484" y="0"/>
                  </a:cubicBezTo>
                  <a:cubicBezTo>
                    <a:pt x="1607" y="0"/>
                    <a:pt x="1708" y="100"/>
                    <a:pt x="1708" y="224"/>
                  </a:cubicBezTo>
                  <a:cubicBezTo>
                    <a:pt x="1708" y="347"/>
                    <a:pt x="1607" y="448"/>
                    <a:pt x="1484" y="44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CFD8B829-A00A-C9AC-90FF-CEED21166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300" y="3205163"/>
              <a:ext cx="1622425" cy="1624013"/>
            </a:xfrm>
            <a:custGeom>
              <a:avLst/>
              <a:gdLst>
                <a:gd name="T0" fmla="*/ 224 w 448"/>
                <a:gd name="T1" fmla="*/ 448 h 448"/>
                <a:gd name="T2" fmla="*/ 0 w 448"/>
                <a:gd name="T3" fmla="*/ 224 h 448"/>
                <a:gd name="T4" fmla="*/ 224 w 448"/>
                <a:gd name="T5" fmla="*/ 0 h 448"/>
                <a:gd name="T6" fmla="*/ 224 w 448"/>
                <a:gd name="T7" fmla="*/ 48 h 448"/>
                <a:gd name="T8" fmla="*/ 48 w 448"/>
                <a:gd name="T9" fmla="*/ 224 h 448"/>
                <a:gd name="T10" fmla="*/ 224 w 448"/>
                <a:gd name="T11" fmla="*/ 400 h 448"/>
                <a:gd name="T12" fmla="*/ 400 w 448"/>
                <a:gd name="T13" fmla="*/ 224 h 448"/>
                <a:gd name="T14" fmla="*/ 448 w 448"/>
                <a:gd name="T15" fmla="*/ 224 h 448"/>
                <a:gd name="T16" fmla="*/ 224 w 448"/>
                <a:gd name="T17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448">
                  <a:moveTo>
                    <a:pt x="224" y="448"/>
                  </a:moveTo>
                  <a:cubicBezTo>
                    <a:pt x="100" y="448"/>
                    <a:pt x="0" y="347"/>
                    <a:pt x="0" y="224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224" y="48"/>
                    <a:pt x="224" y="48"/>
                    <a:pt x="224" y="48"/>
                  </a:cubicBezTo>
                  <a:cubicBezTo>
                    <a:pt x="127" y="48"/>
                    <a:pt x="48" y="126"/>
                    <a:pt x="48" y="224"/>
                  </a:cubicBezTo>
                  <a:cubicBezTo>
                    <a:pt x="48" y="321"/>
                    <a:pt x="127" y="400"/>
                    <a:pt x="224" y="400"/>
                  </a:cubicBezTo>
                  <a:cubicBezTo>
                    <a:pt x="321" y="400"/>
                    <a:pt x="400" y="321"/>
                    <a:pt x="400" y="22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48" y="347"/>
                    <a:pt x="347" y="448"/>
                    <a:pt x="224" y="44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FD943A83-3328-D70D-0669-89C1B632E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100" y="3205163"/>
              <a:ext cx="1620838" cy="1624013"/>
            </a:xfrm>
            <a:custGeom>
              <a:avLst/>
              <a:gdLst>
                <a:gd name="T0" fmla="*/ 224 w 448"/>
                <a:gd name="T1" fmla="*/ 448 h 448"/>
                <a:gd name="T2" fmla="*/ 224 w 448"/>
                <a:gd name="T3" fmla="*/ 400 h 448"/>
                <a:gd name="T4" fmla="*/ 400 w 448"/>
                <a:gd name="T5" fmla="*/ 224 h 448"/>
                <a:gd name="T6" fmla="*/ 224 w 448"/>
                <a:gd name="T7" fmla="*/ 48 h 448"/>
                <a:gd name="T8" fmla="*/ 48 w 448"/>
                <a:gd name="T9" fmla="*/ 224 h 448"/>
                <a:gd name="T10" fmla="*/ 0 w 448"/>
                <a:gd name="T11" fmla="*/ 224 h 448"/>
                <a:gd name="T12" fmla="*/ 224 w 448"/>
                <a:gd name="T13" fmla="*/ 0 h 448"/>
                <a:gd name="T14" fmla="*/ 448 w 448"/>
                <a:gd name="T15" fmla="*/ 224 h 448"/>
                <a:gd name="T16" fmla="*/ 224 w 448"/>
                <a:gd name="T17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448">
                  <a:moveTo>
                    <a:pt x="224" y="448"/>
                  </a:moveTo>
                  <a:cubicBezTo>
                    <a:pt x="224" y="400"/>
                    <a:pt x="224" y="400"/>
                    <a:pt x="224" y="400"/>
                  </a:cubicBezTo>
                  <a:cubicBezTo>
                    <a:pt x="321" y="400"/>
                    <a:pt x="400" y="321"/>
                    <a:pt x="400" y="224"/>
                  </a:cubicBezTo>
                  <a:cubicBezTo>
                    <a:pt x="400" y="126"/>
                    <a:pt x="321" y="48"/>
                    <a:pt x="224" y="48"/>
                  </a:cubicBezTo>
                  <a:cubicBezTo>
                    <a:pt x="127" y="48"/>
                    <a:pt x="48" y="126"/>
                    <a:pt x="48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347" y="0"/>
                    <a:pt x="448" y="100"/>
                    <a:pt x="448" y="224"/>
                  </a:cubicBezTo>
                  <a:cubicBezTo>
                    <a:pt x="448" y="347"/>
                    <a:pt x="347" y="448"/>
                    <a:pt x="224" y="44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ED262B86-175C-9569-2847-1EBA85ECB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100" y="4651375"/>
              <a:ext cx="6181725" cy="1624013"/>
            </a:xfrm>
            <a:custGeom>
              <a:avLst/>
              <a:gdLst>
                <a:gd name="T0" fmla="*/ 224 w 1708"/>
                <a:gd name="T1" fmla="*/ 448 h 448"/>
                <a:gd name="T2" fmla="*/ 0 w 1708"/>
                <a:gd name="T3" fmla="*/ 224 h 448"/>
                <a:gd name="T4" fmla="*/ 224 w 1708"/>
                <a:gd name="T5" fmla="*/ 0 h 448"/>
                <a:gd name="T6" fmla="*/ 224 w 1708"/>
                <a:gd name="T7" fmla="*/ 48 h 448"/>
                <a:gd name="T8" fmla="*/ 48 w 1708"/>
                <a:gd name="T9" fmla="*/ 224 h 448"/>
                <a:gd name="T10" fmla="*/ 224 w 1708"/>
                <a:gd name="T11" fmla="*/ 400 h 448"/>
                <a:gd name="T12" fmla="*/ 310 w 1708"/>
                <a:gd name="T13" fmla="*/ 378 h 448"/>
                <a:gd name="T14" fmla="*/ 378 w 1708"/>
                <a:gd name="T15" fmla="*/ 310 h 448"/>
                <a:gd name="T16" fmla="*/ 395 w 1708"/>
                <a:gd name="T17" fmla="*/ 264 h 448"/>
                <a:gd name="T18" fmla="*/ 398 w 1708"/>
                <a:gd name="T19" fmla="*/ 239 h 448"/>
                <a:gd name="T20" fmla="*/ 404 w 1708"/>
                <a:gd name="T21" fmla="*/ 204 h 448"/>
                <a:gd name="T22" fmla="*/ 428 w 1708"/>
                <a:gd name="T23" fmla="*/ 155 h 448"/>
                <a:gd name="T24" fmla="*/ 495 w 1708"/>
                <a:gd name="T25" fmla="*/ 116 h 448"/>
                <a:gd name="T26" fmla="*/ 495 w 1708"/>
                <a:gd name="T27" fmla="*/ 116 h 448"/>
                <a:gd name="T28" fmla="*/ 1463 w 1708"/>
                <a:gd name="T29" fmla="*/ 116 h 448"/>
                <a:gd name="T30" fmla="*/ 1708 w 1708"/>
                <a:gd name="T31" fmla="*/ 116 h 448"/>
                <a:gd name="T32" fmla="*/ 1708 w 1708"/>
                <a:gd name="T33" fmla="*/ 164 h 448"/>
                <a:gd name="T34" fmla="*/ 1463 w 1708"/>
                <a:gd name="T35" fmla="*/ 164 h 448"/>
                <a:gd name="T36" fmla="*/ 495 w 1708"/>
                <a:gd name="T37" fmla="*/ 164 h 448"/>
                <a:gd name="T38" fmla="*/ 495 w 1708"/>
                <a:gd name="T39" fmla="*/ 164 h 448"/>
                <a:gd name="T40" fmla="*/ 466 w 1708"/>
                <a:gd name="T41" fmla="*/ 185 h 448"/>
                <a:gd name="T42" fmla="*/ 450 w 1708"/>
                <a:gd name="T43" fmla="*/ 217 h 448"/>
                <a:gd name="T44" fmla="*/ 446 w 1708"/>
                <a:gd name="T45" fmla="*/ 243 h 448"/>
                <a:gd name="T46" fmla="*/ 442 w 1708"/>
                <a:gd name="T47" fmla="*/ 274 h 448"/>
                <a:gd name="T48" fmla="*/ 420 w 1708"/>
                <a:gd name="T49" fmla="*/ 333 h 448"/>
                <a:gd name="T50" fmla="*/ 334 w 1708"/>
                <a:gd name="T51" fmla="*/ 420 h 448"/>
                <a:gd name="T52" fmla="*/ 224 w 1708"/>
                <a:gd name="T53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08" h="448">
                  <a:moveTo>
                    <a:pt x="224" y="448"/>
                  </a:moveTo>
                  <a:cubicBezTo>
                    <a:pt x="100" y="448"/>
                    <a:pt x="0" y="348"/>
                    <a:pt x="0" y="224"/>
                  </a:cubicBezTo>
                  <a:cubicBezTo>
                    <a:pt x="0" y="101"/>
                    <a:pt x="100" y="0"/>
                    <a:pt x="224" y="0"/>
                  </a:cubicBezTo>
                  <a:cubicBezTo>
                    <a:pt x="224" y="48"/>
                    <a:pt x="224" y="48"/>
                    <a:pt x="224" y="48"/>
                  </a:cubicBezTo>
                  <a:cubicBezTo>
                    <a:pt x="127" y="48"/>
                    <a:pt x="48" y="127"/>
                    <a:pt x="48" y="224"/>
                  </a:cubicBezTo>
                  <a:cubicBezTo>
                    <a:pt x="48" y="322"/>
                    <a:pt x="127" y="400"/>
                    <a:pt x="224" y="400"/>
                  </a:cubicBezTo>
                  <a:cubicBezTo>
                    <a:pt x="254" y="400"/>
                    <a:pt x="284" y="393"/>
                    <a:pt x="310" y="378"/>
                  </a:cubicBezTo>
                  <a:cubicBezTo>
                    <a:pt x="339" y="362"/>
                    <a:pt x="362" y="338"/>
                    <a:pt x="378" y="310"/>
                  </a:cubicBezTo>
                  <a:cubicBezTo>
                    <a:pt x="386" y="295"/>
                    <a:pt x="392" y="280"/>
                    <a:pt x="395" y="264"/>
                  </a:cubicBezTo>
                  <a:cubicBezTo>
                    <a:pt x="397" y="256"/>
                    <a:pt x="398" y="248"/>
                    <a:pt x="398" y="239"/>
                  </a:cubicBezTo>
                  <a:cubicBezTo>
                    <a:pt x="399" y="228"/>
                    <a:pt x="400" y="216"/>
                    <a:pt x="404" y="204"/>
                  </a:cubicBezTo>
                  <a:cubicBezTo>
                    <a:pt x="409" y="185"/>
                    <a:pt x="417" y="169"/>
                    <a:pt x="428" y="155"/>
                  </a:cubicBezTo>
                  <a:cubicBezTo>
                    <a:pt x="437" y="144"/>
                    <a:pt x="462" y="116"/>
                    <a:pt x="495" y="116"/>
                  </a:cubicBezTo>
                  <a:cubicBezTo>
                    <a:pt x="495" y="116"/>
                    <a:pt x="495" y="116"/>
                    <a:pt x="495" y="116"/>
                  </a:cubicBezTo>
                  <a:cubicBezTo>
                    <a:pt x="502" y="116"/>
                    <a:pt x="1263" y="116"/>
                    <a:pt x="1463" y="116"/>
                  </a:cubicBezTo>
                  <a:cubicBezTo>
                    <a:pt x="1708" y="116"/>
                    <a:pt x="1708" y="116"/>
                    <a:pt x="1708" y="116"/>
                  </a:cubicBezTo>
                  <a:cubicBezTo>
                    <a:pt x="1708" y="164"/>
                    <a:pt x="1708" y="164"/>
                    <a:pt x="1708" y="164"/>
                  </a:cubicBezTo>
                  <a:cubicBezTo>
                    <a:pt x="1463" y="164"/>
                    <a:pt x="1463" y="164"/>
                    <a:pt x="1463" y="164"/>
                  </a:cubicBezTo>
                  <a:cubicBezTo>
                    <a:pt x="1263" y="164"/>
                    <a:pt x="502" y="164"/>
                    <a:pt x="495" y="164"/>
                  </a:cubicBezTo>
                  <a:cubicBezTo>
                    <a:pt x="495" y="164"/>
                    <a:pt x="495" y="164"/>
                    <a:pt x="495" y="164"/>
                  </a:cubicBezTo>
                  <a:cubicBezTo>
                    <a:pt x="487" y="164"/>
                    <a:pt x="475" y="173"/>
                    <a:pt x="466" y="185"/>
                  </a:cubicBezTo>
                  <a:cubicBezTo>
                    <a:pt x="459" y="194"/>
                    <a:pt x="453" y="205"/>
                    <a:pt x="450" y="217"/>
                  </a:cubicBezTo>
                  <a:cubicBezTo>
                    <a:pt x="448" y="224"/>
                    <a:pt x="447" y="233"/>
                    <a:pt x="446" y="243"/>
                  </a:cubicBezTo>
                  <a:cubicBezTo>
                    <a:pt x="446" y="253"/>
                    <a:pt x="445" y="264"/>
                    <a:pt x="442" y="274"/>
                  </a:cubicBezTo>
                  <a:cubicBezTo>
                    <a:pt x="438" y="295"/>
                    <a:pt x="430" y="315"/>
                    <a:pt x="420" y="333"/>
                  </a:cubicBezTo>
                  <a:cubicBezTo>
                    <a:pt x="400" y="369"/>
                    <a:pt x="370" y="399"/>
                    <a:pt x="334" y="420"/>
                  </a:cubicBezTo>
                  <a:cubicBezTo>
                    <a:pt x="300" y="439"/>
                    <a:pt x="262" y="448"/>
                    <a:pt x="224" y="44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AE334CB0-9EA2-ADC9-ABE0-FDCA16CDC47A}"/>
              </a:ext>
            </a:extLst>
          </p:cNvPr>
          <p:cNvGrpSpPr/>
          <p:nvPr/>
        </p:nvGrpSpPr>
        <p:grpSpPr>
          <a:xfrm rot="18171162">
            <a:off x="2555155" y="6095868"/>
            <a:ext cx="921980" cy="911542"/>
            <a:chOff x="2762173" y="2407335"/>
            <a:chExt cx="1760019" cy="1740094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5400F982-63E3-1218-9CD7-4F6C4883E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173" y="3241436"/>
              <a:ext cx="1753088" cy="905993"/>
            </a:xfrm>
            <a:custGeom>
              <a:avLst/>
              <a:gdLst>
                <a:gd name="T0" fmla="*/ 470 w 1012"/>
                <a:gd name="T1" fmla="*/ 0 h 523"/>
                <a:gd name="T2" fmla="*/ 0 w 1012"/>
                <a:gd name="T3" fmla="*/ 171 h 523"/>
                <a:gd name="T4" fmla="*/ 1012 w 1012"/>
                <a:gd name="T5" fmla="*/ 523 h 523"/>
                <a:gd name="T6" fmla="*/ 470 w 1012"/>
                <a:gd name="T7" fmla="*/ 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12" h="523">
                  <a:moveTo>
                    <a:pt x="470" y="0"/>
                  </a:moveTo>
                  <a:lnTo>
                    <a:pt x="0" y="171"/>
                  </a:lnTo>
                  <a:lnTo>
                    <a:pt x="1012" y="523"/>
                  </a:lnTo>
                  <a:lnTo>
                    <a:pt x="470" y="0"/>
                  </a:lnTo>
                  <a:close/>
                </a:path>
              </a:pathLst>
            </a:custGeom>
            <a:solidFill>
              <a:srgbClr val="A16D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93AE6DC4-128C-97A1-D759-48868208A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7144" y="2407335"/>
              <a:ext cx="925048" cy="1709780"/>
            </a:xfrm>
            <a:custGeom>
              <a:avLst/>
              <a:gdLst>
                <a:gd name="T0" fmla="*/ 120 w 534"/>
                <a:gd name="T1" fmla="*/ 0 h 987"/>
                <a:gd name="T2" fmla="*/ 0 w 534"/>
                <a:gd name="T3" fmla="*/ 472 h 987"/>
                <a:gd name="T4" fmla="*/ 534 w 534"/>
                <a:gd name="T5" fmla="*/ 987 h 987"/>
                <a:gd name="T6" fmla="*/ 120 w 534"/>
                <a:gd name="T7" fmla="*/ 0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4" h="987">
                  <a:moveTo>
                    <a:pt x="120" y="0"/>
                  </a:moveTo>
                  <a:lnTo>
                    <a:pt x="0" y="472"/>
                  </a:lnTo>
                  <a:lnTo>
                    <a:pt x="534" y="987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rgbClr val="A16D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726CDD0A-BCD7-D74B-F631-E3CB713E7FC1}"/>
              </a:ext>
            </a:extLst>
          </p:cNvPr>
          <p:cNvGrpSpPr/>
          <p:nvPr/>
        </p:nvGrpSpPr>
        <p:grpSpPr>
          <a:xfrm>
            <a:off x="7730065" y="-1746752"/>
            <a:ext cx="3838048" cy="9322339"/>
            <a:chOff x="7730065" y="-1746752"/>
            <a:chExt cx="3838048" cy="9322339"/>
          </a:xfrm>
        </p:grpSpPr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id="{FC1FD546-7C4C-E2B4-C6F2-A7C3BA0FD2C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730065" y="641060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AC4B6134-C216-C3FE-63DA-1DADEEBB046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7730065" y="3028872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DC92A272-EEA5-F16D-AF2A-45E057678F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7730065" y="5416685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27" name="Рисунок 26">
              <a:extLst>
                <a:ext uri="{FF2B5EF4-FFF2-40B4-BE49-F238E27FC236}">
                  <a16:creationId xmlns:a16="http://schemas.microsoft.com/office/drawing/2014/main" id="{6D10A602-2B4A-5BAD-DCFE-23B1D41E26D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>
              <a:off x="7730065" y="-1746752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F620EBD7-F713-AF2C-5C15-507E1F922FEB}"/>
              </a:ext>
            </a:extLst>
          </p:cNvPr>
          <p:cNvGrpSpPr/>
          <p:nvPr/>
        </p:nvGrpSpPr>
        <p:grpSpPr>
          <a:xfrm>
            <a:off x="9106394" y="16493480"/>
            <a:ext cx="6144956" cy="7910683"/>
            <a:chOff x="6888194" y="-863062"/>
            <a:chExt cx="8363156" cy="10766274"/>
          </a:xfrm>
        </p:grpSpPr>
        <p:pic>
          <p:nvPicPr>
            <p:cNvPr id="30" name="Рисунок 29">
              <a:extLst>
                <a:ext uri="{FF2B5EF4-FFF2-40B4-BE49-F238E27FC236}">
                  <a16:creationId xmlns:a16="http://schemas.microsoft.com/office/drawing/2014/main" id="{AF6AFBB3-5F26-91A6-1859-6A0D0D4FDC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19749806">
              <a:off x="6888194" y="-863062"/>
              <a:ext cx="2603887" cy="3763317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31" name="Рисунок 30">
              <a:extLst>
                <a:ext uri="{FF2B5EF4-FFF2-40B4-BE49-F238E27FC236}">
                  <a16:creationId xmlns:a16="http://schemas.microsoft.com/office/drawing/2014/main" id="{6A000429-ABC6-4742-1A0F-50AB5244A0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rcRect/>
            <a:stretch/>
          </p:blipFill>
          <p:spPr>
            <a:xfrm rot="19749806">
              <a:off x="10565051" y="-404594"/>
              <a:ext cx="2603887" cy="3763317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D60FB69B-603F-90E3-9481-4E75A317C3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rcRect/>
            <a:stretch/>
          </p:blipFill>
          <p:spPr>
            <a:xfrm rot="19749806">
              <a:off x="9000684" y="2648892"/>
              <a:ext cx="2603887" cy="3763317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DAC17D0D-2951-31FD-8BD2-609F0CE065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rcRect/>
            <a:stretch/>
          </p:blipFill>
          <p:spPr>
            <a:xfrm rot="19749806">
              <a:off x="12647463" y="3107359"/>
              <a:ext cx="2603887" cy="3763317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id="{2709570C-A72A-CEA9-31D1-5860230997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rcRect/>
            <a:stretch/>
          </p:blipFill>
          <p:spPr>
            <a:xfrm rot="19749806">
              <a:off x="11053020" y="6139895"/>
              <a:ext cx="2603887" cy="3763317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2045825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1FBEB3D6-A354-41BE-8FB3-FEFEEB6FDC44}"/>
              </a:ext>
            </a:extLst>
          </p:cNvPr>
          <p:cNvSpPr/>
          <p:nvPr/>
        </p:nvSpPr>
        <p:spPr>
          <a:xfrm>
            <a:off x="587375" y="1151014"/>
            <a:ext cx="5363974" cy="1074119"/>
          </a:xfrm>
          <a:prstGeom prst="roundRect">
            <a:avLst/>
          </a:prstGeom>
          <a:gradFill>
            <a:gsLst>
              <a:gs pos="100000">
                <a:srgbClr val="C0DCFD">
                  <a:alpha val="0"/>
                </a:srgbClr>
              </a:gs>
              <a:gs pos="0">
                <a:srgbClr val="C0DCFD"/>
              </a:gs>
            </a:gsLst>
            <a:lin ang="16200000" scaled="1"/>
          </a:gradFill>
          <a:ln>
            <a:solidFill>
              <a:srgbClr val="620CFD">
                <a:alpha val="1388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4942BF1-A8E0-D942-0A4F-BDD68530D0FF}"/>
              </a:ext>
            </a:extLst>
          </p:cNvPr>
          <p:cNvSpPr txBox="1"/>
          <p:nvPr/>
        </p:nvSpPr>
        <p:spPr>
          <a:xfrm>
            <a:off x="753202" y="1336182"/>
            <a:ext cx="5198147" cy="7037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 Blon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какие презентации </a:t>
            </a:r>
            <a:br>
              <a:rPr lang="ru-RU" dirty="0">
                <a:latin typeface="Unbounded Blon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dirty="0">
                <a:latin typeface="Unbounded Blon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елают ставку компании сегодня</a:t>
            </a:r>
            <a:endParaRPr lang="ru-RU" sz="1600" dirty="0">
              <a:effectLst/>
              <a:latin typeface="Unbounded Blon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6BC2A07-5AA6-9AB0-A7BC-EFA5184DDC5E}"/>
              </a:ext>
            </a:extLst>
          </p:cNvPr>
          <p:cNvSpPr txBox="1"/>
          <p:nvPr/>
        </p:nvSpPr>
        <p:spPr>
          <a:xfrm>
            <a:off x="457778" y="2493722"/>
            <a:ext cx="7162222" cy="1724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ММЕРЧЕСКИЕ</a:t>
            </a:r>
            <a:br>
              <a:rPr lang="ru-RU" sz="48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48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ДЛОЖЕНИЯ</a:t>
            </a:r>
            <a:endParaRPr lang="ru-RU" sz="4400" b="1" dirty="0"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4B9DD4-0140-27E1-2607-8DE5832D01A0}"/>
              </a:ext>
            </a:extLst>
          </p:cNvPr>
          <p:cNvSpPr txBox="1"/>
          <p:nvPr/>
        </p:nvSpPr>
        <p:spPr>
          <a:xfrm>
            <a:off x="485074" y="4256812"/>
            <a:ext cx="60960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>
                <a:latin typeface="Unbounded Blond" panose="020B0305040102020103" pitchFamily="34" charset="0"/>
                <a:cs typeface="Times New Roman" panose="02020603050405020304" pitchFamily="18" charset="0"/>
              </a:rPr>
              <a:t>Клиентский сервис. Персональный подход. </a:t>
            </a:r>
            <a:r>
              <a:rPr lang="ru-RU" sz="2400" b="1" dirty="0" err="1">
                <a:latin typeface="Unbounded Blond" panose="020B0305040102020103" pitchFamily="34" charset="0"/>
                <a:cs typeface="Times New Roman" panose="02020603050405020304" pitchFamily="18" charset="0"/>
              </a:rPr>
              <a:t>Клиентоцентричность</a:t>
            </a:r>
            <a:br>
              <a:rPr lang="ru-RU" sz="2400" b="1" dirty="0">
                <a:latin typeface="Unbounded Blond" panose="020B0305040102020103" pitchFamily="34" charset="0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620CFD"/>
                </a:solidFill>
                <a:latin typeface="Unbounded Blond" panose="020B0305040102020103" pitchFamily="34" charset="0"/>
                <a:cs typeface="Times New Roman" panose="02020603050405020304" pitchFamily="18" charset="0"/>
              </a:rPr>
              <a:t>— современные </a:t>
            </a:r>
            <a:r>
              <a:rPr lang="ru-RU" sz="2400" b="1" dirty="0" err="1">
                <a:solidFill>
                  <a:srgbClr val="620CFD"/>
                </a:solidFill>
                <a:latin typeface="Unbounded Blond" panose="020B0305040102020103" pitchFamily="34" charset="0"/>
                <a:cs typeface="Times New Roman" panose="02020603050405020304" pitchFamily="18" charset="0"/>
              </a:rPr>
              <a:t>тендеции</a:t>
            </a:r>
            <a:endParaRPr lang="ru-RU" sz="2400" b="1" dirty="0">
              <a:solidFill>
                <a:srgbClr val="620CFD"/>
              </a:solidFill>
              <a:latin typeface="Unbounded Blond" panose="020B0305040102020103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420A30C4-4A18-4144-5CE9-0A7EBC42987D}"/>
              </a:ext>
            </a:extLst>
          </p:cNvPr>
          <p:cNvGrpSpPr/>
          <p:nvPr/>
        </p:nvGrpSpPr>
        <p:grpSpPr>
          <a:xfrm rot="21109339">
            <a:off x="1841481" y="5062465"/>
            <a:ext cx="12188825" cy="4519613"/>
            <a:chOff x="0" y="1755775"/>
            <a:chExt cx="12188825" cy="4519613"/>
          </a:xfrm>
          <a:solidFill>
            <a:srgbClr val="620CFD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AB56CD7A-2CB1-0661-3755-DE5E472A9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755775"/>
              <a:ext cx="6181725" cy="1624013"/>
            </a:xfrm>
            <a:custGeom>
              <a:avLst/>
              <a:gdLst>
                <a:gd name="T0" fmla="*/ 1484 w 1708"/>
                <a:gd name="T1" fmla="*/ 448 h 448"/>
                <a:gd name="T2" fmla="*/ 1484 w 1708"/>
                <a:gd name="T3" fmla="*/ 400 h 448"/>
                <a:gd name="T4" fmla="*/ 1660 w 1708"/>
                <a:gd name="T5" fmla="*/ 224 h 448"/>
                <a:gd name="T6" fmla="*/ 1484 w 1708"/>
                <a:gd name="T7" fmla="*/ 48 h 448"/>
                <a:gd name="T8" fmla="*/ 1398 w 1708"/>
                <a:gd name="T9" fmla="*/ 70 h 448"/>
                <a:gd name="T10" fmla="*/ 1330 w 1708"/>
                <a:gd name="T11" fmla="*/ 138 h 448"/>
                <a:gd name="T12" fmla="*/ 1312 w 1708"/>
                <a:gd name="T13" fmla="*/ 184 h 448"/>
                <a:gd name="T14" fmla="*/ 1309 w 1708"/>
                <a:gd name="T15" fmla="*/ 209 h 448"/>
                <a:gd name="T16" fmla="*/ 1304 w 1708"/>
                <a:gd name="T17" fmla="*/ 244 h 448"/>
                <a:gd name="T18" fmla="*/ 1280 w 1708"/>
                <a:gd name="T19" fmla="*/ 293 h 448"/>
                <a:gd name="T20" fmla="*/ 1213 w 1708"/>
                <a:gd name="T21" fmla="*/ 332 h 448"/>
                <a:gd name="T22" fmla="*/ 1213 w 1708"/>
                <a:gd name="T23" fmla="*/ 332 h 448"/>
                <a:gd name="T24" fmla="*/ 0 w 1708"/>
                <a:gd name="T25" fmla="*/ 332 h 448"/>
                <a:gd name="T26" fmla="*/ 0 w 1708"/>
                <a:gd name="T27" fmla="*/ 284 h 448"/>
                <a:gd name="T28" fmla="*/ 1213 w 1708"/>
                <a:gd name="T29" fmla="*/ 284 h 448"/>
                <a:gd name="T30" fmla="*/ 1213 w 1708"/>
                <a:gd name="T31" fmla="*/ 284 h 448"/>
                <a:gd name="T32" fmla="*/ 1242 w 1708"/>
                <a:gd name="T33" fmla="*/ 263 h 448"/>
                <a:gd name="T34" fmla="*/ 1258 w 1708"/>
                <a:gd name="T35" fmla="*/ 231 h 448"/>
                <a:gd name="T36" fmla="*/ 1261 w 1708"/>
                <a:gd name="T37" fmla="*/ 205 h 448"/>
                <a:gd name="T38" fmla="*/ 1266 w 1708"/>
                <a:gd name="T39" fmla="*/ 174 h 448"/>
                <a:gd name="T40" fmla="*/ 1288 w 1708"/>
                <a:gd name="T41" fmla="*/ 115 h 448"/>
                <a:gd name="T42" fmla="*/ 1374 w 1708"/>
                <a:gd name="T43" fmla="*/ 28 h 448"/>
                <a:gd name="T44" fmla="*/ 1484 w 1708"/>
                <a:gd name="T45" fmla="*/ 0 h 448"/>
                <a:gd name="T46" fmla="*/ 1708 w 1708"/>
                <a:gd name="T47" fmla="*/ 224 h 448"/>
                <a:gd name="T48" fmla="*/ 1484 w 1708"/>
                <a:gd name="T49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08" h="448">
                  <a:moveTo>
                    <a:pt x="1484" y="448"/>
                  </a:moveTo>
                  <a:cubicBezTo>
                    <a:pt x="1484" y="400"/>
                    <a:pt x="1484" y="400"/>
                    <a:pt x="1484" y="400"/>
                  </a:cubicBezTo>
                  <a:cubicBezTo>
                    <a:pt x="1581" y="400"/>
                    <a:pt x="1660" y="321"/>
                    <a:pt x="1660" y="224"/>
                  </a:cubicBezTo>
                  <a:cubicBezTo>
                    <a:pt x="1660" y="126"/>
                    <a:pt x="1581" y="48"/>
                    <a:pt x="1484" y="48"/>
                  </a:cubicBezTo>
                  <a:cubicBezTo>
                    <a:pt x="1454" y="48"/>
                    <a:pt x="1424" y="55"/>
                    <a:pt x="1398" y="70"/>
                  </a:cubicBezTo>
                  <a:cubicBezTo>
                    <a:pt x="1369" y="86"/>
                    <a:pt x="1346" y="110"/>
                    <a:pt x="1330" y="138"/>
                  </a:cubicBezTo>
                  <a:cubicBezTo>
                    <a:pt x="1322" y="153"/>
                    <a:pt x="1316" y="168"/>
                    <a:pt x="1312" y="184"/>
                  </a:cubicBezTo>
                  <a:cubicBezTo>
                    <a:pt x="1311" y="192"/>
                    <a:pt x="1310" y="200"/>
                    <a:pt x="1309" y="209"/>
                  </a:cubicBezTo>
                  <a:cubicBezTo>
                    <a:pt x="1308" y="220"/>
                    <a:pt x="1307" y="232"/>
                    <a:pt x="1304" y="244"/>
                  </a:cubicBezTo>
                  <a:cubicBezTo>
                    <a:pt x="1299" y="263"/>
                    <a:pt x="1291" y="279"/>
                    <a:pt x="1280" y="293"/>
                  </a:cubicBezTo>
                  <a:cubicBezTo>
                    <a:pt x="1271" y="304"/>
                    <a:pt x="1246" y="332"/>
                    <a:pt x="1213" y="332"/>
                  </a:cubicBezTo>
                  <a:cubicBezTo>
                    <a:pt x="1213" y="332"/>
                    <a:pt x="1213" y="332"/>
                    <a:pt x="1213" y="332"/>
                  </a:cubicBezTo>
                  <a:cubicBezTo>
                    <a:pt x="0" y="332"/>
                    <a:pt x="0" y="332"/>
                    <a:pt x="0" y="332"/>
                  </a:cubicBezTo>
                  <a:cubicBezTo>
                    <a:pt x="0" y="284"/>
                    <a:pt x="0" y="284"/>
                    <a:pt x="0" y="284"/>
                  </a:cubicBezTo>
                  <a:cubicBezTo>
                    <a:pt x="1213" y="284"/>
                    <a:pt x="1213" y="284"/>
                    <a:pt x="1213" y="284"/>
                  </a:cubicBezTo>
                  <a:cubicBezTo>
                    <a:pt x="1213" y="284"/>
                    <a:pt x="1213" y="284"/>
                    <a:pt x="1213" y="284"/>
                  </a:cubicBezTo>
                  <a:cubicBezTo>
                    <a:pt x="1221" y="284"/>
                    <a:pt x="1233" y="275"/>
                    <a:pt x="1242" y="263"/>
                  </a:cubicBezTo>
                  <a:cubicBezTo>
                    <a:pt x="1249" y="254"/>
                    <a:pt x="1254" y="243"/>
                    <a:pt x="1258" y="231"/>
                  </a:cubicBezTo>
                  <a:cubicBezTo>
                    <a:pt x="1260" y="224"/>
                    <a:pt x="1261" y="215"/>
                    <a:pt x="1261" y="205"/>
                  </a:cubicBezTo>
                  <a:cubicBezTo>
                    <a:pt x="1262" y="195"/>
                    <a:pt x="1263" y="184"/>
                    <a:pt x="1266" y="174"/>
                  </a:cubicBezTo>
                  <a:cubicBezTo>
                    <a:pt x="1270" y="153"/>
                    <a:pt x="1278" y="133"/>
                    <a:pt x="1288" y="115"/>
                  </a:cubicBezTo>
                  <a:cubicBezTo>
                    <a:pt x="1308" y="79"/>
                    <a:pt x="1338" y="49"/>
                    <a:pt x="1374" y="28"/>
                  </a:cubicBezTo>
                  <a:cubicBezTo>
                    <a:pt x="1407" y="9"/>
                    <a:pt x="1445" y="0"/>
                    <a:pt x="1484" y="0"/>
                  </a:cubicBezTo>
                  <a:cubicBezTo>
                    <a:pt x="1607" y="0"/>
                    <a:pt x="1708" y="100"/>
                    <a:pt x="1708" y="224"/>
                  </a:cubicBezTo>
                  <a:cubicBezTo>
                    <a:pt x="1708" y="347"/>
                    <a:pt x="1607" y="448"/>
                    <a:pt x="1484" y="44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CFD8B829-A00A-C9AC-90FF-CEED21166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300" y="3205163"/>
              <a:ext cx="1622425" cy="1624013"/>
            </a:xfrm>
            <a:custGeom>
              <a:avLst/>
              <a:gdLst>
                <a:gd name="T0" fmla="*/ 224 w 448"/>
                <a:gd name="T1" fmla="*/ 448 h 448"/>
                <a:gd name="T2" fmla="*/ 0 w 448"/>
                <a:gd name="T3" fmla="*/ 224 h 448"/>
                <a:gd name="T4" fmla="*/ 224 w 448"/>
                <a:gd name="T5" fmla="*/ 0 h 448"/>
                <a:gd name="T6" fmla="*/ 224 w 448"/>
                <a:gd name="T7" fmla="*/ 48 h 448"/>
                <a:gd name="T8" fmla="*/ 48 w 448"/>
                <a:gd name="T9" fmla="*/ 224 h 448"/>
                <a:gd name="T10" fmla="*/ 224 w 448"/>
                <a:gd name="T11" fmla="*/ 400 h 448"/>
                <a:gd name="T12" fmla="*/ 400 w 448"/>
                <a:gd name="T13" fmla="*/ 224 h 448"/>
                <a:gd name="T14" fmla="*/ 448 w 448"/>
                <a:gd name="T15" fmla="*/ 224 h 448"/>
                <a:gd name="T16" fmla="*/ 224 w 448"/>
                <a:gd name="T17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448">
                  <a:moveTo>
                    <a:pt x="224" y="448"/>
                  </a:moveTo>
                  <a:cubicBezTo>
                    <a:pt x="100" y="448"/>
                    <a:pt x="0" y="347"/>
                    <a:pt x="0" y="224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224" y="48"/>
                    <a:pt x="224" y="48"/>
                    <a:pt x="224" y="48"/>
                  </a:cubicBezTo>
                  <a:cubicBezTo>
                    <a:pt x="127" y="48"/>
                    <a:pt x="48" y="126"/>
                    <a:pt x="48" y="224"/>
                  </a:cubicBezTo>
                  <a:cubicBezTo>
                    <a:pt x="48" y="321"/>
                    <a:pt x="127" y="400"/>
                    <a:pt x="224" y="400"/>
                  </a:cubicBezTo>
                  <a:cubicBezTo>
                    <a:pt x="321" y="400"/>
                    <a:pt x="400" y="321"/>
                    <a:pt x="400" y="22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48" y="347"/>
                    <a:pt x="347" y="448"/>
                    <a:pt x="224" y="44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FD943A83-3328-D70D-0669-89C1B632E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100" y="3205163"/>
              <a:ext cx="1620838" cy="1624013"/>
            </a:xfrm>
            <a:custGeom>
              <a:avLst/>
              <a:gdLst>
                <a:gd name="T0" fmla="*/ 224 w 448"/>
                <a:gd name="T1" fmla="*/ 448 h 448"/>
                <a:gd name="T2" fmla="*/ 224 w 448"/>
                <a:gd name="T3" fmla="*/ 400 h 448"/>
                <a:gd name="T4" fmla="*/ 400 w 448"/>
                <a:gd name="T5" fmla="*/ 224 h 448"/>
                <a:gd name="T6" fmla="*/ 224 w 448"/>
                <a:gd name="T7" fmla="*/ 48 h 448"/>
                <a:gd name="T8" fmla="*/ 48 w 448"/>
                <a:gd name="T9" fmla="*/ 224 h 448"/>
                <a:gd name="T10" fmla="*/ 0 w 448"/>
                <a:gd name="T11" fmla="*/ 224 h 448"/>
                <a:gd name="T12" fmla="*/ 224 w 448"/>
                <a:gd name="T13" fmla="*/ 0 h 448"/>
                <a:gd name="T14" fmla="*/ 448 w 448"/>
                <a:gd name="T15" fmla="*/ 224 h 448"/>
                <a:gd name="T16" fmla="*/ 224 w 448"/>
                <a:gd name="T17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448">
                  <a:moveTo>
                    <a:pt x="224" y="448"/>
                  </a:moveTo>
                  <a:cubicBezTo>
                    <a:pt x="224" y="400"/>
                    <a:pt x="224" y="400"/>
                    <a:pt x="224" y="400"/>
                  </a:cubicBezTo>
                  <a:cubicBezTo>
                    <a:pt x="321" y="400"/>
                    <a:pt x="400" y="321"/>
                    <a:pt x="400" y="224"/>
                  </a:cubicBezTo>
                  <a:cubicBezTo>
                    <a:pt x="400" y="126"/>
                    <a:pt x="321" y="48"/>
                    <a:pt x="224" y="48"/>
                  </a:cubicBezTo>
                  <a:cubicBezTo>
                    <a:pt x="127" y="48"/>
                    <a:pt x="48" y="126"/>
                    <a:pt x="48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347" y="0"/>
                    <a:pt x="448" y="100"/>
                    <a:pt x="448" y="224"/>
                  </a:cubicBezTo>
                  <a:cubicBezTo>
                    <a:pt x="448" y="347"/>
                    <a:pt x="347" y="448"/>
                    <a:pt x="224" y="44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ED262B86-175C-9569-2847-1EBA85ECB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100" y="4651375"/>
              <a:ext cx="6181725" cy="1624013"/>
            </a:xfrm>
            <a:custGeom>
              <a:avLst/>
              <a:gdLst>
                <a:gd name="T0" fmla="*/ 224 w 1708"/>
                <a:gd name="T1" fmla="*/ 448 h 448"/>
                <a:gd name="T2" fmla="*/ 0 w 1708"/>
                <a:gd name="T3" fmla="*/ 224 h 448"/>
                <a:gd name="T4" fmla="*/ 224 w 1708"/>
                <a:gd name="T5" fmla="*/ 0 h 448"/>
                <a:gd name="T6" fmla="*/ 224 w 1708"/>
                <a:gd name="T7" fmla="*/ 48 h 448"/>
                <a:gd name="T8" fmla="*/ 48 w 1708"/>
                <a:gd name="T9" fmla="*/ 224 h 448"/>
                <a:gd name="T10" fmla="*/ 224 w 1708"/>
                <a:gd name="T11" fmla="*/ 400 h 448"/>
                <a:gd name="T12" fmla="*/ 310 w 1708"/>
                <a:gd name="T13" fmla="*/ 378 h 448"/>
                <a:gd name="T14" fmla="*/ 378 w 1708"/>
                <a:gd name="T15" fmla="*/ 310 h 448"/>
                <a:gd name="T16" fmla="*/ 395 w 1708"/>
                <a:gd name="T17" fmla="*/ 264 h 448"/>
                <a:gd name="T18" fmla="*/ 398 w 1708"/>
                <a:gd name="T19" fmla="*/ 239 h 448"/>
                <a:gd name="T20" fmla="*/ 404 w 1708"/>
                <a:gd name="T21" fmla="*/ 204 h 448"/>
                <a:gd name="T22" fmla="*/ 428 w 1708"/>
                <a:gd name="T23" fmla="*/ 155 h 448"/>
                <a:gd name="T24" fmla="*/ 495 w 1708"/>
                <a:gd name="T25" fmla="*/ 116 h 448"/>
                <a:gd name="T26" fmla="*/ 495 w 1708"/>
                <a:gd name="T27" fmla="*/ 116 h 448"/>
                <a:gd name="T28" fmla="*/ 1463 w 1708"/>
                <a:gd name="T29" fmla="*/ 116 h 448"/>
                <a:gd name="T30" fmla="*/ 1708 w 1708"/>
                <a:gd name="T31" fmla="*/ 116 h 448"/>
                <a:gd name="T32" fmla="*/ 1708 w 1708"/>
                <a:gd name="T33" fmla="*/ 164 h 448"/>
                <a:gd name="T34" fmla="*/ 1463 w 1708"/>
                <a:gd name="T35" fmla="*/ 164 h 448"/>
                <a:gd name="T36" fmla="*/ 495 w 1708"/>
                <a:gd name="T37" fmla="*/ 164 h 448"/>
                <a:gd name="T38" fmla="*/ 495 w 1708"/>
                <a:gd name="T39" fmla="*/ 164 h 448"/>
                <a:gd name="T40" fmla="*/ 466 w 1708"/>
                <a:gd name="T41" fmla="*/ 185 h 448"/>
                <a:gd name="T42" fmla="*/ 450 w 1708"/>
                <a:gd name="T43" fmla="*/ 217 h 448"/>
                <a:gd name="T44" fmla="*/ 446 w 1708"/>
                <a:gd name="T45" fmla="*/ 243 h 448"/>
                <a:gd name="T46" fmla="*/ 442 w 1708"/>
                <a:gd name="T47" fmla="*/ 274 h 448"/>
                <a:gd name="T48" fmla="*/ 420 w 1708"/>
                <a:gd name="T49" fmla="*/ 333 h 448"/>
                <a:gd name="T50" fmla="*/ 334 w 1708"/>
                <a:gd name="T51" fmla="*/ 420 h 448"/>
                <a:gd name="T52" fmla="*/ 224 w 1708"/>
                <a:gd name="T53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08" h="448">
                  <a:moveTo>
                    <a:pt x="224" y="448"/>
                  </a:moveTo>
                  <a:cubicBezTo>
                    <a:pt x="100" y="448"/>
                    <a:pt x="0" y="348"/>
                    <a:pt x="0" y="224"/>
                  </a:cubicBezTo>
                  <a:cubicBezTo>
                    <a:pt x="0" y="101"/>
                    <a:pt x="100" y="0"/>
                    <a:pt x="224" y="0"/>
                  </a:cubicBezTo>
                  <a:cubicBezTo>
                    <a:pt x="224" y="48"/>
                    <a:pt x="224" y="48"/>
                    <a:pt x="224" y="48"/>
                  </a:cubicBezTo>
                  <a:cubicBezTo>
                    <a:pt x="127" y="48"/>
                    <a:pt x="48" y="127"/>
                    <a:pt x="48" y="224"/>
                  </a:cubicBezTo>
                  <a:cubicBezTo>
                    <a:pt x="48" y="322"/>
                    <a:pt x="127" y="400"/>
                    <a:pt x="224" y="400"/>
                  </a:cubicBezTo>
                  <a:cubicBezTo>
                    <a:pt x="254" y="400"/>
                    <a:pt x="284" y="393"/>
                    <a:pt x="310" y="378"/>
                  </a:cubicBezTo>
                  <a:cubicBezTo>
                    <a:pt x="339" y="362"/>
                    <a:pt x="362" y="338"/>
                    <a:pt x="378" y="310"/>
                  </a:cubicBezTo>
                  <a:cubicBezTo>
                    <a:pt x="386" y="295"/>
                    <a:pt x="392" y="280"/>
                    <a:pt x="395" y="264"/>
                  </a:cubicBezTo>
                  <a:cubicBezTo>
                    <a:pt x="397" y="256"/>
                    <a:pt x="398" y="248"/>
                    <a:pt x="398" y="239"/>
                  </a:cubicBezTo>
                  <a:cubicBezTo>
                    <a:pt x="399" y="228"/>
                    <a:pt x="400" y="216"/>
                    <a:pt x="404" y="204"/>
                  </a:cubicBezTo>
                  <a:cubicBezTo>
                    <a:pt x="409" y="185"/>
                    <a:pt x="417" y="169"/>
                    <a:pt x="428" y="155"/>
                  </a:cubicBezTo>
                  <a:cubicBezTo>
                    <a:pt x="437" y="144"/>
                    <a:pt x="462" y="116"/>
                    <a:pt x="495" y="116"/>
                  </a:cubicBezTo>
                  <a:cubicBezTo>
                    <a:pt x="495" y="116"/>
                    <a:pt x="495" y="116"/>
                    <a:pt x="495" y="116"/>
                  </a:cubicBezTo>
                  <a:cubicBezTo>
                    <a:pt x="502" y="116"/>
                    <a:pt x="1263" y="116"/>
                    <a:pt x="1463" y="116"/>
                  </a:cubicBezTo>
                  <a:cubicBezTo>
                    <a:pt x="1708" y="116"/>
                    <a:pt x="1708" y="116"/>
                    <a:pt x="1708" y="116"/>
                  </a:cubicBezTo>
                  <a:cubicBezTo>
                    <a:pt x="1708" y="164"/>
                    <a:pt x="1708" y="164"/>
                    <a:pt x="1708" y="164"/>
                  </a:cubicBezTo>
                  <a:cubicBezTo>
                    <a:pt x="1463" y="164"/>
                    <a:pt x="1463" y="164"/>
                    <a:pt x="1463" y="164"/>
                  </a:cubicBezTo>
                  <a:cubicBezTo>
                    <a:pt x="1263" y="164"/>
                    <a:pt x="502" y="164"/>
                    <a:pt x="495" y="164"/>
                  </a:cubicBezTo>
                  <a:cubicBezTo>
                    <a:pt x="495" y="164"/>
                    <a:pt x="495" y="164"/>
                    <a:pt x="495" y="164"/>
                  </a:cubicBezTo>
                  <a:cubicBezTo>
                    <a:pt x="487" y="164"/>
                    <a:pt x="475" y="173"/>
                    <a:pt x="466" y="185"/>
                  </a:cubicBezTo>
                  <a:cubicBezTo>
                    <a:pt x="459" y="194"/>
                    <a:pt x="453" y="205"/>
                    <a:pt x="450" y="217"/>
                  </a:cubicBezTo>
                  <a:cubicBezTo>
                    <a:pt x="448" y="224"/>
                    <a:pt x="447" y="233"/>
                    <a:pt x="446" y="243"/>
                  </a:cubicBezTo>
                  <a:cubicBezTo>
                    <a:pt x="446" y="253"/>
                    <a:pt x="445" y="264"/>
                    <a:pt x="442" y="274"/>
                  </a:cubicBezTo>
                  <a:cubicBezTo>
                    <a:pt x="438" y="295"/>
                    <a:pt x="430" y="315"/>
                    <a:pt x="420" y="333"/>
                  </a:cubicBezTo>
                  <a:cubicBezTo>
                    <a:pt x="400" y="369"/>
                    <a:pt x="370" y="399"/>
                    <a:pt x="334" y="420"/>
                  </a:cubicBezTo>
                  <a:cubicBezTo>
                    <a:pt x="300" y="439"/>
                    <a:pt x="262" y="448"/>
                    <a:pt x="224" y="44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AE334CB0-9EA2-ADC9-ABE0-FDCA16CDC47A}"/>
              </a:ext>
            </a:extLst>
          </p:cNvPr>
          <p:cNvGrpSpPr/>
          <p:nvPr/>
        </p:nvGrpSpPr>
        <p:grpSpPr>
          <a:xfrm rot="16200000">
            <a:off x="5840124" y="5280949"/>
            <a:ext cx="921980" cy="911542"/>
            <a:chOff x="2762173" y="2407335"/>
            <a:chExt cx="1760019" cy="1740094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5400F982-63E3-1218-9CD7-4F6C4883E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173" y="3241436"/>
              <a:ext cx="1753088" cy="905993"/>
            </a:xfrm>
            <a:custGeom>
              <a:avLst/>
              <a:gdLst>
                <a:gd name="T0" fmla="*/ 470 w 1012"/>
                <a:gd name="T1" fmla="*/ 0 h 523"/>
                <a:gd name="T2" fmla="*/ 0 w 1012"/>
                <a:gd name="T3" fmla="*/ 171 h 523"/>
                <a:gd name="T4" fmla="*/ 1012 w 1012"/>
                <a:gd name="T5" fmla="*/ 523 h 523"/>
                <a:gd name="T6" fmla="*/ 470 w 1012"/>
                <a:gd name="T7" fmla="*/ 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12" h="523">
                  <a:moveTo>
                    <a:pt x="470" y="0"/>
                  </a:moveTo>
                  <a:lnTo>
                    <a:pt x="0" y="171"/>
                  </a:lnTo>
                  <a:lnTo>
                    <a:pt x="1012" y="523"/>
                  </a:lnTo>
                  <a:lnTo>
                    <a:pt x="470" y="0"/>
                  </a:lnTo>
                  <a:close/>
                </a:path>
              </a:pathLst>
            </a:custGeom>
            <a:solidFill>
              <a:srgbClr val="A16D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93AE6DC4-128C-97A1-D759-48868208A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7144" y="2407335"/>
              <a:ext cx="925048" cy="1709780"/>
            </a:xfrm>
            <a:custGeom>
              <a:avLst/>
              <a:gdLst>
                <a:gd name="T0" fmla="*/ 120 w 534"/>
                <a:gd name="T1" fmla="*/ 0 h 987"/>
                <a:gd name="T2" fmla="*/ 0 w 534"/>
                <a:gd name="T3" fmla="*/ 472 h 987"/>
                <a:gd name="T4" fmla="*/ 534 w 534"/>
                <a:gd name="T5" fmla="*/ 987 h 987"/>
                <a:gd name="T6" fmla="*/ 120 w 534"/>
                <a:gd name="T7" fmla="*/ 0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4" h="987">
                  <a:moveTo>
                    <a:pt x="120" y="0"/>
                  </a:moveTo>
                  <a:lnTo>
                    <a:pt x="0" y="472"/>
                  </a:lnTo>
                  <a:lnTo>
                    <a:pt x="534" y="987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rgbClr val="A16D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726CDD0A-BCD7-D74B-F631-E3CB713E7FC1}"/>
              </a:ext>
            </a:extLst>
          </p:cNvPr>
          <p:cNvGrpSpPr/>
          <p:nvPr/>
        </p:nvGrpSpPr>
        <p:grpSpPr>
          <a:xfrm>
            <a:off x="7730065" y="-11616754"/>
            <a:ext cx="3838048" cy="9322339"/>
            <a:chOff x="7730065" y="-1746752"/>
            <a:chExt cx="3838048" cy="9322339"/>
          </a:xfrm>
        </p:grpSpPr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id="{FC1FD546-7C4C-E2B4-C6F2-A7C3BA0FD2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30065" y="641060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AC4B6134-C216-C3FE-63DA-1DADEEBB04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/>
            <a:stretch/>
          </p:blipFill>
          <p:spPr>
            <a:xfrm>
              <a:off x="7730065" y="3028872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DC92A272-EEA5-F16D-AF2A-45E057678F3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/>
          </p:blipFill>
          <p:spPr>
            <a:xfrm>
              <a:off x="7730065" y="5416685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27" name="Рисунок 26">
              <a:extLst>
                <a:ext uri="{FF2B5EF4-FFF2-40B4-BE49-F238E27FC236}">
                  <a16:creationId xmlns:a16="http://schemas.microsoft.com/office/drawing/2014/main" id="{6D10A602-2B4A-5BAD-DCFE-23B1D41E26D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>
              <a:off x="7730065" y="-1746752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4F711727-E141-45FC-D953-9FE212C7C786}"/>
              </a:ext>
            </a:extLst>
          </p:cNvPr>
          <p:cNvGrpSpPr/>
          <p:nvPr/>
        </p:nvGrpSpPr>
        <p:grpSpPr>
          <a:xfrm>
            <a:off x="6888194" y="-863062"/>
            <a:ext cx="8363156" cy="10766274"/>
            <a:chOff x="6888194" y="-863062"/>
            <a:chExt cx="8363156" cy="10766274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9D45EF2F-B210-551C-D36B-8B6092969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19749806">
              <a:off x="6888194" y="-863062"/>
              <a:ext cx="2603887" cy="3763317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61CB2EFD-2C9A-C666-1D54-002D75DCDAE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 rot="19749806">
              <a:off x="10565051" y="-404594"/>
              <a:ext cx="2603887" cy="3763317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AE369F4B-1403-912C-9319-40999753934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 rot="19749806">
              <a:off x="9000684" y="2648892"/>
              <a:ext cx="2603887" cy="3763317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C367EEE0-AE0C-6A4E-BEB4-D1F4DE9DEA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/>
            <a:stretch/>
          </p:blipFill>
          <p:spPr>
            <a:xfrm rot="19749806">
              <a:off x="12647463" y="3107359"/>
              <a:ext cx="2603887" cy="3763317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30" name="Рисунок 29">
              <a:extLst>
                <a:ext uri="{FF2B5EF4-FFF2-40B4-BE49-F238E27FC236}">
                  <a16:creationId xmlns:a16="http://schemas.microsoft.com/office/drawing/2014/main" id="{BF3BBF5F-90B1-906A-124B-246F2EA3D2C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 rot="19749806">
              <a:off x="11053020" y="6139895"/>
              <a:ext cx="2603887" cy="3763317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FFD83654-67D4-A67D-C855-A011F893E71C}"/>
              </a:ext>
            </a:extLst>
          </p:cNvPr>
          <p:cNvGrpSpPr/>
          <p:nvPr/>
        </p:nvGrpSpPr>
        <p:grpSpPr>
          <a:xfrm>
            <a:off x="7730065" y="8805948"/>
            <a:ext cx="3838048" cy="9322339"/>
            <a:chOff x="7730065" y="-1746752"/>
            <a:chExt cx="3838048" cy="9322339"/>
          </a:xfrm>
        </p:grpSpPr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id="{C1E00850-6BCF-8324-DB8A-0656278672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rcRect/>
            <a:stretch/>
          </p:blipFill>
          <p:spPr>
            <a:xfrm>
              <a:off x="7730065" y="641060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id="{35AB528E-44FC-C6EA-055D-3CF184B305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rcRect/>
            <a:stretch/>
          </p:blipFill>
          <p:spPr>
            <a:xfrm>
              <a:off x="7730065" y="3028872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id="{C29A1945-0542-A802-10E7-89E44C2257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rcRect/>
            <a:stretch/>
          </p:blipFill>
          <p:spPr>
            <a:xfrm>
              <a:off x="7730065" y="5416685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F964137C-DA83-B524-33FA-49214B867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rcRect/>
            <a:stretch/>
          </p:blipFill>
          <p:spPr>
            <a:xfrm>
              <a:off x="7730065" y="-1746752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1444361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1FBEB3D6-A354-41BE-8FB3-FEFEEB6FDC44}"/>
              </a:ext>
            </a:extLst>
          </p:cNvPr>
          <p:cNvSpPr/>
          <p:nvPr/>
        </p:nvSpPr>
        <p:spPr>
          <a:xfrm>
            <a:off x="587375" y="1151014"/>
            <a:ext cx="5363974" cy="1074119"/>
          </a:xfrm>
          <a:prstGeom prst="roundRect">
            <a:avLst/>
          </a:prstGeom>
          <a:gradFill>
            <a:gsLst>
              <a:gs pos="100000">
                <a:srgbClr val="C0DCFD">
                  <a:alpha val="0"/>
                </a:srgbClr>
              </a:gs>
              <a:gs pos="0">
                <a:srgbClr val="C0DCFD"/>
              </a:gs>
            </a:gsLst>
            <a:lin ang="16200000" scaled="1"/>
          </a:gradFill>
          <a:ln>
            <a:solidFill>
              <a:srgbClr val="620CFD">
                <a:alpha val="1388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4942BF1-A8E0-D942-0A4F-BDD68530D0FF}"/>
              </a:ext>
            </a:extLst>
          </p:cNvPr>
          <p:cNvSpPr txBox="1"/>
          <p:nvPr/>
        </p:nvSpPr>
        <p:spPr>
          <a:xfrm>
            <a:off x="753202" y="1336182"/>
            <a:ext cx="5198147" cy="7037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 Blon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какие презентации </a:t>
            </a:r>
            <a:br>
              <a:rPr lang="ru-RU" dirty="0">
                <a:latin typeface="Unbounded Blon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dirty="0">
                <a:latin typeface="Unbounded Blon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елают ставку компании сегодня</a:t>
            </a:r>
            <a:endParaRPr lang="ru-RU" sz="1600" dirty="0">
              <a:effectLst/>
              <a:latin typeface="Unbounded Blon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6BC2A07-5AA6-9AB0-A7BC-EFA5184DDC5E}"/>
              </a:ext>
            </a:extLst>
          </p:cNvPr>
          <p:cNvSpPr txBox="1"/>
          <p:nvPr/>
        </p:nvSpPr>
        <p:spPr>
          <a:xfrm>
            <a:off x="457778" y="2493722"/>
            <a:ext cx="7162222" cy="8753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ИТЧ-ДЕКИ</a:t>
            </a:r>
            <a:endParaRPr lang="ru-RU" sz="4400" b="1" dirty="0"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4B9DD4-0140-27E1-2607-8DE5832D01A0}"/>
              </a:ext>
            </a:extLst>
          </p:cNvPr>
          <p:cNvSpPr txBox="1"/>
          <p:nvPr/>
        </p:nvSpPr>
        <p:spPr>
          <a:xfrm>
            <a:off x="485074" y="3369090"/>
            <a:ext cx="609600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>
                <a:latin typeface="Unbounded Blond" panose="020B0305040102020103" pitchFamily="34" charset="0"/>
                <a:cs typeface="Times New Roman" panose="02020603050405020304" pitchFamily="18" charset="0"/>
              </a:rPr>
              <a:t>Необходимы компаниям, которые ищут финансирование </a:t>
            </a:r>
            <a:br>
              <a:rPr lang="ru-RU" sz="2400" b="1" dirty="0">
                <a:latin typeface="Unbounded Blond" panose="020B0305040102020103" pitchFamily="34" charset="0"/>
                <a:cs typeface="Times New Roman" panose="02020603050405020304" pitchFamily="18" charset="0"/>
              </a:rPr>
            </a:br>
            <a:r>
              <a:rPr lang="ru-RU" sz="2400" b="1" dirty="0">
                <a:latin typeface="Unbounded Blond" panose="020B0305040102020103" pitchFamily="34" charset="0"/>
                <a:cs typeface="Times New Roman" panose="02020603050405020304" pitchFamily="18" charset="0"/>
              </a:rPr>
              <a:t>для развития своего бизнеса или запуска новых проектов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420A30C4-4A18-4144-5CE9-0A7EBC42987D}"/>
              </a:ext>
            </a:extLst>
          </p:cNvPr>
          <p:cNvGrpSpPr/>
          <p:nvPr/>
        </p:nvGrpSpPr>
        <p:grpSpPr>
          <a:xfrm rot="19822225">
            <a:off x="-2213481" y="4757493"/>
            <a:ext cx="12188825" cy="4519613"/>
            <a:chOff x="0" y="1755775"/>
            <a:chExt cx="12188825" cy="4519613"/>
          </a:xfrm>
          <a:solidFill>
            <a:srgbClr val="620CFD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AB56CD7A-2CB1-0661-3755-DE5E472A9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755775"/>
              <a:ext cx="6181725" cy="1624013"/>
            </a:xfrm>
            <a:custGeom>
              <a:avLst/>
              <a:gdLst>
                <a:gd name="T0" fmla="*/ 1484 w 1708"/>
                <a:gd name="T1" fmla="*/ 448 h 448"/>
                <a:gd name="T2" fmla="*/ 1484 w 1708"/>
                <a:gd name="T3" fmla="*/ 400 h 448"/>
                <a:gd name="T4" fmla="*/ 1660 w 1708"/>
                <a:gd name="T5" fmla="*/ 224 h 448"/>
                <a:gd name="T6" fmla="*/ 1484 w 1708"/>
                <a:gd name="T7" fmla="*/ 48 h 448"/>
                <a:gd name="T8" fmla="*/ 1398 w 1708"/>
                <a:gd name="T9" fmla="*/ 70 h 448"/>
                <a:gd name="T10" fmla="*/ 1330 w 1708"/>
                <a:gd name="T11" fmla="*/ 138 h 448"/>
                <a:gd name="T12" fmla="*/ 1312 w 1708"/>
                <a:gd name="T13" fmla="*/ 184 h 448"/>
                <a:gd name="T14" fmla="*/ 1309 w 1708"/>
                <a:gd name="T15" fmla="*/ 209 h 448"/>
                <a:gd name="T16" fmla="*/ 1304 w 1708"/>
                <a:gd name="T17" fmla="*/ 244 h 448"/>
                <a:gd name="T18" fmla="*/ 1280 w 1708"/>
                <a:gd name="T19" fmla="*/ 293 h 448"/>
                <a:gd name="T20" fmla="*/ 1213 w 1708"/>
                <a:gd name="T21" fmla="*/ 332 h 448"/>
                <a:gd name="T22" fmla="*/ 1213 w 1708"/>
                <a:gd name="T23" fmla="*/ 332 h 448"/>
                <a:gd name="T24" fmla="*/ 0 w 1708"/>
                <a:gd name="T25" fmla="*/ 332 h 448"/>
                <a:gd name="T26" fmla="*/ 0 w 1708"/>
                <a:gd name="T27" fmla="*/ 284 h 448"/>
                <a:gd name="T28" fmla="*/ 1213 w 1708"/>
                <a:gd name="T29" fmla="*/ 284 h 448"/>
                <a:gd name="T30" fmla="*/ 1213 w 1708"/>
                <a:gd name="T31" fmla="*/ 284 h 448"/>
                <a:gd name="T32" fmla="*/ 1242 w 1708"/>
                <a:gd name="T33" fmla="*/ 263 h 448"/>
                <a:gd name="T34" fmla="*/ 1258 w 1708"/>
                <a:gd name="T35" fmla="*/ 231 h 448"/>
                <a:gd name="T36" fmla="*/ 1261 w 1708"/>
                <a:gd name="T37" fmla="*/ 205 h 448"/>
                <a:gd name="T38" fmla="*/ 1266 w 1708"/>
                <a:gd name="T39" fmla="*/ 174 h 448"/>
                <a:gd name="T40" fmla="*/ 1288 w 1708"/>
                <a:gd name="T41" fmla="*/ 115 h 448"/>
                <a:gd name="T42" fmla="*/ 1374 w 1708"/>
                <a:gd name="T43" fmla="*/ 28 h 448"/>
                <a:gd name="T44" fmla="*/ 1484 w 1708"/>
                <a:gd name="T45" fmla="*/ 0 h 448"/>
                <a:gd name="T46" fmla="*/ 1708 w 1708"/>
                <a:gd name="T47" fmla="*/ 224 h 448"/>
                <a:gd name="T48" fmla="*/ 1484 w 1708"/>
                <a:gd name="T49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08" h="448">
                  <a:moveTo>
                    <a:pt x="1484" y="448"/>
                  </a:moveTo>
                  <a:cubicBezTo>
                    <a:pt x="1484" y="400"/>
                    <a:pt x="1484" y="400"/>
                    <a:pt x="1484" y="400"/>
                  </a:cubicBezTo>
                  <a:cubicBezTo>
                    <a:pt x="1581" y="400"/>
                    <a:pt x="1660" y="321"/>
                    <a:pt x="1660" y="224"/>
                  </a:cubicBezTo>
                  <a:cubicBezTo>
                    <a:pt x="1660" y="126"/>
                    <a:pt x="1581" y="48"/>
                    <a:pt x="1484" y="48"/>
                  </a:cubicBezTo>
                  <a:cubicBezTo>
                    <a:pt x="1454" y="48"/>
                    <a:pt x="1424" y="55"/>
                    <a:pt x="1398" y="70"/>
                  </a:cubicBezTo>
                  <a:cubicBezTo>
                    <a:pt x="1369" y="86"/>
                    <a:pt x="1346" y="110"/>
                    <a:pt x="1330" y="138"/>
                  </a:cubicBezTo>
                  <a:cubicBezTo>
                    <a:pt x="1322" y="153"/>
                    <a:pt x="1316" y="168"/>
                    <a:pt x="1312" y="184"/>
                  </a:cubicBezTo>
                  <a:cubicBezTo>
                    <a:pt x="1311" y="192"/>
                    <a:pt x="1310" y="200"/>
                    <a:pt x="1309" y="209"/>
                  </a:cubicBezTo>
                  <a:cubicBezTo>
                    <a:pt x="1308" y="220"/>
                    <a:pt x="1307" y="232"/>
                    <a:pt x="1304" y="244"/>
                  </a:cubicBezTo>
                  <a:cubicBezTo>
                    <a:pt x="1299" y="263"/>
                    <a:pt x="1291" y="279"/>
                    <a:pt x="1280" y="293"/>
                  </a:cubicBezTo>
                  <a:cubicBezTo>
                    <a:pt x="1271" y="304"/>
                    <a:pt x="1246" y="332"/>
                    <a:pt x="1213" y="332"/>
                  </a:cubicBezTo>
                  <a:cubicBezTo>
                    <a:pt x="1213" y="332"/>
                    <a:pt x="1213" y="332"/>
                    <a:pt x="1213" y="332"/>
                  </a:cubicBezTo>
                  <a:cubicBezTo>
                    <a:pt x="0" y="332"/>
                    <a:pt x="0" y="332"/>
                    <a:pt x="0" y="332"/>
                  </a:cubicBezTo>
                  <a:cubicBezTo>
                    <a:pt x="0" y="284"/>
                    <a:pt x="0" y="284"/>
                    <a:pt x="0" y="284"/>
                  </a:cubicBezTo>
                  <a:cubicBezTo>
                    <a:pt x="1213" y="284"/>
                    <a:pt x="1213" y="284"/>
                    <a:pt x="1213" y="284"/>
                  </a:cubicBezTo>
                  <a:cubicBezTo>
                    <a:pt x="1213" y="284"/>
                    <a:pt x="1213" y="284"/>
                    <a:pt x="1213" y="284"/>
                  </a:cubicBezTo>
                  <a:cubicBezTo>
                    <a:pt x="1221" y="284"/>
                    <a:pt x="1233" y="275"/>
                    <a:pt x="1242" y="263"/>
                  </a:cubicBezTo>
                  <a:cubicBezTo>
                    <a:pt x="1249" y="254"/>
                    <a:pt x="1254" y="243"/>
                    <a:pt x="1258" y="231"/>
                  </a:cubicBezTo>
                  <a:cubicBezTo>
                    <a:pt x="1260" y="224"/>
                    <a:pt x="1261" y="215"/>
                    <a:pt x="1261" y="205"/>
                  </a:cubicBezTo>
                  <a:cubicBezTo>
                    <a:pt x="1262" y="195"/>
                    <a:pt x="1263" y="184"/>
                    <a:pt x="1266" y="174"/>
                  </a:cubicBezTo>
                  <a:cubicBezTo>
                    <a:pt x="1270" y="153"/>
                    <a:pt x="1278" y="133"/>
                    <a:pt x="1288" y="115"/>
                  </a:cubicBezTo>
                  <a:cubicBezTo>
                    <a:pt x="1308" y="79"/>
                    <a:pt x="1338" y="49"/>
                    <a:pt x="1374" y="28"/>
                  </a:cubicBezTo>
                  <a:cubicBezTo>
                    <a:pt x="1407" y="9"/>
                    <a:pt x="1445" y="0"/>
                    <a:pt x="1484" y="0"/>
                  </a:cubicBezTo>
                  <a:cubicBezTo>
                    <a:pt x="1607" y="0"/>
                    <a:pt x="1708" y="100"/>
                    <a:pt x="1708" y="224"/>
                  </a:cubicBezTo>
                  <a:cubicBezTo>
                    <a:pt x="1708" y="347"/>
                    <a:pt x="1607" y="448"/>
                    <a:pt x="1484" y="44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CFD8B829-A00A-C9AC-90FF-CEED21166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300" y="3205163"/>
              <a:ext cx="1622425" cy="1624013"/>
            </a:xfrm>
            <a:custGeom>
              <a:avLst/>
              <a:gdLst>
                <a:gd name="T0" fmla="*/ 224 w 448"/>
                <a:gd name="T1" fmla="*/ 448 h 448"/>
                <a:gd name="T2" fmla="*/ 0 w 448"/>
                <a:gd name="T3" fmla="*/ 224 h 448"/>
                <a:gd name="T4" fmla="*/ 224 w 448"/>
                <a:gd name="T5" fmla="*/ 0 h 448"/>
                <a:gd name="T6" fmla="*/ 224 w 448"/>
                <a:gd name="T7" fmla="*/ 48 h 448"/>
                <a:gd name="T8" fmla="*/ 48 w 448"/>
                <a:gd name="T9" fmla="*/ 224 h 448"/>
                <a:gd name="T10" fmla="*/ 224 w 448"/>
                <a:gd name="T11" fmla="*/ 400 h 448"/>
                <a:gd name="T12" fmla="*/ 400 w 448"/>
                <a:gd name="T13" fmla="*/ 224 h 448"/>
                <a:gd name="T14" fmla="*/ 448 w 448"/>
                <a:gd name="T15" fmla="*/ 224 h 448"/>
                <a:gd name="T16" fmla="*/ 224 w 448"/>
                <a:gd name="T17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448">
                  <a:moveTo>
                    <a:pt x="224" y="448"/>
                  </a:moveTo>
                  <a:cubicBezTo>
                    <a:pt x="100" y="448"/>
                    <a:pt x="0" y="347"/>
                    <a:pt x="0" y="224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224" y="48"/>
                    <a:pt x="224" y="48"/>
                    <a:pt x="224" y="48"/>
                  </a:cubicBezTo>
                  <a:cubicBezTo>
                    <a:pt x="127" y="48"/>
                    <a:pt x="48" y="126"/>
                    <a:pt x="48" y="224"/>
                  </a:cubicBezTo>
                  <a:cubicBezTo>
                    <a:pt x="48" y="321"/>
                    <a:pt x="127" y="400"/>
                    <a:pt x="224" y="400"/>
                  </a:cubicBezTo>
                  <a:cubicBezTo>
                    <a:pt x="321" y="400"/>
                    <a:pt x="400" y="321"/>
                    <a:pt x="400" y="22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48" y="347"/>
                    <a:pt x="347" y="448"/>
                    <a:pt x="224" y="44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FD943A83-3328-D70D-0669-89C1B632E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100" y="3205163"/>
              <a:ext cx="1620838" cy="1624013"/>
            </a:xfrm>
            <a:custGeom>
              <a:avLst/>
              <a:gdLst>
                <a:gd name="T0" fmla="*/ 224 w 448"/>
                <a:gd name="T1" fmla="*/ 448 h 448"/>
                <a:gd name="T2" fmla="*/ 224 w 448"/>
                <a:gd name="T3" fmla="*/ 400 h 448"/>
                <a:gd name="T4" fmla="*/ 400 w 448"/>
                <a:gd name="T5" fmla="*/ 224 h 448"/>
                <a:gd name="T6" fmla="*/ 224 w 448"/>
                <a:gd name="T7" fmla="*/ 48 h 448"/>
                <a:gd name="T8" fmla="*/ 48 w 448"/>
                <a:gd name="T9" fmla="*/ 224 h 448"/>
                <a:gd name="T10" fmla="*/ 0 w 448"/>
                <a:gd name="T11" fmla="*/ 224 h 448"/>
                <a:gd name="T12" fmla="*/ 224 w 448"/>
                <a:gd name="T13" fmla="*/ 0 h 448"/>
                <a:gd name="T14" fmla="*/ 448 w 448"/>
                <a:gd name="T15" fmla="*/ 224 h 448"/>
                <a:gd name="T16" fmla="*/ 224 w 448"/>
                <a:gd name="T17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448">
                  <a:moveTo>
                    <a:pt x="224" y="448"/>
                  </a:moveTo>
                  <a:cubicBezTo>
                    <a:pt x="224" y="400"/>
                    <a:pt x="224" y="400"/>
                    <a:pt x="224" y="400"/>
                  </a:cubicBezTo>
                  <a:cubicBezTo>
                    <a:pt x="321" y="400"/>
                    <a:pt x="400" y="321"/>
                    <a:pt x="400" y="224"/>
                  </a:cubicBezTo>
                  <a:cubicBezTo>
                    <a:pt x="400" y="126"/>
                    <a:pt x="321" y="48"/>
                    <a:pt x="224" y="48"/>
                  </a:cubicBezTo>
                  <a:cubicBezTo>
                    <a:pt x="127" y="48"/>
                    <a:pt x="48" y="126"/>
                    <a:pt x="48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347" y="0"/>
                    <a:pt x="448" y="100"/>
                    <a:pt x="448" y="224"/>
                  </a:cubicBezTo>
                  <a:cubicBezTo>
                    <a:pt x="448" y="347"/>
                    <a:pt x="347" y="448"/>
                    <a:pt x="224" y="44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ED262B86-175C-9569-2847-1EBA85ECB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100" y="4651375"/>
              <a:ext cx="6181725" cy="1624013"/>
            </a:xfrm>
            <a:custGeom>
              <a:avLst/>
              <a:gdLst>
                <a:gd name="T0" fmla="*/ 224 w 1708"/>
                <a:gd name="T1" fmla="*/ 448 h 448"/>
                <a:gd name="T2" fmla="*/ 0 w 1708"/>
                <a:gd name="T3" fmla="*/ 224 h 448"/>
                <a:gd name="T4" fmla="*/ 224 w 1708"/>
                <a:gd name="T5" fmla="*/ 0 h 448"/>
                <a:gd name="T6" fmla="*/ 224 w 1708"/>
                <a:gd name="T7" fmla="*/ 48 h 448"/>
                <a:gd name="T8" fmla="*/ 48 w 1708"/>
                <a:gd name="T9" fmla="*/ 224 h 448"/>
                <a:gd name="T10" fmla="*/ 224 w 1708"/>
                <a:gd name="T11" fmla="*/ 400 h 448"/>
                <a:gd name="T12" fmla="*/ 310 w 1708"/>
                <a:gd name="T13" fmla="*/ 378 h 448"/>
                <a:gd name="T14" fmla="*/ 378 w 1708"/>
                <a:gd name="T15" fmla="*/ 310 h 448"/>
                <a:gd name="T16" fmla="*/ 395 w 1708"/>
                <a:gd name="T17" fmla="*/ 264 h 448"/>
                <a:gd name="T18" fmla="*/ 398 w 1708"/>
                <a:gd name="T19" fmla="*/ 239 h 448"/>
                <a:gd name="T20" fmla="*/ 404 w 1708"/>
                <a:gd name="T21" fmla="*/ 204 h 448"/>
                <a:gd name="T22" fmla="*/ 428 w 1708"/>
                <a:gd name="T23" fmla="*/ 155 h 448"/>
                <a:gd name="T24" fmla="*/ 495 w 1708"/>
                <a:gd name="T25" fmla="*/ 116 h 448"/>
                <a:gd name="T26" fmla="*/ 495 w 1708"/>
                <a:gd name="T27" fmla="*/ 116 h 448"/>
                <a:gd name="T28" fmla="*/ 1463 w 1708"/>
                <a:gd name="T29" fmla="*/ 116 h 448"/>
                <a:gd name="T30" fmla="*/ 1708 w 1708"/>
                <a:gd name="T31" fmla="*/ 116 h 448"/>
                <a:gd name="T32" fmla="*/ 1708 w 1708"/>
                <a:gd name="T33" fmla="*/ 164 h 448"/>
                <a:gd name="T34" fmla="*/ 1463 w 1708"/>
                <a:gd name="T35" fmla="*/ 164 h 448"/>
                <a:gd name="T36" fmla="*/ 495 w 1708"/>
                <a:gd name="T37" fmla="*/ 164 h 448"/>
                <a:gd name="T38" fmla="*/ 495 w 1708"/>
                <a:gd name="T39" fmla="*/ 164 h 448"/>
                <a:gd name="T40" fmla="*/ 466 w 1708"/>
                <a:gd name="T41" fmla="*/ 185 h 448"/>
                <a:gd name="T42" fmla="*/ 450 w 1708"/>
                <a:gd name="T43" fmla="*/ 217 h 448"/>
                <a:gd name="T44" fmla="*/ 446 w 1708"/>
                <a:gd name="T45" fmla="*/ 243 h 448"/>
                <a:gd name="T46" fmla="*/ 442 w 1708"/>
                <a:gd name="T47" fmla="*/ 274 h 448"/>
                <a:gd name="T48" fmla="*/ 420 w 1708"/>
                <a:gd name="T49" fmla="*/ 333 h 448"/>
                <a:gd name="T50" fmla="*/ 334 w 1708"/>
                <a:gd name="T51" fmla="*/ 420 h 448"/>
                <a:gd name="T52" fmla="*/ 224 w 1708"/>
                <a:gd name="T53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08" h="448">
                  <a:moveTo>
                    <a:pt x="224" y="448"/>
                  </a:moveTo>
                  <a:cubicBezTo>
                    <a:pt x="100" y="448"/>
                    <a:pt x="0" y="348"/>
                    <a:pt x="0" y="224"/>
                  </a:cubicBezTo>
                  <a:cubicBezTo>
                    <a:pt x="0" y="101"/>
                    <a:pt x="100" y="0"/>
                    <a:pt x="224" y="0"/>
                  </a:cubicBezTo>
                  <a:cubicBezTo>
                    <a:pt x="224" y="48"/>
                    <a:pt x="224" y="48"/>
                    <a:pt x="224" y="48"/>
                  </a:cubicBezTo>
                  <a:cubicBezTo>
                    <a:pt x="127" y="48"/>
                    <a:pt x="48" y="127"/>
                    <a:pt x="48" y="224"/>
                  </a:cubicBezTo>
                  <a:cubicBezTo>
                    <a:pt x="48" y="322"/>
                    <a:pt x="127" y="400"/>
                    <a:pt x="224" y="400"/>
                  </a:cubicBezTo>
                  <a:cubicBezTo>
                    <a:pt x="254" y="400"/>
                    <a:pt x="284" y="393"/>
                    <a:pt x="310" y="378"/>
                  </a:cubicBezTo>
                  <a:cubicBezTo>
                    <a:pt x="339" y="362"/>
                    <a:pt x="362" y="338"/>
                    <a:pt x="378" y="310"/>
                  </a:cubicBezTo>
                  <a:cubicBezTo>
                    <a:pt x="386" y="295"/>
                    <a:pt x="392" y="280"/>
                    <a:pt x="395" y="264"/>
                  </a:cubicBezTo>
                  <a:cubicBezTo>
                    <a:pt x="397" y="256"/>
                    <a:pt x="398" y="248"/>
                    <a:pt x="398" y="239"/>
                  </a:cubicBezTo>
                  <a:cubicBezTo>
                    <a:pt x="399" y="228"/>
                    <a:pt x="400" y="216"/>
                    <a:pt x="404" y="204"/>
                  </a:cubicBezTo>
                  <a:cubicBezTo>
                    <a:pt x="409" y="185"/>
                    <a:pt x="417" y="169"/>
                    <a:pt x="428" y="155"/>
                  </a:cubicBezTo>
                  <a:cubicBezTo>
                    <a:pt x="437" y="144"/>
                    <a:pt x="462" y="116"/>
                    <a:pt x="495" y="116"/>
                  </a:cubicBezTo>
                  <a:cubicBezTo>
                    <a:pt x="495" y="116"/>
                    <a:pt x="495" y="116"/>
                    <a:pt x="495" y="116"/>
                  </a:cubicBezTo>
                  <a:cubicBezTo>
                    <a:pt x="502" y="116"/>
                    <a:pt x="1263" y="116"/>
                    <a:pt x="1463" y="116"/>
                  </a:cubicBezTo>
                  <a:cubicBezTo>
                    <a:pt x="1708" y="116"/>
                    <a:pt x="1708" y="116"/>
                    <a:pt x="1708" y="116"/>
                  </a:cubicBezTo>
                  <a:cubicBezTo>
                    <a:pt x="1708" y="164"/>
                    <a:pt x="1708" y="164"/>
                    <a:pt x="1708" y="164"/>
                  </a:cubicBezTo>
                  <a:cubicBezTo>
                    <a:pt x="1463" y="164"/>
                    <a:pt x="1463" y="164"/>
                    <a:pt x="1463" y="164"/>
                  </a:cubicBezTo>
                  <a:cubicBezTo>
                    <a:pt x="1263" y="164"/>
                    <a:pt x="502" y="164"/>
                    <a:pt x="495" y="164"/>
                  </a:cubicBezTo>
                  <a:cubicBezTo>
                    <a:pt x="495" y="164"/>
                    <a:pt x="495" y="164"/>
                    <a:pt x="495" y="164"/>
                  </a:cubicBezTo>
                  <a:cubicBezTo>
                    <a:pt x="487" y="164"/>
                    <a:pt x="475" y="173"/>
                    <a:pt x="466" y="185"/>
                  </a:cubicBezTo>
                  <a:cubicBezTo>
                    <a:pt x="459" y="194"/>
                    <a:pt x="453" y="205"/>
                    <a:pt x="450" y="217"/>
                  </a:cubicBezTo>
                  <a:cubicBezTo>
                    <a:pt x="448" y="224"/>
                    <a:pt x="447" y="233"/>
                    <a:pt x="446" y="243"/>
                  </a:cubicBezTo>
                  <a:cubicBezTo>
                    <a:pt x="446" y="253"/>
                    <a:pt x="445" y="264"/>
                    <a:pt x="442" y="274"/>
                  </a:cubicBezTo>
                  <a:cubicBezTo>
                    <a:pt x="438" y="295"/>
                    <a:pt x="430" y="315"/>
                    <a:pt x="420" y="333"/>
                  </a:cubicBezTo>
                  <a:cubicBezTo>
                    <a:pt x="400" y="369"/>
                    <a:pt x="370" y="399"/>
                    <a:pt x="334" y="420"/>
                  </a:cubicBezTo>
                  <a:cubicBezTo>
                    <a:pt x="300" y="439"/>
                    <a:pt x="262" y="448"/>
                    <a:pt x="224" y="44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AE334CB0-9EA2-ADC9-ABE0-FDCA16CDC47A}"/>
              </a:ext>
            </a:extLst>
          </p:cNvPr>
          <p:cNvGrpSpPr/>
          <p:nvPr/>
        </p:nvGrpSpPr>
        <p:grpSpPr>
          <a:xfrm rot="17244131">
            <a:off x="6243018" y="6222103"/>
            <a:ext cx="921980" cy="911542"/>
            <a:chOff x="2762173" y="2407335"/>
            <a:chExt cx="1760019" cy="1740094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5400F982-63E3-1218-9CD7-4F6C4883E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173" y="3241436"/>
              <a:ext cx="1753088" cy="905993"/>
            </a:xfrm>
            <a:custGeom>
              <a:avLst/>
              <a:gdLst>
                <a:gd name="T0" fmla="*/ 470 w 1012"/>
                <a:gd name="T1" fmla="*/ 0 h 523"/>
                <a:gd name="T2" fmla="*/ 0 w 1012"/>
                <a:gd name="T3" fmla="*/ 171 h 523"/>
                <a:gd name="T4" fmla="*/ 1012 w 1012"/>
                <a:gd name="T5" fmla="*/ 523 h 523"/>
                <a:gd name="T6" fmla="*/ 470 w 1012"/>
                <a:gd name="T7" fmla="*/ 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12" h="523">
                  <a:moveTo>
                    <a:pt x="470" y="0"/>
                  </a:moveTo>
                  <a:lnTo>
                    <a:pt x="0" y="171"/>
                  </a:lnTo>
                  <a:lnTo>
                    <a:pt x="1012" y="523"/>
                  </a:lnTo>
                  <a:lnTo>
                    <a:pt x="470" y="0"/>
                  </a:lnTo>
                  <a:close/>
                </a:path>
              </a:pathLst>
            </a:custGeom>
            <a:solidFill>
              <a:srgbClr val="A16D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93AE6DC4-128C-97A1-D759-48868208A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7144" y="2407335"/>
              <a:ext cx="925048" cy="1709780"/>
            </a:xfrm>
            <a:custGeom>
              <a:avLst/>
              <a:gdLst>
                <a:gd name="T0" fmla="*/ 120 w 534"/>
                <a:gd name="T1" fmla="*/ 0 h 987"/>
                <a:gd name="T2" fmla="*/ 0 w 534"/>
                <a:gd name="T3" fmla="*/ 472 h 987"/>
                <a:gd name="T4" fmla="*/ 534 w 534"/>
                <a:gd name="T5" fmla="*/ 987 h 987"/>
                <a:gd name="T6" fmla="*/ 120 w 534"/>
                <a:gd name="T7" fmla="*/ 0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4" h="987">
                  <a:moveTo>
                    <a:pt x="120" y="0"/>
                  </a:moveTo>
                  <a:lnTo>
                    <a:pt x="0" y="472"/>
                  </a:lnTo>
                  <a:lnTo>
                    <a:pt x="534" y="987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rgbClr val="A16D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4F711727-E141-45FC-D953-9FE212C7C786}"/>
              </a:ext>
            </a:extLst>
          </p:cNvPr>
          <p:cNvGrpSpPr/>
          <p:nvPr/>
        </p:nvGrpSpPr>
        <p:grpSpPr>
          <a:xfrm>
            <a:off x="0" y="-12243986"/>
            <a:ext cx="4596497" cy="5917281"/>
            <a:chOff x="6888194" y="-863062"/>
            <a:chExt cx="8363156" cy="10766274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9D45EF2F-B210-551C-D36B-8B6092969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19749806">
              <a:off x="6888194" y="-863062"/>
              <a:ext cx="2603887" cy="3763317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61CB2EFD-2C9A-C666-1D54-002D75DCDA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/>
            <a:stretch/>
          </p:blipFill>
          <p:spPr>
            <a:xfrm rot="19749806">
              <a:off x="10565051" y="-404594"/>
              <a:ext cx="2603887" cy="3763317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AE369F4B-1403-912C-9319-40999753934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/>
          </p:blipFill>
          <p:spPr>
            <a:xfrm rot="19749806">
              <a:off x="9000684" y="2648892"/>
              <a:ext cx="2603887" cy="3763317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C367EEE0-AE0C-6A4E-BEB4-D1F4DE9DEA2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 rot="19749806">
              <a:off x="12647463" y="3107359"/>
              <a:ext cx="2603887" cy="3763317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30" name="Рисунок 29">
              <a:extLst>
                <a:ext uri="{FF2B5EF4-FFF2-40B4-BE49-F238E27FC236}">
                  <a16:creationId xmlns:a16="http://schemas.microsoft.com/office/drawing/2014/main" id="{BF3BBF5F-90B1-906A-124B-246F2EA3D2C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/>
            <a:stretch/>
          </p:blipFill>
          <p:spPr>
            <a:xfrm rot="19749806">
              <a:off x="11053020" y="6139895"/>
              <a:ext cx="2603887" cy="3763317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B5005812-60CF-4C61-FB22-2487F3FA280F}"/>
              </a:ext>
            </a:extLst>
          </p:cNvPr>
          <p:cNvGrpSpPr/>
          <p:nvPr/>
        </p:nvGrpSpPr>
        <p:grpSpPr>
          <a:xfrm>
            <a:off x="7730065" y="-1746752"/>
            <a:ext cx="3838048" cy="9322339"/>
            <a:chOff x="7730065" y="-1746752"/>
            <a:chExt cx="3838048" cy="9322339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2A18C556-507A-CA7E-5F30-F5004F5439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7730065" y="641060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B65E7EDD-D7B7-BAEC-11AA-AD4988F2F0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7730065" y="3028872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DEAA28A3-D8E1-038D-6852-38EE234EAF3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>
              <a:off x="7730065" y="5416685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B1591A61-5802-B3A1-BD69-48AC80C180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/>
            <a:stretch/>
          </p:blipFill>
          <p:spPr>
            <a:xfrm>
              <a:off x="7730065" y="-1746752"/>
              <a:ext cx="3838048" cy="2158902"/>
            </a:xfrm>
            <a:prstGeom prst="roundRect">
              <a:avLst>
                <a:gd name="adj" fmla="val 4863"/>
              </a:avLst>
            </a:prstGeom>
            <a:ln>
              <a:solidFill>
                <a:srgbClr val="620CFD"/>
              </a:solidFill>
            </a:ln>
          </p:spPr>
        </p:pic>
      </p:grp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AEF75F8C-18F3-0BBB-080F-549B28DD2131}"/>
              </a:ext>
            </a:extLst>
          </p:cNvPr>
          <p:cNvCxnSpPr>
            <a:cxnSpLocks/>
          </p:cNvCxnSpPr>
          <p:nvPr/>
        </p:nvCxnSpPr>
        <p:spPr>
          <a:xfrm>
            <a:off x="4074848" y="9870141"/>
            <a:ext cx="0" cy="1605292"/>
          </a:xfrm>
          <a:prstGeom prst="line">
            <a:avLst/>
          </a:prstGeom>
          <a:ln w="6350">
            <a:solidFill>
              <a:schemeClr val="bg1"/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7E89C891-34FF-7119-80B7-3F0DB8203E13}"/>
              </a:ext>
            </a:extLst>
          </p:cNvPr>
          <p:cNvCxnSpPr>
            <a:cxnSpLocks/>
          </p:cNvCxnSpPr>
          <p:nvPr/>
        </p:nvCxnSpPr>
        <p:spPr>
          <a:xfrm>
            <a:off x="6113945" y="8874700"/>
            <a:ext cx="0" cy="995441"/>
          </a:xfrm>
          <a:prstGeom prst="line">
            <a:avLst/>
          </a:prstGeom>
          <a:ln w="6350">
            <a:solidFill>
              <a:schemeClr val="bg1"/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C9CC5DD1-C47A-5FDA-AE15-68889AEC5073}"/>
              </a:ext>
            </a:extLst>
          </p:cNvPr>
          <p:cNvCxnSpPr>
            <a:cxnSpLocks/>
          </p:cNvCxnSpPr>
          <p:nvPr/>
        </p:nvCxnSpPr>
        <p:spPr>
          <a:xfrm>
            <a:off x="2033511" y="8550706"/>
            <a:ext cx="0" cy="2920447"/>
          </a:xfrm>
          <a:prstGeom prst="line">
            <a:avLst/>
          </a:prstGeom>
          <a:ln w="6350">
            <a:solidFill>
              <a:schemeClr val="bg1"/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олилиния 36">
            <a:extLst>
              <a:ext uri="{FF2B5EF4-FFF2-40B4-BE49-F238E27FC236}">
                <a16:creationId xmlns:a16="http://schemas.microsoft.com/office/drawing/2014/main" id="{4AA15701-72D0-0A79-F2A0-6BC853A75548}"/>
              </a:ext>
            </a:extLst>
          </p:cNvPr>
          <p:cNvSpPr/>
          <p:nvPr/>
        </p:nvSpPr>
        <p:spPr>
          <a:xfrm flipH="1">
            <a:off x="-28441172" y="-8024811"/>
            <a:ext cx="24128653" cy="13687281"/>
          </a:xfrm>
          <a:custGeom>
            <a:avLst/>
            <a:gdLst>
              <a:gd name="connsiteX0" fmla="*/ 0 w 25088850"/>
              <a:gd name="connsiteY0" fmla="*/ 6800850 h 6800850"/>
              <a:gd name="connsiteX1" fmla="*/ 0 w 25088850"/>
              <a:gd name="connsiteY1" fmla="*/ 6800850 h 6800850"/>
              <a:gd name="connsiteX2" fmla="*/ 3800475 w 25088850"/>
              <a:gd name="connsiteY2" fmla="*/ 5314950 h 6800850"/>
              <a:gd name="connsiteX3" fmla="*/ 5772150 w 25088850"/>
              <a:gd name="connsiteY3" fmla="*/ 6343650 h 6800850"/>
              <a:gd name="connsiteX4" fmla="*/ 9258300 w 25088850"/>
              <a:gd name="connsiteY4" fmla="*/ 4229100 h 6800850"/>
              <a:gd name="connsiteX5" fmla="*/ 12658725 w 25088850"/>
              <a:gd name="connsiteY5" fmla="*/ 5915025 h 6800850"/>
              <a:gd name="connsiteX6" fmla="*/ 14887575 w 25088850"/>
              <a:gd name="connsiteY6" fmla="*/ 3114675 h 6800850"/>
              <a:gd name="connsiteX7" fmla="*/ 18087975 w 25088850"/>
              <a:gd name="connsiteY7" fmla="*/ 4314825 h 6800850"/>
              <a:gd name="connsiteX8" fmla="*/ 19773900 w 25088850"/>
              <a:gd name="connsiteY8" fmla="*/ 3514725 h 6800850"/>
              <a:gd name="connsiteX9" fmla="*/ 21717000 w 25088850"/>
              <a:gd name="connsiteY9" fmla="*/ 3800475 h 6800850"/>
              <a:gd name="connsiteX10" fmla="*/ 23517225 w 25088850"/>
              <a:gd name="connsiteY10" fmla="*/ 885825 h 6800850"/>
              <a:gd name="connsiteX11" fmla="*/ 25088850 w 25088850"/>
              <a:gd name="connsiteY11" fmla="*/ 0 h 6800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088850" h="6800850">
                <a:moveTo>
                  <a:pt x="0" y="6800850"/>
                </a:moveTo>
                <a:lnTo>
                  <a:pt x="0" y="6800850"/>
                </a:lnTo>
                <a:lnTo>
                  <a:pt x="3800475" y="5314950"/>
                </a:lnTo>
                <a:lnTo>
                  <a:pt x="5772150" y="6343650"/>
                </a:lnTo>
                <a:lnTo>
                  <a:pt x="9258300" y="4229100"/>
                </a:lnTo>
                <a:lnTo>
                  <a:pt x="12658725" y="5915025"/>
                </a:lnTo>
                <a:lnTo>
                  <a:pt x="14887575" y="3114675"/>
                </a:lnTo>
                <a:lnTo>
                  <a:pt x="18087975" y="4314825"/>
                </a:lnTo>
                <a:lnTo>
                  <a:pt x="19773900" y="3514725"/>
                </a:lnTo>
                <a:lnTo>
                  <a:pt x="21717000" y="3800475"/>
                </a:lnTo>
                <a:lnTo>
                  <a:pt x="23517225" y="885825"/>
                </a:lnTo>
                <a:lnTo>
                  <a:pt x="25088850" y="0"/>
                </a:lnTo>
              </a:path>
            </a:pathLst>
          </a:custGeom>
          <a:noFill/>
          <a:ln w="25400">
            <a:solidFill>
              <a:srgbClr val="FF3C3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900"/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7ACFFBB6-078F-B2C1-1DC3-D312792817F4}"/>
              </a:ext>
            </a:extLst>
          </p:cNvPr>
          <p:cNvSpPr/>
          <p:nvPr/>
        </p:nvSpPr>
        <p:spPr>
          <a:xfrm flipH="1" flipV="1">
            <a:off x="8137336" y="163705"/>
            <a:ext cx="2025400" cy="569023"/>
          </a:xfrm>
          <a:prstGeom prst="rect">
            <a:avLst/>
          </a:prstGeom>
          <a:gradFill>
            <a:gsLst>
              <a:gs pos="99000">
                <a:srgbClr val="FF3C3B">
                  <a:alpha val="11894"/>
                </a:srgbClr>
              </a:gs>
              <a:gs pos="0">
                <a:srgbClr val="FF3C3B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FE754051-144F-3DEB-6EBB-AC6E7EFC054F}"/>
              </a:ext>
            </a:extLst>
          </p:cNvPr>
          <p:cNvSpPr/>
          <p:nvPr/>
        </p:nvSpPr>
        <p:spPr>
          <a:xfrm flipH="1" flipV="1">
            <a:off x="4070696" y="-1658197"/>
            <a:ext cx="2025400" cy="817311"/>
          </a:xfrm>
          <a:prstGeom prst="rect">
            <a:avLst/>
          </a:prstGeom>
          <a:gradFill>
            <a:gsLst>
              <a:gs pos="99000">
                <a:srgbClr val="FF3C3B">
                  <a:alpha val="11894"/>
                </a:srgbClr>
              </a:gs>
              <a:gs pos="0">
                <a:srgbClr val="FF3C3B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04D150AD-442F-B35F-8C1B-0BDA88469E59}"/>
              </a:ext>
            </a:extLst>
          </p:cNvPr>
          <p:cNvSpPr/>
          <p:nvPr/>
        </p:nvSpPr>
        <p:spPr>
          <a:xfrm flipH="1" flipV="1">
            <a:off x="4056" y="-3579326"/>
            <a:ext cx="2025400" cy="1079123"/>
          </a:xfrm>
          <a:prstGeom prst="rect">
            <a:avLst/>
          </a:prstGeom>
          <a:gradFill>
            <a:gsLst>
              <a:gs pos="99000">
                <a:srgbClr val="FF3C3B">
                  <a:alpha val="11894"/>
                </a:srgbClr>
              </a:gs>
              <a:gs pos="0">
                <a:srgbClr val="FF3C3B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7F19D1B9-F589-6F0E-6466-0F71B443C858}"/>
              </a:ext>
            </a:extLst>
          </p:cNvPr>
          <p:cNvGrpSpPr/>
          <p:nvPr/>
        </p:nvGrpSpPr>
        <p:grpSpPr>
          <a:xfrm rot="5400000">
            <a:off x="12907376" y="1558248"/>
            <a:ext cx="2864685" cy="916592"/>
            <a:chOff x="3339836" y="2242943"/>
            <a:chExt cx="6225580" cy="1561999"/>
          </a:xfrm>
        </p:grpSpPr>
        <p:sp>
          <p:nvSpPr>
            <p:cNvPr id="43" name="Скругленный прямоугольник 42">
              <a:extLst>
                <a:ext uri="{FF2B5EF4-FFF2-40B4-BE49-F238E27FC236}">
                  <a16:creationId xmlns:a16="http://schemas.microsoft.com/office/drawing/2014/main" id="{66444D03-44E7-E1BC-0EBD-ECF9EFA31F03}"/>
                </a:ext>
              </a:extLst>
            </p:cNvPr>
            <p:cNvSpPr/>
            <p:nvPr/>
          </p:nvSpPr>
          <p:spPr>
            <a:xfrm>
              <a:off x="3339836" y="2242943"/>
              <a:ext cx="6225580" cy="1561999"/>
            </a:xfrm>
            <a:prstGeom prst="roundRect">
              <a:avLst>
                <a:gd name="adj" fmla="val 50000"/>
              </a:avLst>
            </a:prstGeom>
            <a:gradFill>
              <a:gsLst>
                <a:gs pos="99000">
                  <a:srgbClr val="FF3C3B">
                    <a:alpha val="33000"/>
                  </a:srgbClr>
                </a:gs>
                <a:gs pos="0">
                  <a:srgbClr val="FF3C3B">
                    <a:alpha val="24280"/>
                  </a:srgbClr>
                </a:gs>
              </a:gsLst>
              <a:lin ang="0" scaled="0"/>
            </a:gradFill>
            <a:ln>
              <a:solidFill>
                <a:srgbClr val="FF3C3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44" name="Скругленный прямоугольник 43">
              <a:extLst>
                <a:ext uri="{FF2B5EF4-FFF2-40B4-BE49-F238E27FC236}">
                  <a16:creationId xmlns:a16="http://schemas.microsoft.com/office/drawing/2014/main" id="{D006CC9A-D315-03C5-4278-E827383B6B26}"/>
                </a:ext>
              </a:extLst>
            </p:cNvPr>
            <p:cNvSpPr/>
            <p:nvPr/>
          </p:nvSpPr>
          <p:spPr>
            <a:xfrm>
              <a:off x="3408023" y="2242943"/>
              <a:ext cx="2598108" cy="1561999"/>
            </a:xfrm>
            <a:prstGeom prst="roundRect">
              <a:avLst>
                <a:gd name="adj" fmla="val 50000"/>
              </a:avLst>
            </a:prstGeom>
            <a:solidFill>
              <a:srgbClr val="C00000"/>
            </a:solidFill>
            <a:ln>
              <a:solidFill>
                <a:srgbClr val="FF3C3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sp>
        <p:nvSpPr>
          <p:cNvPr id="45" name="Полилиния 44">
            <a:extLst>
              <a:ext uri="{FF2B5EF4-FFF2-40B4-BE49-F238E27FC236}">
                <a16:creationId xmlns:a16="http://schemas.microsoft.com/office/drawing/2014/main" id="{0CAD64FD-3D73-3BE9-75EF-904DF2055142}"/>
              </a:ext>
            </a:extLst>
          </p:cNvPr>
          <p:cNvSpPr/>
          <p:nvPr/>
        </p:nvSpPr>
        <p:spPr>
          <a:xfrm flipH="1">
            <a:off x="-14105722" y="3525466"/>
            <a:ext cx="12192000" cy="3327971"/>
          </a:xfrm>
          <a:custGeom>
            <a:avLst/>
            <a:gdLst>
              <a:gd name="connsiteX0" fmla="*/ 2431514 w 24387177"/>
              <a:gd name="connsiteY0" fmla="*/ 9670217 h 10098842"/>
              <a:gd name="connsiteX1" fmla="*/ 2939144 w 24387177"/>
              <a:gd name="connsiteY1" fmla="*/ 9743483 h 10098842"/>
              <a:gd name="connsiteX2" fmla="*/ 3139548 w 24387177"/>
              <a:gd name="connsiteY2" fmla="*/ 9670217 h 10098842"/>
              <a:gd name="connsiteX3" fmla="*/ 24387177 w 24387177"/>
              <a:gd name="connsiteY3" fmla="*/ 0 h 10098842"/>
              <a:gd name="connsiteX4" fmla="*/ 24387177 w 24387177"/>
              <a:gd name="connsiteY4" fmla="*/ 428625 h 10098842"/>
              <a:gd name="connsiteX5" fmla="*/ 24387177 w 24387177"/>
              <a:gd name="connsiteY5" fmla="*/ 9670217 h 10098842"/>
              <a:gd name="connsiteX6" fmla="*/ 24387177 w 24387177"/>
              <a:gd name="connsiteY6" fmla="*/ 10098842 h 10098842"/>
              <a:gd name="connsiteX7" fmla="*/ 0 w 24387177"/>
              <a:gd name="connsiteY7" fmla="*/ 10098842 h 10098842"/>
              <a:gd name="connsiteX8" fmla="*/ 0 w 24387177"/>
              <a:gd name="connsiteY8" fmla="*/ 9670217 h 10098842"/>
              <a:gd name="connsiteX9" fmla="*/ 0 w 24387177"/>
              <a:gd name="connsiteY9" fmla="*/ 9319277 h 10098842"/>
              <a:gd name="connsiteX10" fmla="*/ 0 w 24387177"/>
              <a:gd name="connsiteY10" fmla="*/ 8890652 h 10098842"/>
              <a:gd name="connsiteX11" fmla="*/ 2939144 w 24387177"/>
              <a:gd name="connsiteY11" fmla="*/ 9314858 h 10098842"/>
              <a:gd name="connsiteX12" fmla="*/ 5976258 w 24387177"/>
              <a:gd name="connsiteY12" fmla="*/ 8204516 h 10098842"/>
              <a:gd name="connsiteX13" fmla="*/ 8164287 w 24387177"/>
              <a:gd name="connsiteY13" fmla="*/ 8661716 h 10098842"/>
              <a:gd name="connsiteX14" fmla="*/ 12573000 w 24387177"/>
              <a:gd name="connsiteY14" fmla="*/ 7616687 h 10098842"/>
              <a:gd name="connsiteX15" fmla="*/ 14499771 w 24387177"/>
              <a:gd name="connsiteY15" fmla="*/ 8171858 h 10098842"/>
              <a:gd name="connsiteX16" fmla="*/ 17471573 w 24387177"/>
              <a:gd name="connsiteY16" fmla="*/ 5069430 h 10098842"/>
              <a:gd name="connsiteX17" fmla="*/ 19463657 w 24387177"/>
              <a:gd name="connsiteY17" fmla="*/ 5200058 h 10098842"/>
              <a:gd name="connsiteX18" fmla="*/ 21684345 w 24387177"/>
              <a:gd name="connsiteY18" fmla="*/ 3240631 h 10098842"/>
              <a:gd name="connsiteX19" fmla="*/ 22892657 w 24387177"/>
              <a:gd name="connsiteY19" fmla="*/ 3012030 h 10098842"/>
              <a:gd name="connsiteX0" fmla="*/ 2431514 w 24387177"/>
              <a:gd name="connsiteY0" fmla="*/ 9670217 h 10098842"/>
              <a:gd name="connsiteX1" fmla="*/ 3139548 w 24387177"/>
              <a:gd name="connsiteY1" fmla="*/ 9670217 h 10098842"/>
              <a:gd name="connsiteX2" fmla="*/ 2431514 w 24387177"/>
              <a:gd name="connsiteY2" fmla="*/ 9670217 h 10098842"/>
              <a:gd name="connsiteX3" fmla="*/ 24387177 w 24387177"/>
              <a:gd name="connsiteY3" fmla="*/ 0 h 10098842"/>
              <a:gd name="connsiteX4" fmla="*/ 24387177 w 24387177"/>
              <a:gd name="connsiteY4" fmla="*/ 428625 h 10098842"/>
              <a:gd name="connsiteX5" fmla="*/ 24387177 w 24387177"/>
              <a:gd name="connsiteY5" fmla="*/ 9670217 h 10098842"/>
              <a:gd name="connsiteX6" fmla="*/ 24387177 w 24387177"/>
              <a:gd name="connsiteY6" fmla="*/ 10098842 h 10098842"/>
              <a:gd name="connsiteX7" fmla="*/ 0 w 24387177"/>
              <a:gd name="connsiteY7" fmla="*/ 10098842 h 10098842"/>
              <a:gd name="connsiteX8" fmla="*/ 0 w 24387177"/>
              <a:gd name="connsiteY8" fmla="*/ 9670217 h 10098842"/>
              <a:gd name="connsiteX9" fmla="*/ 0 w 24387177"/>
              <a:gd name="connsiteY9" fmla="*/ 9319277 h 10098842"/>
              <a:gd name="connsiteX10" fmla="*/ 0 w 24387177"/>
              <a:gd name="connsiteY10" fmla="*/ 8890652 h 10098842"/>
              <a:gd name="connsiteX11" fmla="*/ 2939144 w 24387177"/>
              <a:gd name="connsiteY11" fmla="*/ 9314858 h 10098842"/>
              <a:gd name="connsiteX12" fmla="*/ 5976258 w 24387177"/>
              <a:gd name="connsiteY12" fmla="*/ 8204516 h 10098842"/>
              <a:gd name="connsiteX13" fmla="*/ 8164287 w 24387177"/>
              <a:gd name="connsiteY13" fmla="*/ 8661716 h 10098842"/>
              <a:gd name="connsiteX14" fmla="*/ 12573000 w 24387177"/>
              <a:gd name="connsiteY14" fmla="*/ 7616687 h 10098842"/>
              <a:gd name="connsiteX15" fmla="*/ 14499771 w 24387177"/>
              <a:gd name="connsiteY15" fmla="*/ 8171858 h 10098842"/>
              <a:gd name="connsiteX16" fmla="*/ 17471573 w 24387177"/>
              <a:gd name="connsiteY16" fmla="*/ 5069430 h 10098842"/>
              <a:gd name="connsiteX17" fmla="*/ 19463657 w 24387177"/>
              <a:gd name="connsiteY17" fmla="*/ 5200058 h 10098842"/>
              <a:gd name="connsiteX18" fmla="*/ 21684345 w 24387177"/>
              <a:gd name="connsiteY18" fmla="*/ 3240631 h 10098842"/>
              <a:gd name="connsiteX19" fmla="*/ 22892657 w 24387177"/>
              <a:gd name="connsiteY19" fmla="*/ 3012030 h 10098842"/>
              <a:gd name="connsiteX20" fmla="*/ 24387177 w 24387177"/>
              <a:gd name="connsiteY20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573000 w 24387177"/>
              <a:gd name="connsiteY11" fmla="*/ 7616687 h 10098842"/>
              <a:gd name="connsiteX12" fmla="*/ 14499771 w 24387177"/>
              <a:gd name="connsiteY12" fmla="*/ 8171858 h 10098842"/>
              <a:gd name="connsiteX13" fmla="*/ 17471573 w 24387177"/>
              <a:gd name="connsiteY13" fmla="*/ 5069430 h 10098842"/>
              <a:gd name="connsiteX14" fmla="*/ 19463657 w 24387177"/>
              <a:gd name="connsiteY14" fmla="*/ 520005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5189072 h 10098842"/>
              <a:gd name="connsiteX12" fmla="*/ 14499771 w 24387177"/>
              <a:gd name="connsiteY12" fmla="*/ 8171858 h 10098842"/>
              <a:gd name="connsiteX13" fmla="*/ 17471573 w 24387177"/>
              <a:gd name="connsiteY13" fmla="*/ 5069430 h 10098842"/>
              <a:gd name="connsiteX14" fmla="*/ 19463657 w 24387177"/>
              <a:gd name="connsiteY14" fmla="*/ 520005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499771 w 24387177"/>
              <a:gd name="connsiteY12" fmla="*/ 8171858 h 10098842"/>
              <a:gd name="connsiteX13" fmla="*/ 17471573 w 24387177"/>
              <a:gd name="connsiteY13" fmla="*/ 5069430 h 10098842"/>
              <a:gd name="connsiteX14" fmla="*/ 19463657 w 24387177"/>
              <a:gd name="connsiteY14" fmla="*/ 520005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471573 w 24387177"/>
              <a:gd name="connsiteY13" fmla="*/ 5069430 h 10098842"/>
              <a:gd name="connsiteX14" fmla="*/ 19463657 w 24387177"/>
              <a:gd name="connsiteY14" fmla="*/ 520005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463657 w 24387177"/>
              <a:gd name="connsiteY14" fmla="*/ 520005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3492732 w 24387177"/>
              <a:gd name="connsiteY16" fmla="*/ 6393351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3178408 w 24387177"/>
              <a:gd name="connsiteY16" fmla="*/ 604655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2892659 w 24387177"/>
              <a:gd name="connsiteY16" fmla="*/ 5526347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2721211 w 24387177"/>
              <a:gd name="connsiteY16" fmla="*/ 5916499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078562 w 24387177"/>
              <a:gd name="connsiteY10" fmla="*/ 9442021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2721211 w 24387177"/>
              <a:gd name="connsiteY16" fmla="*/ 5916499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4804683 w 24387177"/>
              <a:gd name="connsiteY9" fmla="*/ 6817308 h 10098842"/>
              <a:gd name="connsiteX10" fmla="*/ 8078562 w 24387177"/>
              <a:gd name="connsiteY10" fmla="*/ 9442021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2721211 w 24387177"/>
              <a:gd name="connsiteY16" fmla="*/ 5916499 h 10098842"/>
              <a:gd name="connsiteX17" fmla="*/ 24387177 w 24387177"/>
              <a:gd name="connsiteY17" fmla="*/ 0 h 1009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4387177" h="10098842">
                <a:moveTo>
                  <a:pt x="24387177" y="0"/>
                </a:moveTo>
                <a:lnTo>
                  <a:pt x="24387177" y="428625"/>
                </a:lnTo>
                <a:lnTo>
                  <a:pt x="24387177" y="9670217"/>
                </a:lnTo>
                <a:lnTo>
                  <a:pt x="24387177" y="10098842"/>
                </a:lnTo>
                <a:lnTo>
                  <a:pt x="0" y="10098842"/>
                </a:lnTo>
                <a:lnTo>
                  <a:pt x="0" y="9670217"/>
                </a:lnTo>
                <a:lnTo>
                  <a:pt x="0" y="9319277"/>
                </a:lnTo>
                <a:lnTo>
                  <a:pt x="0" y="8890652"/>
                </a:lnTo>
                <a:lnTo>
                  <a:pt x="2939144" y="9314858"/>
                </a:lnTo>
                <a:lnTo>
                  <a:pt x="4804683" y="6817308"/>
                </a:lnTo>
                <a:lnTo>
                  <a:pt x="8078562" y="9442021"/>
                </a:lnTo>
                <a:lnTo>
                  <a:pt x="12230100" y="6532930"/>
                </a:lnTo>
                <a:lnTo>
                  <a:pt x="14871246" y="6871350"/>
                </a:lnTo>
                <a:lnTo>
                  <a:pt x="17328698" y="3118668"/>
                </a:lnTo>
                <a:lnTo>
                  <a:pt x="19777982" y="6717318"/>
                </a:lnTo>
                <a:lnTo>
                  <a:pt x="21684345" y="3240631"/>
                </a:lnTo>
                <a:lnTo>
                  <a:pt x="22721211" y="5916499"/>
                </a:lnTo>
                <a:lnTo>
                  <a:pt x="24387177" y="0"/>
                </a:lnTo>
                <a:close/>
              </a:path>
            </a:pathLst>
          </a:custGeom>
          <a:gradFill>
            <a:gsLst>
              <a:gs pos="99000">
                <a:srgbClr val="FF0000">
                  <a:alpha val="25879"/>
                </a:srgbClr>
              </a:gs>
              <a:gs pos="0">
                <a:srgbClr val="FF0000">
                  <a:alpha val="48189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900" dirty="0"/>
          </a:p>
        </p:txBody>
      </p:sp>
      <p:sp>
        <p:nvSpPr>
          <p:cNvPr id="46" name="Полилиния 45">
            <a:extLst>
              <a:ext uri="{FF2B5EF4-FFF2-40B4-BE49-F238E27FC236}">
                <a16:creationId xmlns:a16="http://schemas.microsoft.com/office/drawing/2014/main" id="{D505E242-2D9B-1B45-95C5-C4E5697CAA86}"/>
              </a:ext>
            </a:extLst>
          </p:cNvPr>
          <p:cNvSpPr/>
          <p:nvPr/>
        </p:nvSpPr>
        <p:spPr>
          <a:xfrm flipH="1">
            <a:off x="-153086" y="7546944"/>
            <a:ext cx="12634855" cy="4928250"/>
          </a:xfrm>
          <a:custGeom>
            <a:avLst/>
            <a:gdLst>
              <a:gd name="connsiteX0" fmla="*/ 24387176 w 24387176"/>
              <a:gd name="connsiteY0" fmla="*/ 0 h 9670217"/>
              <a:gd name="connsiteX1" fmla="*/ 24387176 w 24387176"/>
              <a:gd name="connsiteY1" fmla="*/ 9670217 h 9670217"/>
              <a:gd name="connsiteX2" fmla="*/ 0 w 24387176"/>
              <a:gd name="connsiteY2" fmla="*/ 9670217 h 9670217"/>
              <a:gd name="connsiteX3" fmla="*/ 0 w 24387176"/>
              <a:gd name="connsiteY3" fmla="*/ 8890652 h 9670217"/>
              <a:gd name="connsiteX4" fmla="*/ 2939143 w 24387176"/>
              <a:gd name="connsiteY4" fmla="*/ 9314858 h 9670217"/>
              <a:gd name="connsiteX5" fmla="*/ 5976258 w 24387176"/>
              <a:gd name="connsiteY5" fmla="*/ 8204516 h 9670217"/>
              <a:gd name="connsiteX6" fmla="*/ 8164287 w 24387176"/>
              <a:gd name="connsiteY6" fmla="*/ 8661716 h 9670217"/>
              <a:gd name="connsiteX7" fmla="*/ 12573000 w 24387176"/>
              <a:gd name="connsiteY7" fmla="*/ 7616687 h 9670217"/>
              <a:gd name="connsiteX8" fmla="*/ 14499771 w 24387176"/>
              <a:gd name="connsiteY8" fmla="*/ 8171858 h 9670217"/>
              <a:gd name="connsiteX9" fmla="*/ 17471572 w 24387176"/>
              <a:gd name="connsiteY9" fmla="*/ 5069430 h 9670217"/>
              <a:gd name="connsiteX10" fmla="*/ 19463656 w 24387176"/>
              <a:gd name="connsiteY10" fmla="*/ 5200058 h 9670217"/>
              <a:gd name="connsiteX11" fmla="*/ 21684344 w 24387176"/>
              <a:gd name="connsiteY11" fmla="*/ 3240631 h 9670217"/>
              <a:gd name="connsiteX12" fmla="*/ 22892656 w 24387176"/>
              <a:gd name="connsiteY12" fmla="*/ 3012030 h 9670217"/>
              <a:gd name="connsiteX0" fmla="*/ 24387176 w 24478616"/>
              <a:gd name="connsiteY0" fmla="*/ 9670217 h 9761657"/>
              <a:gd name="connsiteX1" fmla="*/ 0 w 24478616"/>
              <a:gd name="connsiteY1" fmla="*/ 9670217 h 9761657"/>
              <a:gd name="connsiteX2" fmla="*/ 0 w 24478616"/>
              <a:gd name="connsiteY2" fmla="*/ 8890652 h 9761657"/>
              <a:gd name="connsiteX3" fmla="*/ 2939143 w 24478616"/>
              <a:gd name="connsiteY3" fmla="*/ 9314858 h 9761657"/>
              <a:gd name="connsiteX4" fmla="*/ 5976258 w 24478616"/>
              <a:gd name="connsiteY4" fmla="*/ 8204516 h 9761657"/>
              <a:gd name="connsiteX5" fmla="*/ 8164287 w 24478616"/>
              <a:gd name="connsiteY5" fmla="*/ 8661716 h 9761657"/>
              <a:gd name="connsiteX6" fmla="*/ 12573000 w 24478616"/>
              <a:gd name="connsiteY6" fmla="*/ 7616687 h 9761657"/>
              <a:gd name="connsiteX7" fmla="*/ 14499771 w 24478616"/>
              <a:gd name="connsiteY7" fmla="*/ 8171858 h 9761657"/>
              <a:gd name="connsiteX8" fmla="*/ 17471572 w 24478616"/>
              <a:gd name="connsiteY8" fmla="*/ 5069430 h 9761657"/>
              <a:gd name="connsiteX9" fmla="*/ 19463656 w 24478616"/>
              <a:gd name="connsiteY9" fmla="*/ 5200058 h 9761657"/>
              <a:gd name="connsiteX10" fmla="*/ 21684344 w 24478616"/>
              <a:gd name="connsiteY10" fmla="*/ 3240631 h 9761657"/>
              <a:gd name="connsiteX11" fmla="*/ 22892656 w 24478616"/>
              <a:gd name="connsiteY11" fmla="*/ 3012030 h 9761657"/>
              <a:gd name="connsiteX12" fmla="*/ 24387176 w 24478616"/>
              <a:gd name="connsiteY12" fmla="*/ 0 h 9761657"/>
              <a:gd name="connsiteX13" fmla="*/ 24478616 w 24478616"/>
              <a:gd name="connsiteY13" fmla="*/ 9761657 h 9761657"/>
              <a:gd name="connsiteX0" fmla="*/ 24387176 w 24387176"/>
              <a:gd name="connsiteY0" fmla="*/ 9670217 h 9670217"/>
              <a:gd name="connsiteX1" fmla="*/ 0 w 24387176"/>
              <a:gd name="connsiteY1" fmla="*/ 9670217 h 9670217"/>
              <a:gd name="connsiteX2" fmla="*/ 0 w 24387176"/>
              <a:gd name="connsiteY2" fmla="*/ 8890652 h 9670217"/>
              <a:gd name="connsiteX3" fmla="*/ 2939143 w 24387176"/>
              <a:gd name="connsiteY3" fmla="*/ 9314858 h 9670217"/>
              <a:gd name="connsiteX4" fmla="*/ 5976258 w 24387176"/>
              <a:gd name="connsiteY4" fmla="*/ 8204516 h 9670217"/>
              <a:gd name="connsiteX5" fmla="*/ 8164287 w 24387176"/>
              <a:gd name="connsiteY5" fmla="*/ 8661716 h 9670217"/>
              <a:gd name="connsiteX6" fmla="*/ 12573000 w 24387176"/>
              <a:gd name="connsiteY6" fmla="*/ 7616687 h 9670217"/>
              <a:gd name="connsiteX7" fmla="*/ 14499771 w 24387176"/>
              <a:gd name="connsiteY7" fmla="*/ 8171858 h 9670217"/>
              <a:gd name="connsiteX8" fmla="*/ 17471572 w 24387176"/>
              <a:gd name="connsiteY8" fmla="*/ 5069430 h 9670217"/>
              <a:gd name="connsiteX9" fmla="*/ 19463656 w 24387176"/>
              <a:gd name="connsiteY9" fmla="*/ 5200058 h 9670217"/>
              <a:gd name="connsiteX10" fmla="*/ 21684344 w 24387176"/>
              <a:gd name="connsiteY10" fmla="*/ 3240631 h 9670217"/>
              <a:gd name="connsiteX11" fmla="*/ 22892656 w 24387176"/>
              <a:gd name="connsiteY11" fmla="*/ 3012030 h 9670217"/>
              <a:gd name="connsiteX12" fmla="*/ 24387176 w 24387176"/>
              <a:gd name="connsiteY12" fmla="*/ 0 h 9670217"/>
              <a:gd name="connsiteX0" fmla="*/ 0 w 24387176"/>
              <a:gd name="connsiteY0" fmla="*/ 9670217 h 9670217"/>
              <a:gd name="connsiteX1" fmla="*/ 0 w 24387176"/>
              <a:gd name="connsiteY1" fmla="*/ 8890652 h 9670217"/>
              <a:gd name="connsiteX2" fmla="*/ 2939143 w 24387176"/>
              <a:gd name="connsiteY2" fmla="*/ 9314858 h 9670217"/>
              <a:gd name="connsiteX3" fmla="*/ 5976258 w 24387176"/>
              <a:gd name="connsiteY3" fmla="*/ 8204516 h 9670217"/>
              <a:gd name="connsiteX4" fmla="*/ 8164287 w 24387176"/>
              <a:gd name="connsiteY4" fmla="*/ 8661716 h 9670217"/>
              <a:gd name="connsiteX5" fmla="*/ 12573000 w 24387176"/>
              <a:gd name="connsiteY5" fmla="*/ 7616687 h 9670217"/>
              <a:gd name="connsiteX6" fmla="*/ 14499771 w 24387176"/>
              <a:gd name="connsiteY6" fmla="*/ 8171858 h 9670217"/>
              <a:gd name="connsiteX7" fmla="*/ 17471572 w 24387176"/>
              <a:gd name="connsiteY7" fmla="*/ 5069430 h 9670217"/>
              <a:gd name="connsiteX8" fmla="*/ 19463656 w 24387176"/>
              <a:gd name="connsiteY8" fmla="*/ 5200058 h 9670217"/>
              <a:gd name="connsiteX9" fmla="*/ 21684344 w 24387176"/>
              <a:gd name="connsiteY9" fmla="*/ 3240631 h 9670217"/>
              <a:gd name="connsiteX10" fmla="*/ 22892656 w 24387176"/>
              <a:gd name="connsiteY10" fmla="*/ 3012030 h 9670217"/>
              <a:gd name="connsiteX11" fmla="*/ 24387176 w 24387176"/>
              <a:gd name="connsiteY11" fmla="*/ 0 h 9670217"/>
              <a:gd name="connsiteX0" fmla="*/ 0 w 24387176"/>
              <a:gd name="connsiteY0" fmla="*/ 8890652 h 9314858"/>
              <a:gd name="connsiteX1" fmla="*/ 2939143 w 24387176"/>
              <a:gd name="connsiteY1" fmla="*/ 9314858 h 9314858"/>
              <a:gd name="connsiteX2" fmla="*/ 5976258 w 24387176"/>
              <a:gd name="connsiteY2" fmla="*/ 8204516 h 9314858"/>
              <a:gd name="connsiteX3" fmla="*/ 8164287 w 24387176"/>
              <a:gd name="connsiteY3" fmla="*/ 8661716 h 9314858"/>
              <a:gd name="connsiteX4" fmla="*/ 12573000 w 24387176"/>
              <a:gd name="connsiteY4" fmla="*/ 7616687 h 9314858"/>
              <a:gd name="connsiteX5" fmla="*/ 14499771 w 24387176"/>
              <a:gd name="connsiteY5" fmla="*/ 8171858 h 9314858"/>
              <a:gd name="connsiteX6" fmla="*/ 17471572 w 24387176"/>
              <a:gd name="connsiteY6" fmla="*/ 5069430 h 9314858"/>
              <a:gd name="connsiteX7" fmla="*/ 19463656 w 24387176"/>
              <a:gd name="connsiteY7" fmla="*/ 5200058 h 9314858"/>
              <a:gd name="connsiteX8" fmla="*/ 21684344 w 24387176"/>
              <a:gd name="connsiteY8" fmla="*/ 3240631 h 9314858"/>
              <a:gd name="connsiteX9" fmla="*/ 22892656 w 24387176"/>
              <a:gd name="connsiteY9" fmla="*/ 3012030 h 9314858"/>
              <a:gd name="connsiteX10" fmla="*/ 24387176 w 24387176"/>
              <a:gd name="connsiteY10" fmla="*/ 0 h 9314858"/>
              <a:gd name="connsiteX0" fmla="*/ 0 w 25473026"/>
              <a:gd name="connsiteY0" fmla="*/ 9233552 h 9657758"/>
              <a:gd name="connsiteX1" fmla="*/ 2939143 w 25473026"/>
              <a:gd name="connsiteY1" fmla="*/ 9657758 h 9657758"/>
              <a:gd name="connsiteX2" fmla="*/ 5976258 w 25473026"/>
              <a:gd name="connsiteY2" fmla="*/ 8547416 h 9657758"/>
              <a:gd name="connsiteX3" fmla="*/ 8164287 w 25473026"/>
              <a:gd name="connsiteY3" fmla="*/ 9004616 h 9657758"/>
              <a:gd name="connsiteX4" fmla="*/ 12573000 w 25473026"/>
              <a:gd name="connsiteY4" fmla="*/ 7959587 h 9657758"/>
              <a:gd name="connsiteX5" fmla="*/ 14499771 w 25473026"/>
              <a:gd name="connsiteY5" fmla="*/ 8514758 h 9657758"/>
              <a:gd name="connsiteX6" fmla="*/ 17471572 w 25473026"/>
              <a:gd name="connsiteY6" fmla="*/ 5412330 h 9657758"/>
              <a:gd name="connsiteX7" fmla="*/ 19463656 w 25473026"/>
              <a:gd name="connsiteY7" fmla="*/ 5542958 h 9657758"/>
              <a:gd name="connsiteX8" fmla="*/ 21684344 w 25473026"/>
              <a:gd name="connsiteY8" fmla="*/ 3583531 h 9657758"/>
              <a:gd name="connsiteX9" fmla="*/ 22892656 w 25473026"/>
              <a:gd name="connsiteY9" fmla="*/ 3354930 h 9657758"/>
              <a:gd name="connsiteX10" fmla="*/ 25473026 w 25473026"/>
              <a:gd name="connsiteY10" fmla="*/ 0 h 9657758"/>
              <a:gd name="connsiteX0" fmla="*/ 0 w 24701501"/>
              <a:gd name="connsiteY0" fmla="*/ 9433577 h 9857783"/>
              <a:gd name="connsiteX1" fmla="*/ 2939143 w 24701501"/>
              <a:gd name="connsiteY1" fmla="*/ 9857783 h 9857783"/>
              <a:gd name="connsiteX2" fmla="*/ 5976258 w 24701501"/>
              <a:gd name="connsiteY2" fmla="*/ 8747441 h 9857783"/>
              <a:gd name="connsiteX3" fmla="*/ 8164287 w 24701501"/>
              <a:gd name="connsiteY3" fmla="*/ 9204641 h 9857783"/>
              <a:gd name="connsiteX4" fmla="*/ 12573000 w 24701501"/>
              <a:gd name="connsiteY4" fmla="*/ 8159612 h 9857783"/>
              <a:gd name="connsiteX5" fmla="*/ 14499771 w 24701501"/>
              <a:gd name="connsiteY5" fmla="*/ 8714783 h 9857783"/>
              <a:gd name="connsiteX6" fmla="*/ 17471572 w 24701501"/>
              <a:gd name="connsiteY6" fmla="*/ 5612355 h 9857783"/>
              <a:gd name="connsiteX7" fmla="*/ 19463656 w 24701501"/>
              <a:gd name="connsiteY7" fmla="*/ 5742983 h 9857783"/>
              <a:gd name="connsiteX8" fmla="*/ 21684344 w 24701501"/>
              <a:gd name="connsiteY8" fmla="*/ 3783556 h 9857783"/>
              <a:gd name="connsiteX9" fmla="*/ 22892656 w 24701501"/>
              <a:gd name="connsiteY9" fmla="*/ 3554955 h 9857783"/>
              <a:gd name="connsiteX10" fmla="*/ 24701501 w 24701501"/>
              <a:gd name="connsiteY10" fmla="*/ 0 h 9857783"/>
              <a:gd name="connsiteX0" fmla="*/ 0 w 25958801"/>
              <a:gd name="connsiteY0" fmla="*/ 9204977 h 9857783"/>
              <a:gd name="connsiteX1" fmla="*/ 4196443 w 25958801"/>
              <a:gd name="connsiteY1" fmla="*/ 9857783 h 9857783"/>
              <a:gd name="connsiteX2" fmla="*/ 7233558 w 25958801"/>
              <a:gd name="connsiteY2" fmla="*/ 8747441 h 9857783"/>
              <a:gd name="connsiteX3" fmla="*/ 9421587 w 25958801"/>
              <a:gd name="connsiteY3" fmla="*/ 9204641 h 9857783"/>
              <a:gd name="connsiteX4" fmla="*/ 13830300 w 25958801"/>
              <a:gd name="connsiteY4" fmla="*/ 8159612 h 9857783"/>
              <a:gd name="connsiteX5" fmla="*/ 15757071 w 25958801"/>
              <a:gd name="connsiteY5" fmla="*/ 8714783 h 9857783"/>
              <a:gd name="connsiteX6" fmla="*/ 18728872 w 25958801"/>
              <a:gd name="connsiteY6" fmla="*/ 5612355 h 9857783"/>
              <a:gd name="connsiteX7" fmla="*/ 20720956 w 25958801"/>
              <a:gd name="connsiteY7" fmla="*/ 5742983 h 9857783"/>
              <a:gd name="connsiteX8" fmla="*/ 22941644 w 25958801"/>
              <a:gd name="connsiteY8" fmla="*/ 3783556 h 9857783"/>
              <a:gd name="connsiteX9" fmla="*/ 24149956 w 25958801"/>
              <a:gd name="connsiteY9" fmla="*/ 3554955 h 9857783"/>
              <a:gd name="connsiteX10" fmla="*/ 25958801 w 259588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5071271 w 25273001"/>
              <a:gd name="connsiteY5" fmla="*/ 8714783 h 9857783"/>
              <a:gd name="connsiteX6" fmla="*/ 18043072 w 25273001"/>
              <a:gd name="connsiteY6" fmla="*/ 5612355 h 9857783"/>
              <a:gd name="connsiteX7" fmla="*/ 20035156 w 25273001"/>
              <a:gd name="connsiteY7" fmla="*/ 5742983 h 9857783"/>
              <a:gd name="connsiteX8" fmla="*/ 22255844 w 25273001"/>
              <a:gd name="connsiteY8" fmla="*/ 3783556 h 9857783"/>
              <a:gd name="connsiteX9" fmla="*/ 23464156 w 25273001"/>
              <a:gd name="connsiteY9" fmla="*/ 3554955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5071271 w 25273001"/>
              <a:gd name="connsiteY5" fmla="*/ 8714783 h 9857783"/>
              <a:gd name="connsiteX6" fmla="*/ 18043072 w 25273001"/>
              <a:gd name="connsiteY6" fmla="*/ 5612355 h 9857783"/>
              <a:gd name="connsiteX7" fmla="*/ 20035156 w 25273001"/>
              <a:gd name="connsiteY7" fmla="*/ 5742983 h 9857783"/>
              <a:gd name="connsiteX8" fmla="*/ 22255844 w 25273001"/>
              <a:gd name="connsiteY8" fmla="*/ 3783556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5071271 w 25273001"/>
              <a:gd name="connsiteY5" fmla="*/ 8714783 h 9857783"/>
              <a:gd name="connsiteX6" fmla="*/ 18043072 w 25273001"/>
              <a:gd name="connsiteY6" fmla="*/ 5612355 h 9857783"/>
              <a:gd name="connsiteX7" fmla="*/ 20035156 w 25273001"/>
              <a:gd name="connsiteY7" fmla="*/ 57429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5071271 w 25273001"/>
              <a:gd name="connsiteY5" fmla="*/ 8714783 h 9857783"/>
              <a:gd name="connsiteX6" fmla="*/ 18043072 w 25273001"/>
              <a:gd name="connsiteY6" fmla="*/ 56123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5071271 w 25273001"/>
              <a:gd name="connsiteY5" fmla="*/ 8714783 h 9857783"/>
              <a:gd name="connsiteX6" fmla="*/ 15442747 w 25273001"/>
              <a:gd name="connsiteY6" fmla="*/ 48122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3699671 w 25273001"/>
              <a:gd name="connsiteY5" fmla="*/ 7428908 h 9857783"/>
              <a:gd name="connsiteX6" fmla="*/ 15442747 w 25273001"/>
              <a:gd name="connsiteY6" fmla="*/ 48122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1801475 w 25273001"/>
              <a:gd name="connsiteY4" fmla="*/ 7959587 h 9857783"/>
              <a:gd name="connsiteX5" fmla="*/ 13699671 w 25273001"/>
              <a:gd name="connsiteY5" fmla="*/ 7428908 h 9857783"/>
              <a:gd name="connsiteX6" fmla="*/ 15442747 w 25273001"/>
              <a:gd name="connsiteY6" fmla="*/ 48122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1801475 w 25273001"/>
              <a:gd name="connsiteY4" fmla="*/ 7959587 h 9857783"/>
              <a:gd name="connsiteX5" fmla="*/ 14124974 w 25273001"/>
              <a:gd name="connsiteY5" fmla="*/ 8959996 h 9857783"/>
              <a:gd name="connsiteX6" fmla="*/ 15442747 w 25273001"/>
              <a:gd name="connsiteY6" fmla="*/ 48122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1737679 w 25273001"/>
              <a:gd name="connsiteY4" fmla="*/ 7427959 h 9857783"/>
              <a:gd name="connsiteX5" fmla="*/ 14124974 w 25273001"/>
              <a:gd name="connsiteY5" fmla="*/ 8959996 h 9857783"/>
              <a:gd name="connsiteX6" fmla="*/ 15442747 w 25273001"/>
              <a:gd name="connsiteY6" fmla="*/ 48122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10480548"/>
              <a:gd name="connsiteX1" fmla="*/ 3510643 w 25273001"/>
              <a:gd name="connsiteY1" fmla="*/ 9857783 h 10480548"/>
              <a:gd name="connsiteX2" fmla="*/ 6547758 w 25273001"/>
              <a:gd name="connsiteY2" fmla="*/ 8747441 h 10480548"/>
              <a:gd name="connsiteX3" fmla="*/ 8714522 w 25273001"/>
              <a:gd name="connsiteY3" fmla="*/ 10480548 h 10480548"/>
              <a:gd name="connsiteX4" fmla="*/ 11737679 w 25273001"/>
              <a:gd name="connsiteY4" fmla="*/ 7427959 h 10480548"/>
              <a:gd name="connsiteX5" fmla="*/ 14124974 w 25273001"/>
              <a:gd name="connsiteY5" fmla="*/ 8959996 h 10480548"/>
              <a:gd name="connsiteX6" fmla="*/ 15442747 w 25273001"/>
              <a:gd name="connsiteY6" fmla="*/ 4812255 h 10480548"/>
              <a:gd name="connsiteX7" fmla="*/ 18920731 w 25273001"/>
              <a:gd name="connsiteY7" fmla="*/ 7686083 h 10480548"/>
              <a:gd name="connsiteX8" fmla="*/ 20827094 w 25273001"/>
              <a:gd name="connsiteY8" fmla="*/ 6098131 h 10480548"/>
              <a:gd name="connsiteX9" fmla="*/ 23321281 w 25273001"/>
              <a:gd name="connsiteY9" fmla="*/ 7984080 h 10480548"/>
              <a:gd name="connsiteX10" fmla="*/ 25273001 w 25273001"/>
              <a:gd name="connsiteY10" fmla="*/ 0 h 10480548"/>
              <a:gd name="connsiteX0" fmla="*/ 0 w 25273001"/>
              <a:gd name="connsiteY0" fmla="*/ 9347852 h 10480548"/>
              <a:gd name="connsiteX1" fmla="*/ 3510643 w 25273001"/>
              <a:gd name="connsiteY1" fmla="*/ 9857783 h 10480548"/>
              <a:gd name="connsiteX2" fmla="*/ 7121916 w 25273001"/>
              <a:gd name="connsiteY2" fmla="*/ 8088222 h 10480548"/>
              <a:gd name="connsiteX3" fmla="*/ 8714522 w 25273001"/>
              <a:gd name="connsiteY3" fmla="*/ 10480548 h 10480548"/>
              <a:gd name="connsiteX4" fmla="*/ 11737679 w 25273001"/>
              <a:gd name="connsiteY4" fmla="*/ 7427959 h 10480548"/>
              <a:gd name="connsiteX5" fmla="*/ 14124974 w 25273001"/>
              <a:gd name="connsiteY5" fmla="*/ 8959996 h 10480548"/>
              <a:gd name="connsiteX6" fmla="*/ 15442747 w 25273001"/>
              <a:gd name="connsiteY6" fmla="*/ 4812255 h 10480548"/>
              <a:gd name="connsiteX7" fmla="*/ 18920731 w 25273001"/>
              <a:gd name="connsiteY7" fmla="*/ 7686083 h 10480548"/>
              <a:gd name="connsiteX8" fmla="*/ 20827094 w 25273001"/>
              <a:gd name="connsiteY8" fmla="*/ 6098131 h 10480548"/>
              <a:gd name="connsiteX9" fmla="*/ 23321281 w 25273001"/>
              <a:gd name="connsiteY9" fmla="*/ 7984080 h 10480548"/>
              <a:gd name="connsiteX10" fmla="*/ 25273001 w 25273001"/>
              <a:gd name="connsiteY10" fmla="*/ 0 h 10480548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7121916 w 25273001"/>
              <a:gd name="connsiteY2" fmla="*/ 8088222 h 9857783"/>
              <a:gd name="connsiteX3" fmla="*/ 8629462 w 25273001"/>
              <a:gd name="connsiteY3" fmla="*/ 9736269 h 9857783"/>
              <a:gd name="connsiteX4" fmla="*/ 11737679 w 25273001"/>
              <a:gd name="connsiteY4" fmla="*/ 7427959 h 9857783"/>
              <a:gd name="connsiteX5" fmla="*/ 14124974 w 25273001"/>
              <a:gd name="connsiteY5" fmla="*/ 8959996 h 9857783"/>
              <a:gd name="connsiteX6" fmla="*/ 15442747 w 25273001"/>
              <a:gd name="connsiteY6" fmla="*/ 48122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7121916 w 25273001"/>
              <a:gd name="connsiteY2" fmla="*/ 8088222 h 9857783"/>
              <a:gd name="connsiteX3" fmla="*/ 8629462 w 25273001"/>
              <a:gd name="connsiteY3" fmla="*/ 9736269 h 9857783"/>
              <a:gd name="connsiteX4" fmla="*/ 11737679 w 25273001"/>
              <a:gd name="connsiteY4" fmla="*/ 7427959 h 9857783"/>
              <a:gd name="connsiteX5" fmla="*/ 14124974 w 25273001"/>
              <a:gd name="connsiteY5" fmla="*/ 8959996 h 9857783"/>
              <a:gd name="connsiteX6" fmla="*/ 15442747 w 25273001"/>
              <a:gd name="connsiteY6" fmla="*/ 4812255 h 9857783"/>
              <a:gd name="connsiteX7" fmla="*/ 18474165 w 25273001"/>
              <a:gd name="connsiteY7" fmla="*/ 86004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7121916 w 25273001"/>
              <a:gd name="connsiteY2" fmla="*/ 8088222 h 9857783"/>
              <a:gd name="connsiteX3" fmla="*/ 8629462 w 25273001"/>
              <a:gd name="connsiteY3" fmla="*/ 9736269 h 9857783"/>
              <a:gd name="connsiteX4" fmla="*/ 11737679 w 25273001"/>
              <a:gd name="connsiteY4" fmla="*/ 7427959 h 9857783"/>
              <a:gd name="connsiteX5" fmla="*/ 14124974 w 25273001"/>
              <a:gd name="connsiteY5" fmla="*/ 8959996 h 9857783"/>
              <a:gd name="connsiteX6" fmla="*/ 16208291 w 25273001"/>
              <a:gd name="connsiteY6" fmla="*/ 5386413 h 9857783"/>
              <a:gd name="connsiteX7" fmla="*/ 18474165 w 25273001"/>
              <a:gd name="connsiteY7" fmla="*/ 86004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7121916 w 25273001"/>
              <a:gd name="connsiteY2" fmla="*/ 8088222 h 9857783"/>
              <a:gd name="connsiteX3" fmla="*/ 9203620 w 25273001"/>
              <a:gd name="connsiteY3" fmla="*/ 9140846 h 9857783"/>
              <a:gd name="connsiteX4" fmla="*/ 11737679 w 25273001"/>
              <a:gd name="connsiteY4" fmla="*/ 7427959 h 9857783"/>
              <a:gd name="connsiteX5" fmla="*/ 14124974 w 25273001"/>
              <a:gd name="connsiteY5" fmla="*/ 8959996 h 9857783"/>
              <a:gd name="connsiteX6" fmla="*/ 16208291 w 25273001"/>
              <a:gd name="connsiteY6" fmla="*/ 5386413 h 9857783"/>
              <a:gd name="connsiteX7" fmla="*/ 18474165 w 25273001"/>
              <a:gd name="connsiteY7" fmla="*/ 86004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824205 w 25273001"/>
              <a:gd name="connsiteY2" fmla="*/ 8109487 h 9857783"/>
              <a:gd name="connsiteX3" fmla="*/ 9203620 w 25273001"/>
              <a:gd name="connsiteY3" fmla="*/ 9140846 h 9857783"/>
              <a:gd name="connsiteX4" fmla="*/ 11737679 w 25273001"/>
              <a:gd name="connsiteY4" fmla="*/ 7427959 h 9857783"/>
              <a:gd name="connsiteX5" fmla="*/ 14124974 w 25273001"/>
              <a:gd name="connsiteY5" fmla="*/ 8959996 h 9857783"/>
              <a:gd name="connsiteX6" fmla="*/ 16208291 w 25273001"/>
              <a:gd name="connsiteY6" fmla="*/ 5386413 h 9857783"/>
              <a:gd name="connsiteX7" fmla="*/ 18474165 w 25273001"/>
              <a:gd name="connsiteY7" fmla="*/ 86004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273001" h="9857783">
                <a:moveTo>
                  <a:pt x="0" y="9347852"/>
                </a:moveTo>
                <a:lnTo>
                  <a:pt x="3510643" y="9857783"/>
                </a:lnTo>
                <a:lnTo>
                  <a:pt x="6824205" y="8109487"/>
                </a:lnTo>
                <a:lnTo>
                  <a:pt x="9203620" y="9140846"/>
                </a:lnTo>
                <a:lnTo>
                  <a:pt x="11737679" y="7427959"/>
                </a:lnTo>
                <a:lnTo>
                  <a:pt x="14124974" y="8959996"/>
                </a:lnTo>
                <a:lnTo>
                  <a:pt x="16208291" y="5386413"/>
                </a:lnTo>
                <a:lnTo>
                  <a:pt x="18474165" y="8600483"/>
                </a:lnTo>
                <a:lnTo>
                  <a:pt x="20827094" y="6098131"/>
                </a:lnTo>
                <a:lnTo>
                  <a:pt x="23321281" y="7984080"/>
                </a:lnTo>
                <a:lnTo>
                  <a:pt x="25273001" y="0"/>
                </a:lnTo>
              </a:path>
            </a:pathLst>
          </a:custGeom>
          <a:noFill/>
          <a:ln w="127000">
            <a:gradFill>
              <a:gsLst>
                <a:gs pos="100000">
                  <a:srgbClr val="FF3C3B"/>
                </a:gs>
                <a:gs pos="0">
                  <a:srgbClr val="C00000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900"/>
          </a:p>
        </p:txBody>
      </p:sp>
    </p:spTree>
    <p:extLst>
      <p:ext uri="{BB962C8B-B14F-4D97-AF65-F5344CB8AC3E}">
        <p14:creationId xmlns:p14="http://schemas.microsoft.com/office/powerpoint/2010/main" val="17469618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1BC1948-9D94-C626-0E4D-1E4FDFC3BD63}"/>
              </a:ext>
            </a:extLst>
          </p:cNvPr>
          <p:cNvSpPr/>
          <p:nvPr/>
        </p:nvSpPr>
        <p:spPr>
          <a:xfrm>
            <a:off x="0" y="50"/>
            <a:ext cx="12201835" cy="6857901"/>
          </a:xfrm>
          <a:prstGeom prst="rect">
            <a:avLst/>
          </a:prstGeom>
          <a:solidFill>
            <a:srgbClr val="65070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graphicFrame>
        <p:nvGraphicFramePr>
          <p:cNvPr id="118" name="Объект 1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76" y="16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18" progId="TCLayout.ActiveDocument.1">
                  <p:embed/>
                </p:oleObj>
              </mc:Choice>
              <mc:Fallback>
                <p:oleObj name="Слайд think-cell" r:id="rId3" imgW="353" imgH="318" progId="TCLayout.ActiveDocument.1">
                  <p:embed/>
                  <p:pic>
                    <p:nvPicPr>
                      <p:cNvPr id="118" name="Объект 11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76" y="16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88A83389-7EA1-B247-B19B-97A248C8F49C}"/>
              </a:ext>
            </a:extLst>
          </p:cNvPr>
          <p:cNvSpPr/>
          <p:nvPr/>
        </p:nvSpPr>
        <p:spPr>
          <a:xfrm flipH="1">
            <a:off x="8137336" y="3232980"/>
            <a:ext cx="2025400" cy="3616178"/>
          </a:xfrm>
          <a:prstGeom prst="rect">
            <a:avLst/>
          </a:prstGeom>
          <a:gradFill>
            <a:gsLst>
              <a:gs pos="99000">
                <a:srgbClr val="FF3C3B">
                  <a:alpha val="11894"/>
                </a:srgbClr>
              </a:gs>
              <a:gs pos="0">
                <a:srgbClr val="FF3C3B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236E1890-C84A-BA48-964F-019C88BAF344}"/>
              </a:ext>
            </a:extLst>
          </p:cNvPr>
          <p:cNvSpPr/>
          <p:nvPr/>
        </p:nvSpPr>
        <p:spPr>
          <a:xfrm flipH="1">
            <a:off x="4070696" y="1659366"/>
            <a:ext cx="2025400" cy="5194071"/>
          </a:xfrm>
          <a:prstGeom prst="rect">
            <a:avLst/>
          </a:prstGeom>
          <a:gradFill>
            <a:gsLst>
              <a:gs pos="99000">
                <a:srgbClr val="FF3C3B">
                  <a:alpha val="11894"/>
                </a:srgbClr>
              </a:gs>
              <a:gs pos="0">
                <a:srgbClr val="FF3C3B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0EB6B31E-B3A0-6B42-9E09-685B1EF40192}"/>
              </a:ext>
            </a:extLst>
          </p:cNvPr>
          <p:cNvSpPr/>
          <p:nvPr/>
        </p:nvSpPr>
        <p:spPr>
          <a:xfrm flipH="1">
            <a:off x="4056" y="49"/>
            <a:ext cx="2025400" cy="6857902"/>
          </a:xfrm>
          <a:prstGeom prst="rect">
            <a:avLst/>
          </a:prstGeom>
          <a:gradFill>
            <a:gsLst>
              <a:gs pos="99000">
                <a:srgbClr val="FF3C3B">
                  <a:alpha val="11894"/>
                </a:srgbClr>
              </a:gs>
              <a:gs pos="0">
                <a:srgbClr val="FF3C3B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42" name="Полилиния 41">
            <a:extLst>
              <a:ext uri="{FF2B5EF4-FFF2-40B4-BE49-F238E27FC236}">
                <a16:creationId xmlns:a16="http://schemas.microsoft.com/office/drawing/2014/main" id="{7B62A7F5-5C34-9744-A09C-D7208F4A7378}"/>
              </a:ext>
            </a:extLst>
          </p:cNvPr>
          <p:cNvSpPr/>
          <p:nvPr/>
        </p:nvSpPr>
        <p:spPr>
          <a:xfrm flipH="1">
            <a:off x="4055" y="3525466"/>
            <a:ext cx="12192000" cy="3327971"/>
          </a:xfrm>
          <a:custGeom>
            <a:avLst/>
            <a:gdLst>
              <a:gd name="connsiteX0" fmla="*/ 2431514 w 24387177"/>
              <a:gd name="connsiteY0" fmla="*/ 9670217 h 10098842"/>
              <a:gd name="connsiteX1" fmla="*/ 2939144 w 24387177"/>
              <a:gd name="connsiteY1" fmla="*/ 9743483 h 10098842"/>
              <a:gd name="connsiteX2" fmla="*/ 3139548 w 24387177"/>
              <a:gd name="connsiteY2" fmla="*/ 9670217 h 10098842"/>
              <a:gd name="connsiteX3" fmla="*/ 24387177 w 24387177"/>
              <a:gd name="connsiteY3" fmla="*/ 0 h 10098842"/>
              <a:gd name="connsiteX4" fmla="*/ 24387177 w 24387177"/>
              <a:gd name="connsiteY4" fmla="*/ 428625 h 10098842"/>
              <a:gd name="connsiteX5" fmla="*/ 24387177 w 24387177"/>
              <a:gd name="connsiteY5" fmla="*/ 9670217 h 10098842"/>
              <a:gd name="connsiteX6" fmla="*/ 24387177 w 24387177"/>
              <a:gd name="connsiteY6" fmla="*/ 10098842 h 10098842"/>
              <a:gd name="connsiteX7" fmla="*/ 0 w 24387177"/>
              <a:gd name="connsiteY7" fmla="*/ 10098842 h 10098842"/>
              <a:gd name="connsiteX8" fmla="*/ 0 w 24387177"/>
              <a:gd name="connsiteY8" fmla="*/ 9670217 h 10098842"/>
              <a:gd name="connsiteX9" fmla="*/ 0 w 24387177"/>
              <a:gd name="connsiteY9" fmla="*/ 9319277 h 10098842"/>
              <a:gd name="connsiteX10" fmla="*/ 0 w 24387177"/>
              <a:gd name="connsiteY10" fmla="*/ 8890652 h 10098842"/>
              <a:gd name="connsiteX11" fmla="*/ 2939144 w 24387177"/>
              <a:gd name="connsiteY11" fmla="*/ 9314858 h 10098842"/>
              <a:gd name="connsiteX12" fmla="*/ 5976258 w 24387177"/>
              <a:gd name="connsiteY12" fmla="*/ 8204516 h 10098842"/>
              <a:gd name="connsiteX13" fmla="*/ 8164287 w 24387177"/>
              <a:gd name="connsiteY13" fmla="*/ 8661716 h 10098842"/>
              <a:gd name="connsiteX14" fmla="*/ 12573000 w 24387177"/>
              <a:gd name="connsiteY14" fmla="*/ 7616687 h 10098842"/>
              <a:gd name="connsiteX15" fmla="*/ 14499771 w 24387177"/>
              <a:gd name="connsiteY15" fmla="*/ 8171858 h 10098842"/>
              <a:gd name="connsiteX16" fmla="*/ 17471573 w 24387177"/>
              <a:gd name="connsiteY16" fmla="*/ 5069430 h 10098842"/>
              <a:gd name="connsiteX17" fmla="*/ 19463657 w 24387177"/>
              <a:gd name="connsiteY17" fmla="*/ 5200058 h 10098842"/>
              <a:gd name="connsiteX18" fmla="*/ 21684345 w 24387177"/>
              <a:gd name="connsiteY18" fmla="*/ 3240631 h 10098842"/>
              <a:gd name="connsiteX19" fmla="*/ 22892657 w 24387177"/>
              <a:gd name="connsiteY19" fmla="*/ 3012030 h 10098842"/>
              <a:gd name="connsiteX0" fmla="*/ 2431514 w 24387177"/>
              <a:gd name="connsiteY0" fmla="*/ 9670217 h 10098842"/>
              <a:gd name="connsiteX1" fmla="*/ 3139548 w 24387177"/>
              <a:gd name="connsiteY1" fmla="*/ 9670217 h 10098842"/>
              <a:gd name="connsiteX2" fmla="*/ 2431514 w 24387177"/>
              <a:gd name="connsiteY2" fmla="*/ 9670217 h 10098842"/>
              <a:gd name="connsiteX3" fmla="*/ 24387177 w 24387177"/>
              <a:gd name="connsiteY3" fmla="*/ 0 h 10098842"/>
              <a:gd name="connsiteX4" fmla="*/ 24387177 w 24387177"/>
              <a:gd name="connsiteY4" fmla="*/ 428625 h 10098842"/>
              <a:gd name="connsiteX5" fmla="*/ 24387177 w 24387177"/>
              <a:gd name="connsiteY5" fmla="*/ 9670217 h 10098842"/>
              <a:gd name="connsiteX6" fmla="*/ 24387177 w 24387177"/>
              <a:gd name="connsiteY6" fmla="*/ 10098842 h 10098842"/>
              <a:gd name="connsiteX7" fmla="*/ 0 w 24387177"/>
              <a:gd name="connsiteY7" fmla="*/ 10098842 h 10098842"/>
              <a:gd name="connsiteX8" fmla="*/ 0 w 24387177"/>
              <a:gd name="connsiteY8" fmla="*/ 9670217 h 10098842"/>
              <a:gd name="connsiteX9" fmla="*/ 0 w 24387177"/>
              <a:gd name="connsiteY9" fmla="*/ 9319277 h 10098842"/>
              <a:gd name="connsiteX10" fmla="*/ 0 w 24387177"/>
              <a:gd name="connsiteY10" fmla="*/ 8890652 h 10098842"/>
              <a:gd name="connsiteX11" fmla="*/ 2939144 w 24387177"/>
              <a:gd name="connsiteY11" fmla="*/ 9314858 h 10098842"/>
              <a:gd name="connsiteX12" fmla="*/ 5976258 w 24387177"/>
              <a:gd name="connsiteY12" fmla="*/ 8204516 h 10098842"/>
              <a:gd name="connsiteX13" fmla="*/ 8164287 w 24387177"/>
              <a:gd name="connsiteY13" fmla="*/ 8661716 h 10098842"/>
              <a:gd name="connsiteX14" fmla="*/ 12573000 w 24387177"/>
              <a:gd name="connsiteY14" fmla="*/ 7616687 h 10098842"/>
              <a:gd name="connsiteX15" fmla="*/ 14499771 w 24387177"/>
              <a:gd name="connsiteY15" fmla="*/ 8171858 h 10098842"/>
              <a:gd name="connsiteX16" fmla="*/ 17471573 w 24387177"/>
              <a:gd name="connsiteY16" fmla="*/ 5069430 h 10098842"/>
              <a:gd name="connsiteX17" fmla="*/ 19463657 w 24387177"/>
              <a:gd name="connsiteY17" fmla="*/ 5200058 h 10098842"/>
              <a:gd name="connsiteX18" fmla="*/ 21684345 w 24387177"/>
              <a:gd name="connsiteY18" fmla="*/ 3240631 h 10098842"/>
              <a:gd name="connsiteX19" fmla="*/ 22892657 w 24387177"/>
              <a:gd name="connsiteY19" fmla="*/ 3012030 h 10098842"/>
              <a:gd name="connsiteX20" fmla="*/ 24387177 w 24387177"/>
              <a:gd name="connsiteY20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573000 w 24387177"/>
              <a:gd name="connsiteY11" fmla="*/ 7616687 h 10098842"/>
              <a:gd name="connsiteX12" fmla="*/ 14499771 w 24387177"/>
              <a:gd name="connsiteY12" fmla="*/ 8171858 h 10098842"/>
              <a:gd name="connsiteX13" fmla="*/ 17471573 w 24387177"/>
              <a:gd name="connsiteY13" fmla="*/ 5069430 h 10098842"/>
              <a:gd name="connsiteX14" fmla="*/ 19463657 w 24387177"/>
              <a:gd name="connsiteY14" fmla="*/ 520005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5189072 h 10098842"/>
              <a:gd name="connsiteX12" fmla="*/ 14499771 w 24387177"/>
              <a:gd name="connsiteY12" fmla="*/ 8171858 h 10098842"/>
              <a:gd name="connsiteX13" fmla="*/ 17471573 w 24387177"/>
              <a:gd name="connsiteY13" fmla="*/ 5069430 h 10098842"/>
              <a:gd name="connsiteX14" fmla="*/ 19463657 w 24387177"/>
              <a:gd name="connsiteY14" fmla="*/ 520005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499771 w 24387177"/>
              <a:gd name="connsiteY12" fmla="*/ 8171858 h 10098842"/>
              <a:gd name="connsiteX13" fmla="*/ 17471573 w 24387177"/>
              <a:gd name="connsiteY13" fmla="*/ 5069430 h 10098842"/>
              <a:gd name="connsiteX14" fmla="*/ 19463657 w 24387177"/>
              <a:gd name="connsiteY14" fmla="*/ 520005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471573 w 24387177"/>
              <a:gd name="connsiteY13" fmla="*/ 5069430 h 10098842"/>
              <a:gd name="connsiteX14" fmla="*/ 19463657 w 24387177"/>
              <a:gd name="connsiteY14" fmla="*/ 520005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463657 w 24387177"/>
              <a:gd name="connsiteY14" fmla="*/ 520005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3492732 w 24387177"/>
              <a:gd name="connsiteY16" fmla="*/ 6393351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3178408 w 24387177"/>
              <a:gd name="connsiteY16" fmla="*/ 604655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2892659 w 24387177"/>
              <a:gd name="connsiteY16" fmla="*/ 5526347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2721211 w 24387177"/>
              <a:gd name="connsiteY16" fmla="*/ 5916499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078562 w 24387177"/>
              <a:gd name="connsiteY10" fmla="*/ 9442021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2721211 w 24387177"/>
              <a:gd name="connsiteY16" fmla="*/ 5916499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4804683 w 24387177"/>
              <a:gd name="connsiteY9" fmla="*/ 6817308 h 10098842"/>
              <a:gd name="connsiteX10" fmla="*/ 8078562 w 24387177"/>
              <a:gd name="connsiteY10" fmla="*/ 9442021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2721211 w 24387177"/>
              <a:gd name="connsiteY16" fmla="*/ 5916499 h 10098842"/>
              <a:gd name="connsiteX17" fmla="*/ 24387177 w 24387177"/>
              <a:gd name="connsiteY17" fmla="*/ 0 h 1009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4387177" h="10098842">
                <a:moveTo>
                  <a:pt x="24387177" y="0"/>
                </a:moveTo>
                <a:lnTo>
                  <a:pt x="24387177" y="428625"/>
                </a:lnTo>
                <a:lnTo>
                  <a:pt x="24387177" y="9670217"/>
                </a:lnTo>
                <a:lnTo>
                  <a:pt x="24387177" y="10098842"/>
                </a:lnTo>
                <a:lnTo>
                  <a:pt x="0" y="10098842"/>
                </a:lnTo>
                <a:lnTo>
                  <a:pt x="0" y="9670217"/>
                </a:lnTo>
                <a:lnTo>
                  <a:pt x="0" y="9319277"/>
                </a:lnTo>
                <a:lnTo>
                  <a:pt x="0" y="8890652"/>
                </a:lnTo>
                <a:lnTo>
                  <a:pt x="2939144" y="9314858"/>
                </a:lnTo>
                <a:lnTo>
                  <a:pt x="4804683" y="6817308"/>
                </a:lnTo>
                <a:lnTo>
                  <a:pt x="8078562" y="9442021"/>
                </a:lnTo>
                <a:lnTo>
                  <a:pt x="12230100" y="6532930"/>
                </a:lnTo>
                <a:lnTo>
                  <a:pt x="14871246" y="6871350"/>
                </a:lnTo>
                <a:lnTo>
                  <a:pt x="17328698" y="3118668"/>
                </a:lnTo>
                <a:lnTo>
                  <a:pt x="19777982" y="6717318"/>
                </a:lnTo>
                <a:lnTo>
                  <a:pt x="21684345" y="3240631"/>
                </a:lnTo>
                <a:lnTo>
                  <a:pt x="22721211" y="5916499"/>
                </a:lnTo>
                <a:lnTo>
                  <a:pt x="24387177" y="0"/>
                </a:lnTo>
                <a:close/>
              </a:path>
            </a:pathLst>
          </a:custGeom>
          <a:gradFill>
            <a:gsLst>
              <a:gs pos="99000">
                <a:srgbClr val="FF0000">
                  <a:alpha val="25879"/>
                </a:srgbClr>
              </a:gs>
              <a:gs pos="0">
                <a:srgbClr val="FF0000">
                  <a:alpha val="48189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900" dirty="0"/>
          </a:p>
        </p:txBody>
      </p:sp>
      <p:sp>
        <p:nvSpPr>
          <p:cNvPr id="45" name="Полилиния 44">
            <a:extLst>
              <a:ext uri="{FF2B5EF4-FFF2-40B4-BE49-F238E27FC236}">
                <a16:creationId xmlns:a16="http://schemas.microsoft.com/office/drawing/2014/main" id="{C5CEF1E1-6821-0543-AFBE-B681BC9B015E}"/>
              </a:ext>
            </a:extLst>
          </p:cNvPr>
          <p:cNvSpPr/>
          <p:nvPr/>
        </p:nvSpPr>
        <p:spPr>
          <a:xfrm flipH="1">
            <a:off x="-153086" y="1516524"/>
            <a:ext cx="12634855" cy="4928250"/>
          </a:xfrm>
          <a:custGeom>
            <a:avLst/>
            <a:gdLst>
              <a:gd name="connsiteX0" fmla="*/ 24387176 w 24387176"/>
              <a:gd name="connsiteY0" fmla="*/ 0 h 9670217"/>
              <a:gd name="connsiteX1" fmla="*/ 24387176 w 24387176"/>
              <a:gd name="connsiteY1" fmla="*/ 9670217 h 9670217"/>
              <a:gd name="connsiteX2" fmla="*/ 0 w 24387176"/>
              <a:gd name="connsiteY2" fmla="*/ 9670217 h 9670217"/>
              <a:gd name="connsiteX3" fmla="*/ 0 w 24387176"/>
              <a:gd name="connsiteY3" fmla="*/ 8890652 h 9670217"/>
              <a:gd name="connsiteX4" fmla="*/ 2939143 w 24387176"/>
              <a:gd name="connsiteY4" fmla="*/ 9314858 h 9670217"/>
              <a:gd name="connsiteX5" fmla="*/ 5976258 w 24387176"/>
              <a:gd name="connsiteY5" fmla="*/ 8204516 h 9670217"/>
              <a:gd name="connsiteX6" fmla="*/ 8164287 w 24387176"/>
              <a:gd name="connsiteY6" fmla="*/ 8661716 h 9670217"/>
              <a:gd name="connsiteX7" fmla="*/ 12573000 w 24387176"/>
              <a:gd name="connsiteY7" fmla="*/ 7616687 h 9670217"/>
              <a:gd name="connsiteX8" fmla="*/ 14499771 w 24387176"/>
              <a:gd name="connsiteY8" fmla="*/ 8171858 h 9670217"/>
              <a:gd name="connsiteX9" fmla="*/ 17471572 w 24387176"/>
              <a:gd name="connsiteY9" fmla="*/ 5069430 h 9670217"/>
              <a:gd name="connsiteX10" fmla="*/ 19463656 w 24387176"/>
              <a:gd name="connsiteY10" fmla="*/ 5200058 h 9670217"/>
              <a:gd name="connsiteX11" fmla="*/ 21684344 w 24387176"/>
              <a:gd name="connsiteY11" fmla="*/ 3240631 h 9670217"/>
              <a:gd name="connsiteX12" fmla="*/ 22892656 w 24387176"/>
              <a:gd name="connsiteY12" fmla="*/ 3012030 h 9670217"/>
              <a:gd name="connsiteX0" fmla="*/ 24387176 w 24478616"/>
              <a:gd name="connsiteY0" fmla="*/ 9670217 h 9761657"/>
              <a:gd name="connsiteX1" fmla="*/ 0 w 24478616"/>
              <a:gd name="connsiteY1" fmla="*/ 9670217 h 9761657"/>
              <a:gd name="connsiteX2" fmla="*/ 0 w 24478616"/>
              <a:gd name="connsiteY2" fmla="*/ 8890652 h 9761657"/>
              <a:gd name="connsiteX3" fmla="*/ 2939143 w 24478616"/>
              <a:gd name="connsiteY3" fmla="*/ 9314858 h 9761657"/>
              <a:gd name="connsiteX4" fmla="*/ 5976258 w 24478616"/>
              <a:gd name="connsiteY4" fmla="*/ 8204516 h 9761657"/>
              <a:gd name="connsiteX5" fmla="*/ 8164287 w 24478616"/>
              <a:gd name="connsiteY5" fmla="*/ 8661716 h 9761657"/>
              <a:gd name="connsiteX6" fmla="*/ 12573000 w 24478616"/>
              <a:gd name="connsiteY6" fmla="*/ 7616687 h 9761657"/>
              <a:gd name="connsiteX7" fmla="*/ 14499771 w 24478616"/>
              <a:gd name="connsiteY7" fmla="*/ 8171858 h 9761657"/>
              <a:gd name="connsiteX8" fmla="*/ 17471572 w 24478616"/>
              <a:gd name="connsiteY8" fmla="*/ 5069430 h 9761657"/>
              <a:gd name="connsiteX9" fmla="*/ 19463656 w 24478616"/>
              <a:gd name="connsiteY9" fmla="*/ 5200058 h 9761657"/>
              <a:gd name="connsiteX10" fmla="*/ 21684344 w 24478616"/>
              <a:gd name="connsiteY10" fmla="*/ 3240631 h 9761657"/>
              <a:gd name="connsiteX11" fmla="*/ 22892656 w 24478616"/>
              <a:gd name="connsiteY11" fmla="*/ 3012030 h 9761657"/>
              <a:gd name="connsiteX12" fmla="*/ 24387176 w 24478616"/>
              <a:gd name="connsiteY12" fmla="*/ 0 h 9761657"/>
              <a:gd name="connsiteX13" fmla="*/ 24478616 w 24478616"/>
              <a:gd name="connsiteY13" fmla="*/ 9761657 h 9761657"/>
              <a:gd name="connsiteX0" fmla="*/ 24387176 w 24387176"/>
              <a:gd name="connsiteY0" fmla="*/ 9670217 h 9670217"/>
              <a:gd name="connsiteX1" fmla="*/ 0 w 24387176"/>
              <a:gd name="connsiteY1" fmla="*/ 9670217 h 9670217"/>
              <a:gd name="connsiteX2" fmla="*/ 0 w 24387176"/>
              <a:gd name="connsiteY2" fmla="*/ 8890652 h 9670217"/>
              <a:gd name="connsiteX3" fmla="*/ 2939143 w 24387176"/>
              <a:gd name="connsiteY3" fmla="*/ 9314858 h 9670217"/>
              <a:gd name="connsiteX4" fmla="*/ 5976258 w 24387176"/>
              <a:gd name="connsiteY4" fmla="*/ 8204516 h 9670217"/>
              <a:gd name="connsiteX5" fmla="*/ 8164287 w 24387176"/>
              <a:gd name="connsiteY5" fmla="*/ 8661716 h 9670217"/>
              <a:gd name="connsiteX6" fmla="*/ 12573000 w 24387176"/>
              <a:gd name="connsiteY6" fmla="*/ 7616687 h 9670217"/>
              <a:gd name="connsiteX7" fmla="*/ 14499771 w 24387176"/>
              <a:gd name="connsiteY7" fmla="*/ 8171858 h 9670217"/>
              <a:gd name="connsiteX8" fmla="*/ 17471572 w 24387176"/>
              <a:gd name="connsiteY8" fmla="*/ 5069430 h 9670217"/>
              <a:gd name="connsiteX9" fmla="*/ 19463656 w 24387176"/>
              <a:gd name="connsiteY9" fmla="*/ 5200058 h 9670217"/>
              <a:gd name="connsiteX10" fmla="*/ 21684344 w 24387176"/>
              <a:gd name="connsiteY10" fmla="*/ 3240631 h 9670217"/>
              <a:gd name="connsiteX11" fmla="*/ 22892656 w 24387176"/>
              <a:gd name="connsiteY11" fmla="*/ 3012030 h 9670217"/>
              <a:gd name="connsiteX12" fmla="*/ 24387176 w 24387176"/>
              <a:gd name="connsiteY12" fmla="*/ 0 h 9670217"/>
              <a:gd name="connsiteX0" fmla="*/ 0 w 24387176"/>
              <a:gd name="connsiteY0" fmla="*/ 9670217 h 9670217"/>
              <a:gd name="connsiteX1" fmla="*/ 0 w 24387176"/>
              <a:gd name="connsiteY1" fmla="*/ 8890652 h 9670217"/>
              <a:gd name="connsiteX2" fmla="*/ 2939143 w 24387176"/>
              <a:gd name="connsiteY2" fmla="*/ 9314858 h 9670217"/>
              <a:gd name="connsiteX3" fmla="*/ 5976258 w 24387176"/>
              <a:gd name="connsiteY3" fmla="*/ 8204516 h 9670217"/>
              <a:gd name="connsiteX4" fmla="*/ 8164287 w 24387176"/>
              <a:gd name="connsiteY4" fmla="*/ 8661716 h 9670217"/>
              <a:gd name="connsiteX5" fmla="*/ 12573000 w 24387176"/>
              <a:gd name="connsiteY5" fmla="*/ 7616687 h 9670217"/>
              <a:gd name="connsiteX6" fmla="*/ 14499771 w 24387176"/>
              <a:gd name="connsiteY6" fmla="*/ 8171858 h 9670217"/>
              <a:gd name="connsiteX7" fmla="*/ 17471572 w 24387176"/>
              <a:gd name="connsiteY7" fmla="*/ 5069430 h 9670217"/>
              <a:gd name="connsiteX8" fmla="*/ 19463656 w 24387176"/>
              <a:gd name="connsiteY8" fmla="*/ 5200058 h 9670217"/>
              <a:gd name="connsiteX9" fmla="*/ 21684344 w 24387176"/>
              <a:gd name="connsiteY9" fmla="*/ 3240631 h 9670217"/>
              <a:gd name="connsiteX10" fmla="*/ 22892656 w 24387176"/>
              <a:gd name="connsiteY10" fmla="*/ 3012030 h 9670217"/>
              <a:gd name="connsiteX11" fmla="*/ 24387176 w 24387176"/>
              <a:gd name="connsiteY11" fmla="*/ 0 h 9670217"/>
              <a:gd name="connsiteX0" fmla="*/ 0 w 24387176"/>
              <a:gd name="connsiteY0" fmla="*/ 8890652 h 9314858"/>
              <a:gd name="connsiteX1" fmla="*/ 2939143 w 24387176"/>
              <a:gd name="connsiteY1" fmla="*/ 9314858 h 9314858"/>
              <a:gd name="connsiteX2" fmla="*/ 5976258 w 24387176"/>
              <a:gd name="connsiteY2" fmla="*/ 8204516 h 9314858"/>
              <a:gd name="connsiteX3" fmla="*/ 8164287 w 24387176"/>
              <a:gd name="connsiteY3" fmla="*/ 8661716 h 9314858"/>
              <a:gd name="connsiteX4" fmla="*/ 12573000 w 24387176"/>
              <a:gd name="connsiteY4" fmla="*/ 7616687 h 9314858"/>
              <a:gd name="connsiteX5" fmla="*/ 14499771 w 24387176"/>
              <a:gd name="connsiteY5" fmla="*/ 8171858 h 9314858"/>
              <a:gd name="connsiteX6" fmla="*/ 17471572 w 24387176"/>
              <a:gd name="connsiteY6" fmla="*/ 5069430 h 9314858"/>
              <a:gd name="connsiteX7" fmla="*/ 19463656 w 24387176"/>
              <a:gd name="connsiteY7" fmla="*/ 5200058 h 9314858"/>
              <a:gd name="connsiteX8" fmla="*/ 21684344 w 24387176"/>
              <a:gd name="connsiteY8" fmla="*/ 3240631 h 9314858"/>
              <a:gd name="connsiteX9" fmla="*/ 22892656 w 24387176"/>
              <a:gd name="connsiteY9" fmla="*/ 3012030 h 9314858"/>
              <a:gd name="connsiteX10" fmla="*/ 24387176 w 24387176"/>
              <a:gd name="connsiteY10" fmla="*/ 0 h 9314858"/>
              <a:gd name="connsiteX0" fmla="*/ 0 w 25473026"/>
              <a:gd name="connsiteY0" fmla="*/ 9233552 h 9657758"/>
              <a:gd name="connsiteX1" fmla="*/ 2939143 w 25473026"/>
              <a:gd name="connsiteY1" fmla="*/ 9657758 h 9657758"/>
              <a:gd name="connsiteX2" fmla="*/ 5976258 w 25473026"/>
              <a:gd name="connsiteY2" fmla="*/ 8547416 h 9657758"/>
              <a:gd name="connsiteX3" fmla="*/ 8164287 w 25473026"/>
              <a:gd name="connsiteY3" fmla="*/ 9004616 h 9657758"/>
              <a:gd name="connsiteX4" fmla="*/ 12573000 w 25473026"/>
              <a:gd name="connsiteY4" fmla="*/ 7959587 h 9657758"/>
              <a:gd name="connsiteX5" fmla="*/ 14499771 w 25473026"/>
              <a:gd name="connsiteY5" fmla="*/ 8514758 h 9657758"/>
              <a:gd name="connsiteX6" fmla="*/ 17471572 w 25473026"/>
              <a:gd name="connsiteY6" fmla="*/ 5412330 h 9657758"/>
              <a:gd name="connsiteX7" fmla="*/ 19463656 w 25473026"/>
              <a:gd name="connsiteY7" fmla="*/ 5542958 h 9657758"/>
              <a:gd name="connsiteX8" fmla="*/ 21684344 w 25473026"/>
              <a:gd name="connsiteY8" fmla="*/ 3583531 h 9657758"/>
              <a:gd name="connsiteX9" fmla="*/ 22892656 w 25473026"/>
              <a:gd name="connsiteY9" fmla="*/ 3354930 h 9657758"/>
              <a:gd name="connsiteX10" fmla="*/ 25473026 w 25473026"/>
              <a:gd name="connsiteY10" fmla="*/ 0 h 9657758"/>
              <a:gd name="connsiteX0" fmla="*/ 0 w 24701501"/>
              <a:gd name="connsiteY0" fmla="*/ 9433577 h 9857783"/>
              <a:gd name="connsiteX1" fmla="*/ 2939143 w 24701501"/>
              <a:gd name="connsiteY1" fmla="*/ 9857783 h 9857783"/>
              <a:gd name="connsiteX2" fmla="*/ 5976258 w 24701501"/>
              <a:gd name="connsiteY2" fmla="*/ 8747441 h 9857783"/>
              <a:gd name="connsiteX3" fmla="*/ 8164287 w 24701501"/>
              <a:gd name="connsiteY3" fmla="*/ 9204641 h 9857783"/>
              <a:gd name="connsiteX4" fmla="*/ 12573000 w 24701501"/>
              <a:gd name="connsiteY4" fmla="*/ 8159612 h 9857783"/>
              <a:gd name="connsiteX5" fmla="*/ 14499771 w 24701501"/>
              <a:gd name="connsiteY5" fmla="*/ 8714783 h 9857783"/>
              <a:gd name="connsiteX6" fmla="*/ 17471572 w 24701501"/>
              <a:gd name="connsiteY6" fmla="*/ 5612355 h 9857783"/>
              <a:gd name="connsiteX7" fmla="*/ 19463656 w 24701501"/>
              <a:gd name="connsiteY7" fmla="*/ 5742983 h 9857783"/>
              <a:gd name="connsiteX8" fmla="*/ 21684344 w 24701501"/>
              <a:gd name="connsiteY8" fmla="*/ 3783556 h 9857783"/>
              <a:gd name="connsiteX9" fmla="*/ 22892656 w 24701501"/>
              <a:gd name="connsiteY9" fmla="*/ 3554955 h 9857783"/>
              <a:gd name="connsiteX10" fmla="*/ 24701501 w 24701501"/>
              <a:gd name="connsiteY10" fmla="*/ 0 h 9857783"/>
              <a:gd name="connsiteX0" fmla="*/ 0 w 25958801"/>
              <a:gd name="connsiteY0" fmla="*/ 9204977 h 9857783"/>
              <a:gd name="connsiteX1" fmla="*/ 4196443 w 25958801"/>
              <a:gd name="connsiteY1" fmla="*/ 9857783 h 9857783"/>
              <a:gd name="connsiteX2" fmla="*/ 7233558 w 25958801"/>
              <a:gd name="connsiteY2" fmla="*/ 8747441 h 9857783"/>
              <a:gd name="connsiteX3" fmla="*/ 9421587 w 25958801"/>
              <a:gd name="connsiteY3" fmla="*/ 9204641 h 9857783"/>
              <a:gd name="connsiteX4" fmla="*/ 13830300 w 25958801"/>
              <a:gd name="connsiteY4" fmla="*/ 8159612 h 9857783"/>
              <a:gd name="connsiteX5" fmla="*/ 15757071 w 25958801"/>
              <a:gd name="connsiteY5" fmla="*/ 8714783 h 9857783"/>
              <a:gd name="connsiteX6" fmla="*/ 18728872 w 25958801"/>
              <a:gd name="connsiteY6" fmla="*/ 5612355 h 9857783"/>
              <a:gd name="connsiteX7" fmla="*/ 20720956 w 25958801"/>
              <a:gd name="connsiteY7" fmla="*/ 5742983 h 9857783"/>
              <a:gd name="connsiteX8" fmla="*/ 22941644 w 25958801"/>
              <a:gd name="connsiteY8" fmla="*/ 3783556 h 9857783"/>
              <a:gd name="connsiteX9" fmla="*/ 24149956 w 25958801"/>
              <a:gd name="connsiteY9" fmla="*/ 3554955 h 9857783"/>
              <a:gd name="connsiteX10" fmla="*/ 25958801 w 259588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5071271 w 25273001"/>
              <a:gd name="connsiteY5" fmla="*/ 8714783 h 9857783"/>
              <a:gd name="connsiteX6" fmla="*/ 18043072 w 25273001"/>
              <a:gd name="connsiteY6" fmla="*/ 5612355 h 9857783"/>
              <a:gd name="connsiteX7" fmla="*/ 20035156 w 25273001"/>
              <a:gd name="connsiteY7" fmla="*/ 5742983 h 9857783"/>
              <a:gd name="connsiteX8" fmla="*/ 22255844 w 25273001"/>
              <a:gd name="connsiteY8" fmla="*/ 3783556 h 9857783"/>
              <a:gd name="connsiteX9" fmla="*/ 23464156 w 25273001"/>
              <a:gd name="connsiteY9" fmla="*/ 3554955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5071271 w 25273001"/>
              <a:gd name="connsiteY5" fmla="*/ 8714783 h 9857783"/>
              <a:gd name="connsiteX6" fmla="*/ 18043072 w 25273001"/>
              <a:gd name="connsiteY6" fmla="*/ 5612355 h 9857783"/>
              <a:gd name="connsiteX7" fmla="*/ 20035156 w 25273001"/>
              <a:gd name="connsiteY7" fmla="*/ 5742983 h 9857783"/>
              <a:gd name="connsiteX8" fmla="*/ 22255844 w 25273001"/>
              <a:gd name="connsiteY8" fmla="*/ 3783556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5071271 w 25273001"/>
              <a:gd name="connsiteY5" fmla="*/ 8714783 h 9857783"/>
              <a:gd name="connsiteX6" fmla="*/ 18043072 w 25273001"/>
              <a:gd name="connsiteY6" fmla="*/ 5612355 h 9857783"/>
              <a:gd name="connsiteX7" fmla="*/ 20035156 w 25273001"/>
              <a:gd name="connsiteY7" fmla="*/ 57429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5071271 w 25273001"/>
              <a:gd name="connsiteY5" fmla="*/ 8714783 h 9857783"/>
              <a:gd name="connsiteX6" fmla="*/ 18043072 w 25273001"/>
              <a:gd name="connsiteY6" fmla="*/ 56123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5071271 w 25273001"/>
              <a:gd name="connsiteY5" fmla="*/ 8714783 h 9857783"/>
              <a:gd name="connsiteX6" fmla="*/ 15442747 w 25273001"/>
              <a:gd name="connsiteY6" fmla="*/ 48122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3699671 w 25273001"/>
              <a:gd name="connsiteY5" fmla="*/ 7428908 h 9857783"/>
              <a:gd name="connsiteX6" fmla="*/ 15442747 w 25273001"/>
              <a:gd name="connsiteY6" fmla="*/ 48122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1801475 w 25273001"/>
              <a:gd name="connsiteY4" fmla="*/ 7959587 h 9857783"/>
              <a:gd name="connsiteX5" fmla="*/ 13699671 w 25273001"/>
              <a:gd name="connsiteY5" fmla="*/ 7428908 h 9857783"/>
              <a:gd name="connsiteX6" fmla="*/ 15442747 w 25273001"/>
              <a:gd name="connsiteY6" fmla="*/ 48122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1801475 w 25273001"/>
              <a:gd name="connsiteY4" fmla="*/ 7959587 h 9857783"/>
              <a:gd name="connsiteX5" fmla="*/ 14124974 w 25273001"/>
              <a:gd name="connsiteY5" fmla="*/ 8959996 h 9857783"/>
              <a:gd name="connsiteX6" fmla="*/ 15442747 w 25273001"/>
              <a:gd name="connsiteY6" fmla="*/ 48122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1737679 w 25273001"/>
              <a:gd name="connsiteY4" fmla="*/ 7427959 h 9857783"/>
              <a:gd name="connsiteX5" fmla="*/ 14124974 w 25273001"/>
              <a:gd name="connsiteY5" fmla="*/ 8959996 h 9857783"/>
              <a:gd name="connsiteX6" fmla="*/ 15442747 w 25273001"/>
              <a:gd name="connsiteY6" fmla="*/ 48122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10480548"/>
              <a:gd name="connsiteX1" fmla="*/ 3510643 w 25273001"/>
              <a:gd name="connsiteY1" fmla="*/ 9857783 h 10480548"/>
              <a:gd name="connsiteX2" fmla="*/ 6547758 w 25273001"/>
              <a:gd name="connsiteY2" fmla="*/ 8747441 h 10480548"/>
              <a:gd name="connsiteX3" fmla="*/ 8714522 w 25273001"/>
              <a:gd name="connsiteY3" fmla="*/ 10480548 h 10480548"/>
              <a:gd name="connsiteX4" fmla="*/ 11737679 w 25273001"/>
              <a:gd name="connsiteY4" fmla="*/ 7427959 h 10480548"/>
              <a:gd name="connsiteX5" fmla="*/ 14124974 w 25273001"/>
              <a:gd name="connsiteY5" fmla="*/ 8959996 h 10480548"/>
              <a:gd name="connsiteX6" fmla="*/ 15442747 w 25273001"/>
              <a:gd name="connsiteY6" fmla="*/ 4812255 h 10480548"/>
              <a:gd name="connsiteX7" fmla="*/ 18920731 w 25273001"/>
              <a:gd name="connsiteY7" fmla="*/ 7686083 h 10480548"/>
              <a:gd name="connsiteX8" fmla="*/ 20827094 w 25273001"/>
              <a:gd name="connsiteY8" fmla="*/ 6098131 h 10480548"/>
              <a:gd name="connsiteX9" fmla="*/ 23321281 w 25273001"/>
              <a:gd name="connsiteY9" fmla="*/ 7984080 h 10480548"/>
              <a:gd name="connsiteX10" fmla="*/ 25273001 w 25273001"/>
              <a:gd name="connsiteY10" fmla="*/ 0 h 10480548"/>
              <a:gd name="connsiteX0" fmla="*/ 0 w 25273001"/>
              <a:gd name="connsiteY0" fmla="*/ 9347852 h 10480548"/>
              <a:gd name="connsiteX1" fmla="*/ 3510643 w 25273001"/>
              <a:gd name="connsiteY1" fmla="*/ 9857783 h 10480548"/>
              <a:gd name="connsiteX2" fmla="*/ 7121916 w 25273001"/>
              <a:gd name="connsiteY2" fmla="*/ 8088222 h 10480548"/>
              <a:gd name="connsiteX3" fmla="*/ 8714522 w 25273001"/>
              <a:gd name="connsiteY3" fmla="*/ 10480548 h 10480548"/>
              <a:gd name="connsiteX4" fmla="*/ 11737679 w 25273001"/>
              <a:gd name="connsiteY4" fmla="*/ 7427959 h 10480548"/>
              <a:gd name="connsiteX5" fmla="*/ 14124974 w 25273001"/>
              <a:gd name="connsiteY5" fmla="*/ 8959996 h 10480548"/>
              <a:gd name="connsiteX6" fmla="*/ 15442747 w 25273001"/>
              <a:gd name="connsiteY6" fmla="*/ 4812255 h 10480548"/>
              <a:gd name="connsiteX7" fmla="*/ 18920731 w 25273001"/>
              <a:gd name="connsiteY7" fmla="*/ 7686083 h 10480548"/>
              <a:gd name="connsiteX8" fmla="*/ 20827094 w 25273001"/>
              <a:gd name="connsiteY8" fmla="*/ 6098131 h 10480548"/>
              <a:gd name="connsiteX9" fmla="*/ 23321281 w 25273001"/>
              <a:gd name="connsiteY9" fmla="*/ 7984080 h 10480548"/>
              <a:gd name="connsiteX10" fmla="*/ 25273001 w 25273001"/>
              <a:gd name="connsiteY10" fmla="*/ 0 h 10480548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7121916 w 25273001"/>
              <a:gd name="connsiteY2" fmla="*/ 8088222 h 9857783"/>
              <a:gd name="connsiteX3" fmla="*/ 8629462 w 25273001"/>
              <a:gd name="connsiteY3" fmla="*/ 9736269 h 9857783"/>
              <a:gd name="connsiteX4" fmla="*/ 11737679 w 25273001"/>
              <a:gd name="connsiteY4" fmla="*/ 7427959 h 9857783"/>
              <a:gd name="connsiteX5" fmla="*/ 14124974 w 25273001"/>
              <a:gd name="connsiteY5" fmla="*/ 8959996 h 9857783"/>
              <a:gd name="connsiteX6" fmla="*/ 15442747 w 25273001"/>
              <a:gd name="connsiteY6" fmla="*/ 48122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7121916 w 25273001"/>
              <a:gd name="connsiteY2" fmla="*/ 8088222 h 9857783"/>
              <a:gd name="connsiteX3" fmla="*/ 8629462 w 25273001"/>
              <a:gd name="connsiteY3" fmla="*/ 9736269 h 9857783"/>
              <a:gd name="connsiteX4" fmla="*/ 11737679 w 25273001"/>
              <a:gd name="connsiteY4" fmla="*/ 7427959 h 9857783"/>
              <a:gd name="connsiteX5" fmla="*/ 14124974 w 25273001"/>
              <a:gd name="connsiteY5" fmla="*/ 8959996 h 9857783"/>
              <a:gd name="connsiteX6" fmla="*/ 15442747 w 25273001"/>
              <a:gd name="connsiteY6" fmla="*/ 4812255 h 9857783"/>
              <a:gd name="connsiteX7" fmla="*/ 18474165 w 25273001"/>
              <a:gd name="connsiteY7" fmla="*/ 86004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7121916 w 25273001"/>
              <a:gd name="connsiteY2" fmla="*/ 8088222 h 9857783"/>
              <a:gd name="connsiteX3" fmla="*/ 8629462 w 25273001"/>
              <a:gd name="connsiteY3" fmla="*/ 9736269 h 9857783"/>
              <a:gd name="connsiteX4" fmla="*/ 11737679 w 25273001"/>
              <a:gd name="connsiteY4" fmla="*/ 7427959 h 9857783"/>
              <a:gd name="connsiteX5" fmla="*/ 14124974 w 25273001"/>
              <a:gd name="connsiteY5" fmla="*/ 8959996 h 9857783"/>
              <a:gd name="connsiteX6" fmla="*/ 16208291 w 25273001"/>
              <a:gd name="connsiteY6" fmla="*/ 5386413 h 9857783"/>
              <a:gd name="connsiteX7" fmla="*/ 18474165 w 25273001"/>
              <a:gd name="connsiteY7" fmla="*/ 86004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7121916 w 25273001"/>
              <a:gd name="connsiteY2" fmla="*/ 8088222 h 9857783"/>
              <a:gd name="connsiteX3" fmla="*/ 9203620 w 25273001"/>
              <a:gd name="connsiteY3" fmla="*/ 9140846 h 9857783"/>
              <a:gd name="connsiteX4" fmla="*/ 11737679 w 25273001"/>
              <a:gd name="connsiteY4" fmla="*/ 7427959 h 9857783"/>
              <a:gd name="connsiteX5" fmla="*/ 14124974 w 25273001"/>
              <a:gd name="connsiteY5" fmla="*/ 8959996 h 9857783"/>
              <a:gd name="connsiteX6" fmla="*/ 16208291 w 25273001"/>
              <a:gd name="connsiteY6" fmla="*/ 5386413 h 9857783"/>
              <a:gd name="connsiteX7" fmla="*/ 18474165 w 25273001"/>
              <a:gd name="connsiteY7" fmla="*/ 86004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824205 w 25273001"/>
              <a:gd name="connsiteY2" fmla="*/ 8109487 h 9857783"/>
              <a:gd name="connsiteX3" fmla="*/ 9203620 w 25273001"/>
              <a:gd name="connsiteY3" fmla="*/ 9140846 h 9857783"/>
              <a:gd name="connsiteX4" fmla="*/ 11737679 w 25273001"/>
              <a:gd name="connsiteY4" fmla="*/ 7427959 h 9857783"/>
              <a:gd name="connsiteX5" fmla="*/ 14124974 w 25273001"/>
              <a:gd name="connsiteY5" fmla="*/ 8959996 h 9857783"/>
              <a:gd name="connsiteX6" fmla="*/ 16208291 w 25273001"/>
              <a:gd name="connsiteY6" fmla="*/ 5386413 h 9857783"/>
              <a:gd name="connsiteX7" fmla="*/ 18474165 w 25273001"/>
              <a:gd name="connsiteY7" fmla="*/ 86004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273001" h="9857783">
                <a:moveTo>
                  <a:pt x="0" y="9347852"/>
                </a:moveTo>
                <a:lnTo>
                  <a:pt x="3510643" y="9857783"/>
                </a:lnTo>
                <a:lnTo>
                  <a:pt x="6824205" y="8109487"/>
                </a:lnTo>
                <a:lnTo>
                  <a:pt x="9203620" y="9140846"/>
                </a:lnTo>
                <a:lnTo>
                  <a:pt x="11737679" y="7427959"/>
                </a:lnTo>
                <a:lnTo>
                  <a:pt x="14124974" y="8959996"/>
                </a:lnTo>
                <a:lnTo>
                  <a:pt x="16208291" y="5386413"/>
                </a:lnTo>
                <a:lnTo>
                  <a:pt x="18474165" y="8600483"/>
                </a:lnTo>
                <a:lnTo>
                  <a:pt x="20827094" y="6098131"/>
                </a:lnTo>
                <a:lnTo>
                  <a:pt x="23321281" y="7984080"/>
                </a:lnTo>
                <a:lnTo>
                  <a:pt x="25273001" y="0"/>
                </a:lnTo>
              </a:path>
            </a:pathLst>
          </a:custGeom>
          <a:noFill/>
          <a:ln w="127000">
            <a:gradFill>
              <a:gsLst>
                <a:gs pos="100000">
                  <a:srgbClr val="FF3C3B"/>
                </a:gs>
                <a:gs pos="0">
                  <a:srgbClr val="C00000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900"/>
          </a:p>
        </p:txBody>
      </p:sp>
      <p:sp>
        <p:nvSpPr>
          <p:cNvPr id="46" name="Полилиния 45">
            <a:extLst>
              <a:ext uri="{FF2B5EF4-FFF2-40B4-BE49-F238E27FC236}">
                <a16:creationId xmlns:a16="http://schemas.microsoft.com/office/drawing/2014/main" id="{B25E9CE3-9EA4-A647-A607-2C19ED9AEB25}"/>
              </a:ext>
            </a:extLst>
          </p:cNvPr>
          <p:cNvSpPr/>
          <p:nvPr/>
        </p:nvSpPr>
        <p:spPr>
          <a:xfrm flipH="1">
            <a:off x="-203880" y="3224091"/>
            <a:ext cx="12542792" cy="3399982"/>
          </a:xfrm>
          <a:custGeom>
            <a:avLst/>
            <a:gdLst>
              <a:gd name="connsiteX0" fmla="*/ 0 w 25088850"/>
              <a:gd name="connsiteY0" fmla="*/ 6800850 h 6800850"/>
              <a:gd name="connsiteX1" fmla="*/ 0 w 25088850"/>
              <a:gd name="connsiteY1" fmla="*/ 6800850 h 6800850"/>
              <a:gd name="connsiteX2" fmla="*/ 3800475 w 25088850"/>
              <a:gd name="connsiteY2" fmla="*/ 5314950 h 6800850"/>
              <a:gd name="connsiteX3" fmla="*/ 5772150 w 25088850"/>
              <a:gd name="connsiteY3" fmla="*/ 6343650 h 6800850"/>
              <a:gd name="connsiteX4" fmla="*/ 9258300 w 25088850"/>
              <a:gd name="connsiteY4" fmla="*/ 4229100 h 6800850"/>
              <a:gd name="connsiteX5" fmla="*/ 12658725 w 25088850"/>
              <a:gd name="connsiteY5" fmla="*/ 5915025 h 6800850"/>
              <a:gd name="connsiteX6" fmla="*/ 14887575 w 25088850"/>
              <a:gd name="connsiteY6" fmla="*/ 3114675 h 6800850"/>
              <a:gd name="connsiteX7" fmla="*/ 18087975 w 25088850"/>
              <a:gd name="connsiteY7" fmla="*/ 4314825 h 6800850"/>
              <a:gd name="connsiteX8" fmla="*/ 19773900 w 25088850"/>
              <a:gd name="connsiteY8" fmla="*/ 3514725 h 6800850"/>
              <a:gd name="connsiteX9" fmla="*/ 21717000 w 25088850"/>
              <a:gd name="connsiteY9" fmla="*/ 3800475 h 6800850"/>
              <a:gd name="connsiteX10" fmla="*/ 23517225 w 25088850"/>
              <a:gd name="connsiteY10" fmla="*/ 885825 h 6800850"/>
              <a:gd name="connsiteX11" fmla="*/ 25088850 w 25088850"/>
              <a:gd name="connsiteY11" fmla="*/ 0 h 6800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088850" h="6800850">
                <a:moveTo>
                  <a:pt x="0" y="6800850"/>
                </a:moveTo>
                <a:lnTo>
                  <a:pt x="0" y="6800850"/>
                </a:lnTo>
                <a:lnTo>
                  <a:pt x="3800475" y="5314950"/>
                </a:lnTo>
                <a:lnTo>
                  <a:pt x="5772150" y="6343650"/>
                </a:lnTo>
                <a:lnTo>
                  <a:pt x="9258300" y="4229100"/>
                </a:lnTo>
                <a:lnTo>
                  <a:pt x="12658725" y="5915025"/>
                </a:lnTo>
                <a:lnTo>
                  <a:pt x="14887575" y="3114675"/>
                </a:lnTo>
                <a:lnTo>
                  <a:pt x="18087975" y="4314825"/>
                </a:lnTo>
                <a:lnTo>
                  <a:pt x="19773900" y="3514725"/>
                </a:lnTo>
                <a:lnTo>
                  <a:pt x="21717000" y="3800475"/>
                </a:lnTo>
                <a:lnTo>
                  <a:pt x="23517225" y="885825"/>
                </a:lnTo>
                <a:lnTo>
                  <a:pt x="25088850" y="0"/>
                </a:lnTo>
              </a:path>
            </a:pathLst>
          </a:custGeom>
          <a:noFill/>
          <a:ln w="25400">
            <a:solidFill>
              <a:srgbClr val="FF3C3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900"/>
          </a:p>
        </p:txBody>
      </p:sp>
      <p:sp>
        <p:nvSpPr>
          <p:cNvPr id="26" name="Скругленный прямоугольник 25">
            <a:extLst>
              <a:ext uri="{FF2B5EF4-FFF2-40B4-BE49-F238E27FC236}">
                <a16:creationId xmlns:a16="http://schemas.microsoft.com/office/drawing/2014/main" id="{CD68210A-E8DC-2D45-A950-1808F608EAD4}"/>
              </a:ext>
            </a:extLst>
          </p:cNvPr>
          <p:cNvSpPr/>
          <p:nvPr/>
        </p:nvSpPr>
        <p:spPr>
          <a:xfrm rot="5400000">
            <a:off x="9677475" y="1558247"/>
            <a:ext cx="2864685" cy="916592"/>
          </a:xfrm>
          <a:prstGeom prst="roundRect">
            <a:avLst>
              <a:gd name="adj" fmla="val 50000"/>
            </a:avLst>
          </a:prstGeom>
          <a:gradFill>
            <a:gsLst>
              <a:gs pos="99000">
                <a:srgbClr val="FF3C3B">
                  <a:alpha val="33000"/>
                </a:srgbClr>
              </a:gs>
              <a:gs pos="0">
                <a:srgbClr val="FF3C3B">
                  <a:alpha val="24280"/>
                </a:srgbClr>
              </a:gs>
            </a:gsLst>
            <a:lin ang="0" scaled="0"/>
          </a:gradFill>
          <a:ln>
            <a:solidFill>
              <a:srgbClr val="FF3C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8" name="!!222">
            <a:extLst>
              <a:ext uri="{FF2B5EF4-FFF2-40B4-BE49-F238E27FC236}">
                <a16:creationId xmlns:a16="http://schemas.microsoft.com/office/drawing/2014/main" id="{5946B989-58D8-AA48-92B9-31368C6DF740}"/>
              </a:ext>
            </a:extLst>
          </p:cNvPr>
          <p:cNvSpPr/>
          <p:nvPr/>
        </p:nvSpPr>
        <p:spPr>
          <a:xfrm rot="5400000">
            <a:off x="10512061" y="755037"/>
            <a:ext cx="1195513" cy="916592"/>
          </a:xfrm>
          <a:prstGeom prst="roundRect">
            <a:avLst>
              <a:gd name="adj" fmla="val 50000"/>
            </a:avLst>
          </a:prstGeom>
          <a:solidFill>
            <a:srgbClr val="C00000"/>
          </a:solidFill>
          <a:ln>
            <a:solidFill>
              <a:srgbClr val="FF3C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D2934BD3-BC2F-AD4E-A980-E39040720B0D}"/>
              </a:ext>
            </a:extLst>
          </p:cNvPr>
          <p:cNvCxnSpPr>
            <a:cxnSpLocks/>
          </p:cNvCxnSpPr>
          <p:nvPr/>
        </p:nvCxnSpPr>
        <p:spPr>
          <a:xfrm>
            <a:off x="4074848" y="3224091"/>
            <a:ext cx="0" cy="3633626"/>
          </a:xfrm>
          <a:prstGeom prst="line">
            <a:avLst/>
          </a:prstGeom>
          <a:ln w="6350">
            <a:solidFill>
              <a:schemeClr val="bg1"/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12AE1431-3D8E-C546-A444-BAC3B08F53BC}"/>
              </a:ext>
            </a:extLst>
          </p:cNvPr>
          <p:cNvCxnSpPr>
            <a:cxnSpLocks/>
          </p:cNvCxnSpPr>
          <p:nvPr/>
        </p:nvCxnSpPr>
        <p:spPr>
          <a:xfrm>
            <a:off x="6113945" y="4256984"/>
            <a:ext cx="0" cy="2596453"/>
          </a:xfrm>
          <a:prstGeom prst="line">
            <a:avLst/>
          </a:prstGeom>
          <a:ln w="6350">
            <a:solidFill>
              <a:schemeClr val="bg1"/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A36131D6-76FE-734A-A9C5-811FD56DD651}"/>
              </a:ext>
            </a:extLst>
          </p:cNvPr>
          <p:cNvCxnSpPr>
            <a:cxnSpLocks/>
          </p:cNvCxnSpPr>
          <p:nvPr/>
        </p:nvCxnSpPr>
        <p:spPr>
          <a:xfrm>
            <a:off x="2033511" y="3932990"/>
            <a:ext cx="0" cy="2920447"/>
          </a:xfrm>
          <a:prstGeom prst="line">
            <a:avLst/>
          </a:prstGeom>
          <a:ln w="6350">
            <a:solidFill>
              <a:schemeClr val="bg1"/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5AE6FD81-FEF6-2102-547B-B1BB5E7AD5B2}"/>
              </a:ext>
            </a:extLst>
          </p:cNvPr>
          <p:cNvSpPr txBox="1"/>
          <p:nvPr/>
        </p:nvSpPr>
        <p:spPr>
          <a:xfrm>
            <a:off x="561785" y="499110"/>
            <a:ext cx="9667656" cy="25742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ЗЕНТАЦИЯ </a:t>
            </a:r>
            <a:br>
              <a:rPr lang="ru-RU" sz="4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4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— ЭТО НЕ СТАТЬЯ РАСХОДОВ </a:t>
            </a:r>
            <a:endParaRPr lang="ru-RU" sz="4400" b="1" dirty="0">
              <a:solidFill>
                <a:schemeClr val="bg1"/>
              </a:solidFill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81102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33333E-6 L 0.06575 3.33333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1BC1948-9D94-C626-0E4D-1E4FDFC3BD63}"/>
              </a:ext>
            </a:extLst>
          </p:cNvPr>
          <p:cNvSpPr/>
          <p:nvPr/>
        </p:nvSpPr>
        <p:spPr>
          <a:xfrm>
            <a:off x="0" y="50"/>
            <a:ext cx="12201835" cy="685790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graphicFrame>
        <p:nvGraphicFramePr>
          <p:cNvPr id="118" name="Объект 1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76" y="16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18" progId="TCLayout.ActiveDocument.1">
                  <p:embed/>
                </p:oleObj>
              </mc:Choice>
              <mc:Fallback>
                <p:oleObj name="Слайд think-cell" r:id="rId3" imgW="353" imgH="318" progId="TCLayout.ActiveDocument.1">
                  <p:embed/>
                  <p:pic>
                    <p:nvPicPr>
                      <p:cNvPr id="118" name="Объект 11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76" y="16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88A83389-7EA1-B247-B19B-97A248C8F49C}"/>
              </a:ext>
            </a:extLst>
          </p:cNvPr>
          <p:cNvSpPr/>
          <p:nvPr/>
        </p:nvSpPr>
        <p:spPr>
          <a:xfrm flipH="1">
            <a:off x="8137336" y="8969277"/>
            <a:ext cx="2025400" cy="1808308"/>
          </a:xfrm>
          <a:prstGeom prst="rect">
            <a:avLst/>
          </a:prstGeom>
          <a:gradFill>
            <a:gsLst>
              <a:gs pos="99000">
                <a:srgbClr val="FF3C3B">
                  <a:alpha val="11894"/>
                </a:srgbClr>
              </a:gs>
              <a:gs pos="0">
                <a:srgbClr val="FF3C3B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236E1890-C84A-BA48-964F-019C88BAF344}"/>
              </a:ext>
            </a:extLst>
          </p:cNvPr>
          <p:cNvSpPr/>
          <p:nvPr/>
        </p:nvSpPr>
        <p:spPr>
          <a:xfrm flipH="1">
            <a:off x="4070696" y="8184513"/>
            <a:ext cx="2025400" cy="2597351"/>
          </a:xfrm>
          <a:prstGeom prst="rect">
            <a:avLst/>
          </a:prstGeom>
          <a:gradFill>
            <a:gsLst>
              <a:gs pos="99000">
                <a:srgbClr val="FF3C3B">
                  <a:alpha val="11894"/>
                </a:srgbClr>
              </a:gs>
              <a:gs pos="0">
                <a:srgbClr val="FF3C3B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0EB6B31E-B3A0-6B42-9E09-685B1EF40192}"/>
              </a:ext>
            </a:extLst>
          </p:cNvPr>
          <p:cNvSpPr/>
          <p:nvPr/>
        </p:nvSpPr>
        <p:spPr>
          <a:xfrm flipH="1">
            <a:off x="4056" y="7357010"/>
            <a:ext cx="2025400" cy="3429367"/>
          </a:xfrm>
          <a:prstGeom prst="rect">
            <a:avLst/>
          </a:prstGeom>
          <a:gradFill>
            <a:gsLst>
              <a:gs pos="99000">
                <a:srgbClr val="FF3C3B">
                  <a:alpha val="11894"/>
                </a:srgbClr>
              </a:gs>
              <a:gs pos="0">
                <a:srgbClr val="FF3C3B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6" name="Скругленный прямоугольник 25">
            <a:extLst>
              <a:ext uri="{FF2B5EF4-FFF2-40B4-BE49-F238E27FC236}">
                <a16:creationId xmlns:a16="http://schemas.microsoft.com/office/drawing/2014/main" id="{CD68210A-E8DC-2D45-A950-1808F608EAD4}"/>
              </a:ext>
            </a:extLst>
          </p:cNvPr>
          <p:cNvSpPr/>
          <p:nvPr/>
        </p:nvSpPr>
        <p:spPr>
          <a:xfrm rot="5400000">
            <a:off x="9677475" y="1558248"/>
            <a:ext cx="2864685" cy="916592"/>
          </a:xfrm>
          <a:prstGeom prst="roundRect">
            <a:avLst>
              <a:gd name="adj" fmla="val 50000"/>
            </a:avLst>
          </a:prstGeom>
          <a:gradFill>
            <a:gsLst>
              <a:gs pos="99000">
                <a:srgbClr val="8BD05C"/>
              </a:gs>
              <a:gs pos="0">
                <a:srgbClr val="8BD05C">
                  <a:alpha val="21023"/>
                </a:srgbClr>
              </a:gs>
            </a:gsLst>
            <a:lin ang="0" scaled="0"/>
          </a:gradFill>
          <a:ln>
            <a:solidFill>
              <a:srgbClr val="FF3C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8" name="!!222">
            <a:extLst>
              <a:ext uri="{FF2B5EF4-FFF2-40B4-BE49-F238E27FC236}">
                <a16:creationId xmlns:a16="http://schemas.microsoft.com/office/drawing/2014/main" id="{5946B989-58D8-AA48-92B9-31368C6DF740}"/>
              </a:ext>
            </a:extLst>
          </p:cNvPr>
          <p:cNvSpPr/>
          <p:nvPr/>
        </p:nvSpPr>
        <p:spPr>
          <a:xfrm rot="5400000">
            <a:off x="10512062" y="2394071"/>
            <a:ext cx="1195513" cy="916592"/>
          </a:xfrm>
          <a:prstGeom prst="roundRect">
            <a:avLst>
              <a:gd name="adj" fmla="val 50000"/>
            </a:avLst>
          </a:prstGeom>
          <a:solidFill>
            <a:srgbClr val="6EA64B"/>
          </a:solidFill>
          <a:ln>
            <a:solidFill>
              <a:srgbClr val="FF3C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AE6FD81-FEF6-2102-547B-B1BB5E7AD5B2}"/>
              </a:ext>
            </a:extLst>
          </p:cNvPr>
          <p:cNvSpPr txBox="1"/>
          <p:nvPr/>
        </p:nvSpPr>
        <p:spPr>
          <a:xfrm>
            <a:off x="561785" y="499110"/>
            <a:ext cx="9667656" cy="25742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gradFill flip="none" rotWithShape="1">
                  <a:gsLst>
                    <a:gs pos="100000">
                      <a:srgbClr val="8BD05C"/>
                    </a:gs>
                    <a:gs pos="0">
                      <a:srgbClr val="6EA64B"/>
                    </a:gs>
                  </a:gsLst>
                  <a:lin ang="0" scaled="1"/>
                  <a:tileRect/>
                </a:gra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ЗЕНТАЦИЯ </a:t>
            </a:r>
            <a:br>
              <a:rPr lang="ru-RU" sz="4800" b="1" dirty="0">
                <a:gradFill flip="none" rotWithShape="1">
                  <a:gsLst>
                    <a:gs pos="100000">
                      <a:srgbClr val="8BD05C"/>
                    </a:gs>
                    <a:gs pos="0">
                      <a:srgbClr val="6EA64B"/>
                    </a:gs>
                  </a:gsLst>
                  <a:lin ang="0" scaled="1"/>
                  <a:tileRect/>
                </a:gra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4800" b="1" dirty="0">
                <a:gradFill flip="none" rotWithShape="1">
                  <a:gsLst>
                    <a:gs pos="100000">
                      <a:srgbClr val="8BD05C"/>
                    </a:gs>
                    <a:gs pos="0">
                      <a:srgbClr val="6EA64B"/>
                    </a:gs>
                  </a:gsLst>
                  <a:lin ang="0" scaled="1"/>
                  <a:tileRect/>
                </a:gra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— ЭТО ИНВЕСТИЦИЯ</a:t>
            </a:r>
            <a:br>
              <a:rPr lang="ru-RU" sz="4800" b="1" dirty="0">
                <a:gradFill flip="none" rotWithShape="1">
                  <a:gsLst>
                    <a:gs pos="100000">
                      <a:srgbClr val="8BD05C"/>
                    </a:gs>
                    <a:gs pos="0">
                      <a:srgbClr val="6EA64B"/>
                    </a:gs>
                  </a:gsLst>
                  <a:lin ang="0" scaled="1"/>
                  <a:tileRect/>
                </a:gra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4800" b="1" dirty="0">
                <a:gradFill flip="none" rotWithShape="1">
                  <a:gsLst>
                    <a:gs pos="100000">
                      <a:srgbClr val="8BD05C"/>
                    </a:gs>
                    <a:gs pos="0">
                      <a:srgbClr val="6EA64B"/>
                    </a:gs>
                  </a:gsLst>
                  <a:lin ang="0" scaled="1"/>
                  <a:tileRect/>
                </a:gra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РАЗВИТИЕ</a:t>
            </a:r>
            <a:endParaRPr lang="ru-RU" sz="4400" b="1" dirty="0">
              <a:gradFill flip="none" rotWithShape="1">
                <a:gsLst>
                  <a:gs pos="100000">
                    <a:srgbClr val="8BD05C"/>
                  </a:gs>
                  <a:gs pos="0">
                    <a:srgbClr val="6EA64B"/>
                  </a:gs>
                </a:gsLst>
                <a:lin ang="0" scaled="1"/>
                <a:tileRect/>
              </a:gra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39DC9FE-BF72-8636-AB51-1750ADBE6A7A}"/>
              </a:ext>
            </a:extLst>
          </p:cNvPr>
          <p:cNvSpPr/>
          <p:nvPr/>
        </p:nvSpPr>
        <p:spPr>
          <a:xfrm>
            <a:off x="-230855" y="4366942"/>
            <a:ext cx="2494170" cy="3301315"/>
          </a:xfrm>
          <a:prstGeom prst="rect">
            <a:avLst/>
          </a:prstGeom>
          <a:gradFill>
            <a:gsLst>
              <a:gs pos="100000">
                <a:schemeClr val="tx2">
                  <a:lumMod val="40000"/>
                  <a:lumOff val="60000"/>
                  <a:alpha val="21000"/>
                </a:schemeClr>
              </a:gs>
              <a:gs pos="0">
                <a:schemeClr val="tx2">
                  <a:lumMod val="40000"/>
                  <a:lumOff val="60000"/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6924445-C96C-45DD-F1FA-154C249DA64E}"/>
              </a:ext>
            </a:extLst>
          </p:cNvPr>
          <p:cNvSpPr/>
          <p:nvPr/>
        </p:nvSpPr>
        <p:spPr>
          <a:xfrm>
            <a:off x="4776992" y="2931707"/>
            <a:ext cx="2494170" cy="4741820"/>
          </a:xfrm>
          <a:prstGeom prst="rect">
            <a:avLst/>
          </a:prstGeom>
          <a:gradFill>
            <a:gsLst>
              <a:gs pos="100000">
                <a:schemeClr val="tx2">
                  <a:lumMod val="40000"/>
                  <a:lumOff val="60000"/>
                  <a:alpha val="21000"/>
                </a:schemeClr>
              </a:gs>
              <a:gs pos="0">
                <a:schemeClr val="tx2">
                  <a:lumMod val="40000"/>
                  <a:lumOff val="60000"/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5B5838F-73D8-1088-795D-73665E569CC0}"/>
              </a:ext>
            </a:extLst>
          </p:cNvPr>
          <p:cNvSpPr/>
          <p:nvPr/>
        </p:nvSpPr>
        <p:spPr>
          <a:xfrm>
            <a:off x="9784841" y="1418306"/>
            <a:ext cx="2494171" cy="6260779"/>
          </a:xfrm>
          <a:prstGeom prst="rect">
            <a:avLst/>
          </a:prstGeom>
          <a:gradFill>
            <a:gsLst>
              <a:gs pos="100000">
                <a:schemeClr val="tx2">
                  <a:lumMod val="40000"/>
                  <a:lumOff val="60000"/>
                  <a:alpha val="21000"/>
                </a:schemeClr>
              </a:gs>
              <a:gs pos="0">
                <a:schemeClr val="tx2">
                  <a:lumMod val="40000"/>
                  <a:lumOff val="60000"/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олилиния 8">
            <a:extLst>
              <a:ext uri="{FF2B5EF4-FFF2-40B4-BE49-F238E27FC236}">
                <a16:creationId xmlns:a16="http://schemas.microsoft.com/office/drawing/2014/main" id="{23196DA2-6966-6BBB-3A86-5C859D97D756}"/>
              </a:ext>
            </a:extLst>
          </p:cNvPr>
          <p:cNvSpPr/>
          <p:nvPr/>
        </p:nvSpPr>
        <p:spPr>
          <a:xfrm>
            <a:off x="-2734778" y="1120846"/>
            <a:ext cx="15001678" cy="6552681"/>
          </a:xfrm>
          <a:custGeom>
            <a:avLst/>
            <a:gdLst>
              <a:gd name="connsiteX0" fmla="*/ 2431514 w 24387177"/>
              <a:gd name="connsiteY0" fmla="*/ 9670217 h 10098842"/>
              <a:gd name="connsiteX1" fmla="*/ 2939144 w 24387177"/>
              <a:gd name="connsiteY1" fmla="*/ 9743483 h 10098842"/>
              <a:gd name="connsiteX2" fmla="*/ 3139548 w 24387177"/>
              <a:gd name="connsiteY2" fmla="*/ 9670217 h 10098842"/>
              <a:gd name="connsiteX3" fmla="*/ 24387177 w 24387177"/>
              <a:gd name="connsiteY3" fmla="*/ 0 h 10098842"/>
              <a:gd name="connsiteX4" fmla="*/ 24387177 w 24387177"/>
              <a:gd name="connsiteY4" fmla="*/ 428625 h 10098842"/>
              <a:gd name="connsiteX5" fmla="*/ 24387177 w 24387177"/>
              <a:gd name="connsiteY5" fmla="*/ 9670217 h 10098842"/>
              <a:gd name="connsiteX6" fmla="*/ 24387177 w 24387177"/>
              <a:gd name="connsiteY6" fmla="*/ 10098842 h 10098842"/>
              <a:gd name="connsiteX7" fmla="*/ 0 w 24387177"/>
              <a:gd name="connsiteY7" fmla="*/ 10098842 h 10098842"/>
              <a:gd name="connsiteX8" fmla="*/ 0 w 24387177"/>
              <a:gd name="connsiteY8" fmla="*/ 9670217 h 10098842"/>
              <a:gd name="connsiteX9" fmla="*/ 0 w 24387177"/>
              <a:gd name="connsiteY9" fmla="*/ 9319277 h 10098842"/>
              <a:gd name="connsiteX10" fmla="*/ 0 w 24387177"/>
              <a:gd name="connsiteY10" fmla="*/ 8890652 h 10098842"/>
              <a:gd name="connsiteX11" fmla="*/ 2939144 w 24387177"/>
              <a:gd name="connsiteY11" fmla="*/ 9314858 h 10098842"/>
              <a:gd name="connsiteX12" fmla="*/ 5976258 w 24387177"/>
              <a:gd name="connsiteY12" fmla="*/ 8204516 h 10098842"/>
              <a:gd name="connsiteX13" fmla="*/ 8164287 w 24387177"/>
              <a:gd name="connsiteY13" fmla="*/ 8661716 h 10098842"/>
              <a:gd name="connsiteX14" fmla="*/ 12573000 w 24387177"/>
              <a:gd name="connsiteY14" fmla="*/ 7616687 h 10098842"/>
              <a:gd name="connsiteX15" fmla="*/ 14499771 w 24387177"/>
              <a:gd name="connsiteY15" fmla="*/ 8171858 h 10098842"/>
              <a:gd name="connsiteX16" fmla="*/ 17471573 w 24387177"/>
              <a:gd name="connsiteY16" fmla="*/ 5069430 h 10098842"/>
              <a:gd name="connsiteX17" fmla="*/ 19463657 w 24387177"/>
              <a:gd name="connsiteY17" fmla="*/ 5200058 h 10098842"/>
              <a:gd name="connsiteX18" fmla="*/ 21684345 w 24387177"/>
              <a:gd name="connsiteY18" fmla="*/ 3240631 h 10098842"/>
              <a:gd name="connsiteX19" fmla="*/ 22892657 w 24387177"/>
              <a:gd name="connsiteY19" fmla="*/ 3012030 h 10098842"/>
              <a:gd name="connsiteX0" fmla="*/ 2431514 w 24387177"/>
              <a:gd name="connsiteY0" fmla="*/ 9670217 h 10098842"/>
              <a:gd name="connsiteX1" fmla="*/ 3139548 w 24387177"/>
              <a:gd name="connsiteY1" fmla="*/ 9670217 h 10098842"/>
              <a:gd name="connsiteX2" fmla="*/ 2431514 w 24387177"/>
              <a:gd name="connsiteY2" fmla="*/ 9670217 h 10098842"/>
              <a:gd name="connsiteX3" fmla="*/ 24387177 w 24387177"/>
              <a:gd name="connsiteY3" fmla="*/ 0 h 10098842"/>
              <a:gd name="connsiteX4" fmla="*/ 24387177 w 24387177"/>
              <a:gd name="connsiteY4" fmla="*/ 428625 h 10098842"/>
              <a:gd name="connsiteX5" fmla="*/ 24387177 w 24387177"/>
              <a:gd name="connsiteY5" fmla="*/ 9670217 h 10098842"/>
              <a:gd name="connsiteX6" fmla="*/ 24387177 w 24387177"/>
              <a:gd name="connsiteY6" fmla="*/ 10098842 h 10098842"/>
              <a:gd name="connsiteX7" fmla="*/ 0 w 24387177"/>
              <a:gd name="connsiteY7" fmla="*/ 10098842 h 10098842"/>
              <a:gd name="connsiteX8" fmla="*/ 0 w 24387177"/>
              <a:gd name="connsiteY8" fmla="*/ 9670217 h 10098842"/>
              <a:gd name="connsiteX9" fmla="*/ 0 w 24387177"/>
              <a:gd name="connsiteY9" fmla="*/ 9319277 h 10098842"/>
              <a:gd name="connsiteX10" fmla="*/ 0 w 24387177"/>
              <a:gd name="connsiteY10" fmla="*/ 8890652 h 10098842"/>
              <a:gd name="connsiteX11" fmla="*/ 2939144 w 24387177"/>
              <a:gd name="connsiteY11" fmla="*/ 9314858 h 10098842"/>
              <a:gd name="connsiteX12" fmla="*/ 5976258 w 24387177"/>
              <a:gd name="connsiteY12" fmla="*/ 8204516 h 10098842"/>
              <a:gd name="connsiteX13" fmla="*/ 8164287 w 24387177"/>
              <a:gd name="connsiteY13" fmla="*/ 8661716 h 10098842"/>
              <a:gd name="connsiteX14" fmla="*/ 12573000 w 24387177"/>
              <a:gd name="connsiteY14" fmla="*/ 7616687 h 10098842"/>
              <a:gd name="connsiteX15" fmla="*/ 14499771 w 24387177"/>
              <a:gd name="connsiteY15" fmla="*/ 8171858 h 10098842"/>
              <a:gd name="connsiteX16" fmla="*/ 17471573 w 24387177"/>
              <a:gd name="connsiteY16" fmla="*/ 5069430 h 10098842"/>
              <a:gd name="connsiteX17" fmla="*/ 19463657 w 24387177"/>
              <a:gd name="connsiteY17" fmla="*/ 5200058 h 10098842"/>
              <a:gd name="connsiteX18" fmla="*/ 21684345 w 24387177"/>
              <a:gd name="connsiteY18" fmla="*/ 3240631 h 10098842"/>
              <a:gd name="connsiteX19" fmla="*/ 22892657 w 24387177"/>
              <a:gd name="connsiteY19" fmla="*/ 3012030 h 10098842"/>
              <a:gd name="connsiteX20" fmla="*/ 24387177 w 24387177"/>
              <a:gd name="connsiteY20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573000 w 24387177"/>
              <a:gd name="connsiteY11" fmla="*/ 7616687 h 10098842"/>
              <a:gd name="connsiteX12" fmla="*/ 14499771 w 24387177"/>
              <a:gd name="connsiteY12" fmla="*/ 8171858 h 10098842"/>
              <a:gd name="connsiteX13" fmla="*/ 17471573 w 24387177"/>
              <a:gd name="connsiteY13" fmla="*/ 5069430 h 10098842"/>
              <a:gd name="connsiteX14" fmla="*/ 19463657 w 24387177"/>
              <a:gd name="connsiteY14" fmla="*/ 520005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5189072 h 10098842"/>
              <a:gd name="connsiteX12" fmla="*/ 14499771 w 24387177"/>
              <a:gd name="connsiteY12" fmla="*/ 8171858 h 10098842"/>
              <a:gd name="connsiteX13" fmla="*/ 17471573 w 24387177"/>
              <a:gd name="connsiteY13" fmla="*/ 5069430 h 10098842"/>
              <a:gd name="connsiteX14" fmla="*/ 19463657 w 24387177"/>
              <a:gd name="connsiteY14" fmla="*/ 520005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499771 w 24387177"/>
              <a:gd name="connsiteY12" fmla="*/ 8171858 h 10098842"/>
              <a:gd name="connsiteX13" fmla="*/ 17471573 w 24387177"/>
              <a:gd name="connsiteY13" fmla="*/ 5069430 h 10098842"/>
              <a:gd name="connsiteX14" fmla="*/ 19463657 w 24387177"/>
              <a:gd name="connsiteY14" fmla="*/ 520005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471573 w 24387177"/>
              <a:gd name="connsiteY13" fmla="*/ 5069430 h 10098842"/>
              <a:gd name="connsiteX14" fmla="*/ 19463657 w 24387177"/>
              <a:gd name="connsiteY14" fmla="*/ 520005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463657 w 24387177"/>
              <a:gd name="connsiteY14" fmla="*/ 520005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2892657 w 24387177"/>
              <a:gd name="connsiteY16" fmla="*/ 301203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3492732 w 24387177"/>
              <a:gd name="connsiteY16" fmla="*/ 6393351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3178408 w 24387177"/>
              <a:gd name="connsiteY16" fmla="*/ 6046550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2892659 w 24387177"/>
              <a:gd name="connsiteY16" fmla="*/ 5526347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164287 w 24387177"/>
              <a:gd name="connsiteY10" fmla="*/ 8661716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2721211 w 24387177"/>
              <a:gd name="connsiteY16" fmla="*/ 5916499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5976258 w 24387177"/>
              <a:gd name="connsiteY9" fmla="*/ 8204516 h 10098842"/>
              <a:gd name="connsiteX10" fmla="*/ 8078562 w 24387177"/>
              <a:gd name="connsiteY10" fmla="*/ 9442021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2721211 w 24387177"/>
              <a:gd name="connsiteY16" fmla="*/ 5916499 h 10098842"/>
              <a:gd name="connsiteX17" fmla="*/ 24387177 w 24387177"/>
              <a:gd name="connsiteY17" fmla="*/ 0 h 10098842"/>
              <a:gd name="connsiteX0" fmla="*/ 24387177 w 24387177"/>
              <a:gd name="connsiteY0" fmla="*/ 0 h 10098842"/>
              <a:gd name="connsiteX1" fmla="*/ 24387177 w 24387177"/>
              <a:gd name="connsiteY1" fmla="*/ 428625 h 10098842"/>
              <a:gd name="connsiteX2" fmla="*/ 24387177 w 24387177"/>
              <a:gd name="connsiteY2" fmla="*/ 9670217 h 10098842"/>
              <a:gd name="connsiteX3" fmla="*/ 24387177 w 24387177"/>
              <a:gd name="connsiteY3" fmla="*/ 10098842 h 10098842"/>
              <a:gd name="connsiteX4" fmla="*/ 0 w 24387177"/>
              <a:gd name="connsiteY4" fmla="*/ 10098842 h 10098842"/>
              <a:gd name="connsiteX5" fmla="*/ 0 w 24387177"/>
              <a:gd name="connsiteY5" fmla="*/ 9670217 h 10098842"/>
              <a:gd name="connsiteX6" fmla="*/ 0 w 24387177"/>
              <a:gd name="connsiteY6" fmla="*/ 9319277 h 10098842"/>
              <a:gd name="connsiteX7" fmla="*/ 0 w 24387177"/>
              <a:gd name="connsiteY7" fmla="*/ 8890652 h 10098842"/>
              <a:gd name="connsiteX8" fmla="*/ 2939144 w 24387177"/>
              <a:gd name="connsiteY8" fmla="*/ 9314858 h 10098842"/>
              <a:gd name="connsiteX9" fmla="*/ 4804683 w 24387177"/>
              <a:gd name="connsiteY9" fmla="*/ 6817308 h 10098842"/>
              <a:gd name="connsiteX10" fmla="*/ 8078562 w 24387177"/>
              <a:gd name="connsiteY10" fmla="*/ 9442021 h 10098842"/>
              <a:gd name="connsiteX11" fmla="*/ 12230100 w 24387177"/>
              <a:gd name="connsiteY11" fmla="*/ 6532930 h 10098842"/>
              <a:gd name="connsiteX12" fmla="*/ 14871246 w 24387177"/>
              <a:gd name="connsiteY12" fmla="*/ 6871350 h 10098842"/>
              <a:gd name="connsiteX13" fmla="*/ 17328698 w 24387177"/>
              <a:gd name="connsiteY13" fmla="*/ 3118668 h 10098842"/>
              <a:gd name="connsiteX14" fmla="*/ 19777982 w 24387177"/>
              <a:gd name="connsiteY14" fmla="*/ 6717318 h 10098842"/>
              <a:gd name="connsiteX15" fmla="*/ 21684345 w 24387177"/>
              <a:gd name="connsiteY15" fmla="*/ 3240631 h 10098842"/>
              <a:gd name="connsiteX16" fmla="*/ 22721211 w 24387177"/>
              <a:gd name="connsiteY16" fmla="*/ 5916499 h 10098842"/>
              <a:gd name="connsiteX17" fmla="*/ 24387177 w 24387177"/>
              <a:gd name="connsiteY17" fmla="*/ 0 h 1009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4387177" h="10098842">
                <a:moveTo>
                  <a:pt x="24387177" y="0"/>
                </a:moveTo>
                <a:lnTo>
                  <a:pt x="24387177" y="428625"/>
                </a:lnTo>
                <a:lnTo>
                  <a:pt x="24387177" y="9670217"/>
                </a:lnTo>
                <a:lnTo>
                  <a:pt x="24387177" y="10098842"/>
                </a:lnTo>
                <a:lnTo>
                  <a:pt x="0" y="10098842"/>
                </a:lnTo>
                <a:lnTo>
                  <a:pt x="0" y="9670217"/>
                </a:lnTo>
                <a:lnTo>
                  <a:pt x="0" y="9319277"/>
                </a:lnTo>
                <a:lnTo>
                  <a:pt x="0" y="8890652"/>
                </a:lnTo>
                <a:lnTo>
                  <a:pt x="2939144" y="9314858"/>
                </a:lnTo>
                <a:lnTo>
                  <a:pt x="4804683" y="6817308"/>
                </a:lnTo>
                <a:lnTo>
                  <a:pt x="8078562" y="9442021"/>
                </a:lnTo>
                <a:lnTo>
                  <a:pt x="12230100" y="6532930"/>
                </a:lnTo>
                <a:lnTo>
                  <a:pt x="14871246" y="6871350"/>
                </a:lnTo>
                <a:lnTo>
                  <a:pt x="17328698" y="3118668"/>
                </a:lnTo>
                <a:lnTo>
                  <a:pt x="19777982" y="6717318"/>
                </a:lnTo>
                <a:lnTo>
                  <a:pt x="21684345" y="3240631"/>
                </a:lnTo>
                <a:lnTo>
                  <a:pt x="22721211" y="5916499"/>
                </a:lnTo>
                <a:lnTo>
                  <a:pt x="24387177" y="0"/>
                </a:lnTo>
                <a:close/>
              </a:path>
            </a:pathLst>
          </a:custGeom>
          <a:gradFill>
            <a:gsLst>
              <a:gs pos="99000">
                <a:srgbClr val="8BD05C"/>
              </a:gs>
              <a:gs pos="0">
                <a:srgbClr val="8BD05C">
                  <a:alpha val="21023"/>
                </a:srgbClr>
              </a:gs>
            </a:gsLst>
            <a:lin ang="0" scaled="0"/>
          </a:gradFill>
          <a:ln>
            <a:solidFill>
              <a:srgbClr val="6EA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0" name="Полилиния 9">
            <a:extLst>
              <a:ext uri="{FF2B5EF4-FFF2-40B4-BE49-F238E27FC236}">
                <a16:creationId xmlns:a16="http://schemas.microsoft.com/office/drawing/2014/main" id="{38F962D6-AB66-DA22-262C-E229AC319D06}"/>
              </a:ext>
            </a:extLst>
          </p:cNvPr>
          <p:cNvSpPr/>
          <p:nvPr/>
        </p:nvSpPr>
        <p:spPr>
          <a:xfrm>
            <a:off x="-3086618" y="4833393"/>
            <a:ext cx="15717469" cy="2336887"/>
          </a:xfrm>
          <a:custGeom>
            <a:avLst/>
            <a:gdLst>
              <a:gd name="connsiteX0" fmla="*/ 24387176 w 24387176"/>
              <a:gd name="connsiteY0" fmla="*/ 0 h 9670217"/>
              <a:gd name="connsiteX1" fmla="*/ 24387176 w 24387176"/>
              <a:gd name="connsiteY1" fmla="*/ 9670217 h 9670217"/>
              <a:gd name="connsiteX2" fmla="*/ 0 w 24387176"/>
              <a:gd name="connsiteY2" fmla="*/ 9670217 h 9670217"/>
              <a:gd name="connsiteX3" fmla="*/ 0 w 24387176"/>
              <a:gd name="connsiteY3" fmla="*/ 8890652 h 9670217"/>
              <a:gd name="connsiteX4" fmla="*/ 2939143 w 24387176"/>
              <a:gd name="connsiteY4" fmla="*/ 9314858 h 9670217"/>
              <a:gd name="connsiteX5" fmla="*/ 5976258 w 24387176"/>
              <a:gd name="connsiteY5" fmla="*/ 8204516 h 9670217"/>
              <a:gd name="connsiteX6" fmla="*/ 8164287 w 24387176"/>
              <a:gd name="connsiteY6" fmla="*/ 8661716 h 9670217"/>
              <a:gd name="connsiteX7" fmla="*/ 12573000 w 24387176"/>
              <a:gd name="connsiteY7" fmla="*/ 7616687 h 9670217"/>
              <a:gd name="connsiteX8" fmla="*/ 14499771 w 24387176"/>
              <a:gd name="connsiteY8" fmla="*/ 8171858 h 9670217"/>
              <a:gd name="connsiteX9" fmla="*/ 17471572 w 24387176"/>
              <a:gd name="connsiteY9" fmla="*/ 5069430 h 9670217"/>
              <a:gd name="connsiteX10" fmla="*/ 19463656 w 24387176"/>
              <a:gd name="connsiteY10" fmla="*/ 5200058 h 9670217"/>
              <a:gd name="connsiteX11" fmla="*/ 21684344 w 24387176"/>
              <a:gd name="connsiteY11" fmla="*/ 3240631 h 9670217"/>
              <a:gd name="connsiteX12" fmla="*/ 22892656 w 24387176"/>
              <a:gd name="connsiteY12" fmla="*/ 3012030 h 9670217"/>
              <a:gd name="connsiteX0" fmla="*/ 24387176 w 24478616"/>
              <a:gd name="connsiteY0" fmla="*/ 9670217 h 9761657"/>
              <a:gd name="connsiteX1" fmla="*/ 0 w 24478616"/>
              <a:gd name="connsiteY1" fmla="*/ 9670217 h 9761657"/>
              <a:gd name="connsiteX2" fmla="*/ 0 w 24478616"/>
              <a:gd name="connsiteY2" fmla="*/ 8890652 h 9761657"/>
              <a:gd name="connsiteX3" fmla="*/ 2939143 w 24478616"/>
              <a:gd name="connsiteY3" fmla="*/ 9314858 h 9761657"/>
              <a:gd name="connsiteX4" fmla="*/ 5976258 w 24478616"/>
              <a:gd name="connsiteY4" fmla="*/ 8204516 h 9761657"/>
              <a:gd name="connsiteX5" fmla="*/ 8164287 w 24478616"/>
              <a:gd name="connsiteY5" fmla="*/ 8661716 h 9761657"/>
              <a:gd name="connsiteX6" fmla="*/ 12573000 w 24478616"/>
              <a:gd name="connsiteY6" fmla="*/ 7616687 h 9761657"/>
              <a:gd name="connsiteX7" fmla="*/ 14499771 w 24478616"/>
              <a:gd name="connsiteY7" fmla="*/ 8171858 h 9761657"/>
              <a:gd name="connsiteX8" fmla="*/ 17471572 w 24478616"/>
              <a:gd name="connsiteY8" fmla="*/ 5069430 h 9761657"/>
              <a:gd name="connsiteX9" fmla="*/ 19463656 w 24478616"/>
              <a:gd name="connsiteY9" fmla="*/ 5200058 h 9761657"/>
              <a:gd name="connsiteX10" fmla="*/ 21684344 w 24478616"/>
              <a:gd name="connsiteY10" fmla="*/ 3240631 h 9761657"/>
              <a:gd name="connsiteX11" fmla="*/ 22892656 w 24478616"/>
              <a:gd name="connsiteY11" fmla="*/ 3012030 h 9761657"/>
              <a:gd name="connsiteX12" fmla="*/ 24387176 w 24478616"/>
              <a:gd name="connsiteY12" fmla="*/ 0 h 9761657"/>
              <a:gd name="connsiteX13" fmla="*/ 24478616 w 24478616"/>
              <a:gd name="connsiteY13" fmla="*/ 9761657 h 9761657"/>
              <a:gd name="connsiteX0" fmla="*/ 24387176 w 24387176"/>
              <a:gd name="connsiteY0" fmla="*/ 9670217 h 9670217"/>
              <a:gd name="connsiteX1" fmla="*/ 0 w 24387176"/>
              <a:gd name="connsiteY1" fmla="*/ 9670217 h 9670217"/>
              <a:gd name="connsiteX2" fmla="*/ 0 w 24387176"/>
              <a:gd name="connsiteY2" fmla="*/ 8890652 h 9670217"/>
              <a:gd name="connsiteX3" fmla="*/ 2939143 w 24387176"/>
              <a:gd name="connsiteY3" fmla="*/ 9314858 h 9670217"/>
              <a:gd name="connsiteX4" fmla="*/ 5976258 w 24387176"/>
              <a:gd name="connsiteY4" fmla="*/ 8204516 h 9670217"/>
              <a:gd name="connsiteX5" fmla="*/ 8164287 w 24387176"/>
              <a:gd name="connsiteY5" fmla="*/ 8661716 h 9670217"/>
              <a:gd name="connsiteX6" fmla="*/ 12573000 w 24387176"/>
              <a:gd name="connsiteY6" fmla="*/ 7616687 h 9670217"/>
              <a:gd name="connsiteX7" fmla="*/ 14499771 w 24387176"/>
              <a:gd name="connsiteY7" fmla="*/ 8171858 h 9670217"/>
              <a:gd name="connsiteX8" fmla="*/ 17471572 w 24387176"/>
              <a:gd name="connsiteY8" fmla="*/ 5069430 h 9670217"/>
              <a:gd name="connsiteX9" fmla="*/ 19463656 w 24387176"/>
              <a:gd name="connsiteY9" fmla="*/ 5200058 h 9670217"/>
              <a:gd name="connsiteX10" fmla="*/ 21684344 w 24387176"/>
              <a:gd name="connsiteY10" fmla="*/ 3240631 h 9670217"/>
              <a:gd name="connsiteX11" fmla="*/ 22892656 w 24387176"/>
              <a:gd name="connsiteY11" fmla="*/ 3012030 h 9670217"/>
              <a:gd name="connsiteX12" fmla="*/ 24387176 w 24387176"/>
              <a:gd name="connsiteY12" fmla="*/ 0 h 9670217"/>
              <a:gd name="connsiteX0" fmla="*/ 0 w 24387176"/>
              <a:gd name="connsiteY0" fmla="*/ 9670217 h 9670217"/>
              <a:gd name="connsiteX1" fmla="*/ 0 w 24387176"/>
              <a:gd name="connsiteY1" fmla="*/ 8890652 h 9670217"/>
              <a:gd name="connsiteX2" fmla="*/ 2939143 w 24387176"/>
              <a:gd name="connsiteY2" fmla="*/ 9314858 h 9670217"/>
              <a:gd name="connsiteX3" fmla="*/ 5976258 w 24387176"/>
              <a:gd name="connsiteY3" fmla="*/ 8204516 h 9670217"/>
              <a:gd name="connsiteX4" fmla="*/ 8164287 w 24387176"/>
              <a:gd name="connsiteY4" fmla="*/ 8661716 h 9670217"/>
              <a:gd name="connsiteX5" fmla="*/ 12573000 w 24387176"/>
              <a:gd name="connsiteY5" fmla="*/ 7616687 h 9670217"/>
              <a:gd name="connsiteX6" fmla="*/ 14499771 w 24387176"/>
              <a:gd name="connsiteY6" fmla="*/ 8171858 h 9670217"/>
              <a:gd name="connsiteX7" fmla="*/ 17471572 w 24387176"/>
              <a:gd name="connsiteY7" fmla="*/ 5069430 h 9670217"/>
              <a:gd name="connsiteX8" fmla="*/ 19463656 w 24387176"/>
              <a:gd name="connsiteY8" fmla="*/ 5200058 h 9670217"/>
              <a:gd name="connsiteX9" fmla="*/ 21684344 w 24387176"/>
              <a:gd name="connsiteY9" fmla="*/ 3240631 h 9670217"/>
              <a:gd name="connsiteX10" fmla="*/ 22892656 w 24387176"/>
              <a:gd name="connsiteY10" fmla="*/ 3012030 h 9670217"/>
              <a:gd name="connsiteX11" fmla="*/ 24387176 w 24387176"/>
              <a:gd name="connsiteY11" fmla="*/ 0 h 9670217"/>
              <a:gd name="connsiteX0" fmla="*/ 0 w 24387176"/>
              <a:gd name="connsiteY0" fmla="*/ 8890652 h 9314858"/>
              <a:gd name="connsiteX1" fmla="*/ 2939143 w 24387176"/>
              <a:gd name="connsiteY1" fmla="*/ 9314858 h 9314858"/>
              <a:gd name="connsiteX2" fmla="*/ 5976258 w 24387176"/>
              <a:gd name="connsiteY2" fmla="*/ 8204516 h 9314858"/>
              <a:gd name="connsiteX3" fmla="*/ 8164287 w 24387176"/>
              <a:gd name="connsiteY3" fmla="*/ 8661716 h 9314858"/>
              <a:gd name="connsiteX4" fmla="*/ 12573000 w 24387176"/>
              <a:gd name="connsiteY4" fmla="*/ 7616687 h 9314858"/>
              <a:gd name="connsiteX5" fmla="*/ 14499771 w 24387176"/>
              <a:gd name="connsiteY5" fmla="*/ 8171858 h 9314858"/>
              <a:gd name="connsiteX6" fmla="*/ 17471572 w 24387176"/>
              <a:gd name="connsiteY6" fmla="*/ 5069430 h 9314858"/>
              <a:gd name="connsiteX7" fmla="*/ 19463656 w 24387176"/>
              <a:gd name="connsiteY7" fmla="*/ 5200058 h 9314858"/>
              <a:gd name="connsiteX8" fmla="*/ 21684344 w 24387176"/>
              <a:gd name="connsiteY8" fmla="*/ 3240631 h 9314858"/>
              <a:gd name="connsiteX9" fmla="*/ 22892656 w 24387176"/>
              <a:gd name="connsiteY9" fmla="*/ 3012030 h 9314858"/>
              <a:gd name="connsiteX10" fmla="*/ 24387176 w 24387176"/>
              <a:gd name="connsiteY10" fmla="*/ 0 h 9314858"/>
              <a:gd name="connsiteX0" fmla="*/ 0 w 25473026"/>
              <a:gd name="connsiteY0" fmla="*/ 9233552 h 9657758"/>
              <a:gd name="connsiteX1" fmla="*/ 2939143 w 25473026"/>
              <a:gd name="connsiteY1" fmla="*/ 9657758 h 9657758"/>
              <a:gd name="connsiteX2" fmla="*/ 5976258 w 25473026"/>
              <a:gd name="connsiteY2" fmla="*/ 8547416 h 9657758"/>
              <a:gd name="connsiteX3" fmla="*/ 8164287 w 25473026"/>
              <a:gd name="connsiteY3" fmla="*/ 9004616 h 9657758"/>
              <a:gd name="connsiteX4" fmla="*/ 12573000 w 25473026"/>
              <a:gd name="connsiteY4" fmla="*/ 7959587 h 9657758"/>
              <a:gd name="connsiteX5" fmla="*/ 14499771 w 25473026"/>
              <a:gd name="connsiteY5" fmla="*/ 8514758 h 9657758"/>
              <a:gd name="connsiteX6" fmla="*/ 17471572 w 25473026"/>
              <a:gd name="connsiteY6" fmla="*/ 5412330 h 9657758"/>
              <a:gd name="connsiteX7" fmla="*/ 19463656 w 25473026"/>
              <a:gd name="connsiteY7" fmla="*/ 5542958 h 9657758"/>
              <a:gd name="connsiteX8" fmla="*/ 21684344 w 25473026"/>
              <a:gd name="connsiteY8" fmla="*/ 3583531 h 9657758"/>
              <a:gd name="connsiteX9" fmla="*/ 22892656 w 25473026"/>
              <a:gd name="connsiteY9" fmla="*/ 3354930 h 9657758"/>
              <a:gd name="connsiteX10" fmla="*/ 25473026 w 25473026"/>
              <a:gd name="connsiteY10" fmla="*/ 0 h 9657758"/>
              <a:gd name="connsiteX0" fmla="*/ 0 w 24701501"/>
              <a:gd name="connsiteY0" fmla="*/ 9433577 h 9857783"/>
              <a:gd name="connsiteX1" fmla="*/ 2939143 w 24701501"/>
              <a:gd name="connsiteY1" fmla="*/ 9857783 h 9857783"/>
              <a:gd name="connsiteX2" fmla="*/ 5976258 w 24701501"/>
              <a:gd name="connsiteY2" fmla="*/ 8747441 h 9857783"/>
              <a:gd name="connsiteX3" fmla="*/ 8164287 w 24701501"/>
              <a:gd name="connsiteY3" fmla="*/ 9204641 h 9857783"/>
              <a:gd name="connsiteX4" fmla="*/ 12573000 w 24701501"/>
              <a:gd name="connsiteY4" fmla="*/ 8159612 h 9857783"/>
              <a:gd name="connsiteX5" fmla="*/ 14499771 w 24701501"/>
              <a:gd name="connsiteY5" fmla="*/ 8714783 h 9857783"/>
              <a:gd name="connsiteX6" fmla="*/ 17471572 w 24701501"/>
              <a:gd name="connsiteY6" fmla="*/ 5612355 h 9857783"/>
              <a:gd name="connsiteX7" fmla="*/ 19463656 w 24701501"/>
              <a:gd name="connsiteY7" fmla="*/ 5742983 h 9857783"/>
              <a:gd name="connsiteX8" fmla="*/ 21684344 w 24701501"/>
              <a:gd name="connsiteY8" fmla="*/ 3783556 h 9857783"/>
              <a:gd name="connsiteX9" fmla="*/ 22892656 w 24701501"/>
              <a:gd name="connsiteY9" fmla="*/ 3554955 h 9857783"/>
              <a:gd name="connsiteX10" fmla="*/ 24701501 w 24701501"/>
              <a:gd name="connsiteY10" fmla="*/ 0 h 9857783"/>
              <a:gd name="connsiteX0" fmla="*/ 0 w 25958801"/>
              <a:gd name="connsiteY0" fmla="*/ 9204977 h 9857783"/>
              <a:gd name="connsiteX1" fmla="*/ 4196443 w 25958801"/>
              <a:gd name="connsiteY1" fmla="*/ 9857783 h 9857783"/>
              <a:gd name="connsiteX2" fmla="*/ 7233558 w 25958801"/>
              <a:gd name="connsiteY2" fmla="*/ 8747441 h 9857783"/>
              <a:gd name="connsiteX3" fmla="*/ 9421587 w 25958801"/>
              <a:gd name="connsiteY3" fmla="*/ 9204641 h 9857783"/>
              <a:gd name="connsiteX4" fmla="*/ 13830300 w 25958801"/>
              <a:gd name="connsiteY4" fmla="*/ 8159612 h 9857783"/>
              <a:gd name="connsiteX5" fmla="*/ 15757071 w 25958801"/>
              <a:gd name="connsiteY5" fmla="*/ 8714783 h 9857783"/>
              <a:gd name="connsiteX6" fmla="*/ 18728872 w 25958801"/>
              <a:gd name="connsiteY6" fmla="*/ 5612355 h 9857783"/>
              <a:gd name="connsiteX7" fmla="*/ 20720956 w 25958801"/>
              <a:gd name="connsiteY7" fmla="*/ 5742983 h 9857783"/>
              <a:gd name="connsiteX8" fmla="*/ 22941644 w 25958801"/>
              <a:gd name="connsiteY8" fmla="*/ 3783556 h 9857783"/>
              <a:gd name="connsiteX9" fmla="*/ 24149956 w 25958801"/>
              <a:gd name="connsiteY9" fmla="*/ 3554955 h 9857783"/>
              <a:gd name="connsiteX10" fmla="*/ 25958801 w 259588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5071271 w 25273001"/>
              <a:gd name="connsiteY5" fmla="*/ 8714783 h 9857783"/>
              <a:gd name="connsiteX6" fmla="*/ 18043072 w 25273001"/>
              <a:gd name="connsiteY6" fmla="*/ 5612355 h 9857783"/>
              <a:gd name="connsiteX7" fmla="*/ 20035156 w 25273001"/>
              <a:gd name="connsiteY7" fmla="*/ 5742983 h 9857783"/>
              <a:gd name="connsiteX8" fmla="*/ 22255844 w 25273001"/>
              <a:gd name="connsiteY8" fmla="*/ 3783556 h 9857783"/>
              <a:gd name="connsiteX9" fmla="*/ 23464156 w 25273001"/>
              <a:gd name="connsiteY9" fmla="*/ 3554955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5071271 w 25273001"/>
              <a:gd name="connsiteY5" fmla="*/ 8714783 h 9857783"/>
              <a:gd name="connsiteX6" fmla="*/ 18043072 w 25273001"/>
              <a:gd name="connsiteY6" fmla="*/ 5612355 h 9857783"/>
              <a:gd name="connsiteX7" fmla="*/ 20035156 w 25273001"/>
              <a:gd name="connsiteY7" fmla="*/ 5742983 h 9857783"/>
              <a:gd name="connsiteX8" fmla="*/ 22255844 w 25273001"/>
              <a:gd name="connsiteY8" fmla="*/ 3783556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5071271 w 25273001"/>
              <a:gd name="connsiteY5" fmla="*/ 8714783 h 9857783"/>
              <a:gd name="connsiteX6" fmla="*/ 18043072 w 25273001"/>
              <a:gd name="connsiteY6" fmla="*/ 5612355 h 9857783"/>
              <a:gd name="connsiteX7" fmla="*/ 20035156 w 25273001"/>
              <a:gd name="connsiteY7" fmla="*/ 57429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5071271 w 25273001"/>
              <a:gd name="connsiteY5" fmla="*/ 8714783 h 9857783"/>
              <a:gd name="connsiteX6" fmla="*/ 18043072 w 25273001"/>
              <a:gd name="connsiteY6" fmla="*/ 56123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5071271 w 25273001"/>
              <a:gd name="connsiteY5" fmla="*/ 8714783 h 9857783"/>
              <a:gd name="connsiteX6" fmla="*/ 15442747 w 25273001"/>
              <a:gd name="connsiteY6" fmla="*/ 48122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3144500 w 25273001"/>
              <a:gd name="connsiteY4" fmla="*/ 8159612 h 9857783"/>
              <a:gd name="connsiteX5" fmla="*/ 13699671 w 25273001"/>
              <a:gd name="connsiteY5" fmla="*/ 7428908 h 9857783"/>
              <a:gd name="connsiteX6" fmla="*/ 15442747 w 25273001"/>
              <a:gd name="connsiteY6" fmla="*/ 48122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273001"/>
              <a:gd name="connsiteY0" fmla="*/ 9347852 h 9857783"/>
              <a:gd name="connsiteX1" fmla="*/ 3510643 w 25273001"/>
              <a:gd name="connsiteY1" fmla="*/ 9857783 h 9857783"/>
              <a:gd name="connsiteX2" fmla="*/ 6547758 w 25273001"/>
              <a:gd name="connsiteY2" fmla="*/ 8747441 h 9857783"/>
              <a:gd name="connsiteX3" fmla="*/ 8735787 w 25273001"/>
              <a:gd name="connsiteY3" fmla="*/ 9204641 h 9857783"/>
              <a:gd name="connsiteX4" fmla="*/ 11801475 w 25273001"/>
              <a:gd name="connsiteY4" fmla="*/ 7959587 h 9857783"/>
              <a:gd name="connsiteX5" fmla="*/ 13699671 w 25273001"/>
              <a:gd name="connsiteY5" fmla="*/ 7428908 h 9857783"/>
              <a:gd name="connsiteX6" fmla="*/ 15442747 w 25273001"/>
              <a:gd name="connsiteY6" fmla="*/ 4812255 h 9857783"/>
              <a:gd name="connsiteX7" fmla="*/ 18920731 w 25273001"/>
              <a:gd name="connsiteY7" fmla="*/ 7686083 h 9857783"/>
              <a:gd name="connsiteX8" fmla="*/ 20827094 w 25273001"/>
              <a:gd name="connsiteY8" fmla="*/ 6098131 h 9857783"/>
              <a:gd name="connsiteX9" fmla="*/ 23321281 w 25273001"/>
              <a:gd name="connsiteY9" fmla="*/ 7984080 h 9857783"/>
              <a:gd name="connsiteX10" fmla="*/ 25273001 w 25273001"/>
              <a:gd name="connsiteY10" fmla="*/ 0 h 9857783"/>
              <a:gd name="connsiteX0" fmla="*/ 0 w 25530175"/>
              <a:gd name="connsiteY0" fmla="*/ 4535597 h 5045528"/>
              <a:gd name="connsiteX1" fmla="*/ 3510643 w 25530175"/>
              <a:gd name="connsiteY1" fmla="*/ 5045528 h 5045528"/>
              <a:gd name="connsiteX2" fmla="*/ 6547758 w 25530175"/>
              <a:gd name="connsiteY2" fmla="*/ 3935186 h 5045528"/>
              <a:gd name="connsiteX3" fmla="*/ 8735787 w 25530175"/>
              <a:gd name="connsiteY3" fmla="*/ 4392386 h 5045528"/>
              <a:gd name="connsiteX4" fmla="*/ 11801475 w 25530175"/>
              <a:gd name="connsiteY4" fmla="*/ 3147332 h 5045528"/>
              <a:gd name="connsiteX5" fmla="*/ 13699671 w 25530175"/>
              <a:gd name="connsiteY5" fmla="*/ 2616653 h 5045528"/>
              <a:gd name="connsiteX6" fmla="*/ 15442747 w 25530175"/>
              <a:gd name="connsiteY6" fmla="*/ 0 h 5045528"/>
              <a:gd name="connsiteX7" fmla="*/ 18920731 w 25530175"/>
              <a:gd name="connsiteY7" fmla="*/ 2873828 h 5045528"/>
              <a:gd name="connsiteX8" fmla="*/ 20827094 w 25530175"/>
              <a:gd name="connsiteY8" fmla="*/ 1285876 h 5045528"/>
              <a:gd name="connsiteX9" fmla="*/ 23321281 w 25530175"/>
              <a:gd name="connsiteY9" fmla="*/ 3171825 h 5045528"/>
              <a:gd name="connsiteX10" fmla="*/ 25530175 w 25530175"/>
              <a:gd name="connsiteY10" fmla="*/ 4131720 h 5045528"/>
              <a:gd name="connsiteX0" fmla="*/ 0 w 25530175"/>
              <a:gd name="connsiteY0" fmla="*/ 4535597 h 5045528"/>
              <a:gd name="connsiteX1" fmla="*/ 3510643 w 25530175"/>
              <a:gd name="connsiteY1" fmla="*/ 5045528 h 5045528"/>
              <a:gd name="connsiteX2" fmla="*/ 6547758 w 25530175"/>
              <a:gd name="connsiteY2" fmla="*/ 3935186 h 5045528"/>
              <a:gd name="connsiteX3" fmla="*/ 8735787 w 25530175"/>
              <a:gd name="connsiteY3" fmla="*/ 4392386 h 5045528"/>
              <a:gd name="connsiteX4" fmla="*/ 11801475 w 25530175"/>
              <a:gd name="connsiteY4" fmla="*/ 3147332 h 5045528"/>
              <a:gd name="connsiteX5" fmla="*/ 13699671 w 25530175"/>
              <a:gd name="connsiteY5" fmla="*/ 2616653 h 5045528"/>
              <a:gd name="connsiteX6" fmla="*/ 15442747 w 25530175"/>
              <a:gd name="connsiteY6" fmla="*/ 0 h 5045528"/>
              <a:gd name="connsiteX7" fmla="*/ 18920731 w 25530175"/>
              <a:gd name="connsiteY7" fmla="*/ 2873828 h 5045528"/>
              <a:gd name="connsiteX8" fmla="*/ 20827094 w 25530175"/>
              <a:gd name="connsiteY8" fmla="*/ 1285876 h 5045528"/>
              <a:gd name="connsiteX9" fmla="*/ 23321281 w 25530175"/>
              <a:gd name="connsiteY9" fmla="*/ 3171825 h 5045528"/>
              <a:gd name="connsiteX10" fmla="*/ 25530175 w 25530175"/>
              <a:gd name="connsiteY10" fmla="*/ 4131720 h 5045528"/>
              <a:gd name="connsiteX0" fmla="*/ 0 w 25530175"/>
              <a:gd name="connsiteY0" fmla="*/ 4535597 h 5045528"/>
              <a:gd name="connsiteX1" fmla="*/ 3510643 w 25530175"/>
              <a:gd name="connsiteY1" fmla="*/ 5045528 h 5045528"/>
              <a:gd name="connsiteX2" fmla="*/ 6547758 w 25530175"/>
              <a:gd name="connsiteY2" fmla="*/ 3935186 h 5045528"/>
              <a:gd name="connsiteX3" fmla="*/ 8735787 w 25530175"/>
              <a:gd name="connsiteY3" fmla="*/ 4392386 h 5045528"/>
              <a:gd name="connsiteX4" fmla="*/ 11801475 w 25530175"/>
              <a:gd name="connsiteY4" fmla="*/ 3147332 h 5045528"/>
              <a:gd name="connsiteX5" fmla="*/ 13699671 w 25530175"/>
              <a:gd name="connsiteY5" fmla="*/ 2616653 h 5045528"/>
              <a:gd name="connsiteX6" fmla="*/ 15442747 w 25530175"/>
              <a:gd name="connsiteY6" fmla="*/ 0 h 5045528"/>
              <a:gd name="connsiteX7" fmla="*/ 18920731 w 25530175"/>
              <a:gd name="connsiteY7" fmla="*/ 2873828 h 5045528"/>
              <a:gd name="connsiteX8" fmla="*/ 20827094 w 25530175"/>
              <a:gd name="connsiteY8" fmla="*/ 1285876 h 5045528"/>
              <a:gd name="connsiteX9" fmla="*/ 23321281 w 25530175"/>
              <a:gd name="connsiteY9" fmla="*/ 3171825 h 5045528"/>
              <a:gd name="connsiteX10" fmla="*/ 25530175 w 25530175"/>
              <a:gd name="connsiteY10" fmla="*/ 4131720 h 5045528"/>
              <a:gd name="connsiteX0" fmla="*/ 0 w 25530175"/>
              <a:gd name="connsiteY0" fmla="*/ 4535597 h 5045528"/>
              <a:gd name="connsiteX1" fmla="*/ 3510643 w 25530175"/>
              <a:gd name="connsiteY1" fmla="*/ 5045528 h 5045528"/>
              <a:gd name="connsiteX2" fmla="*/ 6547758 w 25530175"/>
              <a:gd name="connsiteY2" fmla="*/ 3935186 h 5045528"/>
              <a:gd name="connsiteX3" fmla="*/ 8735787 w 25530175"/>
              <a:gd name="connsiteY3" fmla="*/ 4392386 h 5045528"/>
              <a:gd name="connsiteX4" fmla="*/ 11801475 w 25530175"/>
              <a:gd name="connsiteY4" fmla="*/ 3147332 h 5045528"/>
              <a:gd name="connsiteX5" fmla="*/ 13699671 w 25530175"/>
              <a:gd name="connsiteY5" fmla="*/ 2616653 h 5045528"/>
              <a:gd name="connsiteX6" fmla="*/ 15442747 w 25530175"/>
              <a:gd name="connsiteY6" fmla="*/ 0 h 5045528"/>
              <a:gd name="connsiteX7" fmla="*/ 18920731 w 25530175"/>
              <a:gd name="connsiteY7" fmla="*/ 2873828 h 5045528"/>
              <a:gd name="connsiteX8" fmla="*/ 20827094 w 25530175"/>
              <a:gd name="connsiteY8" fmla="*/ 1285876 h 5045528"/>
              <a:gd name="connsiteX9" fmla="*/ 23321281 w 25530175"/>
              <a:gd name="connsiteY9" fmla="*/ 3171825 h 5045528"/>
              <a:gd name="connsiteX10" fmla="*/ 25530175 w 25530175"/>
              <a:gd name="connsiteY10" fmla="*/ 4131720 h 5045528"/>
              <a:gd name="connsiteX0" fmla="*/ 0 w 25530175"/>
              <a:gd name="connsiteY0" fmla="*/ 4535597 h 5045528"/>
              <a:gd name="connsiteX1" fmla="*/ 3510643 w 25530175"/>
              <a:gd name="connsiteY1" fmla="*/ 5045528 h 5045528"/>
              <a:gd name="connsiteX2" fmla="*/ 6547758 w 25530175"/>
              <a:gd name="connsiteY2" fmla="*/ 3935186 h 5045528"/>
              <a:gd name="connsiteX3" fmla="*/ 8735787 w 25530175"/>
              <a:gd name="connsiteY3" fmla="*/ 4392386 h 5045528"/>
              <a:gd name="connsiteX4" fmla="*/ 11801475 w 25530175"/>
              <a:gd name="connsiteY4" fmla="*/ 3147332 h 5045528"/>
              <a:gd name="connsiteX5" fmla="*/ 13699671 w 25530175"/>
              <a:gd name="connsiteY5" fmla="*/ 2616653 h 5045528"/>
              <a:gd name="connsiteX6" fmla="*/ 15442747 w 25530175"/>
              <a:gd name="connsiteY6" fmla="*/ 0 h 5045528"/>
              <a:gd name="connsiteX7" fmla="*/ 18920731 w 25530175"/>
              <a:gd name="connsiteY7" fmla="*/ 2873828 h 5045528"/>
              <a:gd name="connsiteX8" fmla="*/ 20827094 w 25530175"/>
              <a:gd name="connsiteY8" fmla="*/ 1285876 h 5045528"/>
              <a:gd name="connsiteX9" fmla="*/ 23321280 w 25530175"/>
              <a:gd name="connsiteY9" fmla="*/ 4714875 h 5045528"/>
              <a:gd name="connsiteX10" fmla="*/ 25530175 w 25530175"/>
              <a:gd name="connsiteY10" fmla="*/ 4131720 h 5045528"/>
              <a:gd name="connsiteX0" fmla="*/ 0 w 25530175"/>
              <a:gd name="connsiteY0" fmla="*/ 4535597 h 5045528"/>
              <a:gd name="connsiteX1" fmla="*/ 3510643 w 25530175"/>
              <a:gd name="connsiteY1" fmla="*/ 5045528 h 5045528"/>
              <a:gd name="connsiteX2" fmla="*/ 6547758 w 25530175"/>
              <a:gd name="connsiteY2" fmla="*/ 3935186 h 5045528"/>
              <a:gd name="connsiteX3" fmla="*/ 8735787 w 25530175"/>
              <a:gd name="connsiteY3" fmla="*/ 4392386 h 5045528"/>
              <a:gd name="connsiteX4" fmla="*/ 11801475 w 25530175"/>
              <a:gd name="connsiteY4" fmla="*/ 3147332 h 5045528"/>
              <a:gd name="connsiteX5" fmla="*/ 13699671 w 25530175"/>
              <a:gd name="connsiteY5" fmla="*/ 2616653 h 5045528"/>
              <a:gd name="connsiteX6" fmla="*/ 15442747 w 25530175"/>
              <a:gd name="connsiteY6" fmla="*/ 0 h 5045528"/>
              <a:gd name="connsiteX7" fmla="*/ 18920731 w 25530175"/>
              <a:gd name="connsiteY7" fmla="*/ 2873828 h 5045528"/>
              <a:gd name="connsiteX8" fmla="*/ 20827094 w 25530175"/>
              <a:gd name="connsiteY8" fmla="*/ 1285876 h 5045528"/>
              <a:gd name="connsiteX9" fmla="*/ 23321280 w 25530175"/>
              <a:gd name="connsiteY9" fmla="*/ 4714875 h 5045528"/>
              <a:gd name="connsiteX10" fmla="*/ 25530175 w 25530175"/>
              <a:gd name="connsiteY10" fmla="*/ 4131720 h 5045528"/>
              <a:gd name="connsiteX0" fmla="*/ 0 w 25530175"/>
              <a:gd name="connsiteY0" fmla="*/ 4535597 h 5045528"/>
              <a:gd name="connsiteX1" fmla="*/ 3510643 w 25530175"/>
              <a:gd name="connsiteY1" fmla="*/ 5045528 h 5045528"/>
              <a:gd name="connsiteX2" fmla="*/ 6547758 w 25530175"/>
              <a:gd name="connsiteY2" fmla="*/ 3935186 h 5045528"/>
              <a:gd name="connsiteX3" fmla="*/ 8735787 w 25530175"/>
              <a:gd name="connsiteY3" fmla="*/ 4392386 h 5045528"/>
              <a:gd name="connsiteX4" fmla="*/ 11801475 w 25530175"/>
              <a:gd name="connsiteY4" fmla="*/ 3147332 h 5045528"/>
              <a:gd name="connsiteX5" fmla="*/ 13699671 w 25530175"/>
              <a:gd name="connsiteY5" fmla="*/ 2616653 h 5045528"/>
              <a:gd name="connsiteX6" fmla="*/ 15442747 w 25530175"/>
              <a:gd name="connsiteY6" fmla="*/ 0 h 5045528"/>
              <a:gd name="connsiteX7" fmla="*/ 18920731 w 25530175"/>
              <a:gd name="connsiteY7" fmla="*/ 2873828 h 5045528"/>
              <a:gd name="connsiteX8" fmla="*/ 20827094 w 25530175"/>
              <a:gd name="connsiteY8" fmla="*/ 1285876 h 5045528"/>
              <a:gd name="connsiteX9" fmla="*/ 23321280 w 25530175"/>
              <a:gd name="connsiteY9" fmla="*/ 4714875 h 5045528"/>
              <a:gd name="connsiteX10" fmla="*/ 25530175 w 25530175"/>
              <a:gd name="connsiteY10" fmla="*/ 4131720 h 5045528"/>
              <a:gd name="connsiteX0" fmla="*/ 0 w 25530175"/>
              <a:gd name="connsiteY0" fmla="*/ 4535597 h 5045528"/>
              <a:gd name="connsiteX1" fmla="*/ 3510643 w 25530175"/>
              <a:gd name="connsiteY1" fmla="*/ 5045528 h 5045528"/>
              <a:gd name="connsiteX2" fmla="*/ 6547758 w 25530175"/>
              <a:gd name="connsiteY2" fmla="*/ 3935186 h 5045528"/>
              <a:gd name="connsiteX3" fmla="*/ 8735787 w 25530175"/>
              <a:gd name="connsiteY3" fmla="*/ 4392386 h 5045528"/>
              <a:gd name="connsiteX4" fmla="*/ 11801475 w 25530175"/>
              <a:gd name="connsiteY4" fmla="*/ 3147332 h 5045528"/>
              <a:gd name="connsiteX5" fmla="*/ 13699671 w 25530175"/>
              <a:gd name="connsiteY5" fmla="*/ 2616653 h 5045528"/>
              <a:gd name="connsiteX6" fmla="*/ 15442747 w 25530175"/>
              <a:gd name="connsiteY6" fmla="*/ 0 h 5045528"/>
              <a:gd name="connsiteX7" fmla="*/ 18920731 w 25530175"/>
              <a:gd name="connsiteY7" fmla="*/ 2873828 h 5045528"/>
              <a:gd name="connsiteX8" fmla="*/ 20827094 w 25530175"/>
              <a:gd name="connsiteY8" fmla="*/ 1285876 h 5045528"/>
              <a:gd name="connsiteX9" fmla="*/ 23321280 w 25530175"/>
              <a:gd name="connsiteY9" fmla="*/ 4714875 h 5045528"/>
              <a:gd name="connsiteX10" fmla="*/ 25530175 w 25530175"/>
              <a:gd name="connsiteY10" fmla="*/ 4131720 h 5045528"/>
              <a:gd name="connsiteX0" fmla="*/ 0 w 25530175"/>
              <a:gd name="connsiteY0" fmla="*/ 4535597 h 5045528"/>
              <a:gd name="connsiteX1" fmla="*/ 3510643 w 25530175"/>
              <a:gd name="connsiteY1" fmla="*/ 5045528 h 5045528"/>
              <a:gd name="connsiteX2" fmla="*/ 6547758 w 25530175"/>
              <a:gd name="connsiteY2" fmla="*/ 3935186 h 5045528"/>
              <a:gd name="connsiteX3" fmla="*/ 8735787 w 25530175"/>
              <a:gd name="connsiteY3" fmla="*/ 4392386 h 5045528"/>
              <a:gd name="connsiteX4" fmla="*/ 11801475 w 25530175"/>
              <a:gd name="connsiteY4" fmla="*/ 3147332 h 5045528"/>
              <a:gd name="connsiteX5" fmla="*/ 13699671 w 25530175"/>
              <a:gd name="connsiteY5" fmla="*/ 2616653 h 5045528"/>
              <a:gd name="connsiteX6" fmla="*/ 15442747 w 25530175"/>
              <a:gd name="connsiteY6" fmla="*/ 0 h 5045528"/>
              <a:gd name="connsiteX7" fmla="*/ 18920731 w 25530175"/>
              <a:gd name="connsiteY7" fmla="*/ 2873828 h 5045528"/>
              <a:gd name="connsiteX8" fmla="*/ 20827094 w 25530175"/>
              <a:gd name="connsiteY8" fmla="*/ 1285876 h 5045528"/>
              <a:gd name="connsiteX9" fmla="*/ 23321280 w 25530175"/>
              <a:gd name="connsiteY9" fmla="*/ 4714875 h 5045528"/>
              <a:gd name="connsiteX10" fmla="*/ 25530175 w 25530175"/>
              <a:gd name="connsiteY10" fmla="*/ 4131720 h 5045528"/>
              <a:gd name="connsiteX0" fmla="*/ 0 w 25530175"/>
              <a:gd name="connsiteY0" fmla="*/ 4535597 h 5045528"/>
              <a:gd name="connsiteX1" fmla="*/ 3510643 w 25530175"/>
              <a:gd name="connsiteY1" fmla="*/ 5045528 h 5045528"/>
              <a:gd name="connsiteX2" fmla="*/ 6547758 w 25530175"/>
              <a:gd name="connsiteY2" fmla="*/ 3935186 h 5045528"/>
              <a:gd name="connsiteX3" fmla="*/ 8735787 w 25530175"/>
              <a:gd name="connsiteY3" fmla="*/ 4392386 h 5045528"/>
              <a:gd name="connsiteX4" fmla="*/ 11801475 w 25530175"/>
              <a:gd name="connsiteY4" fmla="*/ 3147332 h 5045528"/>
              <a:gd name="connsiteX5" fmla="*/ 13699671 w 25530175"/>
              <a:gd name="connsiteY5" fmla="*/ 2616653 h 5045528"/>
              <a:gd name="connsiteX6" fmla="*/ 15442747 w 25530175"/>
              <a:gd name="connsiteY6" fmla="*/ 0 h 5045528"/>
              <a:gd name="connsiteX7" fmla="*/ 18920731 w 25530175"/>
              <a:gd name="connsiteY7" fmla="*/ 2873828 h 5045528"/>
              <a:gd name="connsiteX8" fmla="*/ 20827094 w 25530175"/>
              <a:gd name="connsiteY8" fmla="*/ 1285876 h 5045528"/>
              <a:gd name="connsiteX9" fmla="*/ 23321280 w 25530175"/>
              <a:gd name="connsiteY9" fmla="*/ 4714875 h 5045528"/>
              <a:gd name="connsiteX10" fmla="*/ 25530175 w 25530175"/>
              <a:gd name="connsiteY10" fmla="*/ 4131720 h 5045528"/>
              <a:gd name="connsiteX0" fmla="*/ 0 w 25530175"/>
              <a:gd name="connsiteY0" fmla="*/ 3249721 h 3759652"/>
              <a:gd name="connsiteX1" fmla="*/ 3510643 w 25530175"/>
              <a:gd name="connsiteY1" fmla="*/ 3759652 h 3759652"/>
              <a:gd name="connsiteX2" fmla="*/ 6547758 w 25530175"/>
              <a:gd name="connsiteY2" fmla="*/ 2649310 h 3759652"/>
              <a:gd name="connsiteX3" fmla="*/ 8735787 w 25530175"/>
              <a:gd name="connsiteY3" fmla="*/ 3106510 h 3759652"/>
              <a:gd name="connsiteX4" fmla="*/ 11801475 w 25530175"/>
              <a:gd name="connsiteY4" fmla="*/ 1861456 h 3759652"/>
              <a:gd name="connsiteX5" fmla="*/ 13699671 w 25530175"/>
              <a:gd name="connsiteY5" fmla="*/ 1330777 h 3759652"/>
              <a:gd name="connsiteX6" fmla="*/ 16387627 w 25530175"/>
              <a:gd name="connsiteY6" fmla="*/ 3529964 h 3759652"/>
              <a:gd name="connsiteX7" fmla="*/ 18920731 w 25530175"/>
              <a:gd name="connsiteY7" fmla="*/ 1587952 h 3759652"/>
              <a:gd name="connsiteX8" fmla="*/ 20827094 w 25530175"/>
              <a:gd name="connsiteY8" fmla="*/ 0 h 3759652"/>
              <a:gd name="connsiteX9" fmla="*/ 23321280 w 25530175"/>
              <a:gd name="connsiteY9" fmla="*/ 3428999 h 3759652"/>
              <a:gd name="connsiteX10" fmla="*/ 25530175 w 25530175"/>
              <a:gd name="connsiteY10" fmla="*/ 2845844 h 3759652"/>
              <a:gd name="connsiteX0" fmla="*/ 0 w 25530175"/>
              <a:gd name="connsiteY0" fmla="*/ 1918944 h 2428875"/>
              <a:gd name="connsiteX1" fmla="*/ 3510643 w 25530175"/>
              <a:gd name="connsiteY1" fmla="*/ 2428875 h 2428875"/>
              <a:gd name="connsiteX2" fmla="*/ 6547758 w 25530175"/>
              <a:gd name="connsiteY2" fmla="*/ 1318533 h 2428875"/>
              <a:gd name="connsiteX3" fmla="*/ 8735787 w 25530175"/>
              <a:gd name="connsiteY3" fmla="*/ 1775733 h 2428875"/>
              <a:gd name="connsiteX4" fmla="*/ 11801475 w 25530175"/>
              <a:gd name="connsiteY4" fmla="*/ 530679 h 2428875"/>
              <a:gd name="connsiteX5" fmla="*/ 13699671 w 25530175"/>
              <a:gd name="connsiteY5" fmla="*/ 0 h 2428875"/>
              <a:gd name="connsiteX6" fmla="*/ 16387627 w 25530175"/>
              <a:gd name="connsiteY6" fmla="*/ 2199187 h 2428875"/>
              <a:gd name="connsiteX7" fmla="*/ 18920731 w 25530175"/>
              <a:gd name="connsiteY7" fmla="*/ 257175 h 2428875"/>
              <a:gd name="connsiteX8" fmla="*/ 20446094 w 25530175"/>
              <a:gd name="connsiteY8" fmla="*/ 1610543 h 2428875"/>
              <a:gd name="connsiteX9" fmla="*/ 23321280 w 25530175"/>
              <a:gd name="connsiteY9" fmla="*/ 2098222 h 2428875"/>
              <a:gd name="connsiteX10" fmla="*/ 25530175 w 25530175"/>
              <a:gd name="connsiteY10" fmla="*/ 1515067 h 2428875"/>
              <a:gd name="connsiteX0" fmla="*/ 0 w 25530175"/>
              <a:gd name="connsiteY0" fmla="*/ 1918944 h 2428875"/>
              <a:gd name="connsiteX1" fmla="*/ 3510643 w 25530175"/>
              <a:gd name="connsiteY1" fmla="*/ 2428875 h 2428875"/>
              <a:gd name="connsiteX2" fmla="*/ 6547758 w 25530175"/>
              <a:gd name="connsiteY2" fmla="*/ 1318533 h 2428875"/>
              <a:gd name="connsiteX3" fmla="*/ 8735787 w 25530175"/>
              <a:gd name="connsiteY3" fmla="*/ 1775733 h 2428875"/>
              <a:gd name="connsiteX4" fmla="*/ 11801475 w 25530175"/>
              <a:gd name="connsiteY4" fmla="*/ 530679 h 2428875"/>
              <a:gd name="connsiteX5" fmla="*/ 13699671 w 25530175"/>
              <a:gd name="connsiteY5" fmla="*/ 0 h 2428875"/>
              <a:gd name="connsiteX6" fmla="*/ 16387627 w 25530175"/>
              <a:gd name="connsiteY6" fmla="*/ 2199187 h 2428875"/>
              <a:gd name="connsiteX7" fmla="*/ 18920731 w 25530175"/>
              <a:gd name="connsiteY7" fmla="*/ 257175 h 2428875"/>
              <a:gd name="connsiteX8" fmla="*/ 21192854 w 25530175"/>
              <a:gd name="connsiteY8" fmla="*/ 1641023 h 2428875"/>
              <a:gd name="connsiteX9" fmla="*/ 23321280 w 25530175"/>
              <a:gd name="connsiteY9" fmla="*/ 2098222 h 2428875"/>
              <a:gd name="connsiteX10" fmla="*/ 25530175 w 25530175"/>
              <a:gd name="connsiteY10" fmla="*/ 1515067 h 2428875"/>
              <a:gd name="connsiteX0" fmla="*/ 0 w 25530175"/>
              <a:gd name="connsiteY0" fmla="*/ 2668425 h 3178356"/>
              <a:gd name="connsiteX1" fmla="*/ 3510643 w 25530175"/>
              <a:gd name="connsiteY1" fmla="*/ 3178356 h 3178356"/>
              <a:gd name="connsiteX2" fmla="*/ 6547758 w 25530175"/>
              <a:gd name="connsiteY2" fmla="*/ 2068014 h 3178356"/>
              <a:gd name="connsiteX3" fmla="*/ 8735787 w 25530175"/>
              <a:gd name="connsiteY3" fmla="*/ 2525214 h 3178356"/>
              <a:gd name="connsiteX4" fmla="*/ 11176635 w 25530175"/>
              <a:gd name="connsiteY4" fmla="*/ 0 h 3178356"/>
              <a:gd name="connsiteX5" fmla="*/ 13699671 w 25530175"/>
              <a:gd name="connsiteY5" fmla="*/ 749481 h 3178356"/>
              <a:gd name="connsiteX6" fmla="*/ 16387627 w 25530175"/>
              <a:gd name="connsiteY6" fmla="*/ 2948668 h 3178356"/>
              <a:gd name="connsiteX7" fmla="*/ 18920731 w 25530175"/>
              <a:gd name="connsiteY7" fmla="*/ 1006656 h 3178356"/>
              <a:gd name="connsiteX8" fmla="*/ 21192854 w 25530175"/>
              <a:gd name="connsiteY8" fmla="*/ 2390504 h 3178356"/>
              <a:gd name="connsiteX9" fmla="*/ 23321280 w 25530175"/>
              <a:gd name="connsiteY9" fmla="*/ 2847703 h 3178356"/>
              <a:gd name="connsiteX10" fmla="*/ 25530175 w 25530175"/>
              <a:gd name="connsiteY10" fmla="*/ 2264548 h 3178356"/>
              <a:gd name="connsiteX0" fmla="*/ 0 w 25530175"/>
              <a:gd name="connsiteY0" fmla="*/ 2668425 h 3178356"/>
              <a:gd name="connsiteX1" fmla="*/ 3510643 w 25530175"/>
              <a:gd name="connsiteY1" fmla="*/ 3178356 h 3178356"/>
              <a:gd name="connsiteX2" fmla="*/ 6547758 w 25530175"/>
              <a:gd name="connsiteY2" fmla="*/ 2068014 h 3178356"/>
              <a:gd name="connsiteX3" fmla="*/ 8735787 w 25530175"/>
              <a:gd name="connsiteY3" fmla="*/ 2525214 h 3178356"/>
              <a:gd name="connsiteX4" fmla="*/ 11176635 w 25530175"/>
              <a:gd name="connsiteY4" fmla="*/ 0 h 3178356"/>
              <a:gd name="connsiteX5" fmla="*/ 13425351 w 25530175"/>
              <a:gd name="connsiteY5" fmla="*/ 2121081 h 3178356"/>
              <a:gd name="connsiteX6" fmla="*/ 16387627 w 25530175"/>
              <a:gd name="connsiteY6" fmla="*/ 2948668 h 3178356"/>
              <a:gd name="connsiteX7" fmla="*/ 18920731 w 25530175"/>
              <a:gd name="connsiteY7" fmla="*/ 1006656 h 3178356"/>
              <a:gd name="connsiteX8" fmla="*/ 21192854 w 25530175"/>
              <a:gd name="connsiteY8" fmla="*/ 2390504 h 3178356"/>
              <a:gd name="connsiteX9" fmla="*/ 23321280 w 25530175"/>
              <a:gd name="connsiteY9" fmla="*/ 2847703 h 3178356"/>
              <a:gd name="connsiteX10" fmla="*/ 25530175 w 25530175"/>
              <a:gd name="connsiteY10" fmla="*/ 2264548 h 3178356"/>
              <a:gd name="connsiteX0" fmla="*/ 0 w 25530175"/>
              <a:gd name="connsiteY0" fmla="*/ 3285917 h 3795848"/>
              <a:gd name="connsiteX1" fmla="*/ 3510643 w 25530175"/>
              <a:gd name="connsiteY1" fmla="*/ 3795848 h 3795848"/>
              <a:gd name="connsiteX2" fmla="*/ 6547758 w 25530175"/>
              <a:gd name="connsiteY2" fmla="*/ 2685506 h 3795848"/>
              <a:gd name="connsiteX3" fmla="*/ 8735787 w 25530175"/>
              <a:gd name="connsiteY3" fmla="*/ 3142706 h 3795848"/>
              <a:gd name="connsiteX4" fmla="*/ 11176635 w 25530175"/>
              <a:gd name="connsiteY4" fmla="*/ 617492 h 3795848"/>
              <a:gd name="connsiteX5" fmla="*/ 13425351 w 25530175"/>
              <a:gd name="connsiteY5" fmla="*/ 2738573 h 3795848"/>
              <a:gd name="connsiteX6" fmla="*/ 16113307 w 25530175"/>
              <a:gd name="connsiteY6" fmla="*/ 0 h 3795848"/>
              <a:gd name="connsiteX7" fmla="*/ 18920731 w 25530175"/>
              <a:gd name="connsiteY7" fmla="*/ 1624148 h 3795848"/>
              <a:gd name="connsiteX8" fmla="*/ 21192854 w 25530175"/>
              <a:gd name="connsiteY8" fmla="*/ 3007996 h 3795848"/>
              <a:gd name="connsiteX9" fmla="*/ 23321280 w 25530175"/>
              <a:gd name="connsiteY9" fmla="*/ 3465195 h 3795848"/>
              <a:gd name="connsiteX10" fmla="*/ 25530175 w 25530175"/>
              <a:gd name="connsiteY10" fmla="*/ 2882040 h 3795848"/>
              <a:gd name="connsiteX0" fmla="*/ 0 w 25530175"/>
              <a:gd name="connsiteY0" fmla="*/ 3285917 h 3795848"/>
              <a:gd name="connsiteX1" fmla="*/ 3510643 w 25530175"/>
              <a:gd name="connsiteY1" fmla="*/ 3795848 h 3795848"/>
              <a:gd name="connsiteX2" fmla="*/ 6547758 w 25530175"/>
              <a:gd name="connsiteY2" fmla="*/ 2685506 h 3795848"/>
              <a:gd name="connsiteX3" fmla="*/ 8735787 w 25530175"/>
              <a:gd name="connsiteY3" fmla="*/ 3142706 h 3795848"/>
              <a:gd name="connsiteX4" fmla="*/ 11176635 w 25530175"/>
              <a:gd name="connsiteY4" fmla="*/ 617492 h 3795848"/>
              <a:gd name="connsiteX5" fmla="*/ 13425351 w 25530175"/>
              <a:gd name="connsiteY5" fmla="*/ 2738573 h 3795848"/>
              <a:gd name="connsiteX6" fmla="*/ 16113307 w 25530175"/>
              <a:gd name="connsiteY6" fmla="*/ 0 h 3795848"/>
              <a:gd name="connsiteX7" fmla="*/ 18661652 w 25530175"/>
              <a:gd name="connsiteY7" fmla="*/ 2858588 h 3795848"/>
              <a:gd name="connsiteX8" fmla="*/ 21192854 w 25530175"/>
              <a:gd name="connsiteY8" fmla="*/ 3007996 h 3795848"/>
              <a:gd name="connsiteX9" fmla="*/ 23321280 w 25530175"/>
              <a:gd name="connsiteY9" fmla="*/ 3465195 h 3795848"/>
              <a:gd name="connsiteX10" fmla="*/ 25530175 w 25530175"/>
              <a:gd name="connsiteY10" fmla="*/ 2882040 h 3795848"/>
              <a:gd name="connsiteX0" fmla="*/ 0 w 25530175"/>
              <a:gd name="connsiteY0" fmla="*/ 3285917 h 3795848"/>
              <a:gd name="connsiteX1" fmla="*/ 3510643 w 25530175"/>
              <a:gd name="connsiteY1" fmla="*/ 3795848 h 3795848"/>
              <a:gd name="connsiteX2" fmla="*/ 6547758 w 25530175"/>
              <a:gd name="connsiteY2" fmla="*/ 2685506 h 3795848"/>
              <a:gd name="connsiteX3" fmla="*/ 8735787 w 25530175"/>
              <a:gd name="connsiteY3" fmla="*/ 3142706 h 3795848"/>
              <a:gd name="connsiteX4" fmla="*/ 11176635 w 25530175"/>
              <a:gd name="connsiteY4" fmla="*/ 617492 h 3795848"/>
              <a:gd name="connsiteX5" fmla="*/ 13425351 w 25530175"/>
              <a:gd name="connsiteY5" fmla="*/ 2738573 h 3795848"/>
              <a:gd name="connsiteX6" fmla="*/ 16113307 w 25530175"/>
              <a:gd name="connsiteY6" fmla="*/ 0 h 3795848"/>
              <a:gd name="connsiteX7" fmla="*/ 18661652 w 25530175"/>
              <a:gd name="connsiteY7" fmla="*/ 2858588 h 3795848"/>
              <a:gd name="connsiteX8" fmla="*/ 21802454 w 25530175"/>
              <a:gd name="connsiteY8" fmla="*/ 1651636 h 3795848"/>
              <a:gd name="connsiteX9" fmla="*/ 23321280 w 25530175"/>
              <a:gd name="connsiteY9" fmla="*/ 3465195 h 3795848"/>
              <a:gd name="connsiteX10" fmla="*/ 25530175 w 25530175"/>
              <a:gd name="connsiteY10" fmla="*/ 2882040 h 3795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530175" h="3795848">
                <a:moveTo>
                  <a:pt x="0" y="3285917"/>
                </a:moveTo>
                <a:lnTo>
                  <a:pt x="3510643" y="3795848"/>
                </a:lnTo>
                <a:lnTo>
                  <a:pt x="6547758" y="2685506"/>
                </a:lnTo>
                <a:lnTo>
                  <a:pt x="8735787" y="3142706"/>
                </a:lnTo>
                <a:lnTo>
                  <a:pt x="11176635" y="617492"/>
                </a:lnTo>
                <a:lnTo>
                  <a:pt x="13425351" y="2738573"/>
                </a:lnTo>
                <a:lnTo>
                  <a:pt x="16113307" y="0"/>
                </a:lnTo>
                <a:lnTo>
                  <a:pt x="18661652" y="2858588"/>
                </a:lnTo>
                <a:lnTo>
                  <a:pt x="21802454" y="1651636"/>
                </a:lnTo>
                <a:lnTo>
                  <a:pt x="23321280" y="3465195"/>
                </a:lnTo>
                <a:cubicBezTo>
                  <a:pt x="23846644" y="3306486"/>
                  <a:pt x="24622426" y="3114525"/>
                  <a:pt x="25530175" y="2882040"/>
                </a:cubicBezTo>
              </a:path>
            </a:pathLst>
          </a:custGeom>
          <a:noFill/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1" name="Полилиния 10">
            <a:extLst>
              <a:ext uri="{FF2B5EF4-FFF2-40B4-BE49-F238E27FC236}">
                <a16:creationId xmlns:a16="http://schemas.microsoft.com/office/drawing/2014/main" id="{AA571F05-AAB6-60FA-375D-070F68AF45B2}"/>
              </a:ext>
            </a:extLst>
          </p:cNvPr>
          <p:cNvSpPr/>
          <p:nvPr/>
        </p:nvSpPr>
        <p:spPr>
          <a:xfrm>
            <a:off x="-2910697" y="4153735"/>
            <a:ext cx="15586507" cy="3237343"/>
          </a:xfrm>
          <a:custGeom>
            <a:avLst/>
            <a:gdLst>
              <a:gd name="connsiteX0" fmla="*/ 0 w 25088850"/>
              <a:gd name="connsiteY0" fmla="*/ 6800850 h 6800850"/>
              <a:gd name="connsiteX1" fmla="*/ 0 w 25088850"/>
              <a:gd name="connsiteY1" fmla="*/ 6800850 h 6800850"/>
              <a:gd name="connsiteX2" fmla="*/ 3800475 w 25088850"/>
              <a:gd name="connsiteY2" fmla="*/ 5314950 h 6800850"/>
              <a:gd name="connsiteX3" fmla="*/ 5772150 w 25088850"/>
              <a:gd name="connsiteY3" fmla="*/ 6343650 h 6800850"/>
              <a:gd name="connsiteX4" fmla="*/ 9258300 w 25088850"/>
              <a:gd name="connsiteY4" fmla="*/ 4229100 h 6800850"/>
              <a:gd name="connsiteX5" fmla="*/ 12658725 w 25088850"/>
              <a:gd name="connsiteY5" fmla="*/ 5915025 h 6800850"/>
              <a:gd name="connsiteX6" fmla="*/ 14887575 w 25088850"/>
              <a:gd name="connsiteY6" fmla="*/ 3114675 h 6800850"/>
              <a:gd name="connsiteX7" fmla="*/ 18087975 w 25088850"/>
              <a:gd name="connsiteY7" fmla="*/ 4314825 h 6800850"/>
              <a:gd name="connsiteX8" fmla="*/ 19773900 w 25088850"/>
              <a:gd name="connsiteY8" fmla="*/ 3514725 h 6800850"/>
              <a:gd name="connsiteX9" fmla="*/ 21717000 w 25088850"/>
              <a:gd name="connsiteY9" fmla="*/ 3800475 h 6800850"/>
              <a:gd name="connsiteX10" fmla="*/ 23517225 w 25088850"/>
              <a:gd name="connsiteY10" fmla="*/ 885825 h 6800850"/>
              <a:gd name="connsiteX11" fmla="*/ 25088850 w 25088850"/>
              <a:gd name="connsiteY11" fmla="*/ 0 h 6800850"/>
              <a:gd name="connsiteX0" fmla="*/ 0 w 25088850"/>
              <a:gd name="connsiteY0" fmla="*/ 6800850 h 6800850"/>
              <a:gd name="connsiteX1" fmla="*/ 0 w 25088850"/>
              <a:gd name="connsiteY1" fmla="*/ 6800850 h 6800850"/>
              <a:gd name="connsiteX2" fmla="*/ 3800475 w 25088850"/>
              <a:gd name="connsiteY2" fmla="*/ 5314950 h 6800850"/>
              <a:gd name="connsiteX3" fmla="*/ 5772150 w 25088850"/>
              <a:gd name="connsiteY3" fmla="*/ 6343650 h 6800850"/>
              <a:gd name="connsiteX4" fmla="*/ 9258300 w 25088850"/>
              <a:gd name="connsiteY4" fmla="*/ 4229100 h 6800850"/>
              <a:gd name="connsiteX5" fmla="*/ 12658725 w 25088850"/>
              <a:gd name="connsiteY5" fmla="*/ 5915025 h 6800850"/>
              <a:gd name="connsiteX6" fmla="*/ 14887575 w 25088850"/>
              <a:gd name="connsiteY6" fmla="*/ 3114675 h 6800850"/>
              <a:gd name="connsiteX7" fmla="*/ 18087975 w 25088850"/>
              <a:gd name="connsiteY7" fmla="*/ 4314825 h 6800850"/>
              <a:gd name="connsiteX8" fmla="*/ 19773900 w 25088850"/>
              <a:gd name="connsiteY8" fmla="*/ 3514725 h 6800850"/>
              <a:gd name="connsiteX9" fmla="*/ 21717000 w 25088850"/>
              <a:gd name="connsiteY9" fmla="*/ 3800475 h 6800850"/>
              <a:gd name="connsiteX10" fmla="*/ 23693070 w 25088850"/>
              <a:gd name="connsiteY10" fmla="*/ 4744101 h 6800850"/>
              <a:gd name="connsiteX11" fmla="*/ 25088850 w 25088850"/>
              <a:gd name="connsiteY11" fmla="*/ 0 h 6800850"/>
              <a:gd name="connsiteX0" fmla="*/ 0 w 25247112"/>
              <a:gd name="connsiteY0" fmla="*/ 3686175 h 3686175"/>
              <a:gd name="connsiteX1" fmla="*/ 0 w 25247112"/>
              <a:gd name="connsiteY1" fmla="*/ 3686175 h 3686175"/>
              <a:gd name="connsiteX2" fmla="*/ 3800475 w 25247112"/>
              <a:gd name="connsiteY2" fmla="*/ 2200275 h 3686175"/>
              <a:gd name="connsiteX3" fmla="*/ 5772150 w 25247112"/>
              <a:gd name="connsiteY3" fmla="*/ 3228975 h 3686175"/>
              <a:gd name="connsiteX4" fmla="*/ 9258300 w 25247112"/>
              <a:gd name="connsiteY4" fmla="*/ 1114425 h 3686175"/>
              <a:gd name="connsiteX5" fmla="*/ 12658725 w 25247112"/>
              <a:gd name="connsiteY5" fmla="*/ 2800350 h 3686175"/>
              <a:gd name="connsiteX6" fmla="*/ 14887575 w 25247112"/>
              <a:gd name="connsiteY6" fmla="*/ 0 h 3686175"/>
              <a:gd name="connsiteX7" fmla="*/ 18087975 w 25247112"/>
              <a:gd name="connsiteY7" fmla="*/ 1200150 h 3686175"/>
              <a:gd name="connsiteX8" fmla="*/ 19773900 w 25247112"/>
              <a:gd name="connsiteY8" fmla="*/ 400050 h 3686175"/>
              <a:gd name="connsiteX9" fmla="*/ 21717000 w 25247112"/>
              <a:gd name="connsiteY9" fmla="*/ 685800 h 3686175"/>
              <a:gd name="connsiteX10" fmla="*/ 23693070 w 25247112"/>
              <a:gd name="connsiteY10" fmla="*/ 1629426 h 3686175"/>
              <a:gd name="connsiteX11" fmla="*/ 25247112 w 25247112"/>
              <a:gd name="connsiteY11" fmla="*/ 657313 h 3686175"/>
              <a:gd name="connsiteX0" fmla="*/ 0 w 25247112"/>
              <a:gd name="connsiteY0" fmla="*/ 3686175 h 3686175"/>
              <a:gd name="connsiteX1" fmla="*/ 0 w 25247112"/>
              <a:gd name="connsiteY1" fmla="*/ 3686175 h 3686175"/>
              <a:gd name="connsiteX2" fmla="*/ 3800475 w 25247112"/>
              <a:gd name="connsiteY2" fmla="*/ 2200275 h 3686175"/>
              <a:gd name="connsiteX3" fmla="*/ 5772150 w 25247112"/>
              <a:gd name="connsiteY3" fmla="*/ 3228975 h 3686175"/>
              <a:gd name="connsiteX4" fmla="*/ 9258300 w 25247112"/>
              <a:gd name="connsiteY4" fmla="*/ 1114425 h 3686175"/>
              <a:gd name="connsiteX5" fmla="*/ 12658725 w 25247112"/>
              <a:gd name="connsiteY5" fmla="*/ 2800350 h 3686175"/>
              <a:gd name="connsiteX6" fmla="*/ 14887575 w 25247112"/>
              <a:gd name="connsiteY6" fmla="*/ 0 h 3686175"/>
              <a:gd name="connsiteX7" fmla="*/ 18087975 w 25247112"/>
              <a:gd name="connsiteY7" fmla="*/ 1200150 h 3686175"/>
              <a:gd name="connsiteX8" fmla="*/ 19773900 w 25247112"/>
              <a:gd name="connsiteY8" fmla="*/ 400050 h 3686175"/>
              <a:gd name="connsiteX9" fmla="*/ 21453231 w 25247112"/>
              <a:gd name="connsiteY9" fmla="*/ 1499366 h 3686175"/>
              <a:gd name="connsiteX10" fmla="*/ 23693070 w 25247112"/>
              <a:gd name="connsiteY10" fmla="*/ 1629426 h 3686175"/>
              <a:gd name="connsiteX11" fmla="*/ 25247112 w 25247112"/>
              <a:gd name="connsiteY11" fmla="*/ 657313 h 3686175"/>
              <a:gd name="connsiteX0" fmla="*/ 0 w 25247112"/>
              <a:gd name="connsiteY0" fmla="*/ 3686175 h 3686175"/>
              <a:gd name="connsiteX1" fmla="*/ 0 w 25247112"/>
              <a:gd name="connsiteY1" fmla="*/ 3686175 h 3686175"/>
              <a:gd name="connsiteX2" fmla="*/ 3800475 w 25247112"/>
              <a:gd name="connsiteY2" fmla="*/ 2200275 h 3686175"/>
              <a:gd name="connsiteX3" fmla="*/ 5772150 w 25247112"/>
              <a:gd name="connsiteY3" fmla="*/ 3228975 h 3686175"/>
              <a:gd name="connsiteX4" fmla="*/ 9258300 w 25247112"/>
              <a:gd name="connsiteY4" fmla="*/ 1114425 h 3686175"/>
              <a:gd name="connsiteX5" fmla="*/ 12658725 w 25247112"/>
              <a:gd name="connsiteY5" fmla="*/ 2800350 h 3686175"/>
              <a:gd name="connsiteX6" fmla="*/ 14887575 w 25247112"/>
              <a:gd name="connsiteY6" fmla="*/ 0 h 3686175"/>
              <a:gd name="connsiteX7" fmla="*/ 18087975 w 25247112"/>
              <a:gd name="connsiteY7" fmla="*/ 1200150 h 3686175"/>
              <a:gd name="connsiteX8" fmla="*/ 19773900 w 25247112"/>
              <a:gd name="connsiteY8" fmla="*/ 400050 h 3686175"/>
              <a:gd name="connsiteX9" fmla="*/ 21453231 w 25247112"/>
              <a:gd name="connsiteY9" fmla="*/ 1499366 h 3686175"/>
              <a:gd name="connsiteX10" fmla="*/ 23552393 w 25247112"/>
              <a:gd name="connsiteY10" fmla="*/ 741899 h 3686175"/>
              <a:gd name="connsiteX11" fmla="*/ 25247112 w 25247112"/>
              <a:gd name="connsiteY11" fmla="*/ 657313 h 3686175"/>
              <a:gd name="connsiteX0" fmla="*/ 0 w 25335036"/>
              <a:gd name="connsiteY0" fmla="*/ 3686175 h 3686175"/>
              <a:gd name="connsiteX1" fmla="*/ 0 w 25335036"/>
              <a:gd name="connsiteY1" fmla="*/ 3686175 h 3686175"/>
              <a:gd name="connsiteX2" fmla="*/ 3800475 w 25335036"/>
              <a:gd name="connsiteY2" fmla="*/ 2200275 h 3686175"/>
              <a:gd name="connsiteX3" fmla="*/ 5772150 w 25335036"/>
              <a:gd name="connsiteY3" fmla="*/ 3228975 h 3686175"/>
              <a:gd name="connsiteX4" fmla="*/ 9258300 w 25335036"/>
              <a:gd name="connsiteY4" fmla="*/ 1114425 h 3686175"/>
              <a:gd name="connsiteX5" fmla="*/ 12658725 w 25335036"/>
              <a:gd name="connsiteY5" fmla="*/ 2800350 h 3686175"/>
              <a:gd name="connsiteX6" fmla="*/ 14887575 w 25335036"/>
              <a:gd name="connsiteY6" fmla="*/ 0 h 3686175"/>
              <a:gd name="connsiteX7" fmla="*/ 18087975 w 25335036"/>
              <a:gd name="connsiteY7" fmla="*/ 1200150 h 3686175"/>
              <a:gd name="connsiteX8" fmla="*/ 19773900 w 25335036"/>
              <a:gd name="connsiteY8" fmla="*/ 400050 h 3686175"/>
              <a:gd name="connsiteX9" fmla="*/ 21453231 w 25335036"/>
              <a:gd name="connsiteY9" fmla="*/ 1499366 h 3686175"/>
              <a:gd name="connsiteX10" fmla="*/ 23552393 w 25335036"/>
              <a:gd name="connsiteY10" fmla="*/ 741899 h 3686175"/>
              <a:gd name="connsiteX11" fmla="*/ 25335036 w 25335036"/>
              <a:gd name="connsiteY11" fmla="*/ 1236671 h 3686175"/>
              <a:gd name="connsiteX0" fmla="*/ 0 w 25335036"/>
              <a:gd name="connsiteY0" fmla="*/ 3686175 h 3686175"/>
              <a:gd name="connsiteX1" fmla="*/ 0 w 25335036"/>
              <a:gd name="connsiteY1" fmla="*/ 3686175 h 3686175"/>
              <a:gd name="connsiteX2" fmla="*/ 3800475 w 25335036"/>
              <a:gd name="connsiteY2" fmla="*/ 2200275 h 3686175"/>
              <a:gd name="connsiteX3" fmla="*/ 5772150 w 25335036"/>
              <a:gd name="connsiteY3" fmla="*/ 3228975 h 3686175"/>
              <a:gd name="connsiteX4" fmla="*/ 9258300 w 25335036"/>
              <a:gd name="connsiteY4" fmla="*/ 1114425 h 3686175"/>
              <a:gd name="connsiteX5" fmla="*/ 12658725 w 25335036"/>
              <a:gd name="connsiteY5" fmla="*/ 2800350 h 3686175"/>
              <a:gd name="connsiteX6" fmla="*/ 14887575 w 25335036"/>
              <a:gd name="connsiteY6" fmla="*/ 0 h 3686175"/>
              <a:gd name="connsiteX7" fmla="*/ 18087975 w 25335036"/>
              <a:gd name="connsiteY7" fmla="*/ 1200150 h 3686175"/>
              <a:gd name="connsiteX8" fmla="*/ 19773900 w 25335036"/>
              <a:gd name="connsiteY8" fmla="*/ 400050 h 3686175"/>
              <a:gd name="connsiteX9" fmla="*/ 21453231 w 25335036"/>
              <a:gd name="connsiteY9" fmla="*/ 1499366 h 3686175"/>
              <a:gd name="connsiteX10" fmla="*/ 23552393 w 25335036"/>
              <a:gd name="connsiteY10" fmla="*/ 741899 h 3686175"/>
              <a:gd name="connsiteX11" fmla="*/ 25335036 w 25335036"/>
              <a:gd name="connsiteY11" fmla="*/ 1236671 h 3686175"/>
              <a:gd name="connsiteX0" fmla="*/ 0 w 25317452"/>
              <a:gd name="connsiteY0" fmla="*/ 3686175 h 3686175"/>
              <a:gd name="connsiteX1" fmla="*/ 0 w 25317452"/>
              <a:gd name="connsiteY1" fmla="*/ 3686175 h 3686175"/>
              <a:gd name="connsiteX2" fmla="*/ 3800475 w 25317452"/>
              <a:gd name="connsiteY2" fmla="*/ 2200275 h 3686175"/>
              <a:gd name="connsiteX3" fmla="*/ 5772150 w 25317452"/>
              <a:gd name="connsiteY3" fmla="*/ 3228975 h 3686175"/>
              <a:gd name="connsiteX4" fmla="*/ 9258300 w 25317452"/>
              <a:gd name="connsiteY4" fmla="*/ 1114425 h 3686175"/>
              <a:gd name="connsiteX5" fmla="*/ 12658725 w 25317452"/>
              <a:gd name="connsiteY5" fmla="*/ 2800350 h 3686175"/>
              <a:gd name="connsiteX6" fmla="*/ 14887575 w 25317452"/>
              <a:gd name="connsiteY6" fmla="*/ 0 h 3686175"/>
              <a:gd name="connsiteX7" fmla="*/ 18087975 w 25317452"/>
              <a:gd name="connsiteY7" fmla="*/ 1200150 h 3686175"/>
              <a:gd name="connsiteX8" fmla="*/ 19773900 w 25317452"/>
              <a:gd name="connsiteY8" fmla="*/ 400050 h 3686175"/>
              <a:gd name="connsiteX9" fmla="*/ 21453231 w 25317452"/>
              <a:gd name="connsiteY9" fmla="*/ 1499366 h 3686175"/>
              <a:gd name="connsiteX10" fmla="*/ 23552393 w 25317452"/>
              <a:gd name="connsiteY10" fmla="*/ 741899 h 3686175"/>
              <a:gd name="connsiteX11" fmla="*/ 25317452 w 25317452"/>
              <a:gd name="connsiteY11" fmla="*/ 1705088 h 3686175"/>
              <a:gd name="connsiteX0" fmla="*/ 0 w 25317452"/>
              <a:gd name="connsiteY0" fmla="*/ 3686175 h 3686175"/>
              <a:gd name="connsiteX1" fmla="*/ 0 w 25317452"/>
              <a:gd name="connsiteY1" fmla="*/ 3686175 h 3686175"/>
              <a:gd name="connsiteX2" fmla="*/ 3800475 w 25317452"/>
              <a:gd name="connsiteY2" fmla="*/ 2200275 h 3686175"/>
              <a:gd name="connsiteX3" fmla="*/ 5772150 w 25317452"/>
              <a:gd name="connsiteY3" fmla="*/ 3228975 h 3686175"/>
              <a:gd name="connsiteX4" fmla="*/ 9258300 w 25317452"/>
              <a:gd name="connsiteY4" fmla="*/ 1114425 h 3686175"/>
              <a:gd name="connsiteX5" fmla="*/ 12658725 w 25317452"/>
              <a:gd name="connsiteY5" fmla="*/ 2800350 h 3686175"/>
              <a:gd name="connsiteX6" fmla="*/ 14887575 w 25317452"/>
              <a:gd name="connsiteY6" fmla="*/ 0 h 3686175"/>
              <a:gd name="connsiteX7" fmla="*/ 18087975 w 25317452"/>
              <a:gd name="connsiteY7" fmla="*/ 1200150 h 3686175"/>
              <a:gd name="connsiteX8" fmla="*/ 19773900 w 25317452"/>
              <a:gd name="connsiteY8" fmla="*/ 400050 h 3686175"/>
              <a:gd name="connsiteX9" fmla="*/ 21453231 w 25317452"/>
              <a:gd name="connsiteY9" fmla="*/ 1499366 h 3686175"/>
              <a:gd name="connsiteX10" fmla="*/ 23552393 w 25317452"/>
              <a:gd name="connsiteY10" fmla="*/ 741899 h 3686175"/>
              <a:gd name="connsiteX11" fmla="*/ 25317452 w 25317452"/>
              <a:gd name="connsiteY11" fmla="*/ 1705088 h 3686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317452" h="3686175">
                <a:moveTo>
                  <a:pt x="0" y="3686175"/>
                </a:moveTo>
                <a:lnTo>
                  <a:pt x="0" y="3686175"/>
                </a:lnTo>
                <a:lnTo>
                  <a:pt x="3800475" y="2200275"/>
                </a:lnTo>
                <a:lnTo>
                  <a:pt x="5772150" y="3228975"/>
                </a:lnTo>
                <a:lnTo>
                  <a:pt x="9258300" y="1114425"/>
                </a:lnTo>
                <a:lnTo>
                  <a:pt x="12658725" y="2800350"/>
                </a:lnTo>
                <a:lnTo>
                  <a:pt x="14887575" y="0"/>
                </a:lnTo>
                <a:lnTo>
                  <a:pt x="18087975" y="1200150"/>
                </a:lnTo>
                <a:lnTo>
                  <a:pt x="19773900" y="400050"/>
                </a:lnTo>
                <a:lnTo>
                  <a:pt x="21453231" y="1499366"/>
                </a:lnTo>
                <a:lnTo>
                  <a:pt x="23552393" y="741899"/>
                </a:lnTo>
                <a:lnTo>
                  <a:pt x="25317452" y="1705088"/>
                </a:lnTo>
              </a:path>
            </a:pathLst>
          </a:custGeom>
          <a:noFill/>
          <a:ln w="25400">
            <a:solidFill>
              <a:srgbClr val="6EA64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169AB7A9-639B-D117-5E44-3CDC8431F25E}"/>
              </a:ext>
            </a:extLst>
          </p:cNvPr>
          <p:cNvCxnSpPr>
            <a:cxnSpLocks/>
          </p:cNvCxnSpPr>
          <p:nvPr/>
        </p:nvCxnSpPr>
        <p:spPr>
          <a:xfrm>
            <a:off x="2842926" y="8187977"/>
            <a:ext cx="0" cy="3633626"/>
          </a:xfrm>
          <a:prstGeom prst="line">
            <a:avLst/>
          </a:prstGeom>
          <a:ln w="6350">
            <a:solidFill>
              <a:schemeClr val="bg1"/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59E912C5-DFE7-91FE-4E3C-2D6E9D8BF99B}"/>
              </a:ext>
            </a:extLst>
          </p:cNvPr>
          <p:cNvCxnSpPr>
            <a:cxnSpLocks/>
          </p:cNvCxnSpPr>
          <p:nvPr/>
        </p:nvCxnSpPr>
        <p:spPr>
          <a:xfrm>
            <a:off x="4882023" y="9220870"/>
            <a:ext cx="0" cy="2596453"/>
          </a:xfrm>
          <a:prstGeom prst="line">
            <a:avLst/>
          </a:prstGeom>
          <a:ln w="6350">
            <a:solidFill>
              <a:schemeClr val="bg1"/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386FF455-6970-AA20-D240-7C4C61FE900B}"/>
              </a:ext>
            </a:extLst>
          </p:cNvPr>
          <p:cNvCxnSpPr>
            <a:cxnSpLocks/>
          </p:cNvCxnSpPr>
          <p:nvPr/>
        </p:nvCxnSpPr>
        <p:spPr>
          <a:xfrm>
            <a:off x="801589" y="8896876"/>
            <a:ext cx="0" cy="2920447"/>
          </a:xfrm>
          <a:prstGeom prst="line">
            <a:avLst/>
          </a:prstGeom>
          <a:ln w="6350">
            <a:solidFill>
              <a:schemeClr val="bg1"/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eform: Shape 11">
            <a:extLst>
              <a:ext uri="{FF2B5EF4-FFF2-40B4-BE49-F238E27FC236}">
                <a16:creationId xmlns:a16="http://schemas.microsoft.com/office/drawing/2014/main" id="{A0ADF25D-2F40-7F13-E523-25D63E89EFCA}"/>
              </a:ext>
            </a:extLst>
          </p:cNvPr>
          <p:cNvSpPr/>
          <p:nvPr/>
        </p:nvSpPr>
        <p:spPr>
          <a:xfrm rot="16200000" flipH="1">
            <a:off x="8980202" y="-8130050"/>
            <a:ext cx="6423596" cy="7256220"/>
          </a:xfrm>
          <a:custGeom>
            <a:avLst/>
            <a:gdLst>
              <a:gd name="connsiteX0" fmla="*/ 0 w 6423596"/>
              <a:gd name="connsiteY0" fmla="*/ 1732699 h 7256220"/>
              <a:gd name="connsiteX1" fmla="*/ 0 w 6423596"/>
              <a:gd name="connsiteY1" fmla="*/ 7005122 h 7256220"/>
              <a:gd name="connsiteX2" fmla="*/ 251098 w 6423596"/>
              <a:gd name="connsiteY2" fmla="*/ 7256220 h 7256220"/>
              <a:gd name="connsiteX3" fmla="*/ 6172498 w 6423596"/>
              <a:gd name="connsiteY3" fmla="*/ 7256220 h 7256220"/>
              <a:gd name="connsiteX4" fmla="*/ 6423596 w 6423596"/>
              <a:gd name="connsiteY4" fmla="*/ 7005122 h 7256220"/>
              <a:gd name="connsiteX5" fmla="*/ 6423596 w 6423596"/>
              <a:gd name="connsiteY5" fmla="*/ 0 h 7256220"/>
              <a:gd name="connsiteX6" fmla="*/ 0 w 6423596"/>
              <a:gd name="connsiteY6" fmla="*/ 1732699 h 725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23596" h="7256220">
                <a:moveTo>
                  <a:pt x="0" y="1732699"/>
                </a:moveTo>
                <a:lnTo>
                  <a:pt x="0" y="7005122"/>
                </a:lnTo>
                <a:cubicBezTo>
                  <a:pt x="0" y="7143800"/>
                  <a:pt x="112420" y="7256220"/>
                  <a:pt x="251098" y="7256220"/>
                </a:cubicBezTo>
                <a:lnTo>
                  <a:pt x="6172498" y="7256220"/>
                </a:lnTo>
                <a:cubicBezTo>
                  <a:pt x="6311176" y="7256220"/>
                  <a:pt x="6423596" y="7143800"/>
                  <a:pt x="6423596" y="7005122"/>
                </a:cubicBezTo>
                <a:lnTo>
                  <a:pt x="6423596" y="0"/>
                </a:lnTo>
                <a:lnTo>
                  <a:pt x="0" y="1732699"/>
                </a:lnTo>
                <a:close/>
              </a:path>
            </a:pathLst>
          </a:custGeom>
          <a:gradFill flip="none" rotWithShape="1">
            <a:gsLst>
              <a:gs pos="36000">
                <a:srgbClr val="4550E5"/>
              </a:gs>
              <a:gs pos="100000">
                <a:srgbClr val="4550E5">
                  <a:lumMod val="69000"/>
                  <a:lumOff val="31000"/>
                </a:srgbClr>
              </a:gs>
            </a:gsLst>
            <a:lin ang="1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6" name="Freeform: Shape 9">
            <a:extLst>
              <a:ext uri="{FF2B5EF4-FFF2-40B4-BE49-F238E27FC236}">
                <a16:creationId xmlns:a16="http://schemas.microsoft.com/office/drawing/2014/main" id="{7CBDFEB6-DC38-068B-3031-F1990717336F}"/>
              </a:ext>
            </a:extLst>
          </p:cNvPr>
          <p:cNvSpPr/>
          <p:nvPr/>
        </p:nvSpPr>
        <p:spPr>
          <a:xfrm rot="16200000" flipH="1">
            <a:off x="-5801700" y="8813969"/>
            <a:ext cx="6423596" cy="6303373"/>
          </a:xfrm>
          <a:custGeom>
            <a:avLst/>
            <a:gdLst>
              <a:gd name="connsiteX0" fmla="*/ 0 w 6423596"/>
              <a:gd name="connsiteY0" fmla="*/ 251098 h 6303373"/>
              <a:gd name="connsiteX1" fmla="*/ 0 w 6423596"/>
              <a:gd name="connsiteY1" fmla="*/ 6303373 h 6303373"/>
              <a:gd name="connsiteX2" fmla="*/ 6423596 w 6423596"/>
              <a:gd name="connsiteY2" fmla="*/ 4570674 h 6303373"/>
              <a:gd name="connsiteX3" fmla="*/ 6423596 w 6423596"/>
              <a:gd name="connsiteY3" fmla="*/ 251098 h 6303373"/>
              <a:gd name="connsiteX4" fmla="*/ 6172498 w 6423596"/>
              <a:gd name="connsiteY4" fmla="*/ 0 h 6303373"/>
              <a:gd name="connsiteX5" fmla="*/ 251098 w 6423596"/>
              <a:gd name="connsiteY5" fmla="*/ 0 h 6303373"/>
              <a:gd name="connsiteX6" fmla="*/ 0 w 6423596"/>
              <a:gd name="connsiteY6" fmla="*/ 251098 h 6303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23596" h="6303373">
                <a:moveTo>
                  <a:pt x="0" y="251098"/>
                </a:moveTo>
                <a:lnTo>
                  <a:pt x="0" y="6303373"/>
                </a:lnTo>
                <a:lnTo>
                  <a:pt x="6423596" y="4570674"/>
                </a:lnTo>
                <a:lnTo>
                  <a:pt x="6423596" y="251098"/>
                </a:lnTo>
                <a:cubicBezTo>
                  <a:pt x="6423596" y="112420"/>
                  <a:pt x="6311176" y="0"/>
                  <a:pt x="6172498" y="0"/>
                </a:cubicBezTo>
                <a:lnTo>
                  <a:pt x="251098" y="0"/>
                </a:lnTo>
                <a:cubicBezTo>
                  <a:pt x="112420" y="0"/>
                  <a:pt x="0" y="112420"/>
                  <a:pt x="0" y="251098"/>
                </a:cubicBezTo>
                <a:close/>
              </a:path>
            </a:pathLst>
          </a:custGeom>
          <a:solidFill>
            <a:srgbClr val="64DC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0A17E3-A41C-2993-CA96-E9ECB5C72BFC}"/>
              </a:ext>
            </a:extLst>
          </p:cNvPr>
          <p:cNvSpPr txBox="1"/>
          <p:nvPr/>
        </p:nvSpPr>
        <p:spPr>
          <a:xfrm>
            <a:off x="3889442" y="-5303728"/>
            <a:ext cx="2534480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3900" b="1" dirty="0">
                <a:solidFill>
                  <a:srgbClr val="4550E5"/>
                </a:solidFill>
                <a:latin typeface="Montserrat" panose="00000500000000000000" pitchFamily="2" charset="0"/>
                <a:cs typeface="Poppins SemiBold" panose="00000700000000000000" pitchFamily="2" charset="0"/>
              </a:rPr>
              <a:t>V</a:t>
            </a:r>
            <a:endParaRPr lang="en-ID" sz="23900" b="1" dirty="0">
              <a:solidFill>
                <a:srgbClr val="4550E5"/>
              </a:solidFill>
              <a:latin typeface="Montserrat" panose="000005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1E222B-58D8-1063-7480-7E1198EF0E79}"/>
              </a:ext>
            </a:extLst>
          </p:cNvPr>
          <p:cNvSpPr txBox="1"/>
          <p:nvPr/>
        </p:nvSpPr>
        <p:spPr>
          <a:xfrm>
            <a:off x="5026902" y="7537609"/>
            <a:ext cx="2250122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3900" b="1" dirty="0">
                <a:solidFill>
                  <a:srgbClr val="64DCEB"/>
                </a:solidFill>
                <a:latin typeface="Montserrat" panose="00000500000000000000" pitchFamily="2" charset="0"/>
                <a:cs typeface="Poppins SemiBold" panose="00000700000000000000" pitchFamily="2" charset="0"/>
              </a:rPr>
              <a:t>S</a:t>
            </a:r>
            <a:endParaRPr lang="en-ID" sz="23900" b="1" dirty="0">
              <a:solidFill>
                <a:srgbClr val="64DCEB"/>
              </a:solidFill>
              <a:latin typeface="Montserrat" panose="000005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0E03C4E-0BA3-BE22-0A7C-052315E619DC}"/>
              </a:ext>
            </a:extLst>
          </p:cNvPr>
          <p:cNvSpPr txBox="1"/>
          <p:nvPr/>
        </p:nvSpPr>
        <p:spPr>
          <a:xfrm rot="17154757">
            <a:off x="-3527062" y="10395009"/>
            <a:ext cx="604374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6000" b="1" dirty="0">
                <a:solidFill>
                  <a:srgbClr val="620CFD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КОНТЕНТ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EB264B6-42F4-9AD4-057C-3CE5F5862B27}"/>
              </a:ext>
            </a:extLst>
          </p:cNvPr>
          <p:cNvSpPr txBox="1"/>
          <p:nvPr/>
        </p:nvSpPr>
        <p:spPr>
          <a:xfrm rot="17154757">
            <a:off x="9179960" y="-4110320"/>
            <a:ext cx="6043749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6600" b="1" dirty="0">
                <a:solidFill>
                  <a:srgbClr val="64DCEB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ВИЗУАЛ</a:t>
            </a:r>
          </a:p>
        </p:txBody>
      </p:sp>
    </p:spTree>
    <p:extLst>
      <p:ext uri="{BB962C8B-B14F-4D97-AF65-F5344CB8AC3E}">
        <p14:creationId xmlns:p14="http://schemas.microsoft.com/office/powerpoint/2010/main" val="35872114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33333E-6 L 0.06575 3.33333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27059130-641E-7247-9B2B-0602940EE081}"/>
              </a:ext>
            </a:extLst>
          </p:cNvPr>
          <p:cNvSpPr txBox="1"/>
          <p:nvPr/>
        </p:nvSpPr>
        <p:spPr>
          <a:xfrm>
            <a:off x="513614" y="1220703"/>
            <a:ext cx="11389623" cy="22082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5500"/>
              </a:lnSpc>
            </a:pP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БИЗНЕС </a:t>
            </a:r>
            <a:b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</a:b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СТРОИТСЯ </a:t>
            </a:r>
            <a:b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</a:b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НА КОММУНИКАЦИЯХ</a:t>
            </a:r>
          </a:p>
        </p:txBody>
      </p: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" name="!!1">
            <a:extLst>
              <a:ext uri="{FF2B5EF4-FFF2-40B4-BE49-F238E27FC236}">
                <a16:creationId xmlns:a16="http://schemas.microsoft.com/office/drawing/2014/main" id="{66088432-684B-8D84-0538-08D906B20D65}"/>
              </a:ext>
            </a:extLst>
          </p:cNvPr>
          <p:cNvGrpSpPr/>
          <p:nvPr/>
        </p:nvGrpSpPr>
        <p:grpSpPr>
          <a:xfrm>
            <a:off x="-2068190" y="3429000"/>
            <a:ext cx="16369553" cy="2754715"/>
            <a:chOff x="-8380656" y="3711125"/>
            <a:chExt cx="39283186" cy="6610687"/>
          </a:xfrm>
        </p:grpSpPr>
        <p:sp>
          <p:nvSpPr>
            <p:cNvPr id="2" name="Полилиния 1">
              <a:extLst>
                <a:ext uri="{FF2B5EF4-FFF2-40B4-BE49-F238E27FC236}">
                  <a16:creationId xmlns:a16="http://schemas.microsoft.com/office/drawing/2014/main" id="{29E17D07-B6DB-B285-AD31-56570FF26668}"/>
                </a:ext>
              </a:extLst>
            </p:cNvPr>
            <p:cNvSpPr/>
            <p:nvPr/>
          </p:nvSpPr>
          <p:spPr>
            <a:xfrm>
              <a:off x="-1343917" y="3711125"/>
              <a:ext cx="7973327" cy="1673803"/>
            </a:xfrm>
            <a:custGeom>
              <a:avLst/>
              <a:gdLst>
                <a:gd name="connsiteX0" fmla="*/ 2618174 w 5360120"/>
                <a:gd name="connsiteY0" fmla="*/ 0 h 1115727"/>
                <a:gd name="connsiteX1" fmla="*/ 2679502 w 5360120"/>
                <a:gd name="connsiteY1" fmla="*/ 0 h 1115727"/>
                <a:gd name="connsiteX2" fmla="*/ 2740830 w 5360120"/>
                <a:gd name="connsiteY2" fmla="*/ 0 h 1115727"/>
                <a:gd name="connsiteX3" fmla="*/ 2803273 w 5360120"/>
                <a:gd name="connsiteY3" fmla="*/ 3340 h 1115727"/>
                <a:gd name="connsiteX4" fmla="*/ 2864601 w 5360120"/>
                <a:gd name="connsiteY4" fmla="*/ 7793 h 1115727"/>
                <a:gd name="connsiteX5" fmla="*/ 2923699 w 5360120"/>
                <a:gd name="connsiteY5" fmla="*/ 14473 h 1115727"/>
                <a:gd name="connsiteX6" fmla="*/ 2985027 w 5360120"/>
                <a:gd name="connsiteY6" fmla="*/ 23379 h 1115727"/>
                <a:gd name="connsiteX7" fmla="*/ 3043010 w 5360120"/>
                <a:gd name="connsiteY7" fmla="*/ 33399 h 1115727"/>
                <a:gd name="connsiteX8" fmla="*/ 3102109 w 5360120"/>
                <a:gd name="connsiteY8" fmla="*/ 46758 h 1115727"/>
                <a:gd name="connsiteX9" fmla="*/ 3160091 w 5360120"/>
                <a:gd name="connsiteY9" fmla="*/ 61231 h 1115727"/>
                <a:gd name="connsiteX10" fmla="*/ 3215843 w 5360120"/>
                <a:gd name="connsiteY10" fmla="*/ 77930 h 1115727"/>
                <a:gd name="connsiteX11" fmla="*/ 3270481 w 5360120"/>
                <a:gd name="connsiteY11" fmla="*/ 95743 h 1115727"/>
                <a:gd name="connsiteX12" fmla="*/ 3325119 w 5360120"/>
                <a:gd name="connsiteY12" fmla="*/ 116895 h 1115727"/>
                <a:gd name="connsiteX13" fmla="*/ 3376411 w 5360120"/>
                <a:gd name="connsiteY13" fmla="*/ 139161 h 1115727"/>
                <a:gd name="connsiteX14" fmla="*/ 3427704 w 5360120"/>
                <a:gd name="connsiteY14" fmla="*/ 163653 h 1115727"/>
                <a:gd name="connsiteX15" fmla="*/ 3477881 w 5360120"/>
                <a:gd name="connsiteY15" fmla="*/ 189259 h 1115727"/>
                <a:gd name="connsiteX16" fmla="*/ 3524713 w 5360120"/>
                <a:gd name="connsiteY16" fmla="*/ 215978 h 1115727"/>
                <a:gd name="connsiteX17" fmla="*/ 3569315 w 5360120"/>
                <a:gd name="connsiteY17" fmla="*/ 247150 h 1115727"/>
                <a:gd name="connsiteX18" fmla="*/ 3570430 w 5360120"/>
                <a:gd name="connsiteY18" fmla="*/ 248263 h 1115727"/>
                <a:gd name="connsiteX19" fmla="*/ 3581581 w 5360120"/>
                <a:gd name="connsiteY19" fmla="*/ 256056 h 1115727"/>
                <a:gd name="connsiteX20" fmla="*/ 3612802 w 5360120"/>
                <a:gd name="connsiteY20" fmla="*/ 277209 h 1115727"/>
                <a:gd name="connsiteX21" fmla="*/ 3671900 w 5360120"/>
                <a:gd name="connsiteY21" fmla="*/ 318401 h 1115727"/>
                <a:gd name="connsiteX22" fmla="*/ 3767795 w 5360120"/>
                <a:gd name="connsiteY22" fmla="*/ 386311 h 1115727"/>
                <a:gd name="connsiteX23" fmla="*/ 3912752 w 5360120"/>
                <a:gd name="connsiteY23" fmla="*/ 487620 h 1115727"/>
                <a:gd name="connsiteX24" fmla="*/ 4114577 w 5360120"/>
                <a:gd name="connsiteY24" fmla="*/ 627895 h 1115727"/>
                <a:gd name="connsiteX25" fmla="*/ 4383305 w 5360120"/>
                <a:gd name="connsiteY25" fmla="*/ 817154 h 1115727"/>
                <a:gd name="connsiteX26" fmla="*/ 4434597 w 5360120"/>
                <a:gd name="connsiteY26" fmla="*/ 851666 h 1115727"/>
                <a:gd name="connsiteX27" fmla="*/ 4490350 w 5360120"/>
                <a:gd name="connsiteY27" fmla="*/ 885065 h 1115727"/>
                <a:gd name="connsiteX28" fmla="*/ 4548333 w 5360120"/>
                <a:gd name="connsiteY28" fmla="*/ 915123 h 1115727"/>
                <a:gd name="connsiteX29" fmla="*/ 4608546 w 5360120"/>
                <a:gd name="connsiteY29" fmla="*/ 944069 h 1115727"/>
                <a:gd name="connsiteX30" fmla="*/ 4670989 w 5360120"/>
                <a:gd name="connsiteY30" fmla="*/ 971901 h 1115727"/>
                <a:gd name="connsiteX31" fmla="*/ 4736777 w 5360120"/>
                <a:gd name="connsiteY31" fmla="*/ 995280 h 1115727"/>
                <a:gd name="connsiteX32" fmla="*/ 4802565 w 5360120"/>
                <a:gd name="connsiteY32" fmla="*/ 1017546 h 1115727"/>
                <a:gd name="connsiteX33" fmla="*/ 4871699 w 5360120"/>
                <a:gd name="connsiteY33" fmla="*/ 1038698 h 1115727"/>
                <a:gd name="connsiteX34" fmla="*/ 4940832 w 5360120"/>
                <a:gd name="connsiteY34" fmla="*/ 1056511 h 1115727"/>
                <a:gd name="connsiteX35" fmla="*/ 5012195 w 5360120"/>
                <a:gd name="connsiteY35" fmla="*/ 1072097 h 1115727"/>
                <a:gd name="connsiteX36" fmla="*/ 5086904 w 5360120"/>
                <a:gd name="connsiteY36" fmla="*/ 1086570 h 1115727"/>
                <a:gd name="connsiteX37" fmla="*/ 5160497 w 5360120"/>
                <a:gd name="connsiteY37" fmla="*/ 1097703 h 1115727"/>
                <a:gd name="connsiteX38" fmla="*/ 5236321 w 5360120"/>
                <a:gd name="connsiteY38" fmla="*/ 1106609 h 1115727"/>
                <a:gd name="connsiteX39" fmla="*/ 5311030 w 5360120"/>
                <a:gd name="connsiteY39" fmla="*/ 1112176 h 1115727"/>
                <a:gd name="connsiteX40" fmla="*/ 5360120 w 5360120"/>
                <a:gd name="connsiteY40" fmla="*/ 1115727 h 1115727"/>
                <a:gd name="connsiteX41" fmla="*/ 0 w 5360120"/>
                <a:gd name="connsiteY41" fmla="*/ 1115727 h 1115727"/>
                <a:gd name="connsiteX42" fmla="*/ 49090 w 5360120"/>
                <a:gd name="connsiteY42" fmla="*/ 1112176 h 1115727"/>
                <a:gd name="connsiteX43" fmla="*/ 124914 w 5360120"/>
                <a:gd name="connsiteY43" fmla="*/ 1106609 h 1115727"/>
                <a:gd name="connsiteX44" fmla="*/ 200738 w 5360120"/>
                <a:gd name="connsiteY44" fmla="*/ 1097703 h 1115727"/>
                <a:gd name="connsiteX45" fmla="*/ 275446 w 5360120"/>
                <a:gd name="connsiteY45" fmla="*/ 1086570 h 1115727"/>
                <a:gd name="connsiteX46" fmla="*/ 347925 w 5360120"/>
                <a:gd name="connsiteY46" fmla="*/ 1072097 h 1115727"/>
                <a:gd name="connsiteX47" fmla="*/ 420403 w 5360120"/>
                <a:gd name="connsiteY47" fmla="*/ 1056511 h 1115727"/>
                <a:gd name="connsiteX48" fmla="*/ 489537 w 5360120"/>
                <a:gd name="connsiteY48" fmla="*/ 1038698 h 1115727"/>
                <a:gd name="connsiteX49" fmla="*/ 558670 w 5360120"/>
                <a:gd name="connsiteY49" fmla="*/ 1017546 h 1115727"/>
                <a:gd name="connsiteX50" fmla="*/ 624458 w 5360120"/>
                <a:gd name="connsiteY50" fmla="*/ 995280 h 1115727"/>
                <a:gd name="connsiteX51" fmla="*/ 690246 w 5360120"/>
                <a:gd name="connsiteY51" fmla="*/ 971901 h 1115727"/>
                <a:gd name="connsiteX52" fmla="*/ 751574 w 5360120"/>
                <a:gd name="connsiteY52" fmla="*/ 944069 h 1115727"/>
                <a:gd name="connsiteX53" fmla="*/ 811787 w 5360120"/>
                <a:gd name="connsiteY53" fmla="*/ 915123 h 1115727"/>
                <a:gd name="connsiteX54" fmla="*/ 869770 w 5360120"/>
                <a:gd name="connsiteY54" fmla="*/ 885065 h 1115727"/>
                <a:gd name="connsiteX55" fmla="*/ 924408 w 5360120"/>
                <a:gd name="connsiteY55" fmla="*/ 851666 h 1115727"/>
                <a:gd name="connsiteX56" fmla="*/ 977930 w 5360120"/>
                <a:gd name="connsiteY56" fmla="*/ 817154 h 1115727"/>
                <a:gd name="connsiteX57" fmla="*/ 979045 w 5360120"/>
                <a:gd name="connsiteY57" fmla="*/ 816041 h 1115727"/>
                <a:gd name="connsiteX58" fmla="*/ 990196 w 5360120"/>
                <a:gd name="connsiteY58" fmla="*/ 808248 h 1115727"/>
                <a:gd name="connsiteX59" fmla="*/ 1021417 w 5360120"/>
                <a:gd name="connsiteY59" fmla="*/ 787095 h 1115727"/>
                <a:gd name="connsiteX60" fmla="*/ 1078285 w 5360120"/>
                <a:gd name="connsiteY60" fmla="*/ 745904 h 1115727"/>
                <a:gd name="connsiteX61" fmla="*/ 1176410 w 5360120"/>
                <a:gd name="connsiteY61" fmla="*/ 677993 h 1115727"/>
                <a:gd name="connsiteX62" fmla="*/ 1321367 w 5360120"/>
                <a:gd name="connsiteY62" fmla="*/ 576684 h 1115727"/>
                <a:gd name="connsiteX63" fmla="*/ 1522076 w 5360120"/>
                <a:gd name="connsiteY63" fmla="*/ 434183 h 1115727"/>
                <a:gd name="connsiteX64" fmla="*/ 1789689 w 5360120"/>
                <a:gd name="connsiteY64" fmla="*/ 247150 h 1115727"/>
                <a:gd name="connsiteX65" fmla="*/ 1836522 w 5360120"/>
                <a:gd name="connsiteY65" fmla="*/ 215978 h 1115727"/>
                <a:gd name="connsiteX66" fmla="*/ 1883354 w 5360120"/>
                <a:gd name="connsiteY66" fmla="*/ 189259 h 1115727"/>
                <a:gd name="connsiteX67" fmla="*/ 1931301 w 5360120"/>
                <a:gd name="connsiteY67" fmla="*/ 163653 h 1115727"/>
                <a:gd name="connsiteX68" fmla="*/ 1982594 w 5360120"/>
                <a:gd name="connsiteY68" fmla="*/ 139161 h 1115727"/>
                <a:gd name="connsiteX69" fmla="*/ 2036116 w 5360120"/>
                <a:gd name="connsiteY69" fmla="*/ 116895 h 1115727"/>
                <a:gd name="connsiteX70" fmla="*/ 2088524 w 5360120"/>
                <a:gd name="connsiteY70" fmla="*/ 95743 h 1115727"/>
                <a:gd name="connsiteX71" fmla="*/ 2145392 w 5360120"/>
                <a:gd name="connsiteY71" fmla="*/ 77930 h 1115727"/>
                <a:gd name="connsiteX72" fmla="*/ 2201144 w 5360120"/>
                <a:gd name="connsiteY72" fmla="*/ 61231 h 1115727"/>
                <a:gd name="connsiteX73" fmla="*/ 2259127 w 5360120"/>
                <a:gd name="connsiteY73" fmla="*/ 46758 h 1115727"/>
                <a:gd name="connsiteX74" fmla="*/ 2317110 w 5360120"/>
                <a:gd name="connsiteY74" fmla="*/ 33399 h 1115727"/>
                <a:gd name="connsiteX75" fmla="*/ 2376208 w 5360120"/>
                <a:gd name="connsiteY75" fmla="*/ 23379 h 1115727"/>
                <a:gd name="connsiteX76" fmla="*/ 2435305 w 5360120"/>
                <a:gd name="connsiteY76" fmla="*/ 14473 h 1115727"/>
                <a:gd name="connsiteX77" fmla="*/ 2496633 w 5360120"/>
                <a:gd name="connsiteY77" fmla="*/ 7793 h 1115727"/>
                <a:gd name="connsiteX78" fmla="*/ 2557961 w 5360120"/>
                <a:gd name="connsiteY78" fmla="*/ 3340 h 11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60120" h="1115727">
                  <a:moveTo>
                    <a:pt x="2618174" y="0"/>
                  </a:moveTo>
                  <a:lnTo>
                    <a:pt x="2679502" y="0"/>
                  </a:lnTo>
                  <a:lnTo>
                    <a:pt x="2740830" y="0"/>
                  </a:lnTo>
                  <a:lnTo>
                    <a:pt x="2803273" y="3340"/>
                  </a:lnTo>
                  <a:lnTo>
                    <a:pt x="2864601" y="7793"/>
                  </a:lnTo>
                  <a:lnTo>
                    <a:pt x="2923699" y="14473"/>
                  </a:lnTo>
                  <a:lnTo>
                    <a:pt x="2985027" y="23379"/>
                  </a:lnTo>
                  <a:lnTo>
                    <a:pt x="3043010" y="33399"/>
                  </a:lnTo>
                  <a:lnTo>
                    <a:pt x="3102109" y="46758"/>
                  </a:lnTo>
                  <a:lnTo>
                    <a:pt x="3160091" y="61231"/>
                  </a:lnTo>
                  <a:lnTo>
                    <a:pt x="3215843" y="77930"/>
                  </a:lnTo>
                  <a:lnTo>
                    <a:pt x="3270481" y="95743"/>
                  </a:lnTo>
                  <a:lnTo>
                    <a:pt x="3325119" y="116895"/>
                  </a:lnTo>
                  <a:lnTo>
                    <a:pt x="3376411" y="139161"/>
                  </a:lnTo>
                  <a:lnTo>
                    <a:pt x="3427704" y="163653"/>
                  </a:lnTo>
                  <a:lnTo>
                    <a:pt x="3477881" y="189259"/>
                  </a:lnTo>
                  <a:lnTo>
                    <a:pt x="3524713" y="215978"/>
                  </a:lnTo>
                  <a:lnTo>
                    <a:pt x="3569315" y="247150"/>
                  </a:lnTo>
                  <a:lnTo>
                    <a:pt x="3570430" y="248263"/>
                  </a:lnTo>
                  <a:lnTo>
                    <a:pt x="3581581" y="256056"/>
                  </a:lnTo>
                  <a:lnTo>
                    <a:pt x="3612802" y="277209"/>
                  </a:lnTo>
                  <a:lnTo>
                    <a:pt x="3671900" y="318401"/>
                  </a:lnTo>
                  <a:lnTo>
                    <a:pt x="3767795" y="386311"/>
                  </a:lnTo>
                  <a:lnTo>
                    <a:pt x="3912752" y="487620"/>
                  </a:lnTo>
                  <a:lnTo>
                    <a:pt x="4114577" y="627895"/>
                  </a:lnTo>
                  <a:lnTo>
                    <a:pt x="4383305" y="817154"/>
                  </a:lnTo>
                  <a:lnTo>
                    <a:pt x="4434597" y="851666"/>
                  </a:lnTo>
                  <a:lnTo>
                    <a:pt x="4490350" y="885065"/>
                  </a:lnTo>
                  <a:lnTo>
                    <a:pt x="4548333" y="915123"/>
                  </a:lnTo>
                  <a:lnTo>
                    <a:pt x="4608546" y="944069"/>
                  </a:lnTo>
                  <a:lnTo>
                    <a:pt x="4670989" y="971901"/>
                  </a:lnTo>
                  <a:lnTo>
                    <a:pt x="4736777" y="995280"/>
                  </a:lnTo>
                  <a:lnTo>
                    <a:pt x="4802565" y="1017546"/>
                  </a:lnTo>
                  <a:lnTo>
                    <a:pt x="4871699" y="1038698"/>
                  </a:lnTo>
                  <a:lnTo>
                    <a:pt x="4940832" y="1056511"/>
                  </a:lnTo>
                  <a:lnTo>
                    <a:pt x="5012195" y="1072097"/>
                  </a:lnTo>
                  <a:lnTo>
                    <a:pt x="5086904" y="1086570"/>
                  </a:lnTo>
                  <a:lnTo>
                    <a:pt x="5160497" y="1097703"/>
                  </a:lnTo>
                  <a:lnTo>
                    <a:pt x="5236321" y="1106609"/>
                  </a:lnTo>
                  <a:lnTo>
                    <a:pt x="5311030" y="1112176"/>
                  </a:lnTo>
                  <a:lnTo>
                    <a:pt x="5360120" y="1115727"/>
                  </a:lnTo>
                  <a:lnTo>
                    <a:pt x="0" y="1115727"/>
                  </a:lnTo>
                  <a:lnTo>
                    <a:pt x="49090" y="1112176"/>
                  </a:lnTo>
                  <a:lnTo>
                    <a:pt x="124914" y="1106609"/>
                  </a:lnTo>
                  <a:lnTo>
                    <a:pt x="200738" y="1097703"/>
                  </a:lnTo>
                  <a:lnTo>
                    <a:pt x="275446" y="1086570"/>
                  </a:lnTo>
                  <a:lnTo>
                    <a:pt x="347925" y="1072097"/>
                  </a:lnTo>
                  <a:lnTo>
                    <a:pt x="420403" y="1056511"/>
                  </a:lnTo>
                  <a:lnTo>
                    <a:pt x="489537" y="1038698"/>
                  </a:lnTo>
                  <a:lnTo>
                    <a:pt x="558670" y="1017546"/>
                  </a:lnTo>
                  <a:lnTo>
                    <a:pt x="624458" y="995280"/>
                  </a:lnTo>
                  <a:lnTo>
                    <a:pt x="690246" y="971901"/>
                  </a:lnTo>
                  <a:lnTo>
                    <a:pt x="751574" y="944069"/>
                  </a:lnTo>
                  <a:lnTo>
                    <a:pt x="811787" y="915123"/>
                  </a:lnTo>
                  <a:lnTo>
                    <a:pt x="869770" y="885065"/>
                  </a:lnTo>
                  <a:lnTo>
                    <a:pt x="924408" y="851666"/>
                  </a:lnTo>
                  <a:lnTo>
                    <a:pt x="977930" y="817154"/>
                  </a:lnTo>
                  <a:lnTo>
                    <a:pt x="979045" y="816041"/>
                  </a:lnTo>
                  <a:lnTo>
                    <a:pt x="990196" y="808248"/>
                  </a:lnTo>
                  <a:lnTo>
                    <a:pt x="1021417" y="787095"/>
                  </a:lnTo>
                  <a:lnTo>
                    <a:pt x="1078285" y="745904"/>
                  </a:lnTo>
                  <a:lnTo>
                    <a:pt x="1176410" y="677993"/>
                  </a:lnTo>
                  <a:lnTo>
                    <a:pt x="1321367" y="576684"/>
                  </a:lnTo>
                  <a:lnTo>
                    <a:pt x="1522076" y="434183"/>
                  </a:lnTo>
                  <a:lnTo>
                    <a:pt x="1789689" y="247150"/>
                  </a:lnTo>
                  <a:lnTo>
                    <a:pt x="1836522" y="215978"/>
                  </a:lnTo>
                  <a:lnTo>
                    <a:pt x="1883354" y="189259"/>
                  </a:lnTo>
                  <a:lnTo>
                    <a:pt x="1931301" y="163653"/>
                  </a:lnTo>
                  <a:lnTo>
                    <a:pt x="1982594" y="139161"/>
                  </a:lnTo>
                  <a:lnTo>
                    <a:pt x="2036116" y="116895"/>
                  </a:lnTo>
                  <a:lnTo>
                    <a:pt x="2088524" y="95743"/>
                  </a:lnTo>
                  <a:lnTo>
                    <a:pt x="2145392" y="77930"/>
                  </a:lnTo>
                  <a:lnTo>
                    <a:pt x="2201144" y="61231"/>
                  </a:lnTo>
                  <a:lnTo>
                    <a:pt x="2259127" y="46758"/>
                  </a:lnTo>
                  <a:lnTo>
                    <a:pt x="2317110" y="33399"/>
                  </a:lnTo>
                  <a:lnTo>
                    <a:pt x="2376208" y="23379"/>
                  </a:lnTo>
                  <a:lnTo>
                    <a:pt x="2435305" y="14473"/>
                  </a:lnTo>
                  <a:lnTo>
                    <a:pt x="2496633" y="7793"/>
                  </a:lnTo>
                  <a:lnTo>
                    <a:pt x="2557961" y="334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F123B59C-20EF-755A-4FAC-B84775281660}"/>
                </a:ext>
              </a:extLst>
            </p:cNvPr>
            <p:cNvSpPr/>
            <p:nvPr/>
          </p:nvSpPr>
          <p:spPr>
            <a:xfrm>
              <a:off x="-8380656" y="5339476"/>
              <a:ext cx="39283186" cy="498233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  <p:sp>
          <p:nvSpPr>
            <p:cNvPr id="4" name="Полилиния 3">
              <a:extLst>
                <a:ext uri="{FF2B5EF4-FFF2-40B4-BE49-F238E27FC236}">
                  <a16:creationId xmlns:a16="http://schemas.microsoft.com/office/drawing/2014/main" id="{E6DB81A8-B86B-C1D9-5C4D-629B11ED2188}"/>
                </a:ext>
              </a:extLst>
            </p:cNvPr>
            <p:cNvSpPr/>
            <p:nvPr/>
          </p:nvSpPr>
          <p:spPr>
            <a:xfrm>
              <a:off x="884305" y="4299818"/>
              <a:ext cx="4952525" cy="1039660"/>
            </a:xfrm>
            <a:custGeom>
              <a:avLst/>
              <a:gdLst>
                <a:gd name="connsiteX0" fmla="*/ 2618174 w 5360120"/>
                <a:gd name="connsiteY0" fmla="*/ 0 h 1115727"/>
                <a:gd name="connsiteX1" fmla="*/ 2679502 w 5360120"/>
                <a:gd name="connsiteY1" fmla="*/ 0 h 1115727"/>
                <a:gd name="connsiteX2" fmla="*/ 2740830 w 5360120"/>
                <a:gd name="connsiteY2" fmla="*/ 0 h 1115727"/>
                <a:gd name="connsiteX3" fmla="*/ 2803273 w 5360120"/>
                <a:gd name="connsiteY3" fmla="*/ 3340 h 1115727"/>
                <a:gd name="connsiteX4" fmla="*/ 2864601 w 5360120"/>
                <a:gd name="connsiteY4" fmla="*/ 7793 h 1115727"/>
                <a:gd name="connsiteX5" fmla="*/ 2923699 w 5360120"/>
                <a:gd name="connsiteY5" fmla="*/ 14473 h 1115727"/>
                <a:gd name="connsiteX6" fmla="*/ 2985027 w 5360120"/>
                <a:gd name="connsiteY6" fmla="*/ 23379 h 1115727"/>
                <a:gd name="connsiteX7" fmla="*/ 3043010 w 5360120"/>
                <a:gd name="connsiteY7" fmla="*/ 33399 h 1115727"/>
                <a:gd name="connsiteX8" fmla="*/ 3102109 w 5360120"/>
                <a:gd name="connsiteY8" fmla="*/ 46758 h 1115727"/>
                <a:gd name="connsiteX9" fmla="*/ 3160091 w 5360120"/>
                <a:gd name="connsiteY9" fmla="*/ 61231 h 1115727"/>
                <a:gd name="connsiteX10" fmla="*/ 3215843 w 5360120"/>
                <a:gd name="connsiteY10" fmla="*/ 77930 h 1115727"/>
                <a:gd name="connsiteX11" fmla="*/ 3270481 w 5360120"/>
                <a:gd name="connsiteY11" fmla="*/ 95743 h 1115727"/>
                <a:gd name="connsiteX12" fmla="*/ 3325119 w 5360120"/>
                <a:gd name="connsiteY12" fmla="*/ 116895 h 1115727"/>
                <a:gd name="connsiteX13" fmla="*/ 3376411 w 5360120"/>
                <a:gd name="connsiteY13" fmla="*/ 139161 h 1115727"/>
                <a:gd name="connsiteX14" fmla="*/ 3427704 w 5360120"/>
                <a:gd name="connsiteY14" fmla="*/ 163653 h 1115727"/>
                <a:gd name="connsiteX15" fmla="*/ 3477881 w 5360120"/>
                <a:gd name="connsiteY15" fmla="*/ 189259 h 1115727"/>
                <a:gd name="connsiteX16" fmla="*/ 3524713 w 5360120"/>
                <a:gd name="connsiteY16" fmla="*/ 215978 h 1115727"/>
                <a:gd name="connsiteX17" fmla="*/ 3569315 w 5360120"/>
                <a:gd name="connsiteY17" fmla="*/ 247150 h 1115727"/>
                <a:gd name="connsiteX18" fmla="*/ 3570430 w 5360120"/>
                <a:gd name="connsiteY18" fmla="*/ 248263 h 1115727"/>
                <a:gd name="connsiteX19" fmla="*/ 3581581 w 5360120"/>
                <a:gd name="connsiteY19" fmla="*/ 256056 h 1115727"/>
                <a:gd name="connsiteX20" fmla="*/ 3612802 w 5360120"/>
                <a:gd name="connsiteY20" fmla="*/ 277209 h 1115727"/>
                <a:gd name="connsiteX21" fmla="*/ 3671900 w 5360120"/>
                <a:gd name="connsiteY21" fmla="*/ 318401 h 1115727"/>
                <a:gd name="connsiteX22" fmla="*/ 3767795 w 5360120"/>
                <a:gd name="connsiteY22" fmla="*/ 386311 h 1115727"/>
                <a:gd name="connsiteX23" fmla="*/ 3912752 w 5360120"/>
                <a:gd name="connsiteY23" fmla="*/ 487620 h 1115727"/>
                <a:gd name="connsiteX24" fmla="*/ 4114577 w 5360120"/>
                <a:gd name="connsiteY24" fmla="*/ 627895 h 1115727"/>
                <a:gd name="connsiteX25" fmla="*/ 4383305 w 5360120"/>
                <a:gd name="connsiteY25" fmla="*/ 817154 h 1115727"/>
                <a:gd name="connsiteX26" fmla="*/ 4434597 w 5360120"/>
                <a:gd name="connsiteY26" fmla="*/ 851666 h 1115727"/>
                <a:gd name="connsiteX27" fmla="*/ 4490350 w 5360120"/>
                <a:gd name="connsiteY27" fmla="*/ 885065 h 1115727"/>
                <a:gd name="connsiteX28" fmla="*/ 4548333 w 5360120"/>
                <a:gd name="connsiteY28" fmla="*/ 915123 h 1115727"/>
                <a:gd name="connsiteX29" fmla="*/ 4608546 w 5360120"/>
                <a:gd name="connsiteY29" fmla="*/ 944069 h 1115727"/>
                <a:gd name="connsiteX30" fmla="*/ 4670989 w 5360120"/>
                <a:gd name="connsiteY30" fmla="*/ 971901 h 1115727"/>
                <a:gd name="connsiteX31" fmla="*/ 4736777 w 5360120"/>
                <a:gd name="connsiteY31" fmla="*/ 995280 h 1115727"/>
                <a:gd name="connsiteX32" fmla="*/ 4802565 w 5360120"/>
                <a:gd name="connsiteY32" fmla="*/ 1017546 h 1115727"/>
                <a:gd name="connsiteX33" fmla="*/ 4871699 w 5360120"/>
                <a:gd name="connsiteY33" fmla="*/ 1038698 h 1115727"/>
                <a:gd name="connsiteX34" fmla="*/ 4940832 w 5360120"/>
                <a:gd name="connsiteY34" fmla="*/ 1056511 h 1115727"/>
                <a:gd name="connsiteX35" fmla="*/ 5012195 w 5360120"/>
                <a:gd name="connsiteY35" fmla="*/ 1072097 h 1115727"/>
                <a:gd name="connsiteX36" fmla="*/ 5086904 w 5360120"/>
                <a:gd name="connsiteY36" fmla="*/ 1086570 h 1115727"/>
                <a:gd name="connsiteX37" fmla="*/ 5160497 w 5360120"/>
                <a:gd name="connsiteY37" fmla="*/ 1097703 h 1115727"/>
                <a:gd name="connsiteX38" fmla="*/ 5236321 w 5360120"/>
                <a:gd name="connsiteY38" fmla="*/ 1106609 h 1115727"/>
                <a:gd name="connsiteX39" fmla="*/ 5311030 w 5360120"/>
                <a:gd name="connsiteY39" fmla="*/ 1112176 h 1115727"/>
                <a:gd name="connsiteX40" fmla="*/ 5360120 w 5360120"/>
                <a:gd name="connsiteY40" fmla="*/ 1115727 h 1115727"/>
                <a:gd name="connsiteX41" fmla="*/ 0 w 5360120"/>
                <a:gd name="connsiteY41" fmla="*/ 1115727 h 1115727"/>
                <a:gd name="connsiteX42" fmla="*/ 49090 w 5360120"/>
                <a:gd name="connsiteY42" fmla="*/ 1112176 h 1115727"/>
                <a:gd name="connsiteX43" fmla="*/ 124914 w 5360120"/>
                <a:gd name="connsiteY43" fmla="*/ 1106609 h 1115727"/>
                <a:gd name="connsiteX44" fmla="*/ 200738 w 5360120"/>
                <a:gd name="connsiteY44" fmla="*/ 1097703 h 1115727"/>
                <a:gd name="connsiteX45" fmla="*/ 275446 w 5360120"/>
                <a:gd name="connsiteY45" fmla="*/ 1086570 h 1115727"/>
                <a:gd name="connsiteX46" fmla="*/ 347925 w 5360120"/>
                <a:gd name="connsiteY46" fmla="*/ 1072097 h 1115727"/>
                <a:gd name="connsiteX47" fmla="*/ 420403 w 5360120"/>
                <a:gd name="connsiteY47" fmla="*/ 1056511 h 1115727"/>
                <a:gd name="connsiteX48" fmla="*/ 489537 w 5360120"/>
                <a:gd name="connsiteY48" fmla="*/ 1038698 h 1115727"/>
                <a:gd name="connsiteX49" fmla="*/ 558670 w 5360120"/>
                <a:gd name="connsiteY49" fmla="*/ 1017546 h 1115727"/>
                <a:gd name="connsiteX50" fmla="*/ 624458 w 5360120"/>
                <a:gd name="connsiteY50" fmla="*/ 995280 h 1115727"/>
                <a:gd name="connsiteX51" fmla="*/ 690246 w 5360120"/>
                <a:gd name="connsiteY51" fmla="*/ 971901 h 1115727"/>
                <a:gd name="connsiteX52" fmla="*/ 751574 w 5360120"/>
                <a:gd name="connsiteY52" fmla="*/ 944069 h 1115727"/>
                <a:gd name="connsiteX53" fmla="*/ 811787 w 5360120"/>
                <a:gd name="connsiteY53" fmla="*/ 915123 h 1115727"/>
                <a:gd name="connsiteX54" fmla="*/ 869770 w 5360120"/>
                <a:gd name="connsiteY54" fmla="*/ 885065 h 1115727"/>
                <a:gd name="connsiteX55" fmla="*/ 924408 w 5360120"/>
                <a:gd name="connsiteY55" fmla="*/ 851666 h 1115727"/>
                <a:gd name="connsiteX56" fmla="*/ 977930 w 5360120"/>
                <a:gd name="connsiteY56" fmla="*/ 817154 h 1115727"/>
                <a:gd name="connsiteX57" fmla="*/ 979045 w 5360120"/>
                <a:gd name="connsiteY57" fmla="*/ 816041 h 1115727"/>
                <a:gd name="connsiteX58" fmla="*/ 990196 w 5360120"/>
                <a:gd name="connsiteY58" fmla="*/ 808248 h 1115727"/>
                <a:gd name="connsiteX59" fmla="*/ 1021417 w 5360120"/>
                <a:gd name="connsiteY59" fmla="*/ 787095 h 1115727"/>
                <a:gd name="connsiteX60" fmla="*/ 1078285 w 5360120"/>
                <a:gd name="connsiteY60" fmla="*/ 745904 h 1115727"/>
                <a:gd name="connsiteX61" fmla="*/ 1176410 w 5360120"/>
                <a:gd name="connsiteY61" fmla="*/ 677993 h 1115727"/>
                <a:gd name="connsiteX62" fmla="*/ 1321367 w 5360120"/>
                <a:gd name="connsiteY62" fmla="*/ 576684 h 1115727"/>
                <a:gd name="connsiteX63" fmla="*/ 1522076 w 5360120"/>
                <a:gd name="connsiteY63" fmla="*/ 434183 h 1115727"/>
                <a:gd name="connsiteX64" fmla="*/ 1789689 w 5360120"/>
                <a:gd name="connsiteY64" fmla="*/ 247150 h 1115727"/>
                <a:gd name="connsiteX65" fmla="*/ 1836522 w 5360120"/>
                <a:gd name="connsiteY65" fmla="*/ 215978 h 1115727"/>
                <a:gd name="connsiteX66" fmla="*/ 1883354 w 5360120"/>
                <a:gd name="connsiteY66" fmla="*/ 189259 h 1115727"/>
                <a:gd name="connsiteX67" fmla="*/ 1931301 w 5360120"/>
                <a:gd name="connsiteY67" fmla="*/ 163653 h 1115727"/>
                <a:gd name="connsiteX68" fmla="*/ 1982594 w 5360120"/>
                <a:gd name="connsiteY68" fmla="*/ 139161 h 1115727"/>
                <a:gd name="connsiteX69" fmla="*/ 2036116 w 5360120"/>
                <a:gd name="connsiteY69" fmla="*/ 116895 h 1115727"/>
                <a:gd name="connsiteX70" fmla="*/ 2088524 w 5360120"/>
                <a:gd name="connsiteY70" fmla="*/ 95743 h 1115727"/>
                <a:gd name="connsiteX71" fmla="*/ 2145392 w 5360120"/>
                <a:gd name="connsiteY71" fmla="*/ 77930 h 1115727"/>
                <a:gd name="connsiteX72" fmla="*/ 2201144 w 5360120"/>
                <a:gd name="connsiteY72" fmla="*/ 61231 h 1115727"/>
                <a:gd name="connsiteX73" fmla="*/ 2259127 w 5360120"/>
                <a:gd name="connsiteY73" fmla="*/ 46758 h 1115727"/>
                <a:gd name="connsiteX74" fmla="*/ 2317110 w 5360120"/>
                <a:gd name="connsiteY74" fmla="*/ 33399 h 1115727"/>
                <a:gd name="connsiteX75" fmla="*/ 2376208 w 5360120"/>
                <a:gd name="connsiteY75" fmla="*/ 23379 h 1115727"/>
                <a:gd name="connsiteX76" fmla="*/ 2435305 w 5360120"/>
                <a:gd name="connsiteY76" fmla="*/ 14473 h 1115727"/>
                <a:gd name="connsiteX77" fmla="*/ 2496633 w 5360120"/>
                <a:gd name="connsiteY77" fmla="*/ 7793 h 1115727"/>
                <a:gd name="connsiteX78" fmla="*/ 2557961 w 5360120"/>
                <a:gd name="connsiteY78" fmla="*/ 3340 h 11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60120" h="1115727">
                  <a:moveTo>
                    <a:pt x="2618174" y="0"/>
                  </a:moveTo>
                  <a:lnTo>
                    <a:pt x="2679502" y="0"/>
                  </a:lnTo>
                  <a:lnTo>
                    <a:pt x="2740830" y="0"/>
                  </a:lnTo>
                  <a:lnTo>
                    <a:pt x="2803273" y="3340"/>
                  </a:lnTo>
                  <a:lnTo>
                    <a:pt x="2864601" y="7793"/>
                  </a:lnTo>
                  <a:lnTo>
                    <a:pt x="2923699" y="14473"/>
                  </a:lnTo>
                  <a:lnTo>
                    <a:pt x="2985027" y="23379"/>
                  </a:lnTo>
                  <a:lnTo>
                    <a:pt x="3043010" y="33399"/>
                  </a:lnTo>
                  <a:lnTo>
                    <a:pt x="3102109" y="46758"/>
                  </a:lnTo>
                  <a:lnTo>
                    <a:pt x="3160091" y="61231"/>
                  </a:lnTo>
                  <a:lnTo>
                    <a:pt x="3215843" y="77930"/>
                  </a:lnTo>
                  <a:lnTo>
                    <a:pt x="3270481" y="95743"/>
                  </a:lnTo>
                  <a:lnTo>
                    <a:pt x="3325119" y="116895"/>
                  </a:lnTo>
                  <a:lnTo>
                    <a:pt x="3376411" y="139161"/>
                  </a:lnTo>
                  <a:lnTo>
                    <a:pt x="3427704" y="163653"/>
                  </a:lnTo>
                  <a:lnTo>
                    <a:pt x="3477881" y="189259"/>
                  </a:lnTo>
                  <a:lnTo>
                    <a:pt x="3524713" y="215978"/>
                  </a:lnTo>
                  <a:lnTo>
                    <a:pt x="3569315" y="247150"/>
                  </a:lnTo>
                  <a:lnTo>
                    <a:pt x="3570430" y="248263"/>
                  </a:lnTo>
                  <a:lnTo>
                    <a:pt x="3581581" y="256056"/>
                  </a:lnTo>
                  <a:lnTo>
                    <a:pt x="3612802" y="277209"/>
                  </a:lnTo>
                  <a:lnTo>
                    <a:pt x="3671900" y="318401"/>
                  </a:lnTo>
                  <a:lnTo>
                    <a:pt x="3767795" y="386311"/>
                  </a:lnTo>
                  <a:lnTo>
                    <a:pt x="3912752" y="487620"/>
                  </a:lnTo>
                  <a:lnTo>
                    <a:pt x="4114577" y="627895"/>
                  </a:lnTo>
                  <a:lnTo>
                    <a:pt x="4383305" y="817154"/>
                  </a:lnTo>
                  <a:lnTo>
                    <a:pt x="4434597" y="851666"/>
                  </a:lnTo>
                  <a:lnTo>
                    <a:pt x="4490350" y="885065"/>
                  </a:lnTo>
                  <a:lnTo>
                    <a:pt x="4548333" y="915123"/>
                  </a:lnTo>
                  <a:lnTo>
                    <a:pt x="4608546" y="944069"/>
                  </a:lnTo>
                  <a:lnTo>
                    <a:pt x="4670989" y="971901"/>
                  </a:lnTo>
                  <a:lnTo>
                    <a:pt x="4736777" y="995280"/>
                  </a:lnTo>
                  <a:lnTo>
                    <a:pt x="4802565" y="1017546"/>
                  </a:lnTo>
                  <a:lnTo>
                    <a:pt x="4871699" y="1038698"/>
                  </a:lnTo>
                  <a:lnTo>
                    <a:pt x="4940832" y="1056511"/>
                  </a:lnTo>
                  <a:lnTo>
                    <a:pt x="5012195" y="1072097"/>
                  </a:lnTo>
                  <a:lnTo>
                    <a:pt x="5086904" y="1086570"/>
                  </a:lnTo>
                  <a:lnTo>
                    <a:pt x="5160497" y="1097703"/>
                  </a:lnTo>
                  <a:lnTo>
                    <a:pt x="5236321" y="1106609"/>
                  </a:lnTo>
                  <a:lnTo>
                    <a:pt x="5311030" y="1112176"/>
                  </a:lnTo>
                  <a:lnTo>
                    <a:pt x="5360120" y="1115727"/>
                  </a:lnTo>
                  <a:lnTo>
                    <a:pt x="0" y="1115727"/>
                  </a:lnTo>
                  <a:lnTo>
                    <a:pt x="49090" y="1112176"/>
                  </a:lnTo>
                  <a:lnTo>
                    <a:pt x="124914" y="1106609"/>
                  </a:lnTo>
                  <a:lnTo>
                    <a:pt x="200738" y="1097703"/>
                  </a:lnTo>
                  <a:lnTo>
                    <a:pt x="275446" y="1086570"/>
                  </a:lnTo>
                  <a:lnTo>
                    <a:pt x="347925" y="1072097"/>
                  </a:lnTo>
                  <a:lnTo>
                    <a:pt x="420403" y="1056511"/>
                  </a:lnTo>
                  <a:lnTo>
                    <a:pt x="489537" y="1038698"/>
                  </a:lnTo>
                  <a:lnTo>
                    <a:pt x="558670" y="1017546"/>
                  </a:lnTo>
                  <a:lnTo>
                    <a:pt x="624458" y="995280"/>
                  </a:lnTo>
                  <a:lnTo>
                    <a:pt x="690246" y="971901"/>
                  </a:lnTo>
                  <a:lnTo>
                    <a:pt x="751574" y="944069"/>
                  </a:lnTo>
                  <a:lnTo>
                    <a:pt x="811787" y="915123"/>
                  </a:lnTo>
                  <a:lnTo>
                    <a:pt x="869770" y="885065"/>
                  </a:lnTo>
                  <a:lnTo>
                    <a:pt x="924408" y="851666"/>
                  </a:lnTo>
                  <a:lnTo>
                    <a:pt x="977930" y="817154"/>
                  </a:lnTo>
                  <a:lnTo>
                    <a:pt x="979045" y="816041"/>
                  </a:lnTo>
                  <a:lnTo>
                    <a:pt x="990196" y="808248"/>
                  </a:lnTo>
                  <a:lnTo>
                    <a:pt x="1021417" y="787095"/>
                  </a:lnTo>
                  <a:lnTo>
                    <a:pt x="1078285" y="745904"/>
                  </a:lnTo>
                  <a:lnTo>
                    <a:pt x="1176410" y="677993"/>
                  </a:lnTo>
                  <a:lnTo>
                    <a:pt x="1321367" y="576684"/>
                  </a:lnTo>
                  <a:lnTo>
                    <a:pt x="1522076" y="434183"/>
                  </a:lnTo>
                  <a:lnTo>
                    <a:pt x="1789689" y="247150"/>
                  </a:lnTo>
                  <a:lnTo>
                    <a:pt x="1836522" y="215978"/>
                  </a:lnTo>
                  <a:lnTo>
                    <a:pt x="1883354" y="189259"/>
                  </a:lnTo>
                  <a:lnTo>
                    <a:pt x="1931301" y="163653"/>
                  </a:lnTo>
                  <a:lnTo>
                    <a:pt x="1982594" y="139161"/>
                  </a:lnTo>
                  <a:lnTo>
                    <a:pt x="2036116" y="116895"/>
                  </a:lnTo>
                  <a:lnTo>
                    <a:pt x="2088524" y="95743"/>
                  </a:lnTo>
                  <a:lnTo>
                    <a:pt x="2145392" y="77930"/>
                  </a:lnTo>
                  <a:lnTo>
                    <a:pt x="2201144" y="61231"/>
                  </a:lnTo>
                  <a:lnTo>
                    <a:pt x="2259127" y="46758"/>
                  </a:lnTo>
                  <a:lnTo>
                    <a:pt x="2317110" y="33399"/>
                  </a:lnTo>
                  <a:lnTo>
                    <a:pt x="2376208" y="23379"/>
                  </a:lnTo>
                  <a:lnTo>
                    <a:pt x="2435305" y="14473"/>
                  </a:lnTo>
                  <a:lnTo>
                    <a:pt x="2496633" y="7793"/>
                  </a:lnTo>
                  <a:lnTo>
                    <a:pt x="2557961" y="3340"/>
                  </a:ln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</p:grpSp>
      <p:sp>
        <p:nvSpPr>
          <p:cNvPr id="10" name="Овал 9">
            <a:extLst>
              <a:ext uri="{FF2B5EF4-FFF2-40B4-BE49-F238E27FC236}">
                <a16:creationId xmlns:a16="http://schemas.microsoft.com/office/drawing/2014/main" id="{A81C2DB6-A998-6597-E1F1-2A3CD37395C3}"/>
              </a:ext>
            </a:extLst>
          </p:cNvPr>
          <p:cNvSpPr/>
          <p:nvPr/>
        </p:nvSpPr>
        <p:spPr>
          <a:xfrm rot="5400000">
            <a:off x="6404103" y="-99293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C1EC4CF1-79D8-4A01-3854-D85FF539982E}"/>
              </a:ext>
            </a:extLst>
          </p:cNvPr>
          <p:cNvSpPr/>
          <p:nvPr/>
        </p:nvSpPr>
        <p:spPr>
          <a:xfrm rot="5732377">
            <a:off x="9932721" y="0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043FB44F-0804-1010-B971-6339147A5F13}"/>
              </a:ext>
            </a:extLst>
          </p:cNvPr>
          <p:cNvSpPr/>
          <p:nvPr/>
        </p:nvSpPr>
        <p:spPr>
          <a:xfrm rot="11095245">
            <a:off x="4796846" y="-62609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FCCF162F-9745-F382-66CD-C0B273DE6C18}"/>
              </a:ext>
            </a:extLst>
          </p:cNvPr>
          <p:cNvSpPr/>
          <p:nvPr/>
        </p:nvSpPr>
        <p:spPr>
          <a:xfrm rot="17731941">
            <a:off x="10889004" y="1164763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AB0D6405-D85B-B4A1-00E0-A94CB0603189}"/>
              </a:ext>
            </a:extLst>
          </p:cNvPr>
          <p:cNvGrpSpPr/>
          <p:nvPr/>
        </p:nvGrpSpPr>
        <p:grpSpPr>
          <a:xfrm>
            <a:off x="2435111" y="3863300"/>
            <a:ext cx="750136" cy="750136"/>
            <a:chOff x="7871724" y="7154806"/>
            <a:chExt cx="2600444" cy="2600444"/>
          </a:xfrm>
        </p:grpSpPr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93462B23-6DF3-5557-B154-19790FA2DF47}"/>
                </a:ext>
              </a:extLst>
            </p:cNvPr>
            <p:cNvSpPr/>
            <p:nvPr/>
          </p:nvSpPr>
          <p:spPr>
            <a:xfrm>
              <a:off x="7871724" y="7154806"/>
              <a:ext cx="2600444" cy="2600444"/>
            </a:xfrm>
            <a:prstGeom prst="ellipse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 dirty="0"/>
            </a:p>
          </p:txBody>
        </p:sp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622AC6CC-FBB3-9CB4-3AD8-CF30A707DFD9}"/>
                </a:ext>
              </a:extLst>
            </p:cNvPr>
            <p:cNvSpPr/>
            <p:nvPr/>
          </p:nvSpPr>
          <p:spPr>
            <a:xfrm>
              <a:off x="8097382" y="7606122"/>
              <a:ext cx="2149128" cy="2149128"/>
            </a:xfrm>
            <a:prstGeom prst="ellipse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 dirty="0"/>
            </a:p>
          </p:txBody>
        </p: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E4C29DA3-83A7-D074-723C-C318399DC8F5}"/>
                </a:ext>
              </a:extLst>
            </p:cNvPr>
            <p:cNvSpPr/>
            <p:nvPr/>
          </p:nvSpPr>
          <p:spPr>
            <a:xfrm>
              <a:off x="8364611" y="8140579"/>
              <a:ext cx="1614671" cy="1614671"/>
            </a:xfrm>
            <a:prstGeom prst="ellipse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Unbounded" panose="020B0305040102020103" pitchFamily="34" charset="0"/>
                </a:rPr>
                <a:t>2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44E2BA5-30A2-3DE9-18E6-AF722143FFB5}"/>
              </a:ext>
            </a:extLst>
          </p:cNvPr>
          <p:cNvSpPr txBox="1"/>
          <p:nvPr/>
        </p:nvSpPr>
        <p:spPr>
          <a:xfrm>
            <a:off x="2657595" y="4743625"/>
            <a:ext cx="6796863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4500"/>
              </a:lnSpc>
            </a:pPr>
            <a:r>
              <a:rPr lang="ru-RU" sz="4000" dirty="0">
                <a:solidFill>
                  <a:schemeClr val="bg1"/>
                </a:solidFill>
                <a:effectLst/>
                <a:latin typeface="Unbounded" panose="020B0305040102020103" pitchFamily="34" charset="0"/>
              </a:rPr>
              <a:t>Онлайн- </a:t>
            </a:r>
            <a:br>
              <a:rPr lang="ru-RU" sz="4000" dirty="0">
                <a:solidFill>
                  <a:schemeClr val="bg1"/>
                </a:solidFill>
                <a:effectLst/>
                <a:latin typeface="Unbounded" panose="020B0305040102020103" pitchFamily="34" charset="0"/>
              </a:rPr>
            </a:br>
            <a:r>
              <a:rPr lang="ru-RU" sz="4000" dirty="0">
                <a:solidFill>
                  <a:schemeClr val="bg1"/>
                </a:solidFill>
                <a:effectLst/>
                <a:latin typeface="Unbounded" panose="020B0305040102020103" pitchFamily="34" charset="0"/>
              </a:rPr>
              <a:t>выступления</a:t>
            </a:r>
            <a:endParaRPr lang="ru-RU" sz="3600" dirty="0">
              <a:solidFill>
                <a:schemeClr val="bg1"/>
              </a:solidFill>
              <a:effectLst/>
              <a:latin typeface="Unbounde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C3BF7899-B159-0C77-CDD2-68C82918DA4C}"/>
              </a:ext>
            </a:extLst>
          </p:cNvPr>
          <p:cNvSpPr/>
          <p:nvPr/>
        </p:nvSpPr>
        <p:spPr>
          <a:xfrm>
            <a:off x="-7223928" y="4131675"/>
            <a:ext cx="5725099" cy="2076171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12797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1.11111E-6 L 0.06576 1.11111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8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3000" fill="hold"/>
                                        <p:tgtEl>
                                          <p:spTgt spid="1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8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5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3000" fill="hold"/>
                                        <p:tgtEl>
                                          <p:spTgt spid="1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0" dur="8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5000" fill="hold"/>
                                        <p:tgtEl>
                                          <p:spTgt spid="1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  <p:bldP spid="10" grpId="0" animBg="1"/>
      <p:bldP spid="10" grpId="1" animBg="1"/>
      <p:bldP spid="12" grpId="0" animBg="1"/>
      <p:bldP spid="12" grpId="1" animBg="1"/>
      <p:bldP spid="14" grpId="0" animBg="1"/>
      <p:bldP spid="14" grpId="1" animBg="1"/>
      <p:bldP spid="15" grpId="0" animBg="1"/>
      <p:bldP spid="15" grpId="1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8" name="Объект 1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76" y="16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18" progId="TCLayout.ActiveDocument.1">
                  <p:embed/>
                </p:oleObj>
              </mc:Choice>
              <mc:Fallback>
                <p:oleObj name="Слайд think-cell" r:id="rId3" imgW="353" imgH="318" progId="TCLayout.ActiveDocument.1">
                  <p:embed/>
                  <p:pic>
                    <p:nvPicPr>
                      <p:cNvPr id="118" name="Объект 11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76" y="16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169AB7A9-639B-D117-5E44-3CDC8431F25E}"/>
              </a:ext>
            </a:extLst>
          </p:cNvPr>
          <p:cNvCxnSpPr>
            <a:cxnSpLocks/>
          </p:cNvCxnSpPr>
          <p:nvPr/>
        </p:nvCxnSpPr>
        <p:spPr>
          <a:xfrm>
            <a:off x="2842926" y="8187977"/>
            <a:ext cx="0" cy="3633626"/>
          </a:xfrm>
          <a:prstGeom prst="line">
            <a:avLst/>
          </a:prstGeom>
          <a:ln w="6350">
            <a:solidFill>
              <a:schemeClr val="bg1"/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59E912C5-DFE7-91FE-4E3C-2D6E9D8BF99B}"/>
              </a:ext>
            </a:extLst>
          </p:cNvPr>
          <p:cNvCxnSpPr>
            <a:cxnSpLocks/>
          </p:cNvCxnSpPr>
          <p:nvPr/>
        </p:nvCxnSpPr>
        <p:spPr>
          <a:xfrm>
            <a:off x="4882023" y="9220870"/>
            <a:ext cx="0" cy="2596453"/>
          </a:xfrm>
          <a:prstGeom prst="line">
            <a:avLst/>
          </a:prstGeom>
          <a:ln w="6350">
            <a:solidFill>
              <a:schemeClr val="bg1"/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386FF455-6970-AA20-D240-7C4C61FE900B}"/>
              </a:ext>
            </a:extLst>
          </p:cNvPr>
          <p:cNvCxnSpPr>
            <a:cxnSpLocks/>
          </p:cNvCxnSpPr>
          <p:nvPr/>
        </p:nvCxnSpPr>
        <p:spPr>
          <a:xfrm>
            <a:off x="801589" y="8896876"/>
            <a:ext cx="0" cy="2920447"/>
          </a:xfrm>
          <a:prstGeom prst="line">
            <a:avLst/>
          </a:prstGeom>
          <a:ln w="6350">
            <a:solidFill>
              <a:schemeClr val="bg1"/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reeform: Shape 11">
            <a:extLst>
              <a:ext uri="{FF2B5EF4-FFF2-40B4-BE49-F238E27FC236}">
                <a16:creationId xmlns:a16="http://schemas.microsoft.com/office/drawing/2014/main" id="{A23AEDCB-715E-1CDD-E3CF-21A085F653B3}"/>
              </a:ext>
            </a:extLst>
          </p:cNvPr>
          <p:cNvSpPr/>
          <p:nvPr/>
        </p:nvSpPr>
        <p:spPr>
          <a:xfrm rot="16200000" flipH="1">
            <a:off x="5169539" y="-199110"/>
            <a:ext cx="6423596" cy="7256220"/>
          </a:xfrm>
          <a:custGeom>
            <a:avLst/>
            <a:gdLst>
              <a:gd name="connsiteX0" fmla="*/ 0 w 6423596"/>
              <a:gd name="connsiteY0" fmla="*/ 1732699 h 7256220"/>
              <a:gd name="connsiteX1" fmla="*/ 0 w 6423596"/>
              <a:gd name="connsiteY1" fmla="*/ 7005122 h 7256220"/>
              <a:gd name="connsiteX2" fmla="*/ 251098 w 6423596"/>
              <a:gd name="connsiteY2" fmla="*/ 7256220 h 7256220"/>
              <a:gd name="connsiteX3" fmla="*/ 6172498 w 6423596"/>
              <a:gd name="connsiteY3" fmla="*/ 7256220 h 7256220"/>
              <a:gd name="connsiteX4" fmla="*/ 6423596 w 6423596"/>
              <a:gd name="connsiteY4" fmla="*/ 7005122 h 7256220"/>
              <a:gd name="connsiteX5" fmla="*/ 6423596 w 6423596"/>
              <a:gd name="connsiteY5" fmla="*/ 0 h 7256220"/>
              <a:gd name="connsiteX6" fmla="*/ 0 w 6423596"/>
              <a:gd name="connsiteY6" fmla="*/ 1732699 h 725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23596" h="7256220">
                <a:moveTo>
                  <a:pt x="0" y="1732699"/>
                </a:moveTo>
                <a:lnTo>
                  <a:pt x="0" y="7005122"/>
                </a:lnTo>
                <a:cubicBezTo>
                  <a:pt x="0" y="7143800"/>
                  <a:pt x="112420" y="7256220"/>
                  <a:pt x="251098" y="7256220"/>
                </a:cubicBezTo>
                <a:lnTo>
                  <a:pt x="6172498" y="7256220"/>
                </a:lnTo>
                <a:cubicBezTo>
                  <a:pt x="6311176" y="7256220"/>
                  <a:pt x="6423596" y="7143800"/>
                  <a:pt x="6423596" y="7005122"/>
                </a:cubicBezTo>
                <a:lnTo>
                  <a:pt x="6423596" y="0"/>
                </a:lnTo>
                <a:lnTo>
                  <a:pt x="0" y="1732699"/>
                </a:lnTo>
                <a:close/>
              </a:path>
            </a:pathLst>
          </a:custGeom>
          <a:gradFill flip="none" rotWithShape="1">
            <a:gsLst>
              <a:gs pos="36000">
                <a:srgbClr val="4550E5"/>
              </a:gs>
              <a:gs pos="100000">
                <a:srgbClr val="4550E5">
                  <a:lumMod val="69000"/>
                  <a:lumOff val="31000"/>
                </a:srgbClr>
              </a:gs>
            </a:gsLst>
            <a:lin ang="1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" name="Freeform: Shape 9">
            <a:extLst>
              <a:ext uri="{FF2B5EF4-FFF2-40B4-BE49-F238E27FC236}">
                <a16:creationId xmlns:a16="http://schemas.microsoft.com/office/drawing/2014/main" id="{11DEDE1D-2D92-44A4-DECF-C5EC9F8FD2EC}"/>
              </a:ext>
            </a:extLst>
          </p:cNvPr>
          <p:cNvSpPr/>
          <p:nvPr/>
        </p:nvSpPr>
        <p:spPr>
          <a:xfrm rot="16200000" flipH="1">
            <a:off x="122442" y="277314"/>
            <a:ext cx="6423596" cy="6303373"/>
          </a:xfrm>
          <a:custGeom>
            <a:avLst/>
            <a:gdLst>
              <a:gd name="connsiteX0" fmla="*/ 0 w 6423596"/>
              <a:gd name="connsiteY0" fmla="*/ 251098 h 6303373"/>
              <a:gd name="connsiteX1" fmla="*/ 0 w 6423596"/>
              <a:gd name="connsiteY1" fmla="*/ 6303373 h 6303373"/>
              <a:gd name="connsiteX2" fmla="*/ 6423596 w 6423596"/>
              <a:gd name="connsiteY2" fmla="*/ 4570674 h 6303373"/>
              <a:gd name="connsiteX3" fmla="*/ 6423596 w 6423596"/>
              <a:gd name="connsiteY3" fmla="*/ 251098 h 6303373"/>
              <a:gd name="connsiteX4" fmla="*/ 6172498 w 6423596"/>
              <a:gd name="connsiteY4" fmla="*/ 0 h 6303373"/>
              <a:gd name="connsiteX5" fmla="*/ 251098 w 6423596"/>
              <a:gd name="connsiteY5" fmla="*/ 0 h 6303373"/>
              <a:gd name="connsiteX6" fmla="*/ 0 w 6423596"/>
              <a:gd name="connsiteY6" fmla="*/ 251098 h 6303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23596" h="6303373">
                <a:moveTo>
                  <a:pt x="0" y="251098"/>
                </a:moveTo>
                <a:lnTo>
                  <a:pt x="0" y="6303373"/>
                </a:lnTo>
                <a:lnTo>
                  <a:pt x="6423596" y="4570674"/>
                </a:lnTo>
                <a:lnTo>
                  <a:pt x="6423596" y="251098"/>
                </a:lnTo>
                <a:cubicBezTo>
                  <a:pt x="6423596" y="112420"/>
                  <a:pt x="6311176" y="0"/>
                  <a:pt x="6172498" y="0"/>
                </a:cubicBezTo>
                <a:lnTo>
                  <a:pt x="251098" y="0"/>
                </a:lnTo>
                <a:cubicBezTo>
                  <a:pt x="112420" y="0"/>
                  <a:pt x="0" y="112420"/>
                  <a:pt x="0" y="251098"/>
                </a:cubicBezTo>
                <a:close/>
              </a:path>
            </a:pathLst>
          </a:custGeom>
          <a:solidFill>
            <a:srgbClr val="64DC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BB76983-4C0C-F76A-284D-476A0A565AAB}"/>
              </a:ext>
            </a:extLst>
          </p:cNvPr>
          <p:cNvSpPr txBox="1"/>
          <p:nvPr/>
        </p:nvSpPr>
        <p:spPr>
          <a:xfrm>
            <a:off x="3889442" y="1819754"/>
            <a:ext cx="2534480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3900" b="1" dirty="0">
                <a:solidFill>
                  <a:srgbClr val="4550E5"/>
                </a:solidFill>
                <a:latin typeface="Montserrat" panose="00000500000000000000" pitchFamily="2" charset="0"/>
                <a:cs typeface="Poppins SemiBold" panose="00000700000000000000" pitchFamily="2" charset="0"/>
              </a:rPr>
              <a:t>V</a:t>
            </a:r>
            <a:endParaRPr lang="en-ID" sz="23900" b="1" dirty="0">
              <a:solidFill>
                <a:srgbClr val="4550E5"/>
              </a:solidFill>
              <a:latin typeface="Montserrat" panose="000005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C5EFB34-2B5C-C51F-9CDF-4E922FF3DC1A}"/>
              </a:ext>
            </a:extLst>
          </p:cNvPr>
          <p:cNvSpPr txBox="1"/>
          <p:nvPr/>
        </p:nvSpPr>
        <p:spPr>
          <a:xfrm>
            <a:off x="5026902" y="2252852"/>
            <a:ext cx="2250122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3900" b="1" dirty="0">
                <a:solidFill>
                  <a:srgbClr val="64DCEB"/>
                </a:solidFill>
                <a:latin typeface="Montserrat" panose="00000500000000000000" pitchFamily="2" charset="0"/>
                <a:cs typeface="Poppins SemiBold" panose="00000700000000000000" pitchFamily="2" charset="0"/>
              </a:rPr>
              <a:t>S</a:t>
            </a:r>
            <a:endParaRPr lang="en-ID" sz="23900" b="1" dirty="0">
              <a:solidFill>
                <a:srgbClr val="64DCEB"/>
              </a:solidFill>
              <a:latin typeface="Montserrat" panose="000005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A2FFBB6-DD73-FE99-A163-9DFC3CEB3B74}"/>
              </a:ext>
            </a:extLst>
          </p:cNvPr>
          <p:cNvSpPr txBox="1"/>
          <p:nvPr/>
        </p:nvSpPr>
        <p:spPr>
          <a:xfrm rot="17154757">
            <a:off x="-178949" y="2765076"/>
            <a:ext cx="604374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6000" b="1" dirty="0">
                <a:solidFill>
                  <a:srgbClr val="620CFD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КОНТЕНТ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4B3E77-2D4A-CEB5-6216-09CE69F95801}"/>
              </a:ext>
            </a:extLst>
          </p:cNvPr>
          <p:cNvSpPr txBox="1"/>
          <p:nvPr/>
        </p:nvSpPr>
        <p:spPr>
          <a:xfrm rot="17154757">
            <a:off x="6373171" y="2718910"/>
            <a:ext cx="6043749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6600" b="1" dirty="0">
                <a:solidFill>
                  <a:srgbClr val="64DCEB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ВИЗУАЛ</a:t>
            </a:r>
          </a:p>
        </p:txBody>
      </p:sp>
    </p:spTree>
    <p:extLst>
      <p:ext uri="{BB962C8B-B14F-4D97-AF65-F5344CB8AC3E}">
        <p14:creationId xmlns:p14="http://schemas.microsoft.com/office/powerpoint/2010/main" val="19475318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63DA251D-C477-7AC2-56DA-ADFE8924065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20CF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A571D667-82C2-0928-2841-1D3066625BA6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64" name="Овал 63">
            <a:extLst>
              <a:ext uri="{FF2B5EF4-FFF2-40B4-BE49-F238E27FC236}">
                <a16:creationId xmlns:a16="http://schemas.microsoft.com/office/drawing/2014/main" id="{7D7D2BBE-597F-60CE-F7C7-EAC968B08729}"/>
              </a:ext>
            </a:extLst>
          </p:cNvPr>
          <p:cNvSpPr/>
          <p:nvPr/>
        </p:nvSpPr>
        <p:spPr>
          <a:xfrm>
            <a:off x="1384596" y="131497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65" name="Овал 64">
            <a:extLst>
              <a:ext uri="{FF2B5EF4-FFF2-40B4-BE49-F238E27FC236}">
                <a16:creationId xmlns:a16="http://schemas.microsoft.com/office/drawing/2014/main" id="{67E03627-799B-369A-58E9-3BFD823F38F2}"/>
              </a:ext>
            </a:extLst>
          </p:cNvPr>
          <p:cNvSpPr/>
          <p:nvPr/>
        </p:nvSpPr>
        <p:spPr>
          <a:xfrm>
            <a:off x="-703394" y="-56200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66" name="Овал 65">
            <a:extLst>
              <a:ext uri="{FF2B5EF4-FFF2-40B4-BE49-F238E27FC236}">
                <a16:creationId xmlns:a16="http://schemas.microsoft.com/office/drawing/2014/main" id="{43A0514E-CF9B-9244-026D-858BC163F6A6}"/>
              </a:ext>
            </a:extLst>
          </p:cNvPr>
          <p:cNvSpPr/>
          <p:nvPr/>
        </p:nvSpPr>
        <p:spPr>
          <a:xfrm>
            <a:off x="4660581" y="132408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id="{1A391178-71EA-9365-5B00-F1413490666B}"/>
              </a:ext>
            </a:extLst>
          </p:cNvPr>
          <p:cNvSpPr/>
          <p:nvPr/>
        </p:nvSpPr>
        <p:spPr>
          <a:xfrm>
            <a:off x="5792288" y="-53818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68" name="Овал 67">
            <a:extLst>
              <a:ext uri="{FF2B5EF4-FFF2-40B4-BE49-F238E27FC236}">
                <a16:creationId xmlns:a16="http://schemas.microsoft.com/office/drawing/2014/main" id="{8EA89B52-05D5-FD91-428C-EB0AB2787489}"/>
              </a:ext>
            </a:extLst>
          </p:cNvPr>
          <p:cNvSpPr/>
          <p:nvPr/>
        </p:nvSpPr>
        <p:spPr>
          <a:xfrm>
            <a:off x="11099977" y="1309990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69" name="Овал 68">
            <a:extLst>
              <a:ext uri="{FF2B5EF4-FFF2-40B4-BE49-F238E27FC236}">
                <a16:creationId xmlns:a16="http://schemas.microsoft.com/office/drawing/2014/main" id="{EA9EA479-FDEA-31F4-40C1-E38A6D0223BF}"/>
              </a:ext>
            </a:extLst>
          </p:cNvPr>
          <p:cNvSpPr/>
          <p:nvPr/>
        </p:nvSpPr>
        <p:spPr>
          <a:xfrm>
            <a:off x="9011986" y="-566982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70" name="Овал 69">
            <a:extLst>
              <a:ext uri="{FF2B5EF4-FFF2-40B4-BE49-F238E27FC236}">
                <a16:creationId xmlns:a16="http://schemas.microsoft.com/office/drawing/2014/main" id="{65E02EFC-B5C7-0653-3DB9-3BD6A09A0BF4}"/>
              </a:ext>
            </a:extLst>
          </p:cNvPr>
          <p:cNvSpPr/>
          <p:nvPr/>
        </p:nvSpPr>
        <p:spPr>
          <a:xfrm>
            <a:off x="-975099" y="381462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74" name="Овал 73">
            <a:extLst>
              <a:ext uri="{FF2B5EF4-FFF2-40B4-BE49-F238E27FC236}">
                <a16:creationId xmlns:a16="http://schemas.microsoft.com/office/drawing/2014/main" id="{6457B556-22FC-950F-C65A-FBA8BED44DA5}"/>
              </a:ext>
            </a:extLst>
          </p:cNvPr>
          <p:cNvSpPr/>
          <p:nvPr/>
        </p:nvSpPr>
        <p:spPr>
          <a:xfrm>
            <a:off x="5520584" y="383844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75" name="Овал 74">
            <a:extLst>
              <a:ext uri="{FF2B5EF4-FFF2-40B4-BE49-F238E27FC236}">
                <a16:creationId xmlns:a16="http://schemas.microsoft.com/office/drawing/2014/main" id="{F3558E4E-36D4-BF8D-EE91-A15A903E9FE9}"/>
              </a:ext>
            </a:extLst>
          </p:cNvPr>
          <p:cNvSpPr/>
          <p:nvPr/>
        </p:nvSpPr>
        <p:spPr>
          <a:xfrm>
            <a:off x="-1563397" y="1596492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76" name="Овал 75">
            <a:extLst>
              <a:ext uri="{FF2B5EF4-FFF2-40B4-BE49-F238E27FC236}">
                <a16:creationId xmlns:a16="http://schemas.microsoft.com/office/drawing/2014/main" id="{AA54BECE-1380-15EB-2CE9-CA35C9464FE9}"/>
              </a:ext>
            </a:extLst>
          </p:cNvPr>
          <p:cNvSpPr/>
          <p:nvPr/>
        </p:nvSpPr>
        <p:spPr>
          <a:xfrm>
            <a:off x="2572591" y="-55288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77" name="Овал 76">
            <a:extLst>
              <a:ext uri="{FF2B5EF4-FFF2-40B4-BE49-F238E27FC236}">
                <a16:creationId xmlns:a16="http://schemas.microsoft.com/office/drawing/2014/main" id="{2AD74D73-FED1-C19D-77A6-FDF0CF5A14FE}"/>
              </a:ext>
            </a:extLst>
          </p:cNvPr>
          <p:cNvSpPr/>
          <p:nvPr/>
        </p:nvSpPr>
        <p:spPr>
          <a:xfrm>
            <a:off x="7880279" y="1338788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78" name="Овал 77">
            <a:extLst>
              <a:ext uri="{FF2B5EF4-FFF2-40B4-BE49-F238E27FC236}">
                <a16:creationId xmlns:a16="http://schemas.microsoft.com/office/drawing/2014/main" id="{6B71A555-B24C-EA34-2BBE-0FC9B83D8542}"/>
              </a:ext>
            </a:extLst>
          </p:cNvPr>
          <p:cNvSpPr/>
          <p:nvPr/>
        </p:nvSpPr>
        <p:spPr>
          <a:xfrm>
            <a:off x="8527425" y="4115829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79" name="Овал 78">
            <a:extLst>
              <a:ext uri="{FF2B5EF4-FFF2-40B4-BE49-F238E27FC236}">
                <a16:creationId xmlns:a16="http://schemas.microsoft.com/office/drawing/2014/main" id="{2FB759C2-57BF-FBAD-CAE9-1D87AAD52F54}"/>
              </a:ext>
            </a:extLst>
          </p:cNvPr>
          <p:cNvSpPr/>
          <p:nvPr/>
        </p:nvSpPr>
        <p:spPr>
          <a:xfrm>
            <a:off x="2088030" y="412992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80" name="Овал 79">
            <a:extLst>
              <a:ext uri="{FF2B5EF4-FFF2-40B4-BE49-F238E27FC236}">
                <a16:creationId xmlns:a16="http://schemas.microsoft.com/office/drawing/2014/main" id="{C4E37BD2-216A-B1B8-FE0E-71CED05892D1}"/>
              </a:ext>
            </a:extLst>
          </p:cNvPr>
          <p:cNvSpPr/>
          <p:nvPr/>
        </p:nvSpPr>
        <p:spPr>
          <a:xfrm>
            <a:off x="4443032" y="79009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81" name="Овал 80">
            <a:extLst>
              <a:ext uri="{FF2B5EF4-FFF2-40B4-BE49-F238E27FC236}">
                <a16:creationId xmlns:a16="http://schemas.microsoft.com/office/drawing/2014/main" id="{530D1111-238B-43BC-844B-246F5419173A}"/>
              </a:ext>
            </a:extLst>
          </p:cNvPr>
          <p:cNvSpPr/>
          <p:nvPr/>
        </p:nvSpPr>
        <p:spPr>
          <a:xfrm>
            <a:off x="9968269" y="597781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82" name="Овал 81">
            <a:extLst>
              <a:ext uri="{FF2B5EF4-FFF2-40B4-BE49-F238E27FC236}">
                <a16:creationId xmlns:a16="http://schemas.microsoft.com/office/drawing/2014/main" id="{EA747986-7F4D-6023-5910-6D7EAB8702F6}"/>
              </a:ext>
            </a:extLst>
          </p:cNvPr>
          <p:cNvSpPr/>
          <p:nvPr/>
        </p:nvSpPr>
        <p:spPr>
          <a:xfrm>
            <a:off x="4495997" y="5077187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28EA5A71-F61A-459E-BDF6-08B16EA1AA7C}"/>
              </a:ext>
            </a:extLst>
          </p:cNvPr>
          <p:cNvGrpSpPr/>
          <p:nvPr/>
        </p:nvGrpSpPr>
        <p:grpSpPr>
          <a:xfrm>
            <a:off x="623888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7CE6BA80-8884-5BCC-784E-9F4DACB0B34C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F738C5CA-71B1-79C8-8BCB-985D2AEDAD76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6" name="Рисунок 3">
            <a:extLst>
              <a:ext uri="{FF2B5EF4-FFF2-40B4-BE49-F238E27FC236}">
                <a16:creationId xmlns:a16="http://schemas.microsoft.com/office/drawing/2014/main" id="{B671C51F-D534-25D7-9AB0-B300C4E4F848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CEBB71C0-F5B3-55D8-A3D2-8FCEC46693A9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 99">
              <a:extLst>
                <a:ext uri="{FF2B5EF4-FFF2-40B4-BE49-F238E27FC236}">
                  <a16:creationId xmlns:a16="http://schemas.microsoft.com/office/drawing/2014/main" id="{45EAD989-AC80-A92A-2728-C299CF4BD79B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" name="Полилиния 100">
              <a:extLst>
                <a:ext uri="{FF2B5EF4-FFF2-40B4-BE49-F238E27FC236}">
                  <a16:creationId xmlns:a16="http://schemas.microsoft.com/office/drawing/2014/main" id="{CF509365-A7F6-6A40-1A31-14EFFA49B90C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" name="Полилиния 101">
              <a:extLst>
                <a:ext uri="{FF2B5EF4-FFF2-40B4-BE49-F238E27FC236}">
                  <a16:creationId xmlns:a16="http://schemas.microsoft.com/office/drawing/2014/main" id="{18A6A711-7607-AE7E-9F0C-E06EEE468BE7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" name="Полилиния 102">
              <a:extLst>
                <a:ext uri="{FF2B5EF4-FFF2-40B4-BE49-F238E27FC236}">
                  <a16:creationId xmlns:a16="http://schemas.microsoft.com/office/drawing/2014/main" id="{54D18848-7CC3-2755-0E8C-FDF6DFBEE8AD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" name="Полилиния 103">
              <a:extLst>
                <a:ext uri="{FF2B5EF4-FFF2-40B4-BE49-F238E27FC236}">
                  <a16:creationId xmlns:a16="http://schemas.microsoft.com/office/drawing/2014/main" id="{42B0020E-DA9A-B9E4-EFC6-0311C460F535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" name="Полилиния 104">
              <a:extLst>
                <a:ext uri="{FF2B5EF4-FFF2-40B4-BE49-F238E27FC236}">
                  <a16:creationId xmlns:a16="http://schemas.microsoft.com/office/drawing/2014/main" id="{293BF571-1C62-EF8D-8814-139A6DD469E7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" name="Полилиния 105">
              <a:extLst>
                <a:ext uri="{FF2B5EF4-FFF2-40B4-BE49-F238E27FC236}">
                  <a16:creationId xmlns:a16="http://schemas.microsoft.com/office/drawing/2014/main" id="{924B42FC-255E-ECD7-024D-537F08A8F86C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" name="Полилиния 106">
              <a:extLst>
                <a:ext uri="{FF2B5EF4-FFF2-40B4-BE49-F238E27FC236}">
                  <a16:creationId xmlns:a16="http://schemas.microsoft.com/office/drawing/2014/main" id="{E4E1AB4F-A8E0-5180-8E7D-03B656FC1045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" name="Полилиния 107">
              <a:extLst>
                <a:ext uri="{FF2B5EF4-FFF2-40B4-BE49-F238E27FC236}">
                  <a16:creationId xmlns:a16="http://schemas.microsoft.com/office/drawing/2014/main" id="{4A795F15-DC16-E0B7-742D-9D90E25AA79B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" name="Полилиния 108">
              <a:extLst>
                <a:ext uri="{FF2B5EF4-FFF2-40B4-BE49-F238E27FC236}">
                  <a16:creationId xmlns:a16="http://schemas.microsoft.com/office/drawing/2014/main" id="{CA77AE4C-996B-12D2-478E-E6979A491232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10" name="TextBox 109">
            <a:extLst>
              <a:ext uri="{FF2B5EF4-FFF2-40B4-BE49-F238E27FC236}">
                <a16:creationId xmlns:a16="http://schemas.microsoft.com/office/drawing/2014/main" id="{F326559F-D747-15E7-0B2A-DC8D170CA496}"/>
              </a:ext>
            </a:extLst>
          </p:cNvPr>
          <p:cNvSpPr txBox="1"/>
          <p:nvPr/>
        </p:nvSpPr>
        <p:spPr>
          <a:xfrm>
            <a:off x="527073" y="1521175"/>
            <a:ext cx="9799093" cy="25909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3600" b="1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SemiBold" panose="020B0305040102020103" pitchFamily="34" charset="0"/>
              </a:rPr>
              <a:t>ВИЗУАЛ ДОЛЖЕН СОПРОВОЖДАТЬ ПОЛУЧАТЕЛЯ ПРЕЗЕНТАЦИИ И СОХРАНЯТЬ ЕГО ВОВЛЕЧЕННОСТЬ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BB67D761-8415-64FF-7C5A-AE9EAF85C757}"/>
              </a:ext>
            </a:extLst>
          </p:cNvPr>
          <p:cNvSpPr txBox="1"/>
          <p:nvPr/>
        </p:nvSpPr>
        <p:spPr>
          <a:xfrm>
            <a:off x="1187239" y="4204530"/>
            <a:ext cx="9720009" cy="10434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8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Medium" panose="020B0305040102020103" pitchFamily="34" charset="0"/>
              </a:rPr>
              <a:t>А не просто зацепить для начала просмотра дизайн-продукта</a:t>
            </a:r>
          </a:p>
        </p:txBody>
      </p:sp>
      <p:grpSp>
        <p:nvGrpSpPr>
          <p:cNvPr id="112" name="Group 73">
            <a:extLst>
              <a:ext uri="{FF2B5EF4-FFF2-40B4-BE49-F238E27FC236}">
                <a16:creationId xmlns:a16="http://schemas.microsoft.com/office/drawing/2014/main" id="{9B0FBD64-CCF8-9F04-E24B-82E4B68F9B2A}"/>
              </a:ext>
            </a:extLst>
          </p:cNvPr>
          <p:cNvGrpSpPr/>
          <p:nvPr/>
        </p:nvGrpSpPr>
        <p:grpSpPr>
          <a:xfrm>
            <a:off x="9661085" y="7859812"/>
            <a:ext cx="3333884" cy="2424642"/>
            <a:chOff x="-2" y="0"/>
            <a:chExt cx="6428641" cy="6858000"/>
          </a:xfrm>
        </p:grpSpPr>
        <p:sp>
          <p:nvSpPr>
            <p:cNvPr id="113" name="Rectangle 36">
              <a:extLst>
                <a:ext uri="{FF2B5EF4-FFF2-40B4-BE49-F238E27FC236}">
                  <a16:creationId xmlns:a16="http://schemas.microsoft.com/office/drawing/2014/main" id="{8B6CED46-64ED-2A08-B14A-E986114E7593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4" name="Rectangle 9">
              <a:extLst>
                <a:ext uri="{FF2B5EF4-FFF2-40B4-BE49-F238E27FC236}">
                  <a16:creationId xmlns:a16="http://schemas.microsoft.com/office/drawing/2014/main" id="{712F4F73-5881-3F37-E363-FA5502EDBF2E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5" name="Rectangle 31">
              <a:extLst>
                <a:ext uri="{FF2B5EF4-FFF2-40B4-BE49-F238E27FC236}">
                  <a16:creationId xmlns:a16="http://schemas.microsoft.com/office/drawing/2014/main" id="{DE2B08FF-1427-8DBB-7E2D-ADA9EA3A111D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6" name="Rectangle 32">
              <a:extLst>
                <a:ext uri="{FF2B5EF4-FFF2-40B4-BE49-F238E27FC236}">
                  <a16:creationId xmlns:a16="http://schemas.microsoft.com/office/drawing/2014/main" id="{B2230A0A-48D1-EEA6-BFAE-34BF7F26E6EE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7" name="Rectangle 33">
              <a:extLst>
                <a:ext uri="{FF2B5EF4-FFF2-40B4-BE49-F238E27FC236}">
                  <a16:creationId xmlns:a16="http://schemas.microsoft.com/office/drawing/2014/main" id="{06272225-732E-2258-149D-D5096432B1F7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8" name="Rectangle 34">
              <a:extLst>
                <a:ext uri="{FF2B5EF4-FFF2-40B4-BE49-F238E27FC236}">
                  <a16:creationId xmlns:a16="http://schemas.microsoft.com/office/drawing/2014/main" id="{35AC9AEA-923F-D116-D891-4EE5F1DF7081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9" name="Rectangle 35">
              <a:extLst>
                <a:ext uri="{FF2B5EF4-FFF2-40B4-BE49-F238E27FC236}">
                  <a16:creationId xmlns:a16="http://schemas.microsoft.com/office/drawing/2014/main" id="{7911424F-AEB1-5466-4534-73C20C9004E9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0" name="Rectangle 37">
              <a:extLst>
                <a:ext uri="{FF2B5EF4-FFF2-40B4-BE49-F238E27FC236}">
                  <a16:creationId xmlns:a16="http://schemas.microsoft.com/office/drawing/2014/main" id="{FBA12D0D-4504-576E-7821-DC5C353963C0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1" name="Rectangle 48">
              <a:extLst>
                <a:ext uri="{FF2B5EF4-FFF2-40B4-BE49-F238E27FC236}">
                  <a16:creationId xmlns:a16="http://schemas.microsoft.com/office/drawing/2014/main" id="{BE7AE5AB-A0DA-EC90-32C2-2AD056F6A865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2" name="Rectangle 49">
              <a:extLst>
                <a:ext uri="{FF2B5EF4-FFF2-40B4-BE49-F238E27FC236}">
                  <a16:creationId xmlns:a16="http://schemas.microsoft.com/office/drawing/2014/main" id="{889F5CFC-ADAC-1C6B-0400-BE076BCD9337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6143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3000" fill="hold"/>
                                        <p:tgtEl>
                                          <p:spTgt spid="6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8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5000" fill="hold"/>
                                        <p:tgtEl>
                                          <p:spTgt spid="6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8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7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8" dur="8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" dur="5000" fill="hold"/>
                                        <p:tgtEl>
                                          <p:spTgt spid="6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2" dur="8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3000" fill="hold"/>
                                        <p:tgtEl>
                                          <p:spTgt spid="6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6" dur="8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2000" fill="hold"/>
                                        <p:tgtEl>
                                          <p:spTgt spid="7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0" dur="8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5000" fill="hold"/>
                                        <p:tgtEl>
                                          <p:spTgt spid="6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4" dur="3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6" dur="5000" fill="hold"/>
                                        <p:tgtEl>
                                          <p:spTgt spid="6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8" dur="8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0" dur="2000" fill="hold"/>
                                        <p:tgtEl>
                                          <p:spTgt spid="7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2" dur="8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4" dur="5000" fill="hold"/>
                                        <p:tgtEl>
                                          <p:spTgt spid="7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6" dur="5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8" dur="2000" fill="hold"/>
                                        <p:tgtEl>
                                          <p:spTgt spid="7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0" dur="8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2" dur="3000" fill="hold"/>
                                        <p:tgtEl>
                                          <p:spTgt spid="7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4" dur="8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6" dur="5000" fill="hold"/>
                                        <p:tgtEl>
                                          <p:spTgt spid="7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8" dur="5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0" dur="3000" fill="hold"/>
                                        <p:tgtEl>
                                          <p:spTgt spid="8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2" dur="8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4" dur="5000" fill="hold"/>
                                        <p:tgtEl>
                                          <p:spTgt spid="8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6" dur="8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8" dur="3000" fill="hold"/>
                                        <p:tgtEl>
                                          <p:spTgt spid="8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9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1.85185E-6 L 0.06576 1.85185E-6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4401 -0.00093 L 0.06914 -0.00093 " pathEditMode="relative" rAng="0" ptsTypes="AA">
                                      <p:cBhvr>
                                        <p:cTn id="72" dur="2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65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4" grpId="1" animBg="1"/>
      <p:bldP spid="65" grpId="0" animBg="1"/>
      <p:bldP spid="65" grpId="1" animBg="1"/>
      <p:bldP spid="66" grpId="0" animBg="1"/>
      <p:bldP spid="66" grpId="1" animBg="1"/>
      <p:bldP spid="67" grpId="0" animBg="1"/>
      <p:bldP spid="67" grpId="1" animBg="1"/>
      <p:bldP spid="68" grpId="0" animBg="1"/>
      <p:bldP spid="68" grpId="1" animBg="1"/>
      <p:bldP spid="69" grpId="0" animBg="1"/>
      <p:bldP spid="69" grpId="1" animBg="1"/>
      <p:bldP spid="70" grpId="0" animBg="1"/>
      <p:bldP spid="70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  <p:bldP spid="79" grpId="0" animBg="1"/>
      <p:bldP spid="79" grpId="1" animBg="1"/>
      <p:bldP spid="80" grpId="0" animBg="1"/>
      <p:bldP spid="80" grpId="1" animBg="1"/>
      <p:bldP spid="81" grpId="0" animBg="1"/>
      <p:bldP spid="81" grpId="1" animBg="1"/>
      <p:bldP spid="82" grpId="0" animBg="1"/>
      <p:bldP spid="82" grpId="1" animBg="1"/>
      <p:bldP spid="110" grpId="0"/>
      <p:bldP spid="111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2" name="Group 73">
            <a:extLst>
              <a:ext uri="{FF2B5EF4-FFF2-40B4-BE49-F238E27FC236}">
                <a16:creationId xmlns:a16="http://schemas.microsoft.com/office/drawing/2014/main" id="{9B0FBD64-CCF8-9F04-E24B-82E4B68F9B2A}"/>
              </a:ext>
            </a:extLst>
          </p:cNvPr>
          <p:cNvGrpSpPr/>
          <p:nvPr/>
        </p:nvGrpSpPr>
        <p:grpSpPr>
          <a:xfrm>
            <a:off x="9661085" y="7859812"/>
            <a:ext cx="3333884" cy="2424642"/>
            <a:chOff x="-2" y="0"/>
            <a:chExt cx="6428641" cy="6858000"/>
          </a:xfrm>
        </p:grpSpPr>
        <p:sp>
          <p:nvSpPr>
            <p:cNvPr id="113" name="Rectangle 36">
              <a:extLst>
                <a:ext uri="{FF2B5EF4-FFF2-40B4-BE49-F238E27FC236}">
                  <a16:creationId xmlns:a16="http://schemas.microsoft.com/office/drawing/2014/main" id="{8B6CED46-64ED-2A08-B14A-E986114E7593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4" name="Rectangle 9">
              <a:extLst>
                <a:ext uri="{FF2B5EF4-FFF2-40B4-BE49-F238E27FC236}">
                  <a16:creationId xmlns:a16="http://schemas.microsoft.com/office/drawing/2014/main" id="{712F4F73-5881-3F37-E363-FA5502EDBF2E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5" name="Rectangle 31">
              <a:extLst>
                <a:ext uri="{FF2B5EF4-FFF2-40B4-BE49-F238E27FC236}">
                  <a16:creationId xmlns:a16="http://schemas.microsoft.com/office/drawing/2014/main" id="{DE2B08FF-1427-8DBB-7E2D-ADA9EA3A111D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6" name="Rectangle 32">
              <a:extLst>
                <a:ext uri="{FF2B5EF4-FFF2-40B4-BE49-F238E27FC236}">
                  <a16:creationId xmlns:a16="http://schemas.microsoft.com/office/drawing/2014/main" id="{B2230A0A-48D1-EEA6-BFAE-34BF7F26E6EE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7" name="Rectangle 33">
              <a:extLst>
                <a:ext uri="{FF2B5EF4-FFF2-40B4-BE49-F238E27FC236}">
                  <a16:creationId xmlns:a16="http://schemas.microsoft.com/office/drawing/2014/main" id="{06272225-732E-2258-149D-D5096432B1F7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8" name="Rectangle 34">
              <a:extLst>
                <a:ext uri="{FF2B5EF4-FFF2-40B4-BE49-F238E27FC236}">
                  <a16:creationId xmlns:a16="http://schemas.microsoft.com/office/drawing/2014/main" id="{35AC9AEA-923F-D116-D891-4EE5F1DF7081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9" name="Rectangle 35">
              <a:extLst>
                <a:ext uri="{FF2B5EF4-FFF2-40B4-BE49-F238E27FC236}">
                  <a16:creationId xmlns:a16="http://schemas.microsoft.com/office/drawing/2014/main" id="{7911424F-AEB1-5466-4534-73C20C9004E9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0" name="Rectangle 37">
              <a:extLst>
                <a:ext uri="{FF2B5EF4-FFF2-40B4-BE49-F238E27FC236}">
                  <a16:creationId xmlns:a16="http://schemas.microsoft.com/office/drawing/2014/main" id="{FBA12D0D-4504-576E-7821-DC5C353963C0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1" name="Rectangle 48">
              <a:extLst>
                <a:ext uri="{FF2B5EF4-FFF2-40B4-BE49-F238E27FC236}">
                  <a16:creationId xmlns:a16="http://schemas.microsoft.com/office/drawing/2014/main" id="{BE7AE5AB-A0DA-EC90-32C2-2AD056F6A865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2" name="Rectangle 49">
              <a:extLst>
                <a:ext uri="{FF2B5EF4-FFF2-40B4-BE49-F238E27FC236}">
                  <a16:creationId xmlns:a16="http://schemas.microsoft.com/office/drawing/2014/main" id="{889F5CFC-ADAC-1C6B-0400-BE076BCD9337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C7C4012-7D30-F9C6-B9B6-E437DE890220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935DEE8-4A3E-952C-2ECD-BEB53C1637E6}"/>
              </a:ext>
            </a:extLst>
          </p:cNvPr>
          <p:cNvSpPr txBox="1"/>
          <p:nvPr/>
        </p:nvSpPr>
        <p:spPr>
          <a:xfrm>
            <a:off x="1262172" y="1041872"/>
            <a:ext cx="9667656" cy="47742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28700" b="1" dirty="0">
                <a:solidFill>
                  <a:schemeClr val="bg1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О</a:t>
            </a:r>
            <a:endParaRPr lang="ru-RU" sz="23900" b="1" dirty="0">
              <a:solidFill>
                <a:schemeClr val="bg1"/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2DD433B-464C-1133-0DF1-DE7A87D7CE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1319249" y="587832"/>
            <a:ext cx="10101942" cy="5682336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68D4C7F-E2F5-084D-B6DD-913B475A91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17522" y="587833"/>
            <a:ext cx="10101940" cy="5682336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36936816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2" name="Group 73">
            <a:extLst>
              <a:ext uri="{FF2B5EF4-FFF2-40B4-BE49-F238E27FC236}">
                <a16:creationId xmlns:a16="http://schemas.microsoft.com/office/drawing/2014/main" id="{9B0FBD64-CCF8-9F04-E24B-82E4B68F9B2A}"/>
              </a:ext>
            </a:extLst>
          </p:cNvPr>
          <p:cNvGrpSpPr/>
          <p:nvPr/>
        </p:nvGrpSpPr>
        <p:grpSpPr>
          <a:xfrm>
            <a:off x="9661085" y="7859812"/>
            <a:ext cx="3333884" cy="2424642"/>
            <a:chOff x="-2" y="0"/>
            <a:chExt cx="6428641" cy="6858000"/>
          </a:xfrm>
        </p:grpSpPr>
        <p:sp>
          <p:nvSpPr>
            <p:cNvPr id="113" name="Rectangle 36">
              <a:extLst>
                <a:ext uri="{FF2B5EF4-FFF2-40B4-BE49-F238E27FC236}">
                  <a16:creationId xmlns:a16="http://schemas.microsoft.com/office/drawing/2014/main" id="{8B6CED46-64ED-2A08-B14A-E986114E7593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4" name="Rectangle 9">
              <a:extLst>
                <a:ext uri="{FF2B5EF4-FFF2-40B4-BE49-F238E27FC236}">
                  <a16:creationId xmlns:a16="http://schemas.microsoft.com/office/drawing/2014/main" id="{712F4F73-5881-3F37-E363-FA5502EDBF2E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5" name="Rectangle 31">
              <a:extLst>
                <a:ext uri="{FF2B5EF4-FFF2-40B4-BE49-F238E27FC236}">
                  <a16:creationId xmlns:a16="http://schemas.microsoft.com/office/drawing/2014/main" id="{DE2B08FF-1427-8DBB-7E2D-ADA9EA3A111D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6" name="Rectangle 32">
              <a:extLst>
                <a:ext uri="{FF2B5EF4-FFF2-40B4-BE49-F238E27FC236}">
                  <a16:creationId xmlns:a16="http://schemas.microsoft.com/office/drawing/2014/main" id="{B2230A0A-48D1-EEA6-BFAE-34BF7F26E6EE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7" name="Rectangle 33">
              <a:extLst>
                <a:ext uri="{FF2B5EF4-FFF2-40B4-BE49-F238E27FC236}">
                  <a16:creationId xmlns:a16="http://schemas.microsoft.com/office/drawing/2014/main" id="{06272225-732E-2258-149D-D5096432B1F7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8" name="Rectangle 34">
              <a:extLst>
                <a:ext uri="{FF2B5EF4-FFF2-40B4-BE49-F238E27FC236}">
                  <a16:creationId xmlns:a16="http://schemas.microsoft.com/office/drawing/2014/main" id="{35AC9AEA-923F-D116-D891-4EE5F1DF7081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9" name="Rectangle 35">
              <a:extLst>
                <a:ext uri="{FF2B5EF4-FFF2-40B4-BE49-F238E27FC236}">
                  <a16:creationId xmlns:a16="http://schemas.microsoft.com/office/drawing/2014/main" id="{7911424F-AEB1-5466-4534-73C20C9004E9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0" name="Rectangle 37">
              <a:extLst>
                <a:ext uri="{FF2B5EF4-FFF2-40B4-BE49-F238E27FC236}">
                  <a16:creationId xmlns:a16="http://schemas.microsoft.com/office/drawing/2014/main" id="{FBA12D0D-4504-576E-7821-DC5C353963C0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1" name="Rectangle 48">
              <a:extLst>
                <a:ext uri="{FF2B5EF4-FFF2-40B4-BE49-F238E27FC236}">
                  <a16:creationId xmlns:a16="http://schemas.microsoft.com/office/drawing/2014/main" id="{BE7AE5AB-A0DA-EC90-32C2-2AD056F6A865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2" name="Rectangle 49">
              <a:extLst>
                <a:ext uri="{FF2B5EF4-FFF2-40B4-BE49-F238E27FC236}">
                  <a16:creationId xmlns:a16="http://schemas.microsoft.com/office/drawing/2014/main" id="{889F5CFC-ADAC-1C6B-0400-BE076BCD9337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C7C4012-7D30-F9C6-B9B6-E437DE890220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4D47996-0A87-3286-F865-52043DC22D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5030" y="587832"/>
            <a:ext cx="10101942" cy="5682336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E02EEA4-E6AE-E66E-E38A-57D78BBE07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22600" y="587833"/>
            <a:ext cx="10101940" cy="5682336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422846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2" name="Group 73">
            <a:extLst>
              <a:ext uri="{FF2B5EF4-FFF2-40B4-BE49-F238E27FC236}">
                <a16:creationId xmlns:a16="http://schemas.microsoft.com/office/drawing/2014/main" id="{9B0FBD64-CCF8-9F04-E24B-82E4B68F9B2A}"/>
              </a:ext>
            </a:extLst>
          </p:cNvPr>
          <p:cNvGrpSpPr/>
          <p:nvPr/>
        </p:nvGrpSpPr>
        <p:grpSpPr>
          <a:xfrm>
            <a:off x="9661085" y="7859812"/>
            <a:ext cx="3333884" cy="2424642"/>
            <a:chOff x="-2" y="0"/>
            <a:chExt cx="6428641" cy="6858000"/>
          </a:xfrm>
        </p:grpSpPr>
        <p:sp>
          <p:nvSpPr>
            <p:cNvPr id="113" name="Rectangle 36">
              <a:extLst>
                <a:ext uri="{FF2B5EF4-FFF2-40B4-BE49-F238E27FC236}">
                  <a16:creationId xmlns:a16="http://schemas.microsoft.com/office/drawing/2014/main" id="{8B6CED46-64ED-2A08-B14A-E986114E7593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4" name="Rectangle 9">
              <a:extLst>
                <a:ext uri="{FF2B5EF4-FFF2-40B4-BE49-F238E27FC236}">
                  <a16:creationId xmlns:a16="http://schemas.microsoft.com/office/drawing/2014/main" id="{712F4F73-5881-3F37-E363-FA5502EDBF2E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5" name="Rectangle 31">
              <a:extLst>
                <a:ext uri="{FF2B5EF4-FFF2-40B4-BE49-F238E27FC236}">
                  <a16:creationId xmlns:a16="http://schemas.microsoft.com/office/drawing/2014/main" id="{DE2B08FF-1427-8DBB-7E2D-ADA9EA3A111D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6" name="Rectangle 32">
              <a:extLst>
                <a:ext uri="{FF2B5EF4-FFF2-40B4-BE49-F238E27FC236}">
                  <a16:creationId xmlns:a16="http://schemas.microsoft.com/office/drawing/2014/main" id="{B2230A0A-48D1-EEA6-BFAE-34BF7F26E6EE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7" name="Rectangle 33">
              <a:extLst>
                <a:ext uri="{FF2B5EF4-FFF2-40B4-BE49-F238E27FC236}">
                  <a16:creationId xmlns:a16="http://schemas.microsoft.com/office/drawing/2014/main" id="{06272225-732E-2258-149D-D5096432B1F7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8" name="Rectangle 34">
              <a:extLst>
                <a:ext uri="{FF2B5EF4-FFF2-40B4-BE49-F238E27FC236}">
                  <a16:creationId xmlns:a16="http://schemas.microsoft.com/office/drawing/2014/main" id="{35AC9AEA-923F-D116-D891-4EE5F1DF7081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9" name="Rectangle 35">
              <a:extLst>
                <a:ext uri="{FF2B5EF4-FFF2-40B4-BE49-F238E27FC236}">
                  <a16:creationId xmlns:a16="http://schemas.microsoft.com/office/drawing/2014/main" id="{7911424F-AEB1-5466-4534-73C20C9004E9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0" name="Rectangle 37">
              <a:extLst>
                <a:ext uri="{FF2B5EF4-FFF2-40B4-BE49-F238E27FC236}">
                  <a16:creationId xmlns:a16="http://schemas.microsoft.com/office/drawing/2014/main" id="{FBA12D0D-4504-576E-7821-DC5C353963C0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1" name="Rectangle 48">
              <a:extLst>
                <a:ext uri="{FF2B5EF4-FFF2-40B4-BE49-F238E27FC236}">
                  <a16:creationId xmlns:a16="http://schemas.microsoft.com/office/drawing/2014/main" id="{BE7AE5AB-A0DA-EC90-32C2-2AD056F6A865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2" name="Rectangle 49">
              <a:extLst>
                <a:ext uri="{FF2B5EF4-FFF2-40B4-BE49-F238E27FC236}">
                  <a16:creationId xmlns:a16="http://schemas.microsoft.com/office/drawing/2014/main" id="{889F5CFC-ADAC-1C6B-0400-BE076BCD9337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C7C4012-7D30-F9C6-B9B6-E437DE890220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75553FF-50AF-54DA-B3FC-4B1969FE44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9721992" y="587832"/>
            <a:ext cx="10101942" cy="5682336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FD96D19-B718-1310-D14A-8ABFEE87BF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5578" y="587833"/>
            <a:ext cx="10101940" cy="5682336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sp>
        <p:nvSpPr>
          <p:cNvPr id="9" name="Freeform: Shape 11">
            <a:extLst>
              <a:ext uri="{FF2B5EF4-FFF2-40B4-BE49-F238E27FC236}">
                <a16:creationId xmlns:a16="http://schemas.microsoft.com/office/drawing/2014/main" id="{D7AD6147-0007-6ADE-B9A8-B02B531C9F2B}"/>
              </a:ext>
            </a:extLst>
          </p:cNvPr>
          <p:cNvSpPr/>
          <p:nvPr/>
        </p:nvSpPr>
        <p:spPr>
          <a:xfrm rot="16200000" flipH="1">
            <a:off x="5169539" y="8207083"/>
            <a:ext cx="6423596" cy="7256220"/>
          </a:xfrm>
          <a:custGeom>
            <a:avLst/>
            <a:gdLst>
              <a:gd name="connsiteX0" fmla="*/ 0 w 6423596"/>
              <a:gd name="connsiteY0" fmla="*/ 1732699 h 7256220"/>
              <a:gd name="connsiteX1" fmla="*/ 0 w 6423596"/>
              <a:gd name="connsiteY1" fmla="*/ 7005122 h 7256220"/>
              <a:gd name="connsiteX2" fmla="*/ 251098 w 6423596"/>
              <a:gd name="connsiteY2" fmla="*/ 7256220 h 7256220"/>
              <a:gd name="connsiteX3" fmla="*/ 6172498 w 6423596"/>
              <a:gd name="connsiteY3" fmla="*/ 7256220 h 7256220"/>
              <a:gd name="connsiteX4" fmla="*/ 6423596 w 6423596"/>
              <a:gd name="connsiteY4" fmla="*/ 7005122 h 7256220"/>
              <a:gd name="connsiteX5" fmla="*/ 6423596 w 6423596"/>
              <a:gd name="connsiteY5" fmla="*/ 0 h 7256220"/>
              <a:gd name="connsiteX6" fmla="*/ 0 w 6423596"/>
              <a:gd name="connsiteY6" fmla="*/ 1732699 h 725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23596" h="7256220">
                <a:moveTo>
                  <a:pt x="0" y="1732699"/>
                </a:moveTo>
                <a:lnTo>
                  <a:pt x="0" y="7005122"/>
                </a:lnTo>
                <a:cubicBezTo>
                  <a:pt x="0" y="7143800"/>
                  <a:pt x="112420" y="7256220"/>
                  <a:pt x="251098" y="7256220"/>
                </a:cubicBezTo>
                <a:lnTo>
                  <a:pt x="6172498" y="7256220"/>
                </a:lnTo>
                <a:cubicBezTo>
                  <a:pt x="6311176" y="7256220"/>
                  <a:pt x="6423596" y="7143800"/>
                  <a:pt x="6423596" y="7005122"/>
                </a:cubicBezTo>
                <a:lnTo>
                  <a:pt x="6423596" y="0"/>
                </a:lnTo>
                <a:lnTo>
                  <a:pt x="0" y="1732699"/>
                </a:lnTo>
                <a:close/>
              </a:path>
            </a:pathLst>
          </a:custGeom>
          <a:gradFill flip="none" rotWithShape="1">
            <a:gsLst>
              <a:gs pos="36000">
                <a:srgbClr val="4550E5"/>
              </a:gs>
              <a:gs pos="100000">
                <a:srgbClr val="4550E5">
                  <a:lumMod val="69000"/>
                  <a:lumOff val="31000"/>
                </a:srgbClr>
              </a:gs>
            </a:gsLst>
            <a:lin ang="1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21A6AA92-46AC-9C7B-E1E3-4B62B88CAFB5}"/>
              </a:ext>
            </a:extLst>
          </p:cNvPr>
          <p:cNvSpPr/>
          <p:nvPr/>
        </p:nvSpPr>
        <p:spPr>
          <a:xfrm rot="16200000" flipH="1">
            <a:off x="122442" y="-9870546"/>
            <a:ext cx="6423596" cy="6303373"/>
          </a:xfrm>
          <a:custGeom>
            <a:avLst/>
            <a:gdLst>
              <a:gd name="connsiteX0" fmla="*/ 0 w 6423596"/>
              <a:gd name="connsiteY0" fmla="*/ 251098 h 6303373"/>
              <a:gd name="connsiteX1" fmla="*/ 0 w 6423596"/>
              <a:gd name="connsiteY1" fmla="*/ 6303373 h 6303373"/>
              <a:gd name="connsiteX2" fmla="*/ 6423596 w 6423596"/>
              <a:gd name="connsiteY2" fmla="*/ 4570674 h 6303373"/>
              <a:gd name="connsiteX3" fmla="*/ 6423596 w 6423596"/>
              <a:gd name="connsiteY3" fmla="*/ 251098 h 6303373"/>
              <a:gd name="connsiteX4" fmla="*/ 6172498 w 6423596"/>
              <a:gd name="connsiteY4" fmla="*/ 0 h 6303373"/>
              <a:gd name="connsiteX5" fmla="*/ 251098 w 6423596"/>
              <a:gd name="connsiteY5" fmla="*/ 0 h 6303373"/>
              <a:gd name="connsiteX6" fmla="*/ 0 w 6423596"/>
              <a:gd name="connsiteY6" fmla="*/ 251098 h 6303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23596" h="6303373">
                <a:moveTo>
                  <a:pt x="0" y="251098"/>
                </a:moveTo>
                <a:lnTo>
                  <a:pt x="0" y="6303373"/>
                </a:lnTo>
                <a:lnTo>
                  <a:pt x="6423596" y="4570674"/>
                </a:lnTo>
                <a:lnTo>
                  <a:pt x="6423596" y="251098"/>
                </a:lnTo>
                <a:cubicBezTo>
                  <a:pt x="6423596" y="112420"/>
                  <a:pt x="6311176" y="0"/>
                  <a:pt x="6172498" y="0"/>
                </a:cubicBezTo>
                <a:lnTo>
                  <a:pt x="251098" y="0"/>
                </a:lnTo>
                <a:cubicBezTo>
                  <a:pt x="112420" y="0"/>
                  <a:pt x="0" y="112420"/>
                  <a:pt x="0" y="251098"/>
                </a:cubicBezTo>
                <a:close/>
              </a:path>
            </a:pathLst>
          </a:custGeom>
          <a:solidFill>
            <a:srgbClr val="64DC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601179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2" name="Group 73">
            <a:extLst>
              <a:ext uri="{FF2B5EF4-FFF2-40B4-BE49-F238E27FC236}">
                <a16:creationId xmlns:a16="http://schemas.microsoft.com/office/drawing/2014/main" id="{9B0FBD64-CCF8-9F04-E24B-82E4B68F9B2A}"/>
              </a:ext>
            </a:extLst>
          </p:cNvPr>
          <p:cNvGrpSpPr/>
          <p:nvPr/>
        </p:nvGrpSpPr>
        <p:grpSpPr>
          <a:xfrm>
            <a:off x="9661085" y="7859812"/>
            <a:ext cx="3333884" cy="2424642"/>
            <a:chOff x="-2" y="0"/>
            <a:chExt cx="6428641" cy="6858000"/>
          </a:xfrm>
        </p:grpSpPr>
        <p:sp>
          <p:nvSpPr>
            <p:cNvPr id="113" name="Rectangle 36">
              <a:extLst>
                <a:ext uri="{FF2B5EF4-FFF2-40B4-BE49-F238E27FC236}">
                  <a16:creationId xmlns:a16="http://schemas.microsoft.com/office/drawing/2014/main" id="{8B6CED46-64ED-2A08-B14A-E986114E7593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4" name="Rectangle 9">
              <a:extLst>
                <a:ext uri="{FF2B5EF4-FFF2-40B4-BE49-F238E27FC236}">
                  <a16:creationId xmlns:a16="http://schemas.microsoft.com/office/drawing/2014/main" id="{712F4F73-5881-3F37-E363-FA5502EDBF2E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5" name="Rectangle 31">
              <a:extLst>
                <a:ext uri="{FF2B5EF4-FFF2-40B4-BE49-F238E27FC236}">
                  <a16:creationId xmlns:a16="http://schemas.microsoft.com/office/drawing/2014/main" id="{DE2B08FF-1427-8DBB-7E2D-ADA9EA3A111D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6" name="Rectangle 32">
              <a:extLst>
                <a:ext uri="{FF2B5EF4-FFF2-40B4-BE49-F238E27FC236}">
                  <a16:creationId xmlns:a16="http://schemas.microsoft.com/office/drawing/2014/main" id="{B2230A0A-48D1-EEA6-BFAE-34BF7F26E6EE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7" name="Rectangle 33">
              <a:extLst>
                <a:ext uri="{FF2B5EF4-FFF2-40B4-BE49-F238E27FC236}">
                  <a16:creationId xmlns:a16="http://schemas.microsoft.com/office/drawing/2014/main" id="{06272225-732E-2258-149D-D5096432B1F7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8" name="Rectangle 34">
              <a:extLst>
                <a:ext uri="{FF2B5EF4-FFF2-40B4-BE49-F238E27FC236}">
                  <a16:creationId xmlns:a16="http://schemas.microsoft.com/office/drawing/2014/main" id="{35AC9AEA-923F-D116-D891-4EE5F1DF7081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9" name="Rectangle 35">
              <a:extLst>
                <a:ext uri="{FF2B5EF4-FFF2-40B4-BE49-F238E27FC236}">
                  <a16:creationId xmlns:a16="http://schemas.microsoft.com/office/drawing/2014/main" id="{7911424F-AEB1-5466-4534-73C20C9004E9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0" name="Rectangle 37">
              <a:extLst>
                <a:ext uri="{FF2B5EF4-FFF2-40B4-BE49-F238E27FC236}">
                  <a16:creationId xmlns:a16="http://schemas.microsoft.com/office/drawing/2014/main" id="{FBA12D0D-4504-576E-7821-DC5C353963C0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1" name="Rectangle 48">
              <a:extLst>
                <a:ext uri="{FF2B5EF4-FFF2-40B4-BE49-F238E27FC236}">
                  <a16:creationId xmlns:a16="http://schemas.microsoft.com/office/drawing/2014/main" id="{BE7AE5AB-A0DA-EC90-32C2-2AD056F6A865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2" name="Rectangle 49">
              <a:extLst>
                <a:ext uri="{FF2B5EF4-FFF2-40B4-BE49-F238E27FC236}">
                  <a16:creationId xmlns:a16="http://schemas.microsoft.com/office/drawing/2014/main" id="{889F5CFC-ADAC-1C6B-0400-BE076BCD9337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C7C4012-7D30-F9C6-B9B6-E437DE890220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4" name="Freeform: Shape 11">
            <a:extLst>
              <a:ext uri="{FF2B5EF4-FFF2-40B4-BE49-F238E27FC236}">
                <a16:creationId xmlns:a16="http://schemas.microsoft.com/office/drawing/2014/main" id="{F9C3D480-8F4A-F023-255D-6F6189DE0EA5}"/>
              </a:ext>
            </a:extLst>
          </p:cNvPr>
          <p:cNvSpPr/>
          <p:nvPr/>
        </p:nvSpPr>
        <p:spPr>
          <a:xfrm rot="16200000" flipH="1">
            <a:off x="5169539" y="-199110"/>
            <a:ext cx="6423596" cy="7256220"/>
          </a:xfrm>
          <a:custGeom>
            <a:avLst/>
            <a:gdLst>
              <a:gd name="connsiteX0" fmla="*/ 0 w 6423596"/>
              <a:gd name="connsiteY0" fmla="*/ 1732699 h 7256220"/>
              <a:gd name="connsiteX1" fmla="*/ 0 w 6423596"/>
              <a:gd name="connsiteY1" fmla="*/ 7005122 h 7256220"/>
              <a:gd name="connsiteX2" fmla="*/ 251098 w 6423596"/>
              <a:gd name="connsiteY2" fmla="*/ 7256220 h 7256220"/>
              <a:gd name="connsiteX3" fmla="*/ 6172498 w 6423596"/>
              <a:gd name="connsiteY3" fmla="*/ 7256220 h 7256220"/>
              <a:gd name="connsiteX4" fmla="*/ 6423596 w 6423596"/>
              <a:gd name="connsiteY4" fmla="*/ 7005122 h 7256220"/>
              <a:gd name="connsiteX5" fmla="*/ 6423596 w 6423596"/>
              <a:gd name="connsiteY5" fmla="*/ 0 h 7256220"/>
              <a:gd name="connsiteX6" fmla="*/ 0 w 6423596"/>
              <a:gd name="connsiteY6" fmla="*/ 1732699 h 725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23596" h="7256220">
                <a:moveTo>
                  <a:pt x="0" y="1732699"/>
                </a:moveTo>
                <a:lnTo>
                  <a:pt x="0" y="7005122"/>
                </a:lnTo>
                <a:cubicBezTo>
                  <a:pt x="0" y="7143800"/>
                  <a:pt x="112420" y="7256220"/>
                  <a:pt x="251098" y="7256220"/>
                </a:cubicBezTo>
                <a:lnTo>
                  <a:pt x="6172498" y="7256220"/>
                </a:lnTo>
                <a:cubicBezTo>
                  <a:pt x="6311176" y="7256220"/>
                  <a:pt x="6423596" y="7143800"/>
                  <a:pt x="6423596" y="7005122"/>
                </a:cubicBezTo>
                <a:lnTo>
                  <a:pt x="6423596" y="0"/>
                </a:lnTo>
                <a:lnTo>
                  <a:pt x="0" y="1732699"/>
                </a:lnTo>
                <a:close/>
              </a:path>
            </a:pathLst>
          </a:custGeom>
          <a:gradFill flip="none" rotWithShape="1">
            <a:gsLst>
              <a:gs pos="36000">
                <a:srgbClr val="4550E5"/>
              </a:gs>
              <a:gs pos="100000">
                <a:srgbClr val="4550E5">
                  <a:lumMod val="69000"/>
                  <a:lumOff val="31000"/>
                </a:srgbClr>
              </a:gs>
            </a:gsLst>
            <a:lin ang="1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" name="Freeform: Shape 9">
            <a:extLst>
              <a:ext uri="{FF2B5EF4-FFF2-40B4-BE49-F238E27FC236}">
                <a16:creationId xmlns:a16="http://schemas.microsoft.com/office/drawing/2014/main" id="{DEE26DB1-F93D-A39E-C00A-F7BEF2DEE959}"/>
              </a:ext>
            </a:extLst>
          </p:cNvPr>
          <p:cNvSpPr/>
          <p:nvPr/>
        </p:nvSpPr>
        <p:spPr>
          <a:xfrm rot="16200000" flipH="1">
            <a:off x="122442" y="277314"/>
            <a:ext cx="6423596" cy="6303373"/>
          </a:xfrm>
          <a:custGeom>
            <a:avLst/>
            <a:gdLst>
              <a:gd name="connsiteX0" fmla="*/ 0 w 6423596"/>
              <a:gd name="connsiteY0" fmla="*/ 251098 h 6303373"/>
              <a:gd name="connsiteX1" fmla="*/ 0 w 6423596"/>
              <a:gd name="connsiteY1" fmla="*/ 6303373 h 6303373"/>
              <a:gd name="connsiteX2" fmla="*/ 6423596 w 6423596"/>
              <a:gd name="connsiteY2" fmla="*/ 4570674 h 6303373"/>
              <a:gd name="connsiteX3" fmla="*/ 6423596 w 6423596"/>
              <a:gd name="connsiteY3" fmla="*/ 251098 h 6303373"/>
              <a:gd name="connsiteX4" fmla="*/ 6172498 w 6423596"/>
              <a:gd name="connsiteY4" fmla="*/ 0 h 6303373"/>
              <a:gd name="connsiteX5" fmla="*/ 251098 w 6423596"/>
              <a:gd name="connsiteY5" fmla="*/ 0 h 6303373"/>
              <a:gd name="connsiteX6" fmla="*/ 0 w 6423596"/>
              <a:gd name="connsiteY6" fmla="*/ 251098 h 6303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23596" h="6303373">
                <a:moveTo>
                  <a:pt x="0" y="251098"/>
                </a:moveTo>
                <a:lnTo>
                  <a:pt x="0" y="6303373"/>
                </a:lnTo>
                <a:lnTo>
                  <a:pt x="6423596" y="4570674"/>
                </a:lnTo>
                <a:lnTo>
                  <a:pt x="6423596" y="251098"/>
                </a:lnTo>
                <a:cubicBezTo>
                  <a:pt x="6423596" y="112420"/>
                  <a:pt x="6311176" y="0"/>
                  <a:pt x="6172498" y="0"/>
                </a:cubicBezTo>
                <a:lnTo>
                  <a:pt x="251098" y="0"/>
                </a:lnTo>
                <a:cubicBezTo>
                  <a:pt x="112420" y="0"/>
                  <a:pt x="0" y="112420"/>
                  <a:pt x="0" y="251098"/>
                </a:cubicBezTo>
                <a:close/>
              </a:path>
            </a:pathLst>
          </a:custGeom>
          <a:solidFill>
            <a:srgbClr val="64DC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75553FF-50AF-54DA-B3FC-4B1969FE44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700000">
            <a:off x="482905" y="-79542"/>
            <a:ext cx="6722547" cy="3781428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FD96D19-B718-1310-D14A-8ABFEE87BF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700000">
            <a:off x="4851081" y="3079913"/>
            <a:ext cx="6858014" cy="3857629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7751106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2" name="Group 73">
            <a:extLst>
              <a:ext uri="{FF2B5EF4-FFF2-40B4-BE49-F238E27FC236}">
                <a16:creationId xmlns:a16="http://schemas.microsoft.com/office/drawing/2014/main" id="{9B0FBD64-CCF8-9F04-E24B-82E4B68F9B2A}"/>
              </a:ext>
            </a:extLst>
          </p:cNvPr>
          <p:cNvGrpSpPr/>
          <p:nvPr/>
        </p:nvGrpSpPr>
        <p:grpSpPr>
          <a:xfrm>
            <a:off x="9661085" y="7859812"/>
            <a:ext cx="3333884" cy="2424642"/>
            <a:chOff x="-2" y="0"/>
            <a:chExt cx="6428641" cy="6858000"/>
          </a:xfrm>
        </p:grpSpPr>
        <p:sp>
          <p:nvSpPr>
            <p:cNvPr id="113" name="Rectangle 36">
              <a:extLst>
                <a:ext uri="{FF2B5EF4-FFF2-40B4-BE49-F238E27FC236}">
                  <a16:creationId xmlns:a16="http://schemas.microsoft.com/office/drawing/2014/main" id="{8B6CED46-64ED-2A08-B14A-E986114E7593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4" name="Rectangle 9">
              <a:extLst>
                <a:ext uri="{FF2B5EF4-FFF2-40B4-BE49-F238E27FC236}">
                  <a16:creationId xmlns:a16="http://schemas.microsoft.com/office/drawing/2014/main" id="{712F4F73-5881-3F37-E363-FA5502EDBF2E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5" name="Rectangle 31">
              <a:extLst>
                <a:ext uri="{FF2B5EF4-FFF2-40B4-BE49-F238E27FC236}">
                  <a16:creationId xmlns:a16="http://schemas.microsoft.com/office/drawing/2014/main" id="{DE2B08FF-1427-8DBB-7E2D-ADA9EA3A111D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6" name="Rectangle 32">
              <a:extLst>
                <a:ext uri="{FF2B5EF4-FFF2-40B4-BE49-F238E27FC236}">
                  <a16:creationId xmlns:a16="http://schemas.microsoft.com/office/drawing/2014/main" id="{B2230A0A-48D1-EEA6-BFAE-34BF7F26E6EE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7" name="Rectangle 33">
              <a:extLst>
                <a:ext uri="{FF2B5EF4-FFF2-40B4-BE49-F238E27FC236}">
                  <a16:creationId xmlns:a16="http://schemas.microsoft.com/office/drawing/2014/main" id="{06272225-732E-2258-149D-D5096432B1F7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8" name="Rectangle 34">
              <a:extLst>
                <a:ext uri="{FF2B5EF4-FFF2-40B4-BE49-F238E27FC236}">
                  <a16:creationId xmlns:a16="http://schemas.microsoft.com/office/drawing/2014/main" id="{35AC9AEA-923F-D116-D891-4EE5F1DF7081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9" name="Rectangle 35">
              <a:extLst>
                <a:ext uri="{FF2B5EF4-FFF2-40B4-BE49-F238E27FC236}">
                  <a16:creationId xmlns:a16="http://schemas.microsoft.com/office/drawing/2014/main" id="{7911424F-AEB1-5466-4534-73C20C9004E9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0" name="Rectangle 37">
              <a:extLst>
                <a:ext uri="{FF2B5EF4-FFF2-40B4-BE49-F238E27FC236}">
                  <a16:creationId xmlns:a16="http://schemas.microsoft.com/office/drawing/2014/main" id="{FBA12D0D-4504-576E-7821-DC5C353963C0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1" name="Rectangle 48">
              <a:extLst>
                <a:ext uri="{FF2B5EF4-FFF2-40B4-BE49-F238E27FC236}">
                  <a16:creationId xmlns:a16="http://schemas.microsoft.com/office/drawing/2014/main" id="{BE7AE5AB-A0DA-EC90-32C2-2AD056F6A865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2" name="Rectangle 49">
              <a:extLst>
                <a:ext uri="{FF2B5EF4-FFF2-40B4-BE49-F238E27FC236}">
                  <a16:creationId xmlns:a16="http://schemas.microsoft.com/office/drawing/2014/main" id="{889F5CFC-ADAC-1C6B-0400-BE076BCD9337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C7C4012-7D30-F9C6-B9B6-E437DE890220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3" name="Полилиния 2">
            <a:extLst>
              <a:ext uri="{FF2B5EF4-FFF2-40B4-BE49-F238E27FC236}">
                <a16:creationId xmlns:a16="http://schemas.microsoft.com/office/drawing/2014/main" id="{7D6B8E08-024B-043F-0757-8C3644AD0F3F}"/>
              </a:ext>
            </a:extLst>
          </p:cNvPr>
          <p:cNvSpPr/>
          <p:nvPr/>
        </p:nvSpPr>
        <p:spPr>
          <a:xfrm rot="16200000" flipH="1">
            <a:off x="2884202" y="-2484447"/>
            <a:ext cx="6423596" cy="11826894"/>
          </a:xfrm>
          <a:custGeom>
            <a:avLst/>
            <a:gdLst>
              <a:gd name="connsiteX0" fmla="*/ 0 w 6423596"/>
              <a:gd name="connsiteY0" fmla="*/ 6303373 h 11826894"/>
              <a:gd name="connsiteX1" fmla="*/ 0 w 6423596"/>
              <a:gd name="connsiteY1" fmla="*/ 11575796 h 11826894"/>
              <a:gd name="connsiteX2" fmla="*/ 251098 w 6423596"/>
              <a:gd name="connsiteY2" fmla="*/ 11826894 h 11826894"/>
              <a:gd name="connsiteX3" fmla="*/ 6172498 w 6423596"/>
              <a:gd name="connsiteY3" fmla="*/ 11826893 h 11826894"/>
              <a:gd name="connsiteX4" fmla="*/ 6423596 w 6423596"/>
              <a:gd name="connsiteY4" fmla="*/ 11575795 h 11826894"/>
              <a:gd name="connsiteX5" fmla="*/ 6423596 w 6423596"/>
              <a:gd name="connsiteY5" fmla="*/ 4570675 h 11826894"/>
              <a:gd name="connsiteX6" fmla="*/ 6423596 w 6423596"/>
              <a:gd name="connsiteY6" fmla="*/ 4570674 h 11826894"/>
              <a:gd name="connsiteX7" fmla="*/ 6423596 w 6423596"/>
              <a:gd name="connsiteY7" fmla="*/ 251098 h 11826894"/>
              <a:gd name="connsiteX8" fmla="*/ 6172498 w 6423596"/>
              <a:gd name="connsiteY8" fmla="*/ 0 h 11826894"/>
              <a:gd name="connsiteX9" fmla="*/ 251098 w 6423596"/>
              <a:gd name="connsiteY9" fmla="*/ 0 h 11826894"/>
              <a:gd name="connsiteX10" fmla="*/ 0 w 6423596"/>
              <a:gd name="connsiteY10" fmla="*/ 251098 h 11826894"/>
              <a:gd name="connsiteX11" fmla="*/ 0 w 6423596"/>
              <a:gd name="connsiteY11" fmla="*/ 6303373 h 11826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23596" h="11826894">
                <a:moveTo>
                  <a:pt x="0" y="6303373"/>
                </a:moveTo>
                <a:lnTo>
                  <a:pt x="0" y="11575796"/>
                </a:lnTo>
                <a:cubicBezTo>
                  <a:pt x="0" y="11714474"/>
                  <a:pt x="112420" y="11826894"/>
                  <a:pt x="251098" y="11826894"/>
                </a:cubicBezTo>
                <a:lnTo>
                  <a:pt x="6172498" y="11826893"/>
                </a:lnTo>
                <a:cubicBezTo>
                  <a:pt x="6311176" y="11826893"/>
                  <a:pt x="6423596" y="11714473"/>
                  <a:pt x="6423596" y="11575795"/>
                </a:cubicBezTo>
                <a:lnTo>
                  <a:pt x="6423596" y="4570675"/>
                </a:lnTo>
                <a:lnTo>
                  <a:pt x="6423596" y="4570674"/>
                </a:lnTo>
                <a:lnTo>
                  <a:pt x="6423596" y="251098"/>
                </a:lnTo>
                <a:cubicBezTo>
                  <a:pt x="6423596" y="112420"/>
                  <a:pt x="6311176" y="0"/>
                  <a:pt x="6172498" y="0"/>
                </a:cubicBezTo>
                <a:lnTo>
                  <a:pt x="251098" y="0"/>
                </a:lnTo>
                <a:cubicBezTo>
                  <a:pt x="112420" y="0"/>
                  <a:pt x="0" y="112420"/>
                  <a:pt x="0" y="251098"/>
                </a:cubicBezTo>
                <a:lnTo>
                  <a:pt x="0" y="6303373"/>
                </a:lnTo>
                <a:close/>
              </a:path>
            </a:pathLst>
          </a:custGeom>
          <a:gradFill flip="none" rotWithShape="1">
            <a:gsLst>
              <a:gs pos="36000">
                <a:srgbClr val="4550E5"/>
              </a:gs>
              <a:gs pos="100000">
                <a:srgbClr val="4550E5">
                  <a:lumMod val="69000"/>
                  <a:lumOff val="31000"/>
                </a:srgbClr>
              </a:gs>
            </a:gsLst>
            <a:lin ang="1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FD96D19-B718-1310-D14A-8ABFEE87BF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591" y="605023"/>
            <a:ext cx="10040819" cy="564795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0923ECF-4706-8127-03D0-4AF48B75BFC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-10544866" y="588755"/>
            <a:ext cx="10098656" cy="5680492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3023FB7-DE22-BB0D-A69F-E414EB58309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3755881" y="588755"/>
            <a:ext cx="10098656" cy="5680492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8297814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2" name="Group 73">
            <a:extLst>
              <a:ext uri="{FF2B5EF4-FFF2-40B4-BE49-F238E27FC236}">
                <a16:creationId xmlns:a16="http://schemas.microsoft.com/office/drawing/2014/main" id="{9B0FBD64-CCF8-9F04-E24B-82E4B68F9B2A}"/>
              </a:ext>
            </a:extLst>
          </p:cNvPr>
          <p:cNvGrpSpPr/>
          <p:nvPr/>
        </p:nvGrpSpPr>
        <p:grpSpPr>
          <a:xfrm>
            <a:off x="9661085" y="7859812"/>
            <a:ext cx="3333884" cy="2424642"/>
            <a:chOff x="-2" y="0"/>
            <a:chExt cx="6428641" cy="6858000"/>
          </a:xfrm>
        </p:grpSpPr>
        <p:sp>
          <p:nvSpPr>
            <p:cNvPr id="113" name="Rectangle 36">
              <a:extLst>
                <a:ext uri="{FF2B5EF4-FFF2-40B4-BE49-F238E27FC236}">
                  <a16:creationId xmlns:a16="http://schemas.microsoft.com/office/drawing/2014/main" id="{8B6CED46-64ED-2A08-B14A-E986114E7593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4" name="Rectangle 9">
              <a:extLst>
                <a:ext uri="{FF2B5EF4-FFF2-40B4-BE49-F238E27FC236}">
                  <a16:creationId xmlns:a16="http://schemas.microsoft.com/office/drawing/2014/main" id="{712F4F73-5881-3F37-E363-FA5502EDBF2E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5" name="Rectangle 31">
              <a:extLst>
                <a:ext uri="{FF2B5EF4-FFF2-40B4-BE49-F238E27FC236}">
                  <a16:creationId xmlns:a16="http://schemas.microsoft.com/office/drawing/2014/main" id="{DE2B08FF-1427-8DBB-7E2D-ADA9EA3A111D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6" name="Rectangle 32">
              <a:extLst>
                <a:ext uri="{FF2B5EF4-FFF2-40B4-BE49-F238E27FC236}">
                  <a16:creationId xmlns:a16="http://schemas.microsoft.com/office/drawing/2014/main" id="{B2230A0A-48D1-EEA6-BFAE-34BF7F26E6EE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7" name="Rectangle 33">
              <a:extLst>
                <a:ext uri="{FF2B5EF4-FFF2-40B4-BE49-F238E27FC236}">
                  <a16:creationId xmlns:a16="http://schemas.microsoft.com/office/drawing/2014/main" id="{06272225-732E-2258-149D-D5096432B1F7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8" name="Rectangle 34">
              <a:extLst>
                <a:ext uri="{FF2B5EF4-FFF2-40B4-BE49-F238E27FC236}">
                  <a16:creationId xmlns:a16="http://schemas.microsoft.com/office/drawing/2014/main" id="{35AC9AEA-923F-D116-D891-4EE5F1DF7081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9" name="Rectangle 35">
              <a:extLst>
                <a:ext uri="{FF2B5EF4-FFF2-40B4-BE49-F238E27FC236}">
                  <a16:creationId xmlns:a16="http://schemas.microsoft.com/office/drawing/2014/main" id="{7911424F-AEB1-5466-4534-73C20C9004E9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0" name="Rectangle 37">
              <a:extLst>
                <a:ext uri="{FF2B5EF4-FFF2-40B4-BE49-F238E27FC236}">
                  <a16:creationId xmlns:a16="http://schemas.microsoft.com/office/drawing/2014/main" id="{FBA12D0D-4504-576E-7821-DC5C353963C0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1" name="Rectangle 48">
              <a:extLst>
                <a:ext uri="{FF2B5EF4-FFF2-40B4-BE49-F238E27FC236}">
                  <a16:creationId xmlns:a16="http://schemas.microsoft.com/office/drawing/2014/main" id="{BE7AE5AB-A0DA-EC90-32C2-2AD056F6A865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2" name="Rectangle 49">
              <a:extLst>
                <a:ext uri="{FF2B5EF4-FFF2-40B4-BE49-F238E27FC236}">
                  <a16:creationId xmlns:a16="http://schemas.microsoft.com/office/drawing/2014/main" id="{889F5CFC-ADAC-1C6B-0400-BE076BCD9337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C7C4012-7D30-F9C6-B9B6-E437DE890220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B759A75-82FC-334C-B5F2-068FB869C01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46672" y="588755"/>
            <a:ext cx="10098656" cy="5680492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A8DE02F-FA08-D1BF-E53A-EAF14F828C8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763795" y="588755"/>
            <a:ext cx="10098656" cy="5680492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7811600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2" name="Group 73">
            <a:extLst>
              <a:ext uri="{FF2B5EF4-FFF2-40B4-BE49-F238E27FC236}">
                <a16:creationId xmlns:a16="http://schemas.microsoft.com/office/drawing/2014/main" id="{9B0FBD64-CCF8-9F04-E24B-82E4B68F9B2A}"/>
              </a:ext>
            </a:extLst>
          </p:cNvPr>
          <p:cNvGrpSpPr/>
          <p:nvPr/>
        </p:nvGrpSpPr>
        <p:grpSpPr>
          <a:xfrm>
            <a:off x="9661085" y="7859812"/>
            <a:ext cx="3333884" cy="2424642"/>
            <a:chOff x="-2" y="0"/>
            <a:chExt cx="6428641" cy="6858000"/>
          </a:xfrm>
        </p:grpSpPr>
        <p:sp>
          <p:nvSpPr>
            <p:cNvPr id="113" name="Rectangle 36">
              <a:extLst>
                <a:ext uri="{FF2B5EF4-FFF2-40B4-BE49-F238E27FC236}">
                  <a16:creationId xmlns:a16="http://schemas.microsoft.com/office/drawing/2014/main" id="{8B6CED46-64ED-2A08-B14A-E986114E7593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4" name="Rectangle 9">
              <a:extLst>
                <a:ext uri="{FF2B5EF4-FFF2-40B4-BE49-F238E27FC236}">
                  <a16:creationId xmlns:a16="http://schemas.microsoft.com/office/drawing/2014/main" id="{712F4F73-5881-3F37-E363-FA5502EDBF2E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5" name="Rectangle 31">
              <a:extLst>
                <a:ext uri="{FF2B5EF4-FFF2-40B4-BE49-F238E27FC236}">
                  <a16:creationId xmlns:a16="http://schemas.microsoft.com/office/drawing/2014/main" id="{DE2B08FF-1427-8DBB-7E2D-ADA9EA3A111D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6" name="Rectangle 32">
              <a:extLst>
                <a:ext uri="{FF2B5EF4-FFF2-40B4-BE49-F238E27FC236}">
                  <a16:creationId xmlns:a16="http://schemas.microsoft.com/office/drawing/2014/main" id="{B2230A0A-48D1-EEA6-BFAE-34BF7F26E6EE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7" name="Rectangle 33">
              <a:extLst>
                <a:ext uri="{FF2B5EF4-FFF2-40B4-BE49-F238E27FC236}">
                  <a16:creationId xmlns:a16="http://schemas.microsoft.com/office/drawing/2014/main" id="{06272225-732E-2258-149D-D5096432B1F7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8" name="Rectangle 34">
              <a:extLst>
                <a:ext uri="{FF2B5EF4-FFF2-40B4-BE49-F238E27FC236}">
                  <a16:creationId xmlns:a16="http://schemas.microsoft.com/office/drawing/2014/main" id="{35AC9AEA-923F-D116-D891-4EE5F1DF7081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9" name="Rectangle 35">
              <a:extLst>
                <a:ext uri="{FF2B5EF4-FFF2-40B4-BE49-F238E27FC236}">
                  <a16:creationId xmlns:a16="http://schemas.microsoft.com/office/drawing/2014/main" id="{7911424F-AEB1-5466-4534-73C20C9004E9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0" name="Rectangle 37">
              <a:extLst>
                <a:ext uri="{FF2B5EF4-FFF2-40B4-BE49-F238E27FC236}">
                  <a16:creationId xmlns:a16="http://schemas.microsoft.com/office/drawing/2014/main" id="{FBA12D0D-4504-576E-7821-DC5C353963C0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1" name="Rectangle 48">
              <a:extLst>
                <a:ext uri="{FF2B5EF4-FFF2-40B4-BE49-F238E27FC236}">
                  <a16:creationId xmlns:a16="http://schemas.microsoft.com/office/drawing/2014/main" id="{BE7AE5AB-A0DA-EC90-32C2-2AD056F6A865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2" name="Rectangle 49">
              <a:extLst>
                <a:ext uri="{FF2B5EF4-FFF2-40B4-BE49-F238E27FC236}">
                  <a16:creationId xmlns:a16="http://schemas.microsoft.com/office/drawing/2014/main" id="{889F5CFC-ADAC-1C6B-0400-BE076BCD9337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C7C4012-7D30-F9C6-B9B6-E437DE890220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B759A75-82FC-334C-B5F2-068FB869C01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9633504" y="588755"/>
            <a:ext cx="10098656" cy="5680492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A8DE02F-FA08-D1BF-E53A-EAF14F828C8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083619" y="588755"/>
            <a:ext cx="10098656" cy="5680492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8E130BB3-31B0-3A2A-7556-5F6C11C41DB0}"/>
              </a:ext>
            </a:extLst>
          </p:cNvPr>
          <p:cNvSpPr/>
          <p:nvPr/>
        </p:nvSpPr>
        <p:spPr>
          <a:xfrm rot="16200000" flipH="1">
            <a:off x="10243667" y="7029649"/>
            <a:ext cx="6423596" cy="7256220"/>
          </a:xfrm>
          <a:custGeom>
            <a:avLst/>
            <a:gdLst>
              <a:gd name="connsiteX0" fmla="*/ 0 w 6423596"/>
              <a:gd name="connsiteY0" fmla="*/ 1732699 h 7256220"/>
              <a:gd name="connsiteX1" fmla="*/ 0 w 6423596"/>
              <a:gd name="connsiteY1" fmla="*/ 7005122 h 7256220"/>
              <a:gd name="connsiteX2" fmla="*/ 251098 w 6423596"/>
              <a:gd name="connsiteY2" fmla="*/ 7256220 h 7256220"/>
              <a:gd name="connsiteX3" fmla="*/ 6172498 w 6423596"/>
              <a:gd name="connsiteY3" fmla="*/ 7256220 h 7256220"/>
              <a:gd name="connsiteX4" fmla="*/ 6423596 w 6423596"/>
              <a:gd name="connsiteY4" fmla="*/ 7005122 h 7256220"/>
              <a:gd name="connsiteX5" fmla="*/ 6423596 w 6423596"/>
              <a:gd name="connsiteY5" fmla="*/ 0 h 7256220"/>
              <a:gd name="connsiteX6" fmla="*/ 0 w 6423596"/>
              <a:gd name="connsiteY6" fmla="*/ 1732699 h 725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23596" h="7256220">
                <a:moveTo>
                  <a:pt x="0" y="1732699"/>
                </a:moveTo>
                <a:lnTo>
                  <a:pt x="0" y="7005122"/>
                </a:lnTo>
                <a:cubicBezTo>
                  <a:pt x="0" y="7143800"/>
                  <a:pt x="112420" y="7256220"/>
                  <a:pt x="251098" y="7256220"/>
                </a:cubicBezTo>
                <a:lnTo>
                  <a:pt x="6172498" y="7256220"/>
                </a:lnTo>
                <a:cubicBezTo>
                  <a:pt x="6311176" y="7256220"/>
                  <a:pt x="6423596" y="7143800"/>
                  <a:pt x="6423596" y="7005122"/>
                </a:cubicBezTo>
                <a:lnTo>
                  <a:pt x="6423596" y="0"/>
                </a:lnTo>
                <a:lnTo>
                  <a:pt x="0" y="1732699"/>
                </a:lnTo>
                <a:close/>
              </a:path>
            </a:pathLst>
          </a:custGeom>
          <a:gradFill flip="none" rotWithShape="1">
            <a:gsLst>
              <a:gs pos="36000">
                <a:srgbClr val="4550E5"/>
              </a:gs>
              <a:gs pos="100000">
                <a:srgbClr val="4550E5">
                  <a:lumMod val="69000"/>
                  <a:lumOff val="31000"/>
                </a:srgbClr>
              </a:gs>
            </a:gsLst>
            <a:lin ang="1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9" name="Freeform: Shape 9">
            <a:extLst>
              <a:ext uri="{FF2B5EF4-FFF2-40B4-BE49-F238E27FC236}">
                <a16:creationId xmlns:a16="http://schemas.microsoft.com/office/drawing/2014/main" id="{B349C6BD-C1A6-91BD-49A3-E6862340DDFD}"/>
              </a:ext>
            </a:extLst>
          </p:cNvPr>
          <p:cNvSpPr/>
          <p:nvPr/>
        </p:nvSpPr>
        <p:spPr>
          <a:xfrm rot="16200000" flipH="1">
            <a:off x="-4972072" y="-7366091"/>
            <a:ext cx="6423596" cy="6303373"/>
          </a:xfrm>
          <a:custGeom>
            <a:avLst/>
            <a:gdLst>
              <a:gd name="connsiteX0" fmla="*/ 0 w 6423596"/>
              <a:gd name="connsiteY0" fmla="*/ 251098 h 6303373"/>
              <a:gd name="connsiteX1" fmla="*/ 0 w 6423596"/>
              <a:gd name="connsiteY1" fmla="*/ 6303373 h 6303373"/>
              <a:gd name="connsiteX2" fmla="*/ 6423596 w 6423596"/>
              <a:gd name="connsiteY2" fmla="*/ 4570674 h 6303373"/>
              <a:gd name="connsiteX3" fmla="*/ 6423596 w 6423596"/>
              <a:gd name="connsiteY3" fmla="*/ 251098 h 6303373"/>
              <a:gd name="connsiteX4" fmla="*/ 6172498 w 6423596"/>
              <a:gd name="connsiteY4" fmla="*/ 0 h 6303373"/>
              <a:gd name="connsiteX5" fmla="*/ 251098 w 6423596"/>
              <a:gd name="connsiteY5" fmla="*/ 0 h 6303373"/>
              <a:gd name="connsiteX6" fmla="*/ 0 w 6423596"/>
              <a:gd name="connsiteY6" fmla="*/ 251098 h 6303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23596" h="6303373">
                <a:moveTo>
                  <a:pt x="0" y="251098"/>
                </a:moveTo>
                <a:lnTo>
                  <a:pt x="0" y="6303373"/>
                </a:lnTo>
                <a:lnTo>
                  <a:pt x="6423596" y="4570674"/>
                </a:lnTo>
                <a:lnTo>
                  <a:pt x="6423596" y="251098"/>
                </a:lnTo>
                <a:cubicBezTo>
                  <a:pt x="6423596" y="112420"/>
                  <a:pt x="6311176" y="0"/>
                  <a:pt x="6172498" y="0"/>
                </a:cubicBezTo>
                <a:lnTo>
                  <a:pt x="251098" y="0"/>
                </a:lnTo>
                <a:cubicBezTo>
                  <a:pt x="112420" y="0"/>
                  <a:pt x="0" y="112420"/>
                  <a:pt x="0" y="251098"/>
                </a:cubicBezTo>
                <a:close/>
              </a:path>
            </a:pathLst>
          </a:custGeom>
          <a:solidFill>
            <a:srgbClr val="64DC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517255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2" name="Group 73">
            <a:extLst>
              <a:ext uri="{FF2B5EF4-FFF2-40B4-BE49-F238E27FC236}">
                <a16:creationId xmlns:a16="http://schemas.microsoft.com/office/drawing/2014/main" id="{9B0FBD64-CCF8-9F04-E24B-82E4B68F9B2A}"/>
              </a:ext>
            </a:extLst>
          </p:cNvPr>
          <p:cNvGrpSpPr/>
          <p:nvPr/>
        </p:nvGrpSpPr>
        <p:grpSpPr>
          <a:xfrm>
            <a:off x="9661085" y="7859812"/>
            <a:ext cx="3333884" cy="2424642"/>
            <a:chOff x="-2" y="0"/>
            <a:chExt cx="6428641" cy="6858000"/>
          </a:xfrm>
        </p:grpSpPr>
        <p:sp>
          <p:nvSpPr>
            <p:cNvPr id="113" name="Rectangle 36">
              <a:extLst>
                <a:ext uri="{FF2B5EF4-FFF2-40B4-BE49-F238E27FC236}">
                  <a16:creationId xmlns:a16="http://schemas.microsoft.com/office/drawing/2014/main" id="{8B6CED46-64ED-2A08-B14A-E986114E7593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4" name="Rectangle 9">
              <a:extLst>
                <a:ext uri="{FF2B5EF4-FFF2-40B4-BE49-F238E27FC236}">
                  <a16:creationId xmlns:a16="http://schemas.microsoft.com/office/drawing/2014/main" id="{712F4F73-5881-3F37-E363-FA5502EDBF2E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5" name="Rectangle 31">
              <a:extLst>
                <a:ext uri="{FF2B5EF4-FFF2-40B4-BE49-F238E27FC236}">
                  <a16:creationId xmlns:a16="http://schemas.microsoft.com/office/drawing/2014/main" id="{DE2B08FF-1427-8DBB-7E2D-ADA9EA3A111D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6" name="Rectangle 32">
              <a:extLst>
                <a:ext uri="{FF2B5EF4-FFF2-40B4-BE49-F238E27FC236}">
                  <a16:creationId xmlns:a16="http://schemas.microsoft.com/office/drawing/2014/main" id="{B2230A0A-48D1-EEA6-BFAE-34BF7F26E6EE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7" name="Rectangle 33">
              <a:extLst>
                <a:ext uri="{FF2B5EF4-FFF2-40B4-BE49-F238E27FC236}">
                  <a16:creationId xmlns:a16="http://schemas.microsoft.com/office/drawing/2014/main" id="{06272225-732E-2258-149D-D5096432B1F7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8" name="Rectangle 34">
              <a:extLst>
                <a:ext uri="{FF2B5EF4-FFF2-40B4-BE49-F238E27FC236}">
                  <a16:creationId xmlns:a16="http://schemas.microsoft.com/office/drawing/2014/main" id="{35AC9AEA-923F-D116-D891-4EE5F1DF7081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9" name="Rectangle 35">
              <a:extLst>
                <a:ext uri="{FF2B5EF4-FFF2-40B4-BE49-F238E27FC236}">
                  <a16:creationId xmlns:a16="http://schemas.microsoft.com/office/drawing/2014/main" id="{7911424F-AEB1-5466-4534-73C20C9004E9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0" name="Rectangle 37">
              <a:extLst>
                <a:ext uri="{FF2B5EF4-FFF2-40B4-BE49-F238E27FC236}">
                  <a16:creationId xmlns:a16="http://schemas.microsoft.com/office/drawing/2014/main" id="{FBA12D0D-4504-576E-7821-DC5C353963C0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1" name="Rectangle 48">
              <a:extLst>
                <a:ext uri="{FF2B5EF4-FFF2-40B4-BE49-F238E27FC236}">
                  <a16:creationId xmlns:a16="http://schemas.microsoft.com/office/drawing/2014/main" id="{BE7AE5AB-A0DA-EC90-32C2-2AD056F6A865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2" name="Rectangle 49">
              <a:extLst>
                <a:ext uri="{FF2B5EF4-FFF2-40B4-BE49-F238E27FC236}">
                  <a16:creationId xmlns:a16="http://schemas.microsoft.com/office/drawing/2014/main" id="{889F5CFC-ADAC-1C6B-0400-BE076BCD9337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C7C4012-7D30-F9C6-B9B6-E437DE890220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4" name="Freeform: Shape 11">
            <a:extLst>
              <a:ext uri="{FF2B5EF4-FFF2-40B4-BE49-F238E27FC236}">
                <a16:creationId xmlns:a16="http://schemas.microsoft.com/office/drawing/2014/main" id="{F786CD33-6287-8E47-AC3D-C9637148DD6A}"/>
              </a:ext>
            </a:extLst>
          </p:cNvPr>
          <p:cNvSpPr/>
          <p:nvPr/>
        </p:nvSpPr>
        <p:spPr>
          <a:xfrm rot="16200000" flipH="1">
            <a:off x="5169539" y="-199110"/>
            <a:ext cx="6423596" cy="7256220"/>
          </a:xfrm>
          <a:custGeom>
            <a:avLst/>
            <a:gdLst>
              <a:gd name="connsiteX0" fmla="*/ 0 w 6423596"/>
              <a:gd name="connsiteY0" fmla="*/ 1732699 h 7256220"/>
              <a:gd name="connsiteX1" fmla="*/ 0 w 6423596"/>
              <a:gd name="connsiteY1" fmla="*/ 7005122 h 7256220"/>
              <a:gd name="connsiteX2" fmla="*/ 251098 w 6423596"/>
              <a:gd name="connsiteY2" fmla="*/ 7256220 h 7256220"/>
              <a:gd name="connsiteX3" fmla="*/ 6172498 w 6423596"/>
              <a:gd name="connsiteY3" fmla="*/ 7256220 h 7256220"/>
              <a:gd name="connsiteX4" fmla="*/ 6423596 w 6423596"/>
              <a:gd name="connsiteY4" fmla="*/ 7005122 h 7256220"/>
              <a:gd name="connsiteX5" fmla="*/ 6423596 w 6423596"/>
              <a:gd name="connsiteY5" fmla="*/ 0 h 7256220"/>
              <a:gd name="connsiteX6" fmla="*/ 0 w 6423596"/>
              <a:gd name="connsiteY6" fmla="*/ 1732699 h 725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23596" h="7256220">
                <a:moveTo>
                  <a:pt x="0" y="1732699"/>
                </a:moveTo>
                <a:lnTo>
                  <a:pt x="0" y="7005122"/>
                </a:lnTo>
                <a:cubicBezTo>
                  <a:pt x="0" y="7143800"/>
                  <a:pt x="112420" y="7256220"/>
                  <a:pt x="251098" y="7256220"/>
                </a:cubicBezTo>
                <a:lnTo>
                  <a:pt x="6172498" y="7256220"/>
                </a:lnTo>
                <a:cubicBezTo>
                  <a:pt x="6311176" y="7256220"/>
                  <a:pt x="6423596" y="7143800"/>
                  <a:pt x="6423596" y="7005122"/>
                </a:cubicBezTo>
                <a:lnTo>
                  <a:pt x="6423596" y="0"/>
                </a:lnTo>
                <a:lnTo>
                  <a:pt x="0" y="1732699"/>
                </a:lnTo>
                <a:close/>
              </a:path>
            </a:pathLst>
          </a:custGeom>
          <a:gradFill flip="none" rotWithShape="1">
            <a:gsLst>
              <a:gs pos="36000">
                <a:srgbClr val="4550E5"/>
              </a:gs>
              <a:gs pos="100000">
                <a:srgbClr val="4550E5">
                  <a:lumMod val="69000"/>
                  <a:lumOff val="31000"/>
                </a:srgbClr>
              </a:gs>
            </a:gsLst>
            <a:lin ang="1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" name="Freeform: Shape 9">
            <a:extLst>
              <a:ext uri="{FF2B5EF4-FFF2-40B4-BE49-F238E27FC236}">
                <a16:creationId xmlns:a16="http://schemas.microsoft.com/office/drawing/2014/main" id="{7EA09CDD-629B-5B0A-0570-79F30888EDF5}"/>
              </a:ext>
            </a:extLst>
          </p:cNvPr>
          <p:cNvSpPr/>
          <p:nvPr/>
        </p:nvSpPr>
        <p:spPr>
          <a:xfrm rot="16200000" flipH="1">
            <a:off x="122442" y="277314"/>
            <a:ext cx="6423596" cy="6303373"/>
          </a:xfrm>
          <a:custGeom>
            <a:avLst/>
            <a:gdLst>
              <a:gd name="connsiteX0" fmla="*/ 0 w 6423596"/>
              <a:gd name="connsiteY0" fmla="*/ 251098 h 6303373"/>
              <a:gd name="connsiteX1" fmla="*/ 0 w 6423596"/>
              <a:gd name="connsiteY1" fmla="*/ 6303373 h 6303373"/>
              <a:gd name="connsiteX2" fmla="*/ 6423596 w 6423596"/>
              <a:gd name="connsiteY2" fmla="*/ 4570674 h 6303373"/>
              <a:gd name="connsiteX3" fmla="*/ 6423596 w 6423596"/>
              <a:gd name="connsiteY3" fmla="*/ 251098 h 6303373"/>
              <a:gd name="connsiteX4" fmla="*/ 6172498 w 6423596"/>
              <a:gd name="connsiteY4" fmla="*/ 0 h 6303373"/>
              <a:gd name="connsiteX5" fmla="*/ 251098 w 6423596"/>
              <a:gd name="connsiteY5" fmla="*/ 0 h 6303373"/>
              <a:gd name="connsiteX6" fmla="*/ 0 w 6423596"/>
              <a:gd name="connsiteY6" fmla="*/ 251098 h 6303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23596" h="6303373">
                <a:moveTo>
                  <a:pt x="0" y="251098"/>
                </a:moveTo>
                <a:lnTo>
                  <a:pt x="0" y="6303373"/>
                </a:lnTo>
                <a:lnTo>
                  <a:pt x="6423596" y="4570674"/>
                </a:lnTo>
                <a:lnTo>
                  <a:pt x="6423596" y="251098"/>
                </a:lnTo>
                <a:cubicBezTo>
                  <a:pt x="6423596" y="112420"/>
                  <a:pt x="6311176" y="0"/>
                  <a:pt x="6172498" y="0"/>
                </a:cubicBezTo>
                <a:lnTo>
                  <a:pt x="251098" y="0"/>
                </a:lnTo>
                <a:cubicBezTo>
                  <a:pt x="112420" y="0"/>
                  <a:pt x="0" y="112420"/>
                  <a:pt x="0" y="251098"/>
                </a:cubicBezTo>
                <a:close/>
              </a:path>
            </a:pathLst>
          </a:custGeom>
          <a:solidFill>
            <a:srgbClr val="64DC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23E06CD-A1F6-E28D-9A0F-8576FC4A206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 rot="20287308">
            <a:off x="-1073129" y="-98773"/>
            <a:ext cx="7587269" cy="4267838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80EB334-D666-F5FC-BD73-6918B7BB0AD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20287308">
            <a:off x="4587702" y="2688936"/>
            <a:ext cx="7587269" cy="4267838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40010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27059130-641E-7247-9B2B-0602940EE081}"/>
              </a:ext>
            </a:extLst>
          </p:cNvPr>
          <p:cNvSpPr txBox="1"/>
          <p:nvPr/>
        </p:nvSpPr>
        <p:spPr>
          <a:xfrm>
            <a:off x="513614" y="1220703"/>
            <a:ext cx="11389623" cy="22082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5500"/>
              </a:lnSpc>
            </a:pP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БИЗНЕС </a:t>
            </a:r>
            <a:b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</a:b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СТРОИТСЯ </a:t>
            </a:r>
            <a:b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</a:b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НА КОММУНИКАЦИЯХ</a:t>
            </a:r>
          </a:p>
        </p:txBody>
      </p: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0" name="Овал 9">
            <a:extLst>
              <a:ext uri="{FF2B5EF4-FFF2-40B4-BE49-F238E27FC236}">
                <a16:creationId xmlns:a16="http://schemas.microsoft.com/office/drawing/2014/main" id="{A81C2DB6-A998-6597-E1F1-2A3CD37395C3}"/>
              </a:ext>
            </a:extLst>
          </p:cNvPr>
          <p:cNvSpPr/>
          <p:nvPr/>
        </p:nvSpPr>
        <p:spPr>
          <a:xfrm rot="5400000">
            <a:off x="6404103" y="-99293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C1EC4CF1-79D8-4A01-3854-D85FF539982E}"/>
              </a:ext>
            </a:extLst>
          </p:cNvPr>
          <p:cNvSpPr/>
          <p:nvPr/>
        </p:nvSpPr>
        <p:spPr>
          <a:xfrm rot="5732377">
            <a:off x="9932721" y="0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043FB44F-0804-1010-B971-6339147A5F13}"/>
              </a:ext>
            </a:extLst>
          </p:cNvPr>
          <p:cNvSpPr/>
          <p:nvPr/>
        </p:nvSpPr>
        <p:spPr>
          <a:xfrm rot="11095245">
            <a:off x="4796846" y="-62609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FCCF162F-9745-F382-66CD-C0B273DE6C18}"/>
              </a:ext>
            </a:extLst>
          </p:cNvPr>
          <p:cNvSpPr/>
          <p:nvPr/>
        </p:nvSpPr>
        <p:spPr>
          <a:xfrm rot="17731941">
            <a:off x="10889004" y="1164763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969737A-AC0A-3152-B3A3-660D66A8946E}"/>
              </a:ext>
            </a:extLst>
          </p:cNvPr>
          <p:cNvSpPr/>
          <p:nvPr/>
        </p:nvSpPr>
        <p:spPr>
          <a:xfrm>
            <a:off x="-5211485" y="4131675"/>
            <a:ext cx="5725099" cy="2076171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" name="!!1">
            <a:extLst>
              <a:ext uri="{FF2B5EF4-FFF2-40B4-BE49-F238E27FC236}">
                <a16:creationId xmlns:a16="http://schemas.microsoft.com/office/drawing/2014/main" id="{594F58D4-AE4A-1666-F03F-99AF1B75A9F0}"/>
              </a:ext>
            </a:extLst>
          </p:cNvPr>
          <p:cNvGrpSpPr/>
          <p:nvPr/>
        </p:nvGrpSpPr>
        <p:grpSpPr>
          <a:xfrm>
            <a:off x="288763" y="3453131"/>
            <a:ext cx="16369553" cy="2754715"/>
            <a:chOff x="-978299" y="3429000"/>
            <a:chExt cx="16369553" cy="2754715"/>
          </a:xfrm>
        </p:grpSpPr>
        <p:sp>
          <p:nvSpPr>
            <p:cNvPr id="11" name="Полилиния 10">
              <a:extLst>
                <a:ext uri="{FF2B5EF4-FFF2-40B4-BE49-F238E27FC236}">
                  <a16:creationId xmlns:a16="http://schemas.microsoft.com/office/drawing/2014/main" id="{89AD34A6-CA71-6E4B-126E-FCD8307040D4}"/>
                </a:ext>
              </a:extLst>
            </p:cNvPr>
            <p:cNvSpPr/>
            <p:nvPr/>
          </p:nvSpPr>
          <p:spPr>
            <a:xfrm>
              <a:off x="1953955" y="3429000"/>
              <a:ext cx="3322536" cy="697484"/>
            </a:xfrm>
            <a:custGeom>
              <a:avLst/>
              <a:gdLst>
                <a:gd name="connsiteX0" fmla="*/ 2618174 w 5360120"/>
                <a:gd name="connsiteY0" fmla="*/ 0 h 1115727"/>
                <a:gd name="connsiteX1" fmla="*/ 2679502 w 5360120"/>
                <a:gd name="connsiteY1" fmla="*/ 0 h 1115727"/>
                <a:gd name="connsiteX2" fmla="*/ 2740830 w 5360120"/>
                <a:gd name="connsiteY2" fmla="*/ 0 h 1115727"/>
                <a:gd name="connsiteX3" fmla="*/ 2803273 w 5360120"/>
                <a:gd name="connsiteY3" fmla="*/ 3340 h 1115727"/>
                <a:gd name="connsiteX4" fmla="*/ 2864601 w 5360120"/>
                <a:gd name="connsiteY4" fmla="*/ 7793 h 1115727"/>
                <a:gd name="connsiteX5" fmla="*/ 2923699 w 5360120"/>
                <a:gd name="connsiteY5" fmla="*/ 14473 h 1115727"/>
                <a:gd name="connsiteX6" fmla="*/ 2985027 w 5360120"/>
                <a:gd name="connsiteY6" fmla="*/ 23379 h 1115727"/>
                <a:gd name="connsiteX7" fmla="*/ 3043010 w 5360120"/>
                <a:gd name="connsiteY7" fmla="*/ 33399 h 1115727"/>
                <a:gd name="connsiteX8" fmla="*/ 3102109 w 5360120"/>
                <a:gd name="connsiteY8" fmla="*/ 46758 h 1115727"/>
                <a:gd name="connsiteX9" fmla="*/ 3160091 w 5360120"/>
                <a:gd name="connsiteY9" fmla="*/ 61231 h 1115727"/>
                <a:gd name="connsiteX10" fmla="*/ 3215843 w 5360120"/>
                <a:gd name="connsiteY10" fmla="*/ 77930 h 1115727"/>
                <a:gd name="connsiteX11" fmla="*/ 3270481 w 5360120"/>
                <a:gd name="connsiteY11" fmla="*/ 95743 h 1115727"/>
                <a:gd name="connsiteX12" fmla="*/ 3325119 w 5360120"/>
                <a:gd name="connsiteY12" fmla="*/ 116895 h 1115727"/>
                <a:gd name="connsiteX13" fmla="*/ 3376411 w 5360120"/>
                <a:gd name="connsiteY13" fmla="*/ 139161 h 1115727"/>
                <a:gd name="connsiteX14" fmla="*/ 3427704 w 5360120"/>
                <a:gd name="connsiteY14" fmla="*/ 163653 h 1115727"/>
                <a:gd name="connsiteX15" fmla="*/ 3477881 w 5360120"/>
                <a:gd name="connsiteY15" fmla="*/ 189259 h 1115727"/>
                <a:gd name="connsiteX16" fmla="*/ 3524713 w 5360120"/>
                <a:gd name="connsiteY16" fmla="*/ 215978 h 1115727"/>
                <a:gd name="connsiteX17" fmla="*/ 3569315 w 5360120"/>
                <a:gd name="connsiteY17" fmla="*/ 247150 h 1115727"/>
                <a:gd name="connsiteX18" fmla="*/ 3570430 w 5360120"/>
                <a:gd name="connsiteY18" fmla="*/ 248263 h 1115727"/>
                <a:gd name="connsiteX19" fmla="*/ 3581581 w 5360120"/>
                <a:gd name="connsiteY19" fmla="*/ 256056 h 1115727"/>
                <a:gd name="connsiteX20" fmla="*/ 3612802 w 5360120"/>
                <a:gd name="connsiteY20" fmla="*/ 277209 h 1115727"/>
                <a:gd name="connsiteX21" fmla="*/ 3671900 w 5360120"/>
                <a:gd name="connsiteY21" fmla="*/ 318401 h 1115727"/>
                <a:gd name="connsiteX22" fmla="*/ 3767795 w 5360120"/>
                <a:gd name="connsiteY22" fmla="*/ 386311 h 1115727"/>
                <a:gd name="connsiteX23" fmla="*/ 3912752 w 5360120"/>
                <a:gd name="connsiteY23" fmla="*/ 487620 h 1115727"/>
                <a:gd name="connsiteX24" fmla="*/ 4114577 w 5360120"/>
                <a:gd name="connsiteY24" fmla="*/ 627895 h 1115727"/>
                <a:gd name="connsiteX25" fmla="*/ 4383305 w 5360120"/>
                <a:gd name="connsiteY25" fmla="*/ 817154 h 1115727"/>
                <a:gd name="connsiteX26" fmla="*/ 4434597 w 5360120"/>
                <a:gd name="connsiteY26" fmla="*/ 851666 h 1115727"/>
                <a:gd name="connsiteX27" fmla="*/ 4490350 w 5360120"/>
                <a:gd name="connsiteY27" fmla="*/ 885065 h 1115727"/>
                <a:gd name="connsiteX28" fmla="*/ 4548333 w 5360120"/>
                <a:gd name="connsiteY28" fmla="*/ 915123 h 1115727"/>
                <a:gd name="connsiteX29" fmla="*/ 4608546 w 5360120"/>
                <a:gd name="connsiteY29" fmla="*/ 944069 h 1115727"/>
                <a:gd name="connsiteX30" fmla="*/ 4670989 w 5360120"/>
                <a:gd name="connsiteY30" fmla="*/ 971901 h 1115727"/>
                <a:gd name="connsiteX31" fmla="*/ 4736777 w 5360120"/>
                <a:gd name="connsiteY31" fmla="*/ 995280 h 1115727"/>
                <a:gd name="connsiteX32" fmla="*/ 4802565 w 5360120"/>
                <a:gd name="connsiteY32" fmla="*/ 1017546 h 1115727"/>
                <a:gd name="connsiteX33" fmla="*/ 4871699 w 5360120"/>
                <a:gd name="connsiteY33" fmla="*/ 1038698 h 1115727"/>
                <a:gd name="connsiteX34" fmla="*/ 4940832 w 5360120"/>
                <a:gd name="connsiteY34" fmla="*/ 1056511 h 1115727"/>
                <a:gd name="connsiteX35" fmla="*/ 5012195 w 5360120"/>
                <a:gd name="connsiteY35" fmla="*/ 1072097 h 1115727"/>
                <a:gd name="connsiteX36" fmla="*/ 5086904 w 5360120"/>
                <a:gd name="connsiteY36" fmla="*/ 1086570 h 1115727"/>
                <a:gd name="connsiteX37" fmla="*/ 5160497 w 5360120"/>
                <a:gd name="connsiteY37" fmla="*/ 1097703 h 1115727"/>
                <a:gd name="connsiteX38" fmla="*/ 5236321 w 5360120"/>
                <a:gd name="connsiteY38" fmla="*/ 1106609 h 1115727"/>
                <a:gd name="connsiteX39" fmla="*/ 5311030 w 5360120"/>
                <a:gd name="connsiteY39" fmla="*/ 1112176 h 1115727"/>
                <a:gd name="connsiteX40" fmla="*/ 5360120 w 5360120"/>
                <a:gd name="connsiteY40" fmla="*/ 1115727 h 1115727"/>
                <a:gd name="connsiteX41" fmla="*/ 0 w 5360120"/>
                <a:gd name="connsiteY41" fmla="*/ 1115727 h 1115727"/>
                <a:gd name="connsiteX42" fmla="*/ 49090 w 5360120"/>
                <a:gd name="connsiteY42" fmla="*/ 1112176 h 1115727"/>
                <a:gd name="connsiteX43" fmla="*/ 124914 w 5360120"/>
                <a:gd name="connsiteY43" fmla="*/ 1106609 h 1115727"/>
                <a:gd name="connsiteX44" fmla="*/ 200738 w 5360120"/>
                <a:gd name="connsiteY44" fmla="*/ 1097703 h 1115727"/>
                <a:gd name="connsiteX45" fmla="*/ 275446 w 5360120"/>
                <a:gd name="connsiteY45" fmla="*/ 1086570 h 1115727"/>
                <a:gd name="connsiteX46" fmla="*/ 347925 w 5360120"/>
                <a:gd name="connsiteY46" fmla="*/ 1072097 h 1115727"/>
                <a:gd name="connsiteX47" fmla="*/ 420403 w 5360120"/>
                <a:gd name="connsiteY47" fmla="*/ 1056511 h 1115727"/>
                <a:gd name="connsiteX48" fmla="*/ 489537 w 5360120"/>
                <a:gd name="connsiteY48" fmla="*/ 1038698 h 1115727"/>
                <a:gd name="connsiteX49" fmla="*/ 558670 w 5360120"/>
                <a:gd name="connsiteY49" fmla="*/ 1017546 h 1115727"/>
                <a:gd name="connsiteX50" fmla="*/ 624458 w 5360120"/>
                <a:gd name="connsiteY50" fmla="*/ 995280 h 1115727"/>
                <a:gd name="connsiteX51" fmla="*/ 690246 w 5360120"/>
                <a:gd name="connsiteY51" fmla="*/ 971901 h 1115727"/>
                <a:gd name="connsiteX52" fmla="*/ 751574 w 5360120"/>
                <a:gd name="connsiteY52" fmla="*/ 944069 h 1115727"/>
                <a:gd name="connsiteX53" fmla="*/ 811787 w 5360120"/>
                <a:gd name="connsiteY53" fmla="*/ 915123 h 1115727"/>
                <a:gd name="connsiteX54" fmla="*/ 869770 w 5360120"/>
                <a:gd name="connsiteY54" fmla="*/ 885065 h 1115727"/>
                <a:gd name="connsiteX55" fmla="*/ 924408 w 5360120"/>
                <a:gd name="connsiteY55" fmla="*/ 851666 h 1115727"/>
                <a:gd name="connsiteX56" fmla="*/ 977930 w 5360120"/>
                <a:gd name="connsiteY56" fmla="*/ 817154 h 1115727"/>
                <a:gd name="connsiteX57" fmla="*/ 979045 w 5360120"/>
                <a:gd name="connsiteY57" fmla="*/ 816041 h 1115727"/>
                <a:gd name="connsiteX58" fmla="*/ 990196 w 5360120"/>
                <a:gd name="connsiteY58" fmla="*/ 808248 h 1115727"/>
                <a:gd name="connsiteX59" fmla="*/ 1021417 w 5360120"/>
                <a:gd name="connsiteY59" fmla="*/ 787095 h 1115727"/>
                <a:gd name="connsiteX60" fmla="*/ 1078285 w 5360120"/>
                <a:gd name="connsiteY60" fmla="*/ 745904 h 1115727"/>
                <a:gd name="connsiteX61" fmla="*/ 1176410 w 5360120"/>
                <a:gd name="connsiteY61" fmla="*/ 677993 h 1115727"/>
                <a:gd name="connsiteX62" fmla="*/ 1321367 w 5360120"/>
                <a:gd name="connsiteY62" fmla="*/ 576684 h 1115727"/>
                <a:gd name="connsiteX63" fmla="*/ 1522076 w 5360120"/>
                <a:gd name="connsiteY63" fmla="*/ 434183 h 1115727"/>
                <a:gd name="connsiteX64" fmla="*/ 1789689 w 5360120"/>
                <a:gd name="connsiteY64" fmla="*/ 247150 h 1115727"/>
                <a:gd name="connsiteX65" fmla="*/ 1836522 w 5360120"/>
                <a:gd name="connsiteY65" fmla="*/ 215978 h 1115727"/>
                <a:gd name="connsiteX66" fmla="*/ 1883354 w 5360120"/>
                <a:gd name="connsiteY66" fmla="*/ 189259 h 1115727"/>
                <a:gd name="connsiteX67" fmla="*/ 1931301 w 5360120"/>
                <a:gd name="connsiteY67" fmla="*/ 163653 h 1115727"/>
                <a:gd name="connsiteX68" fmla="*/ 1982594 w 5360120"/>
                <a:gd name="connsiteY68" fmla="*/ 139161 h 1115727"/>
                <a:gd name="connsiteX69" fmla="*/ 2036116 w 5360120"/>
                <a:gd name="connsiteY69" fmla="*/ 116895 h 1115727"/>
                <a:gd name="connsiteX70" fmla="*/ 2088524 w 5360120"/>
                <a:gd name="connsiteY70" fmla="*/ 95743 h 1115727"/>
                <a:gd name="connsiteX71" fmla="*/ 2145392 w 5360120"/>
                <a:gd name="connsiteY71" fmla="*/ 77930 h 1115727"/>
                <a:gd name="connsiteX72" fmla="*/ 2201144 w 5360120"/>
                <a:gd name="connsiteY72" fmla="*/ 61231 h 1115727"/>
                <a:gd name="connsiteX73" fmla="*/ 2259127 w 5360120"/>
                <a:gd name="connsiteY73" fmla="*/ 46758 h 1115727"/>
                <a:gd name="connsiteX74" fmla="*/ 2317110 w 5360120"/>
                <a:gd name="connsiteY74" fmla="*/ 33399 h 1115727"/>
                <a:gd name="connsiteX75" fmla="*/ 2376208 w 5360120"/>
                <a:gd name="connsiteY75" fmla="*/ 23379 h 1115727"/>
                <a:gd name="connsiteX76" fmla="*/ 2435305 w 5360120"/>
                <a:gd name="connsiteY76" fmla="*/ 14473 h 1115727"/>
                <a:gd name="connsiteX77" fmla="*/ 2496633 w 5360120"/>
                <a:gd name="connsiteY77" fmla="*/ 7793 h 1115727"/>
                <a:gd name="connsiteX78" fmla="*/ 2557961 w 5360120"/>
                <a:gd name="connsiteY78" fmla="*/ 3340 h 11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60120" h="1115727">
                  <a:moveTo>
                    <a:pt x="2618174" y="0"/>
                  </a:moveTo>
                  <a:lnTo>
                    <a:pt x="2679502" y="0"/>
                  </a:lnTo>
                  <a:lnTo>
                    <a:pt x="2740830" y="0"/>
                  </a:lnTo>
                  <a:lnTo>
                    <a:pt x="2803273" y="3340"/>
                  </a:lnTo>
                  <a:lnTo>
                    <a:pt x="2864601" y="7793"/>
                  </a:lnTo>
                  <a:lnTo>
                    <a:pt x="2923699" y="14473"/>
                  </a:lnTo>
                  <a:lnTo>
                    <a:pt x="2985027" y="23379"/>
                  </a:lnTo>
                  <a:lnTo>
                    <a:pt x="3043010" y="33399"/>
                  </a:lnTo>
                  <a:lnTo>
                    <a:pt x="3102109" y="46758"/>
                  </a:lnTo>
                  <a:lnTo>
                    <a:pt x="3160091" y="61231"/>
                  </a:lnTo>
                  <a:lnTo>
                    <a:pt x="3215843" y="77930"/>
                  </a:lnTo>
                  <a:lnTo>
                    <a:pt x="3270481" y="95743"/>
                  </a:lnTo>
                  <a:lnTo>
                    <a:pt x="3325119" y="116895"/>
                  </a:lnTo>
                  <a:lnTo>
                    <a:pt x="3376411" y="139161"/>
                  </a:lnTo>
                  <a:lnTo>
                    <a:pt x="3427704" y="163653"/>
                  </a:lnTo>
                  <a:lnTo>
                    <a:pt x="3477881" y="189259"/>
                  </a:lnTo>
                  <a:lnTo>
                    <a:pt x="3524713" y="215978"/>
                  </a:lnTo>
                  <a:lnTo>
                    <a:pt x="3569315" y="247150"/>
                  </a:lnTo>
                  <a:lnTo>
                    <a:pt x="3570430" y="248263"/>
                  </a:lnTo>
                  <a:lnTo>
                    <a:pt x="3581581" y="256056"/>
                  </a:lnTo>
                  <a:lnTo>
                    <a:pt x="3612802" y="277209"/>
                  </a:lnTo>
                  <a:lnTo>
                    <a:pt x="3671900" y="318401"/>
                  </a:lnTo>
                  <a:lnTo>
                    <a:pt x="3767795" y="386311"/>
                  </a:lnTo>
                  <a:lnTo>
                    <a:pt x="3912752" y="487620"/>
                  </a:lnTo>
                  <a:lnTo>
                    <a:pt x="4114577" y="627895"/>
                  </a:lnTo>
                  <a:lnTo>
                    <a:pt x="4383305" y="817154"/>
                  </a:lnTo>
                  <a:lnTo>
                    <a:pt x="4434597" y="851666"/>
                  </a:lnTo>
                  <a:lnTo>
                    <a:pt x="4490350" y="885065"/>
                  </a:lnTo>
                  <a:lnTo>
                    <a:pt x="4548333" y="915123"/>
                  </a:lnTo>
                  <a:lnTo>
                    <a:pt x="4608546" y="944069"/>
                  </a:lnTo>
                  <a:lnTo>
                    <a:pt x="4670989" y="971901"/>
                  </a:lnTo>
                  <a:lnTo>
                    <a:pt x="4736777" y="995280"/>
                  </a:lnTo>
                  <a:lnTo>
                    <a:pt x="4802565" y="1017546"/>
                  </a:lnTo>
                  <a:lnTo>
                    <a:pt x="4871699" y="1038698"/>
                  </a:lnTo>
                  <a:lnTo>
                    <a:pt x="4940832" y="1056511"/>
                  </a:lnTo>
                  <a:lnTo>
                    <a:pt x="5012195" y="1072097"/>
                  </a:lnTo>
                  <a:lnTo>
                    <a:pt x="5086904" y="1086570"/>
                  </a:lnTo>
                  <a:lnTo>
                    <a:pt x="5160497" y="1097703"/>
                  </a:lnTo>
                  <a:lnTo>
                    <a:pt x="5236321" y="1106609"/>
                  </a:lnTo>
                  <a:lnTo>
                    <a:pt x="5311030" y="1112176"/>
                  </a:lnTo>
                  <a:lnTo>
                    <a:pt x="5360120" y="1115727"/>
                  </a:lnTo>
                  <a:lnTo>
                    <a:pt x="0" y="1115727"/>
                  </a:lnTo>
                  <a:lnTo>
                    <a:pt x="49090" y="1112176"/>
                  </a:lnTo>
                  <a:lnTo>
                    <a:pt x="124914" y="1106609"/>
                  </a:lnTo>
                  <a:lnTo>
                    <a:pt x="200738" y="1097703"/>
                  </a:lnTo>
                  <a:lnTo>
                    <a:pt x="275446" y="1086570"/>
                  </a:lnTo>
                  <a:lnTo>
                    <a:pt x="347925" y="1072097"/>
                  </a:lnTo>
                  <a:lnTo>
                    <a:pt x="420403" y="1056511"/>
                  </a:lnTo>
                  <a:lnTo>
                    <a:pt x="489537" y="1038698"/>
                  </a:lnTo>
                  <a:lnTo>
                    <a:pt x="558670" y="1017546"/>
                  </a:lnTo>
                  <a:lnTo>
                    <a:pt x="624458" y="995280"/>
                  </a:lnTo>
                  <a:lnTo>
                    <a:pt x="690246" y="971901"/>
                  </a:lnTo>
                  <a:lnTo>
                    <a:pt x="751574" y="944069"/>
                  </a:lnTo>
                  <a:lnTo>
                    <a:pt x="811787" y="915123"/>
                  </a:lnTo>
                  <a:lnTo>
                    <a:pt x="869770" y="885065"/>
                  </a:lnTo>
                  <a:lnTo>
                    <a:pt x="924408" y="851666"/>
                  </a:lnTo>
                  <a:lnTo>
                    <a:pt x="977930" y="817154"/>
                  </a:lnTo>
                  <a:lnTo>
                    <a:pt x="979045" y="816041"/>
                  </a:lnTo>
                  <a:lnTo>
                    <a:pt x="990196" y="808248"/>
                  </a:lnTo>
                  <a:lnTo>
                    <a:pt x="1021417" y="787095"/>
                  </a:lnTo>
                  <a:lnTo>
                    <a:pt x="1078285" y="745904"/>
                  </a:lnTo>
                  <a:lnTo>
                    <a:pt x="1176410" y="677993"/>
                  </a:lnTo>
                  <a:lnTo>
                    <a:pt x="1321367" y="576684"/>
                  </a:lnTo>
                  <a:lnTo>
                    <a:pt x="1522076" y="434183"/>
                  </a:lnTo>
                  <a:lnTo>
                    <a:pt x="1789689" y="247150"/>
                  </a:lnTo>
                  <a:lnTo>
                    <a:pt x="1836522" y="215978"/>
                  </a:lnTo>
                  <a:lnTo>
                    <a:pt x="1883354" y="189259"/>
                  </a:lnTo>
                  <a:lnTo>
                    <a:pt x="1931301" y="163653"/>
                  </a:lnTo>
                  <a:lnTo>
                    <a:pt x="1982594" y="139161"/>
                  </a:lnTo>
                  <a:lnTo>
                    <a:pt x="2036116" y="116895"/>
                  </a:lnTo>
                  <a:lnTo>
                    <a:pt x="2088524" y="95743"/>
                  </a:lnTo>
                  <a:lnTo>
                    <a:pt x="2145392" y="77930"/>
                  </a:lnTo>
                  <a:lnTo>
                    <a:pt x="2201144" y="61231"/>
                  </a:lnTo>
                  <a:lnTo>
                    <a:pt x="2259127" y="46758"/>
                  </a:lnTo>
                  <a:lnTo>
                    <a:pt x="2317110" y="33399"/>
                  </a:lnTo>
                  <a:lnTo>
                    <a:pt x="2376208" y="23379"/>
                  </a:lnTo>
                  <a:lnTo>
                    <a:pt x="2435305" y="14473"/>
                  </a:lnTo>
                  <a:lnTo>
                    <a:pt x="2496633" y="7793"/>
                  </a:lnTo>
                  <a:lnTo>
                    <a:pt x="2557961" y="334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36E6290C-7CFB-939C-BC0B-85DA53D8F68C}"/>
                </a:ext>
              </a:extLst>
            </p:cNvPr>
            <p:cNvSpPr/>
            <p:nvPr/>
          </p:nvSpPr>
          <p:spPr>
            <a:xfrm>
              <a:off x="-978299" y="4107544"/>
              <a:ext cx="16369553" cy="2076171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  <p:sp>
          <p:nvSpPr>
            <p:cNvPr id="21" name="Полилиния 20">
              <a:extLst>
                <a:ext uri="{FF2B5EF4-FFF2-40B4-BE49-F238E27FC236}">
                  <a16:creationId xmlns:a16="http://schemas.microsoft.com/office/drawing/2014/main" id="{1D9DDAD9-759F-72DC-4769-3A60431CBD78}"/>
                </a:ext>
              </a:extLst>
            </p:cNvPr>
            <p:cNvSpPr/>
            <p:nvPr/>
          </p:nvSpPr>
          <p:spPr>
            <a:xfrm>
              <a:off x="2882469" y="3674312"/>
              <a:ext cx="2063749" cy="433233"/>
            </a:xfrm>
            <a:custGeom>
              <a:avLst/>
              <a:gdLst>
                <a:gd name="connsiteX0" fmla="*/ 2618174 w 5360120"/>
                <a:gd name="connsiteY0" fmla="*/ 0 h 1115727"/>
                <a:gd name="connsiteX1" fmla="*/ 2679502 w 5360120"/>
                <a:gd name="connsiteY1" fmla="*/ 0 h 1115727"/>
                <a:gd name="connsiteX2" fmla="*/ 2740830 w 5360120"/>
                <a:gd name="connsiteY2" fmla="*/ 0 h 1115727"/>
                <a:gd name="connsiteX3" fmla="*/ 2803273 w 5360120"/>
                <a:gd name="connsiteY3" fmla="*/ 3340 h 1115727"/>
                <a:gd name="connsiteX4" fmla="*/ 2864601 w 5360120"/>
                <a:gd name="connsiteY4" fmla="*/ 7793 h 1115727"/>
                <a:gd name="connsiteX5" fmla="*/ 2923699 w 5360120"/>
                <a:gd name="connsiteY5" fmla="*/ 14473 h 1115727"/>
                <a:gd name="connsiteX6" fmla="*/ 2985027 w 5360120"/>
                <a:gd name="connsiteY6" fmla="*/ 23379 h 1115727"/>
                <a:gd name="connsiteX7" fmla="*/ 3043010 w 5360120"/>
                <a:gd name="connsiteY7" fmla="*/ 33399 h 1115727"/>
                <a:gd name="connsiteX8" fmla="*/ 3102109 w 5360120"/>
                <a:gd name="connsiteY8" fmla="*/ 46758 h 1115727"/>
                <a:gd name="connsiteX9" fmla="*/ 3160091 w 5360120"/>
                <a:gd name="connsiteY9" fmla="*/ 61231 h 1115727"/>
                <a:gd name="connsiteX10" fmla="*/ 3215843 w 5360120"/>
                <a:gd name="connsiteY10" fmla="*/ 77930 h 1115727"/>
                <a:gd name="connsiteX11" fmla="*/ 3270481 w 5360120"/>
                <a:gd name="connsiteY11" fmla="*/ 95743 h 1115727"/>
                <a:gd name="connsiteX12" fmla="*/ 3325119 w 5360120"/>
                <a:gd name="connsiteY12" fmla="*/ 116895 h 1115727"/>
                <a:gd name="connsiteX13" fmla="*/ 3376411 w 5360120"/>
                <a:gd name="connsiteY13" fmla="*/ 139161 h 1115727"/>
                <a:gd name="connsiteX14" fmla="*/ 3427704 w 5360120"/>
                <a:gd name="connsiteY14" fmla="*/ 163653 h 1115727"/>
                <a:gd name="connsiteX15" fmla="*/ 3477881 w 5360120"/>
                <a:gd name="connsiteY15" fmla="*/ 189259 h 1115727"/>
                <a:gd name="connsiteX16" fmla="*/ 3524713 w 5360120"/>
                <a:gd name="connsiteY16" fmla="*/ 215978 h 1115727"/>
                <a:gd name="connsiteX17" fmla="*/ 3569315 w 5360120"/>
                <a:gd name="connsiteY17" fmla="*/ 247150 h 1115727"/>
                <a:gd name="connsiteX18" fmla="*/ 3570430 w 5360120"/>
                <a:gd name="connsiteY18" fmla="*/ 248263 h 1115727"/>
                <a:gd name="connsiteX19" fmla="*/ 3581581 w 5360120"/>
                <a:gd name="connsiteY19" fmla="*/ 256056 h 1115727"/>
                <a:gd name="connsiteX20" fmla="*/ 3612802 w 5360120"/>
                <a:gd name="connsiteY20" fmla="*/ 277209 h 1115727"/>
                <a:gd name="connsiteX21" fmla="*/ 3671900 w 5360120"/>
                <a:gd name="connsiteY21" fmla="*/ 318401 h 1115727"/>
                <a:gd name="connsiteX22" fmla="*/ 3767795 w 5360120"/>
                <a:gd name="connsiteY22" fmla="*/ 386311 h 1115727"/>
                <a:gd name="connsiteX23" fmla="*/ 3912752 w 5360120"/>
                <a:gd name="connsiteY23" fmla="*/ 487620 h 1115727"/>
                <a:gd name="connsiteX24" fmla="*/ 4114577 w 5360120"/>
                <a:gd name="connsiteY24" fmla="*/ 627895 h 1115727"/>
                <a:gd name="connsiteX25" fmla="*/ 4383305 w 5360120"/>
                <a:gd name="connsiteY25" fmla="*/ 817154 h 1115727"/>
                <a:gd name="connsiteX26" fmla="*/ 4434597 w 5360120"/>
                <a:gd name="connsiteY26" fmla="*/ 851666 h 1115727"/>
                <a:gd name="connsiteX27" fmla="*/ 4490350 w 5360120"/>
                <a:gd name="connsiteY27" fmla="*/ 885065 h 1115727"/>
                <a:gd name="connsiteX28" fmla="*/ 4548333 w 5360120"/>
                <a:gd name="connsiteY28" fmla="*/ 915123 h 1115727"/>
                <a:gd name="connsiteX29" fmla="*/ 4608546 w 5360120"/>
                <a:gd name="connsiteY29" fmla="*/ 944069 h 1115727"/>
                <a:gd name="connsiteX30" fmla="*/ 4670989 w 5360120"/>
                <a:gd name="connsiteY30" fmla="*/ 971901 h 1115727"/>
                <a:gd name="connsiteX31" fmla="*/ 4736777 w 5360120"/>
                <a:gd name="connsiteY31" fmla="*/ 995280 h 1115727"/>
                <a:gd name="connsiteX32" fmla="*/ 4802565 w 5360120"/>
                <a:gd name="connsiteY32" fmla="*/ 1017546 h 1115727"/>
                <a:gd name="connsiteX33" fmla="*/ 4871699 w 5360120"/>
                <a:gd name="connsiteY33" fmla="*/ 1038698 h 1115727"/>
                <a:gd name="connsiteX34" fmla="*/ 4940832 w 5360120"/>
                <a:gd name="connsiteY34" fmla="*/ 1056511 h 1115727"/>
                <a:gd name="connsiteX35" fmla="*/ 5012195 w 5360120"/>
                <a:gd name="connsiteY35" fmla="*/ 1072097 h 1115727"/>
                <a:gd name="connsiteX36" fmla="*/ 5086904 w 5360120"/>
                <a:gd name="connsiteY36" fmla="*/ 1086570 h 1115727"/>
                <a:gd name="connsiteX37" fmla="*/ 5160497 w 5360120"/>
                <a:gd name="connsiteY37" fmla="*/ 1097703 h 1115727"/>
                <a:gd name="connsiteX38" fmla="*/ 5236321 w 5360120"/>
                <a:gd name="connsiteY38" fmla="*/ 1106609 h 1115727"/>
                <a:gd name="connsiteX39" fmla="*/ 5311030 w 5360120"/>
                <a:gd name="connsiteY39" fmla="*/ 1112176 h 1115727"/>
                <a:gd name="connsiteX40" fmla="*/ 5360120 w 5360120"/>
                <a:gd name="connsiteY40" fmla="*/ 1115727 h 1115727"/>
                <a:gd name="connsiteX41" fmla="*/ 0 w 5360120"/>
                <a:gd name="connsiteY41" fmla="*/ 1115727 h 1115727"/>
                <a:gd name="connsiteX42" fmla="*/ 49090 w 5360120"/>
                <a:gd name="connsiteY42" fmla="*/ 1112176 h 1115727"/>
                <a:gd name="connsiteX43" fmla="*/ 124914 w 5360120"/>
                <a:gd name="connsiteY43" fmla="*/ 1106609 h 1115727"/>
                <a:gd name="connsiteX44" fmla="*/ 200738 w 5360120"/>
                <a:gd name="connsiteY44" fmla="*/ 1097703 h 1115727"/>
                <a:gd name="connsiteX45" fmla="*/ 275446 w 5360120"/>
                <a:gd name="connsiteY45" fmla="*/ 1086570 h 1115727"/>
                <a:gd name="connsiteX46" fmla="*/ 347925 w 5360120"/>
                <a:gd name="connsiteY46" fmla="*/ 1072097 h 1115727"/>
                <a:gd name="connsiteX47" fmla="*/ 420403 w 5360120"/>
                <a:gd name="connsiteY47" fmla="*/ 1056511 h 1115727"/>
                <a:gd name="connsiteX48" fmla="*/ 489537 w 5360120"/>
                <a:gd name="connsiteY48" fmla="*/ 1038698 h 1115727"/>
                <a:gd name="connsiteX49" fmla="*/ 558670 w 5360120"/>
                <a:gd name="connsiteY49" fmla="*/ 1017546 h 1115727"/>
                <a:gd name="connsiteX50" fmla="*/ 624458 w 5360120"/>
                <a:gd name="connsiteY50" fmla="*/ 995280 h 1115727"/>
                <a:gd name="connsiteX51" fmla="*/ 690246 w 5360120"/>
                <a:gd name="connsiteY51" fmla="*/ 971901 h 1115727"/>
                <a:gd name="connsiteX52" fmla="*/ 751574 w 5360120"/>
                <a:gd name="connsiteY52" fmla="*/ 944069 h 1115727"/>
                <a:gd name="connsiteX53" fmla="*/ 811787 w 5360120"/>
                <a:gd name="connsiteY53" fmla="*/ 915123 h 1115727"/>
                <a:gd name="connsiteX54" fmla="*/ 869770 w 5360120"/>
                <a:gd name="connsiteY54" fmla="*/ 885065 h 1115727"/>
                <a:gd name="connsiteX55" fmla="*/ 924408 w 5360120"/>
                <a:gd name="connsiteY55" fmla="*/ 851666 h 1115727"/>
                <a:gd name="connsiteX56" fmla="*/ 977930 w 5360120"/>
                <a:gd name="connsiteY56" fmla="*/ 817154 h 1115727"/>
                <a:gd name="connsiteX57" fmla="*/ 979045 w 5360120"/>
                <a:gd name="connsiteY57" fmla="*/ 816041 h 1115727"/>
                <a:gd name="connsiteX58" fmla="*/ 990196 w 5360120"/>
                <a:gd name="connsiteY58" fmla="*/ 808248 h 1115727"/>
                <a:gd name="connsiteX59" fmla="*/ 1021417 w 5360120"/>
                <a:gd name="connsiteY59" fmla="*/ 787095 h 1115727"/>
                <a:gd name="connsiteX60" fmla="*/ 1078285 w 5360120"/>
                <a:gd name="connsiteY60" fmla="*/ 745904 h 1115727"/>
                <a:gd name="connsiteX61" fmla="*/ 1176410 w 5360120"/>
                <a:gd name="connsiteY61" fmla="*/ 677993 h 1115727"/>
                <a:gd name="connsiteX62" fmla="*/ 1321367 w 5360120"/>
                <a:gd name="connsiteY62" fmla="*/ 576684 h 1115727"/>
                <a:gd name="connsiteX63" fmla="*/ 1522076 w 5360120"/>
                <a:gd name="connsiteY63" fmla="*/ 434183 h 1115727"/>
                <a:gd name="connsiteX64" fmla="*/ 1789689 w 5360120"/>
                <a:gd name="connsiteY64" fmla="*/ 247150 h 1115727"/>
                <a:gd name="connsiteX65" fmla="*/ 1836522 w 5360120"/>
                <a:gd name="connsiteY65" fmla="*/ 215978 h 1115727"/>
                <a:gd name="connsiteX66" fmla="*/ 1883354 w 5360120"/>
                <a:gd name="connsiteY66" fmla="*/ 189259 h 1115727"/>
                <a:gd name="connsiteX67" fmla="*/ 1931301 w 5360120"/>
                <a:gd name="connsiteY67" fmla="*/ 163653 h 1115727"/>
                <a:gd name="connsiteX68" fmla="*/ 1982594 w 5360120"/>
                <a:gd name="connsiteY68" fmla="*/ 139161 h 1115727"/>
                <a:gd name="connsiteX69" fmla="*/ 2036116 w 5360120"/>
                <a:gd name="connsiteY69" fmla="*/ 116895 h 1115727"/>
                <a:gd name="connsiteX70" fmla="*/ 2088524 w 5360120"/>
                <a:gd name="connsiteY70" fmla="*/ 95743 h 1115727"/>
                <a:gd name="connsiteX71" fmla="*/ 2145392 w 5360120"/>
                <a:gd name="connsiteY71" fmla="*/ 77930 h 1115727"/>
                <a:gd name="connsiteX72" fmla="*/ 2201144 w 5360120"/>
                <a:gd name="connsiteY72" fmla="*/ 61231 h 1115727"/>
                <a:gd name="connsiteX73" fmla="*/ 2259127 w 5360120"/>
                <a:gd name="connsiteY73" fmla="*/ 46758 h 1115727"/>
                <a:gd name="connsiteX74" fmla="*/ 2317110 w 5360120"/>
                <a:gd name="connsiteY74" fmla="*/ 33399 h 1115727"/>
                <a:gd name="connsiteX75" fmla="*/ 2376208 w 5360120"/>
                <a:gd name="connsiteY75" fmla="*/ 23379 h 1115727"/>
                <a:gd name="connsiteX76" fmla="*/ 2435305 w 5360120"/>
                <a:gd name="connsiteY76" fmla="*/ 14473 h 1115727"/>
                <a:gd name="connsiteX77" fmla="*/ 2496633 w 5360120"/>
                <a:gd name="connsiteY77" fmla="*/ 7793 h 1115727"/>
                <a:gd name="connsiteX78" fmla="*/ 2557961 w 5360120"/>
                <a:gd name="connsiteY78" fmla="*/ 3340 h 11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60120" h="1115727">
                  <a:moveTo>
                    <a:pt x="2618174" y="0"/>
                  </a:moveTo>
                  <a:lnTo>
                    <a:pt x="2679502" y="0"/>
                  </a:lnTo>
                  <a:lnTo>
                    <a:pt x="2740830" y="0"/>
                  </a:lnTo>
                  <a:lnTo>
                    <a:pt x="2803273" y="3340"/>
                  </a:lnTo>
                  <a:lnTo>
                    <a:pt x="2864601" y="7793"/>
                  </a:lnTo>
                  <a:lnTo>
                    <a:pt x="2923699" y="14473"/>
                  </a:lnTo>
                  <a:lnTo>
                    <a:pt x="2985027" y="23379"/>
                  </a:lnTo>
                  <a:lnTo>
                    <a:pt x="3043010" y="33399"/>
                  </a:lnTo>
                  <a:lnTo>
                    <a:pt x="3102109" y="46758"/>
                  </a:lnTo>
                  <a:lnTo>
                    <a:pt x="3160091" y="61231"/>
                  </a:lnTo>
                  <a:lnTo>
                    <a:pt x="3215843" y="77930"/>
                  </a:lnTo>
                  <a:lnTo>
                    <a:pt x="3270481" y="95743"/>
                  </a:lnTo>
                  <a:lnTo>
                    <a:pt x="3325119" y="116895"/>
                  </a:lnTo>
                  <a:lnTo>
                    <a:pt x="3376411" y="139161"/>
                  </a:lnTo>
                  <a:lnTo>
                    <a:pt x="3427704" y="163653"/>
                  </a:lnTo>
                  <a:lnTo>
                    <a:pt x="3477881" y="189259"/>
                  </a:lnTo>
                  <a:lnTo>
                    <a:pt x="3524713" y="215978"/>
                  </a:lnTo>
                  <a:lnTo>
                    <a:pt x="3569315" y="247150"/>
                  </a:lnTo>
                  <a:lnTo>
                    <a:pt x="3570430" y="248263"/>
                  </a:lnTo>
                  <a:lnTo>
                    <a:pt x="3581581" y="256056"/>
                  </a:lnTo>
                  <a:lnTo>
                    <a:pt x="3612802" y="277209"/>
                  </a:lnTo>
                  <a:lnTo>
                    <a:pt x="3671900" y="318401"/>
                  </a:lnTo>
                  <a:lnTo>
                    <a:pt x="3767795" y="386311"/>
                  </a:lnTo>
                  <a:lnTo>
                    <a:pt x="3912752" y="487620"/>
                  </a:lnTo>
                  <a:lnTo>
                    <a:pt x="4114577" y="627895"/>
                  </a:lnTo>
                  <a:lnTo>
                    <a:pt x="4383305" y="817154"/>
                  </a:lnTo>
                  <a:lnTo>
                    <a:pt x="4434597" y="851666"/>
                  </a:lnTo>
                  <a:lnTo>
                    <a:pt x="4490350" y="885065"/>
                  </a:lnTo>
                  <a:lnTo>
                    <a:pt x="4548333" y="915123"/>
                  </a:lnTo>
                  <a:lnTo>
                    <a:pt x="4608546" y="944069"/>
                  </a:lnTo>
                  <a:lnTo>
                    <a:pt x="4670989" y="971901"/>
                  </a:lnTo>
                  <a:lnTo>
                    <a:pt x="4736777" y="995280"/>
                  </a:lnTo>
                  <a:lnTo>
                    <a:pt x="4802565" y="1017546"/>
                  </a:lnTo>
                  <a:lnTo>
                    <a:pt x="4871699" y="1038698"/>
                  </a:lnTo>
                  <a:lnTo>
                    <a:pt x="4940832" y="1056511"/>
                  </a:lnTo>
                  <a:lnTo>
                    <a:pt x="5012195" y="1072097"/>
                  </a:lnTo>
                  <a:lnTo>
                    <a:pt x="5086904" y="1086570"/>
                  </a:lnTo>
                  <a:lnTo>
                    <a:pt x="5160497" y="1097703"/>
                  </a:lnTo>
                  <a:lnTo>
                    <a:pt x="5236321" y="1106609"/>
                  </a:lnTo>
                  <a:lnTo>
                    <a:pt x="5311030" y="1112176"/>
                  </a:lnTo>
                  <a:lnTo>
                    <a:pt x="5360120" y="1115727"/>
                  </a:lnTo>
                  <a:lnTo>
                    <a:pt x="0" y="1115727"/>
                  </a:lnTo>
                  <a:lnTo>
                    <a:pt x="49090" y="1112176"/>
                  </a:lnTo>
                  <a:lnTo>
                    <a:pt x="124914" y="1106609"/>
                  </a:lnTo>
                  <a:lnTo>
                    <a:pt x="200738" y="1097703"/>
                  </a:lnTo>
                  <a:lnTo>
                    <a:pt x="275446" y="1086570"/>
                  </a:lnTo>
                  <a:lnTo>
                    <a:pt x="347925" y="1072097"/>
                  </a:lnTo>
                  <a:lnTo>
                    <a:pt x="420403" y="1056511"/>
                  </a:lnTo>
                  <a:lnTo>
                    <a:pt x="489537" y="1038698"/>
                  </a:lnTo>
                  <a:lnTo>
                    <a:pt x="558670" y="1017546"/>
                  </a:lnTo>
                  <a:lnTo>
                    <a:pt x="624458" y="995280"/>
                  </a:lnTo>
                  <a:lnTo>
                    <a:pt x="690246" y="971901"/>
                  </a:lnTo>
                  <a:lnTo>
                    <a:pt x="751574" y="944069"/>
                  </a:lnTo>
                  <a:lnTo>
                    <a:pt x="811787" y="915123"/>
                  </a:lnTo>
                  <a:lnTo>
                    <a:pt x="869770" y="885065"/>
                  </a:lnTo>
                  <a:lnTo>
                    <a:pt x="924408" y="851666"/>
                  </a:lnTo>
                  <a:lnTo>
                    <a:pt x="977930" y="817154"/>
                  </a:lnTo>
                  <a:lnTo>
                    <a:pt x="979045" y="816041"/>
                  </a:lnTo>
                  <a:lnTo>
                    <a:pt x="990196" y="808248"/>
                  </a:lnTo>
                  <a:lnTo>
                    <a:pt x="1021417" y="787095"/>
                  </a:lnTo>
                  <a:lnTo>
                    <a:pt x="1078285" y="745904"/>
                  </a:lnTo>
                  <a:lnTo>
                    <a:pt x="1176410" y="677993"/>
                  </a:lnTo>
                  <a:lnTo>
                    <a:pt x="1321367" y="576684"/>
                  </a:lnTo>
                  <a:lnTo>
                    <a:pt x="1522076" y="434183"/>
                  </a:lnTo>
                  <a:lnTo>
                    <a:pt x="1789689" y="247150"/>
                  </a:lnTo>
                  <a:lnTo>
                    <a:pt x="1836522" y="215978"/>
                  </a:lnTo>
                  <a:lnTo>
                    <a:pt x="1883354" y="189259"/>
                  </a:lnTo>
                  <a:lnTo>
                    <a:pt x="1931301" y="163653"/>
                  </a:lnTo>
                  <a:lnTo>
                    <a:pt x="1982594" y="139161"/>
                  </a:lnTo>
                  <a:lnTo>
                    <a:pt x="2036116" y="116895"/>
                  </a:lnTo>
                  <a:lnTo>
                    <a:pt x="2088524" y="95743"/>
                  </a:lnTo>
                  <a:lnTo>
                    <a:pt x="2145392" y="77930"/>
                  </a:lnTo>
                  <a:lnTo>
                    <a:pt x="2201144" y="61231"/>
                  </a:lnTo>
                  <a:lnTo>
                    <a:pt x="2259127" y="46758"/>
                  </a:lnTo>
                  <a:lnTo>
                    <a:pt x="2317110" y="33399"/>
                  </a:lnTo>
                  <a:lnTo>
                    <a:pt x="2376208" y="23379"/>
                  </a:lnTo>
                  <a:lnTo>
                    <a:pt x="2435305" y="14473"/>
                  </a:lnTo>
                  <a:lnTo>
                    <a:pt x="2496633" y="7793"/>
                  </a:lnTo>
                  <a:lnTo>
                    <a:pt x="2557961" y="3340"/>
                  </a:ln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68EFF9AF-005D-DD7B-1FA9-35AB5309E09D}"/>
              </a:ext>
            </a:extLst>
          </p:cNvPr>
          <p:cNvSpPr txBox="1"/>
          <p:nvPr/>
        </p:nvSpPr>
        <p:spPr>
          <a:xfrm>
            <a:off x="4985671" y="4767756"/>
            <a:ext cx="6796863" cy="669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4500"/>
              </a:lnSpc>
            </a:pPr>
            <a:r>
              <a:rPr lang="ru-RU" sz="4000" dirty="0" err="1">
                <a:solidFill>
                  <a:schemeClr val="bg1"/>
                </a:solidFill>
                <a:effectLst/>
                <a:latin typeface="Unbounded" panose="020B0305040102020103" pitchFamily="34" charset="0"/>
              </a:rPr>
              <a:t>Видеовстречи</a:t>
            </a:r>
            <a:endParaRPr lang="ru-RU" sz="3600" dirty="0">
              <a:solidFill>
                <a:schemeClr val="bg1"/>
              </a:solidFill>
              <a:effectLst/>
              <a:latin typeface="Unbounde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0B89E2C5-5458-8A14-66CE-C1BA38744CF4}"/>
              </a:ext>
            </a:extLst>
          </p:cNvPr>
          <p:cNvGrpSpPr/>
          <p:nvPr/>
        </p:nvGrpSpPr>
        <p:grpSpPr>
          <a:xfrm>
            <a:off x="4795250" y="3887431"/>
            <a:ext cx="750136" cy="750136"/>
            <a:chOff x="7871724" y="7154806"/>
            <a:chExt cx="2600444" cy="2600444"/>
          </a:xfrm>
        </p:grpSpPr>
        <p:sp>
          <p:nvSpPr>
            <p:cNvPr id="25" name="Овал 24">
              <a:extLst>
                <a:ext uri="{FF2B5EF4-FFF2-40B4-BE49-F238E27FC236}">
                  <a16:creationId xmlns:a16="http://schemas.microsoft.com/office/drawing/2014/main" id="{951557DF-7108-8F6E-E4FD-BCED8AEC3BF7}"/>
                </a:ext>
              </a:extLst>
            </p:cNvPr>
            <p:cNvSpPr/>
            <p:nvPr/>
          </p:nvSpPr>
          <p:spPr>
            <a:xfrm>
              <a:off x="7871724" y="7154806"/>
              <a:ext cx="2600444" cy="2600444"/>
            </a:xfrm>
            <a:prstGeom prst="ellipse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 dirty="0"/>
            </a:p>
          </p:txBody>
        </p:sp>
        <p:sp>
          <p:nvSpPr>
            <p:cNvPr id="26" name="Овал 25">
              <a:extLst>
                <a:ext uri="{FF2B5EF4-FFF2-40B4-BE49-F238E27FC236}">
                  <a16:creationId xmlns:a16="http://schemas.microsoft.com/office/drawing/2014/main" id="{333D4AB0-5B22-64D1-094A-C7CD340039EA}"/>
                </a:ext>
              </a:extLst>
            </p:cNvPr>
            <p:cNvSpPr/>
            <p:nvPr/>
          </p:nvSpPr>
          <p:spPr>
            <a:xfrm>
              <a:off x="8097382" y="7606122"/>
              <a:ext cx="2149128" cy="2149128"/>
            </a:xfrm>
            <a:prstGeom prst="ellipse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 dirty="0"/>
            </a:p>
          </p:txBody>
        </p:sp>
        <p:sp>
          <p:nvSpPr>
            <p:cNvPr id="27" name="Овал 26">
              <a:extLst>
                <a:ext uri="{FF2B5EF4-FFF2-40B4-BE49-F238E27FC236}">
                  <a16:creationId xmlns:a16="http://schemas.microsoft.com/office/drawing/2014/main" id="{B732698A-9E8C-DED8-388E-3CC849B65F75}"/>
                </a:ext>
              </a:extLst>
            </p:cNvPr>
            <p:cNvSpPr/>
            <p:nvPr/>
          </p:nvSpPr>
          <p:spPr>
            <a:xfrm>
              <a:off x="8364611" y="8140579"/>
              <a:ext cx="1614671" cy="1614671"/>
            </a:xfrm>
            <a:prstGeom prst="ellipse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Unbounded" panose="020B0305040102020103" pitchFamily="34" charset="0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927399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1.11111E-6 L 0.06576 1.11111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8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3000" fill="hold"/>
                                        <p:tgtEl>
                                          <p:spTgt spid="1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8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5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3000" fill="hold"/>
                                        <p:tgtEl>
                                          <p:spTgt spid="1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0" dur="8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5000" fill="hold"/>
                                        <p:tgtEl>
                                          <p:spTgt spid="1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  <p:bldP spid="10" grpId="0" animBg="1"/>
      <p:bldP spid="10" grpId="1" animBg="1"/>
      <p:bldP spid="12" grpId="0" animBg="1"/>
      <p:bldP spid="12" grpId="1" animBg="1"/>
      <p:bldP spid="14" grpId="0" animBg="1"/>
      <p:bldP spid="14" grpId="1" animBg="1"/>
      <p:bldP spid="15" grpId="0" animBg="1"/>
      <p:bldP spid="15" grpId="1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8">
            <a:extLst>
              <a:ext uri="{FF2B5EF4-FFF2-40B4-BE49-F238E27FC236}">
                <a16:creationId xmlns:a16="http://schemas.microsoft.com/office/drawing/2014/main" id="{95662A4C-AC5D-6CAC-87E7-58C8A92FF0B0}"/>
              </a:ext>
            </a:extLst>
          </p:cNvPr>
          <p:cNvSpPr>
            <a:spLocks/>
          </p:cNvSpPr>
          <p:nvPr/>
        </p:nvSpPr>
        <p:spPr bwMode="auto">
          <a:xfrm>
            <a:off x="7951518" y="8623395"/>
            <a:ext cx="0" cy="6184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2133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2" name="Group 73">
            <a:extLst>
              <a:ext uri="{FF2B5EF4-FFF2-40B4-BE49-F238E27FC236}">
                <a16:creationId xmlns:a16="http://schemas.microsoft.com/office/drawing/2014/main" id="{9B0FBD64-CCF8-9F04-E24B-82E4B68F9B2A}"/>
              </a:ext>
            </a:extLst>
          </p:cNvPr>
          <p:cNvGrpSpPr/>
          <p:nvPr/>
        </p:nvGrpSpPr>
        <p:grpSpPr>
          <a:xfrm>
            <a:off x="9661085" y="7859812"/>
            <a:ext cx="3333884" cy="2424642"/>
            <a:chOff x="-2" y="0"/>
            <a:chExt cx="6428641" cy="6858000"/>
          </a:xfrm>
        </p:grpSpPr>
        <p:sp>
          <p:nvSpPr>
            <p:cNvPr id="113" name="Rectangle 36">
              <a:extLst>
                <a:ext uri="{FF2B5EF4-FFF2-40B4-BE49-F238E27FC236}">
                  <a16:creationId xmlns:a16="http://schemas.microsoft.com/office/drawing/2014/main" id="{8B6CED46-64ED-2A08-B14A-E986114E7593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4" name="Rectangle 9">
              <a:extLst>
                <a:ext uri="{FF2B5EF4-FFF2-40B4-BE49-F238E27FC236}">
                  <a16:creationId xmlns:a16="http://schemas.microsoft.com/office/drawing/2014/main" id="{712F4F73-5881-3F37-E363-FA5502EDBF2E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5" name="Rectangle 31">
              <a:extLst>
                <a:ext uri="{FF2B5EF4-FFF2-40B4-BE49-F238E27FC236}">
                  <a16:creationId xmlns:a16="http://schemas.microsoft.com/office/drawing/2014/main" id="{DE2B08FF-1427-8DBB-7E2D-ADA9EA3A111D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6" name="Rectangle 32">
              <a:extLst>
                <a:ext uri="{FF2B5EF4-FFF2-40B4-BE49-F238E27FC236}">
                  <a16:creationId xmlns:a16="http://schemas.microsoft.com/office/drawing/2014/main" id="{B2230A0A-48D1-EEA6-BFAE-34BF7F26E6EE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7" name="Rectangle 33">
              <a:extLst>
                <a:ext uri="{FF2B5EF4-FFF2-40B4-BE49-F238E27FC236}">
                  <a16:creationId xmlns:a16="http://schemas.microsoft.com/office/drawing/2014/main" id="{06272225-732E-2258-149D-D5096432B1F7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8" name="Rectangle 34">
              <a:extLst>
                <a:ext uri="{FF2B5EF4-FFF2-40B4-BE49-F238E27FC236}">
                  <a16:creationId xmlns:a16="http://schemas.microsoft.com/office/drawing/2014/main" id="{35AC9AEA-923F-D116-D891-4EE5F1DF7081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9" name="Rectangle 35">
              <a:extLst>
                <a:ext uri="{FF2B5EF4-FFF2-40B4-BE49-F238E27FC236}">
                  <a16:creationId xmlns:a16="http://schemas.microsoft.com/office/drawing/2014/main" id="{7911424F-AEB1-5466-4534-73C20C9004E9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0" name="Rectangle 37">
              <a:extLst>
                <a:ext uri="{FF2B5EF4-FFF2-40B4-BE49-F238E27FC236}">
                  <a16:creationId xmlns:a16="http://schemas.microsoft.com/office/drawing/2014/main" id="{FBA12D0D-4504-576E-7821-DC5C353963C0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1" name="Rectangle 48">
              <a:extLst>
                <a:ext uri="{FF2B5EF4-FFF2-40B4-BE49-F238E27FC236}">
                  <a16:creationId xmlns:a16="http://schemas.microsoft.com/office/drawing/2014/main" id="{BE7AE5AB-A0DA-EC90-32C2-2AD056F6A865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2" name="Rectangle 49">
              <a:extLst>
                <a:ext uri="{FF2B5EF4-FFF2-40B4-BE49-F238E27FC236}">
                  <a16:creationId xmlns:a16="http://schemas.microsoft.com/office/drawing/2014/main" id="{889F5CFC-ADAC-1C6B-0400-BE076BCD9337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C7C4012-7D30-F9C6-B9B6-E437DE890220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3" name="Полилиния 2">
            <a:extLst>
              <a:ext uri="{FF2B5EF4-FFF2-40B4-BE49-F238E27FC236}">
                <a16:creationId xmlns:a16="http://schemas.microsoft.com/office/drawing/2014/main" id="{80D787BC-FDFE-C7DC-1ECC-5E6D70531E86}"/>
              </a:ext>
            </a:extLst>
          </p:cNvPr>
          <p:cNvSpPr/>
          <p:nvPr/>
        </p:nvSpPr>
        <p:spPr>
          <a:xfrm rot="16200000" flipH="1">
            <a:off x="2884202" y="-2484445"/>
            <a:ext cx="6423597" cy="11826893"/>
          </a:xfrm>
          <a:custGeom>
            <a:avLst/>
            <a:gdLst>
              <a:gd name="connsiteX0" fmla="*/ 0 w 6423597"/>
              <a:gd name="connsiteY0" fmla="*/ 6303372 h 11826893"/>
              <a:gd name="connsiteX1" fmla="*/ 0 w 6423597"/>
              <a:gd name="connsiteY1" fmla="*/ 11575795 h 11826893"/>
              <a:gd name="connsiteX2" fmla="*/ 251098 w 6423597"/>
              <a:gd name="connsiteY2" fmla="*/ 11826893 h 11826893"/>
              <a:gd name="connsiteX3" fmla="*/ 6172498 w 6423597"/>
              <a:gd name="connsiteY3" fmla="*/ 11826893 h 11826893"/>
              <a:gd name="connsiteX4" fmla="*/ 6423596 w 6423597"/>
              <a:gd name="connsiteY4" fmla="*/ 11575795 h 11826893"/>
              <a:gd name="connsiteX5" fmla="*/ 6423596 w 6423597"/>
              <a:gd name="connsiteY5" fmla="*/ 4570674 h 11826893"/>
              <a:gd name="connsiteX6" fmla="*/ 6423597 w 6423597"/>
              <a:gd name="connsiteY6" fmla="*/ 4570673 h 11826893"/>
              <a:gd name="connsiteX7" fmla="*/ 6423596 w 6423597"/>
              <a:gd name="connsiteY7" fmla="*/ 251098 h 11826893"/>
              <a:gd name="connsiteX8" fmla="*/ 6172498 w 6423597"/>
              <a:gd name="connsiteY8" fmla="*/ 0 h 11826893"/>
              <a:gd name="connsiteX9" fmla="*/ 251099 w 6423597"/>
              <a:gd name="connsiteY9" fmla="*/ 0 h 11826893"/>
              <a:gd name="connsiteX10" fmla="*/ 1 w 6423597"/>
              <a:gd name="connsiteY10" fmla="*/ 251098 h 11826893"/>
              <a:gd name="connsiteX11" fmla="*/ 1 w 6423597"/>
              <a:gd name="connsiteY11" fmla="*/ 6303372 h 11826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23597" h="11826893">
                <a:moveTo>
                  <a:pt x="0" y="6303372"/>
                </a:moveTo>
                <a:lnTo>
                  <a:pt x="0" y="11575795"/>
                </a:lnTo>
                <a:cubicBezTo>
                  <a:pt x="0" y="11714473"/>
                  <a:pt x="112420" y="11826893"/>
                  <a:pt x="251098" y="11826893"/>
                </a:cubicBezTo>
                <a:lnTo>
                  <a:pt x="6172498" y="11826893"/>
                </a:lnTo>
                <a:cubicBezTo>
                  <a:pt x="6311176" y="11826893"/>
                  <a:pt x="6423596" y="11714473"/>
                  <a:pt x="6423596" y="11575795"/>
                </a:cubicBezTo>
                <a:lnTo>
                  <a:pt x="6423596" y="4570674"/>
                </a:lnTo>
                <a:lnTo>
                  <a:pt x="6423597" y="4570673"/>
                </a:lnTo>
                <a:lnTo>
                  <a:pt x="6423596" y="251098"/>
                </a:lnTo>
                <a:cubicBezTo>
                  <a:pt x="6423596" y="112420"/>
                  <a:pt x="6311176" y="0"/>
                  <a:pt x="6172498" y="0"/>
                </a:cubicBezTo>
                <a:lnTo>
                  <a:pt x="251099" y="0"/>
                </a:lnTo>
                <a:cubicBezTo>
                  <a:pt x="112421" y="0"/>
                  <a:pt x="1" y="112420"/>
                  <a:pt x="1" y="251098"/>
                </a:cubicBezTo>
                <a:lnTo>
                  <a:pt x="1" y="6303372"/>
                </a:lnTo>
                <a:close/>
              </a:path>
            </a:pathLst>
          </a:custGeom>
          <a:gradFill flip="none" rotWithShape="1">
            <a:gsLst>
              <a:gs pos="36000">
                <a:srgbClr val="4550E5"/>
              </a:gs>
              <a:gs pos="100000">
                <a:srgbClr val="4550E5">
                  <a:lumMod val="69000"/>
                  <a:lumOff val="31000"/>
                </a:srgbClr>
              </a:gs>
            </a:gsLst>
            <a:lin ang="1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80EB334-D666-F5FC-BD73-6918B7BB0AD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46672" y="588754"/>
            <a:ext cx="10098656" cy="5680492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6723901B-567F-48AC-CC6C-9F3097B517BB}"/>
              </a:ext>
            </a:extLst>
          </p:cNvPr>
          <p:cNvGrpSpPr/>
          <p:nvPr/>
        </p:nvGrpSpPr>
        <p:grpSpPr>
          <a:xfrm>
            <a:off x="16351562" y="1543071"/>
            <a:ext cx="1891155" cy="1638604"/>
            <a:chOff x="2570693" y="1543071"/>
            <a:chExt cx="1891155" cy="1638604"/>
          </a:xfrm>
        </p:grpSpPr>
        <p:sp>
          <p:nvSpPr>
            <p:cNvPr id="10" name="Rectangle 24">
              <a:extLst>
                <a:ext uri="{FF2B5EF4-FFF2-40B4-BE49-F238E27FC236}">
                  <a16:creationId xmlns:a16="http://schemas.microsoft.com/office/drawing/2014/main" id="{D88A873C-B7D5-6C99-EC1F-2679AB7C0DF7}"/>
                </a:ext>
              </a:extLst>
            </p:cNvPr>
            <p:cNvSpPr/>
            <p:nvPr/>
          </p:nvSpPr>
          <p:spPr>
            <a:xfrm>
              <a:off x="2570693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2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469D064F-C0C3-C727-3A53-CE485685C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50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2" name="Freeform 7">
            <a:extLst>
              <a:ext uri="{FF2B5EF4-FFF2-40B4-BE49-F238E27FC236}">
                <a16:creationId xmlns:a16="http://schemas.microsoft.com/office/drawing/2014/main" id="{CDEB4B4A-61EB-B069-D8BF-B3F006CFFC20}"/>
              </a:ext>
            </a:extLst>
          </p:cNvPr>
          <p:cNvSpPr>
            <a:spLocks/>
          </p:cNvSpPr>
          <p:nvPr/>
        </p:nvSpPr>
        <p:spPr bwMode="auto">
          <a:xfrm>
            <a:off x="17158888" y="2962442"/>
            <a:ext cx="54841" cy="38966"/>
          </a:xfrm>
          <a:custGeom>
            <a:avLst/>
            <a:gdLst>
              <a:gd name="T0" fmla="*/ 34 w 45"/>
              <a:gd name="T1" fmla="*/ 31 h 31"/>
              <a:gd name="T2" fmla="*/ 30 w 45"/>
              <a:gd name="T3" fmla="*/ 31 h 31"/>
              <a:gd name="T4" fmla="*/ 8 w 45"/>
              <a:gd name="T5" fmla="*/ 21 h 31"/>
              <a:gd name="T6" fmla="*/ 3 w 45"/>
              <a:gd name="T7" fmla="*/ 7 h 31"/>
              <a:gd name="T8" fmla="*/ 16 w 45"/>
              <a:gd name="T9" fmla="*/ 3 h 31"/>
              <a:gd name="T10" fmla="*/ 38 w 45"/>
              <a:gd name="T11" fmla="*/ 12 h 31"/>
              <a:gd name="T12" fmla="*/ 43 w 45"/>
              <a:gd name="T13" fmla="*/ 25 h 31"/>
              <a:gd name="T14" fmla="*/ 34 w 45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5" h="31">
                <a:moveTo>
                  <a:pt x="34" y="31"/>
                </a:moveTo>
                <a:cubicBezTo>
                  <a:pt x="33" y="31"/>
                  <a:pt x="31" y="31"/>
                  <a:pt x="30" y="31"/>
                </a:cubicBezTo>
                <a:cubicBezTo>
                  <a:pt x="22" y="27"/>
                  <a:pt x="15" y="24"/>
                  <a:pt x="8" y="21"/>
                </a:cubicBezTo>
                <a:cubicBezTo>
                  <a:pt x="3" y="18"/>
                  <a:pt x="0" y="12"/>
                  <a:pt x="3" y="7"/>
                </a:cubicBezTo>
                <a:cubicBezTo>
                  <a:pt x="5" y="2"/>
                  <a:pt x="11" y="0"/>
                  <a:pt x="16" y="3"/>
                </a:cubicBezTo>
                <a:cubicBezTo>
                  <a:pt x="23" y="6"/>
                  <a:pt x="31" y="9"/>
                  <a:pt x="38" y="12"/>
                </a:cubicBezTo>
                <a:cubicBezTo>
                  <a:pt x="43" y="14"/>
                  <a:pt x="45" y="20"/>
                  <a:pt x="43" y="25"/>
                </a:cubicBezTo>
                <a:cubicBezTo>
                  <a:pt x="41" y="29"/>
                  <a:pt x="38" y="31"/>
                  <a:pt x="34" y="31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sp>
        <p:nvSpPr>
          <p:cNvPr id="13" name="Freeform 8">
            <a:extLst>
              <a:ext uri="{FF2B5EF4-FFF2-40B4-BE49-F238E27FC236}">
                <a16:creationId xmlns:a16="http://schemas.microsoft.com/office/drawing/2014/main" id="{5C4A1126-C131-CB63-2295-2874CD89ABF0}"/>
              </a:ext>
            </a:extLst>
          </p:cNvPr>
          <p:cNvSpPr>
            <a:spLocks noEditPoints="1"/>
          </p:cNvSpPr>
          <p:nvPr/>
        </p:nvSpPr>
        <p:spPr bwMode="auto">
          <a:xfrm>
            <a:off x="17241149" y="1530804"/>
            <a:ext cx="1014557" cy="1529774"/>
          </a:xfrm>
          <a:custGeom>
            <a:avLst/>
            <a:gdLst>
              <a:gd name="T0" fmla="*/ 197 w 827"/>
              <a:gd name="T1" fmla="*/ 1225 h 1245"/>
              <a:gd name="T2" fmla="*/ 245 w 827"/>
              <a:gd name="T3" fmla="*/ 1244 h 1245"/>
              <a:gd name="T4" fmla="*/ 101 w 827"/>
              <a:gd name="T5" fmla="*/ 1237 h 1245"/>
              <a:gd name="T6" fmla="*/ 160 w 827"/>
              <a:gd name="T7" fmla="*/ 1234 h 1245"/>
              <a:gd name="T8" fmla="*/ 290 w 827"/>
              <a:gd name="T9" fmla="*/ 1219 h 1245"/>
              <a:gd name="T10" fmla="*/ 293 w 827"/>
              <a:gd name="T11" fmla="*/ 1239 h 1245"/>
              <a:gd name="T12" fmla="*/ 8 w 827"/>
              <a:gd name="T13" fmla="*/ 1214 h 1245"/>
              <a:gd name="T14" fmla="*/ 66 w 827"/>
              <a:gd name="T15" fmla="*/ 1220 h 1245"/>
              <a:gd name="T16" fmla="*/ 381 w 827"/>
              <a:gd name="T17" fmla="*/ 1199 h 1245"/>
              <a:gd name="T18" fmla="*/ 386 w 827"/>
              <a:gd name="T19" fmla="*/ 1218 h 1245"/>
              <a:gd name="T20" fmla="*/ 467 w 827"/>
              <a:gd name="T21" fmla="*/ 1165 h 1245"/>
              <a:gd name="T22" fmla="*/ 476 w 827"/>
              <a:gd name="T23" fmla="*/ 1183 h 1245"/>
              <a:gd name="T24" fmla="*/ 548 w 827"/>
              <a:gd name="T25" fmla="*/ 1119 h 1245"/>
              <a:gd name="T26" fmla="*/ 559 w 827"/>
              <a:gd name="T27" fmla="*/ 1135 h 1245"/>
              <a:gd name="T28" fmla="*/ 620 w 827"/>
              <a:gd name="T29" fmla="*/ 1060 h 1245"/>
              <a:gd name="T30" fmla="*/ 634 w 827"/>
              <a:gd name="T31" fmla="*/ 1074 h 1245"/>
              <a:gd name="T32" fmla="*/ 682 w 827"/>
              <a:gd name="T33" fmla="*/ 991 h 1245"/>
              <a:gd name="T34" fmla="*/ 698 w 827"/>
              <a:gd name="T35" fmla="*/ 1003 h 1245"/>
              <a:gd name="T36" fmla="*/ 733 w 827"/>
              <a:gd name="T37" fmla="*/ 913 h 1245"/>
              <a:gd name="T38" fmla="*/ 751 w 827"/>
              <a:gd name="T39" fmla="*/ 923 h 1245"/>
              <a:gd name="T40" fmla="*/ 771 w 827"/>
              <a:gd name="T41" fmla="*/ 828 h 1245"/>
              <a:gd name="T42" fmla="*/ 790 w 827"/>
              <a:gd name="T43" fmla="*/ 835 h 1245"/>
              <a:gd name="T44" fmla="*/ 796 w 827"/>
              <a:gd name="T45" fmla="*/ 739 h 1245"/>
              <a:gd name="T46" fmla="*/ 816 w 827"/>
              <a:gd name="T47" fmla="*/ 743 h 1245"/>
              <a:gd name="T48" fmla="*/ 807 w 827"/>
              <a:gd name="T49" fmla="*/ 647 h 1245"/>
              <a:gd name="T50" fmla="*/ 827 w 827"/>
              <a:gd name="T51" fmla="*/ 599 h 1245"/>
              <a:gd name="T52" fmla="*/ 813 w 827"/>
              <a:gd name="T53" fmla="*/ 562 h 1245"/>
              <a:gd name="T54" fmla="*/ 816 w 827"/>
              <a:gd name="T55" fmla="*/ 504 h 1245"/>
              <a:gd name="T56" fmla="*/ 795 w 827"/>
              <a:gd name="T57" fmla="*/ 470 h 1245"/>
              <a:gd name="T58" fmla="*/ 790 w 827"/>
              <a:gd name="T59" fmla="*/ 411 h 1245"/>
              <a:gd name="T60" fmla="*/ 763 w 827"/>
              <a:gd name="T61" fmla="*/ 381 h 1245"/>
              <a:gd name="T62" fmla="*/ 751 w 827"/>
              <a:gd name="T63" fmla="*/ 324 h 1245"/>
              <a:gd name="T64" fmla="*/ 718 w 827"/>
              <a:gd name="T65" fmla="*/ 298 h 1245"/>
              <a:gd name="T66" fmla="*/ 698 w 827"/>
              <a:gd name="T67" fmla="*/ 243 h 1245"/>
              <a:gd name="T68" fmla="*/ 660 w 827"/>
              <a:gd name="T69" fmla="*/ 223 h 1245"/>
              <a:gd name="T70" fmla="*/ 634 w 827"/>
              <a:gd name="T71" fmla="*/ 172 h 1245"/>
              <a:gd name="T72" fmla="*/ 592 w 827"/>
              <a:gd name="T73" fmla="*/ 158 h 1245"/>
              <a:gd name="T74" fmla="*/ 560 w 827"/>
              <a:gd name="T75" fmla="*/ 111 h 1245"/>
              <a:gd name="T76" fmla="*/ 514 w 827"/>
              <a:gd name="T77" fmla="*/ 104 h 1245"/>
              <a:gd name="T78" fmla="*/ 477 w 827"/>
              <a:gd name="T79" fmla="*/ 63 h 1245"/>
              <a:gd name="T80" fmla="*/ 429 w 827"/>
              <a:gd name="T81" fmla="*/ 63 h 1245"/>
              <a:gd name="T82" fmla="*/ 387 w 827"/>
              <a:gd name="T83" fmla="*/ 28 h 1245"/>
              <a:gd name="T84" fmla="*/ 12 w 827"/>
              <a:gd name="T85" fmla="*/ 51 h 1245"/>
              <a:gd name="T86" fmla="*/ 67 w 827"/>
              <a:gd name="T87" fmla="*/ 26 h 1245"/>
              <a:gd name="T88" fmla="*/ 339 w 827"/>
              <a:gd name="T89" fmla="*/ 35 h 1245"/>
              <a:gd name="T90" fmla="*/ 294 w 827"/>
              <a:gd name="T91" fmla="*/ 7 h 1245"/>
              <a:gd name="T92" fmla="*/ 104 w 827"/>
              <a:gd name="T93" fmla="*/ 29 h 1245"/>
              <a:gd name="T94" fmla="*/ 160 w 827"/>
              <a:gd name="T95" fmla="*/ 12 h 1245"/>
              <a:gd name="T96" fmla="*/ 245 w 827"/>
              <a:gd name="T97" fmla="*/ 22 h 1245"/>
              <a:gd name="T98" fmla="*/ 198 w 827"/>
              <a:gd name="T99" fmla="*/ 20 h 1245"/>
              <a:gd name="T100" fmla="*/ 246 w 827"/>
              <a:gd name="T101" fmla="*/ 2 h 1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27" h="1245">
                <a:moveTo>
                  <a:pt x="205" y="1245"/>
                </a:moveTo>
                <a:cubicBezTo>
                  <a:pt x="202" y="1245"/>
                  <a:pt x="200" y="1245"/>
                  <a:pt x="197" y="1245"/>
                </a:cubicBezTo>
                <a:cubicBezTo>
                  <a:pt x="191" y="1245"/>
                  <a:pt x="187" y="1241"/>
                  <a:pt x="187" y="1235"/>
                </a:cubicBezTo>
                <a:cubicBezTo>
                  <a:pt x="187" y="1230"/>
                  <a:pt x="191" y="1225"/>
                  <a:pt x="197" y="1225"/>
                </a:cubicBezTo>
                <a:cubicBezTo>
                  <a:pt x="197" y="1225"/>
                  <a:pt x="197" y="1225"/>
                  <a:pt x="197" y="1225"/>
                </a:cubicBezTo>
                <a:cubicBezTo>
                  <a:pt x="212" y="1226"/>
                  <a:pt x="228" y="1225"/>
                  <a:pt x="244" y="1224"/>
                </a:cubicBezTo>
                <a:cubicBezTo>
                  <a:pt x="249" y="1224"/>
                  <a:pt x="254" y="1228"/>
                  <a:pt x="254" y="1234"/>
                </a:cubicBezTo>
                <a:cubicBezTo>
                  <a:pt x="255" y="1239"/>
                  <a:pt x="250" y="1244"/>
                  <a:pt x="245" y="1244"/>
                </a:cubicBezTo>
                <a:cubicBezTo>
                  <a:pt x="232" y="1245"/>
                  <a:pt x="218" y="1245"/>
                  <a:pt x="205" y="1245"/>
                </a:cubicBezTo>
                <a:close/>
                <a:moveTo>
                  <a:pt x="150" y="1243"/>
                </a:moveTo>
                <a:cubicBezTo>
                  <a:pt x="149" y="1243"/>
                  <a:pt x="149" y="1243"/>
                  <a:pt x="149" y="1243"/>
                </a:cubicBezTo>
                <a:cubicBezTo>
                  <a:pt x="133" y="1241"/>
                  <a:pt x="117" y="1239"/>
                  <a:pt x="101" y="1237"/>
                </a:cubicBezTo>
                <a:cubicBezTo>
                  <a:pt x="96" y="1236"/>
                  <a:pt x="92" y="1231"/>
                  <a:pt x="93" y="1225"/>
                </a:cubicBezTo>
                <a:cubicBezTo>
                  <a:pt x="94" y="1220"/>
                  <a:pt x="99" y="1216"/>
                  <a:pt x="104" y="1217"/>
                </a:cubicBezTo>
                <a:cubicBezTo>
                  <a:pt x="120" y="1220"/>
                  <a:pt x="135" y="1222"/>
                  <a:pt x="151" y="1223"/>
                </a:cubicBezTo>
                <a:cubicBezTo>
                  <a:pt x="156" y="1223"/>
                  <a:pt x="160" y="1228"/>
                  <a:pt x="160" y="1234"/>
                </a:cubicBezTo>
                <a:cubicBezTo>
                  <a:pt x="159" y="1239"/>
                  <a:pt x="155" y="1243"/>
                  <a:pt x="150" y="1243"/>
                </a:cubicBezTo>
                <a:close/>
                <a:moveTo>
                  <a:pt x="291" y="1239"/>
                </a:moveTo>
                <a:cubicBezTo>
                  <a:pt x="286" y="1239"/>
                  <a:pt x="282" y="1236"/>
                  <a:pt x="281" y="1231"/>
                </a:cubicBezTo>
                <a:cubicBezTo>
                  <a:pt x="281" y="1225"/>
                  <a:pt x="284" y="1220"/>
                  <a:pt x="290" y="1219"/>
                </a:cubicBezTo>
                <a:cubicBezTo>
                  <a:pt x="305" y="1217"/>
                  <a:pt x="321" y="1214"/>
                  <a:pt x="336" y="1211"/>
                </a:cubicBezTo>
                <a:cubicBezTo>
                  <a:pt x="341" y="1210"/>
                  <a:pt x="346" y="1213"/>
                  <a:pt x="348" y="1219"/>
                </a:cubicBezTo>
                <a:cubicBezTo>
                  <a:pt x="349" y="1224"/>
                  <a:pt x="345" y="1229"/>
                  <a:pt x="340" y="1231"/>
                </a:cubicBezTo>
                <a:cubicBezTo>
                  <a:pt x="324" y="1234"/>
                  <a:pt x="309" y="1237"/>
                  <a:pt x="293" y="1239"/>
                </a:cubicBezTo>
                <a:cubicBezTo>
                  <a:pt x="292" y="1239"/>
                  <a:pt x="292" y="1239"/>
                  <a:pt x="291" y="1239"/>
                </a:cubicBezTo>
                <a:close/>
                <a:moveTo>
                  <a:pt x="56" y="1227"/>
                </a:moveTo>
                <a:cubicBezTo>
                  <a:pt x="56" y="1227"/>
                  <a:pt x="55" y="1227"/>
                  <a:pt x="54" y="1227"/>
                </a:cubicBezTo>
                <a:cubicBezTo>
                  <a:pt x="39" y="1223"/>
                  <a:pt x="23" y="1219"/>
                  <a:pt x="8" y="1214"/>
                </a:cubicBezTo>
                <a:cubicBezTo>
                  <a:pt x="3" y="1212"/>
                  <a:pt x="0" y="1206"/>
                  <a:pt x="2" y="1201"/>
                </a:cubicBezTo>
                <a:cubicBezTo>
                  <a:pt x="3" y="1196"/>
                  <a:pt x="9" y="1193"/>
                  <a:pt x="14" y="1195"/>
                </a:cubicBezTo>
                <a:cubicBezTo>
                  <a:pt x="29" y="1199"/>
                  <a:pt x="44" y="1204"/>
                  <a:pt x="59" y="1208"/>
                </a:cubicBezTo>
                <a:cubicBezTo>
                  <a:pt x="64" y="1209"/>
                  <a:pt x="68" y="1214"/>
                  <a:pt x="66" y="1220"/>
                </a:cubicBezTo>
                <a:cubicBezTo>
                  <a:pt x="65" y="1224"/>
                  <a:pt x="61" y="1227"/>
                  <a:pt x="56" y="1227"/>
                </a:cubicBezTo>
                <a:close/>
                <a:moveTo>
                  <a:pt x="384" y="1219"/>
                </a:moveTo>
                <a:cubicBezTo>
                  <a:pt x="379" y="1219"/>
                  <a:pt x="375" y="1216"/>
                  <a:pt x="374" y="1212"/>
                </a:cubicBezTo>
                <a:cubicBezTo>
                  <a:pt x="372" y="1207"/>
                  <a:pt x="375" y="1201"/>
                  <a:pt x="381" y="1199"/>
                </a:cubicBezTo>
                <a:cubicBezTo>
                  <a:pt x="395" y="1195"/>
                  <a:pt x="410" y="1190"/>
                  <a:pt x="425" y="1184"/>
                </a:cubicBezTo>
                <a:cubicBezTo>
                  <a:pt x="430" y="1182"/>
                  <a:pt x="436" y="1185"/>
                  <a:pt x="438" y="1190"/>
                </a:cubicBezTo>
                <a:cubicBezTo>
                  <a:pt x="440" y="1195"/>
                  <a:pt x="437" y="1201"/>
                  <a:pt x="432" y="1203"/>
                </a:cubicBezTo>
                <a:cubicBezTo>
                  <a:pt x="417" y="1209"/>
                  <a:pt x="402" y="1214"/>
                  <a:pt x="386" y="1218"/>
                </a:cubicBezTo>
                <a:cubicBezTo>
                  <a:pt x="385" y="1219"/>
                  <a:pt x="385" y="1219"/>
                  <a:pt x="384" y="1219"/>
                </a:cubicBezTo>
                <a:close/>
                <a:moveTo>
                  <a:pt x="472" y="1184"/>
                </a:moveTo>
                <a:cubicBezTo>
                  <a:pt x="468" y="1184"/>
                  <a:pt x="464" y="1182"/>
                  <a:pt x="463" y="1179"/>
                </a:cubicBezTo>
                <a:cubicBezTo>
                  <a:pt x="460" y="1174"/>
                  <a:pt x="462" y="1168"/>
                  <a:pt x="467" y="1165"/>
                </a:cubicBezTo>
                <a:cubicBezTo>
                  <a:pt x="481" y="1159"/>
                  <a:pt x="495" y="1151"/>
                  <a:pt x="508" y="1144"/>
                </a:cubicBezTo>
                <a:cubicBezTo>
                  <a:pt x="513" y="1141"/>
                  <a:pt x="519" y="1142"/>
                  <a:pt x="522" y="1147"/>
                </a:cubicBezTo>
                <a:cubicBezTo>
                  <a:pt x="525" y="1152"/>
                  <a:pt x="523" y="1158"/>
                  <a:pt x="518" y="1161"/>
                </a:cubicBezTo>
                <a:cubicBezTo>
                  <a:pt x="505" y="1169"/>
                  <a:pt x="490" y="1176"/>
                  <a:pt x="476" y="1183"/>
                </a:cubicBezTo>
                <a:cubicBezTo>
                  <a:pt x="475" y="1184"/>
                  <a:pt x="473" y="1184"/>
                  <a:pt x="472" y="1184"/>
                </a:cubicBezTo>
                <a:close/>
                <a:moveTo>
                  <a:pt x="553" y="1137"/>
                </a:moveTo>
                <a:cubicBezTo>
                  <a:pt x="550" y="1137"/>
                  <a:pt x="547" y="1135"/>
                  <a:pt x="545" y="1132"/>
                </a:cubicBezTo>
                <a:cubicBezTo>
                  <a:pt x="542" y="1128"/>
                  <a:pt x="543" y="1122"/>
                  <a:pt x="548" y="1119"/>
                </a:cubicBezTo>
                <a:cubicBezTo>
                  <a:pt x="560" y="1110"/>
                  <a:pt x="573" y="1100"/>
                  <a:pt x="585" y="1091"/>
                </a:cubicBezTo>
                <a:cubicBezTo>
                  <a:pt x="589" y="1087"/>
                  <a:pt x="595" y="1088"/>
                  <a:pt x="599" y="1092"/>
                </a:cubicBezTo>
                <a:cubicBezTo>
                  <a:pt x="602" y="1096"/>
                  <a:pt x="602" y="1103"/>
                  <a:pt x="597" y="1106"/>
                </a:cubicBezTo>
                <a:cubicBezTo>
                  <a:pt x="585" y="1116"/>
                  <a:pt x="572" y="1126"/>
                  <a:pt x="559" y="1135"/>
                </a:cubicBezTo>
                <a:cubicBezTo>
                  <a:pt x="557" y="1136"/>
                  <a:pt x="555" y="1137"/>
                  <a:pt x="553" y="1137"/>
                </a:cubicBezTo>
                <a:close/>
                <a:moveTo>
                  <a:pt x="627" y="1077"/>
                </a:moveTo>
                <a:cubicBezTo>
                  <a:pt x="624" y="1077"/>
                  <a:pt x="621" y="1076"/>
                  <a:pt x="619" y="1074"/>
                </a:cubicBezTo>
                <a:cubicBezTo>
                  <a:pt x="616" y="1070"/>
                  <a:pt x="616" y="1064"/>
                  <a:pt x="620" y="1060"/>
                </a:cubicBezTo>
                <a:cubicBezTo>
                  <a:pt x="631" y="1049"/>
                  <a:pt x="642" y="1038"/>
                  <a:pt x="652" y="1026"/>
                </a:cubicBezTo>
                <a:cubicBezTo>
                  <a:pt x="656" y="1022"/>
                  <a:pt x="662" y="1022"/>
                  <a:pt x="666" y="1026"/>
                </a:cubicBezTo>
                <a:cubicBezTo>
                  <a:pt x="670" y="1029"/>
                  <a:pt x="671" y="1036"/>
                  <a:pt x="667" y="1040"/>
                </a:cubicBezTo>
                <a:cubicBezTo>
                  <a:pt x="656" y="1052"/>
                  <a:pt x="645" y="1063"/>
                  <a:pt x="634" y="1074"/>
                </a:cubicBezTo>
                <a:cubicBezTo>
                  <a:pt x="632" y="1076"/>
                  <a:pt x="629" y="1077"/>
                  <a:pt x="627" y="1077"/>
                </a:cubicBezTo>
                <a:close/>
                <a:moveTo>
                  <a:pt x="690" y="1007"/>
                </a:moveTo>
                <a:cubicBezTo>
                  <a:pt x="688" y="1007"/>
                  <a:pt x="686" y="1006"/>
                  <a:pt x="684" y="1005"/>
                </a:cubicBezTo>
                <a:cubicBezTo>
                  <a:pt x="679" y="1001"/>
                  <a:pt x="679" y="995"/>
                  <a:pt x="682" y="991"/>
                </a:cubicBezTo>
                <a:cubicBezTo>
                  <a:pt x="692" y="979"/>
                  <a:pt x="701" y="966"/>
                  <a:pt x="709" y="953"/>
                </a:cubicBezTo>
                <a:cubicBezTo>
                  <a:pt x="712" y="948"/>
                  <a:pt x="718" y="947"/>
                  <a:pt x="723" y="950"/>
                </a:cubicBezTo>
                <a:cubicBezTo>
                  <a:pt x="728" y="953"/>
                  <a:pt x="729" y="959"/>
                  <a:pt x="726" y="964"/>
                </a:cubicBezTo>
                <a:cubicBezTo>
                  <a:pt x="717" y="977"/>
                  <a:pt x="708" y="990"/>
                  <a:pt x="698" y="1003"/>
                </a:cubicBezTo>
                <a:cubicBezTo>
                  <a:pt x="696" y="1006"/>
                  <a:pt x="693" y="1007"/>
                  <a:pt x="690" y="1007"/>
                </a:cubicBezTo>
                <a:close/>
                <a:moveTo>
                  <a:pt x="742" y="928"/>
                </a:moveTo>
                <a:cubicBezTo>
                  <a:pt x="740" y="928"/>
                  <a:pt x="739" y="928"/>
                  <a:pt x="737" y="927"/>
                </a:cubicBezTo>
                <a:cubicBezTo>
                  <a:pt x="732" y="924"/>
                  <a:pt x="730" y="918"/>
                  <a:pt x="733" y="913"/>
                </a:cubicBezTo>
                <a:cubicBezTo>
                  <a:pt x="740" y="900"/>
                  <a:pt x="747" y="886"/>
                  <a:pt x="754" y="872"/>
                </a:cubicBezTo>
                <a:cubicBezTo>
                  <a:pt x="756" y="866"/>
                  <a:pt x="762" y="864"/>
                  <a:pt x="767" y="867"/>
                </a:cubicBezTo>
                <a:cubicBezTo>
                  <a:pt x="772" y="869"/>
                  <a:pt x="774" y="875"/>
                  <a:pt x="772" y="880"/>
                </a:cubicBezTo>
                <a:cubicBezTo>
                  <a:pt x="765" y="894"/>
                  <a:pt x="758" y="909"/>
                  <a:pt x="751" y="923"/>
                </a:cubicBezTo>
                <a:cubicBezTo>
                  <a:pt x="749" y="926"/>
                  <a:pt x="745" y="928"/>
                  <a:pt x="742" y="928"/>
                </a:cubicBezTo>
                <a:close/>
                <a:moveTo>
                  <a:pt x="781" y="842"/>
                </a:moveTo>
                <a:cubicBezTo>
                  <a:pt x="780" y="842"/>
                  <a:pt x="779" y="842"/>
                  <a:pt x="777" y="841"/>
                </a:cubicBezTo>
                <a:cubicBezTo>
                  <a:pt x="772" y="839"/>
                  <a:pt x="770" y="834"/>
                  <a:pt x="771" y="828"/>
                </a:cubicBezTo>
                <a:cubicBezTo>
                  <a:pt x="777" y="814"/>
                  <a:pt x="781" y="799"/>
                  <a:pt x="786" y="784"/>
                </a:cubicBezTo>
                <a:cubicBezTo>
                  <a:pt x="787" y="779"/>
                  <a:pt x="793" y="776"/>
                  <a:pt x="798" y="777"/>
                </a:cubicBezTo>
                <a:cubicBezTo>
                  <a:pt x="803" y="779"/>
                  <a:pt x="806" y="784"/>
                  <a:pt x="805" y="790"/>
                </a:cubicBezTo>
                <a:cubicBezTo>
                  <a:pt x="801" y="805"/>
                  <a:pt x="796" y="820"/>
                  <a:pt x="790" y="835"/>
                </a:cubicBezTo>
                <a:cubicBezTo>
                  <a:pt x="789" y="839"/>
                  <a:pt x="785" y="842"/>
                  <a:pt x="781" y="842"/>
                </a:cubicBezTo>
                <a:close/>
                <a:moveTo>
                  <a:pt x="806" y="751"/>
                </a:moveTo>
                <a:cubicBezTo>
                  <a:pt x="805" y="751"/>
                  <a:pt x="805" y="751"/>
                  <a:pt x="804" y="751"/>
                </a:cubicBezTo>
                <a:cubicBezTo>
                  <a:pt x="799" y="750"/>
                  <a:pt x="795" y="744"/>
                  <a:pt x="796" y="739"/>
                </a:cubicBezTo>
                <a:cubicBezTo>
                  <a:pt x="799" y="724"/>
                  <a:pt x="802" y="708"/>
                  <a:pt x="803" y="693"/>
                </a:cubicBezTo>
                <a:cubicBezTo>
                  <a:pt x="804" y="687"/>
                  <a:pt x="809" y="683"/>
                  <a:pt x="814" y="684"/>
                </a:cubicBezTo>
                <a:cubicBezTo>
                  <a:pt x="820" y="685"/>
                  <a:pt x="824" y="690"/>
                  <a:pt x="823" y="695"/>
                </a:cubicBezTo>
                <a:cubicBezTo>
                  <a:pt x="821" y="711"/>
                  <a:pt x="819" y="727"/>
                  <a:pt x="816" y="743"/>
                </a:cubicBezTo>
                <a:cubicBezTo>
                  <a:pt x="815" y="748"/>
                  <a:pt x="811" y="751"/>
                  <a:pt x="806" y="751"/>
                </a:cubicBezTo>
                <a:close/>
                <a:moveTo>
                  <a:pt x="817" y="657"/>
                </a:moveTo>
                <a:cubicBezTo>
                  <a:pt x="817" y="657"/>
                  <a:pt x="817" y="657"/>
                  <a:pt x="817" y="657"/>
                </a:cubicBezTo>
                <a:cubicBezTo>
                  <a:pt x="811" y="657"/>
                  <a:pt x="807" y="652"/>
                  <a:pt x="807" y="647"/>
                </a:cubicBezTo>
                <a:cubicBezTo>
                  <a:pt x="807" y="639"/>
                  <a:pt x="807" y="631"/>
                  <a:pt x="807" y="623"/>
                </a:cubicBezTo>
                <a:cubicBezTo>
                  <a:pt x="807" y="615"/>
                  <a:pt x="807" y="608"/>
                  <a:pt x="807" y="600"/>
                </a:cubicBezTo>
                <a:cubicBezTo>
                  <a:pt x="807" y="594"/>
                  <a:pt x="811" y="590"/>
                  <a:pt x="817" y="590"/>
                </a:cubicBezTo>
                <a:cubicBezTo>
                  <a:pt x="822" y="590"/>
                  <a:pt x="827" y="594"/>
                  <a:pt x="827" y="599"/>
                </a:cubicBezTo>
                <a:cubicBezTo>
                  <a:pt x="827" y="607"/>
                  <a:pt x="827" y="615"/>
                  <a:pt x="827" y="623"/>
                </a:cubicBezTo>
                <a:cubicBezTo>
                  <a:pt x="827" y="631"/>
                  <a:pt x="827" y="639"/>
                  <a:pt x="827" y="647"/>
                </a:cubicBezTo>
                <a:cubicBezTo>
                  <a:pt x="827" y="653"/>
                  <a:pt x="822" y="657"/>
                  <a:pt x="817" y="657"/>
                </a:cubicBezTo>
                <a:close/>
                <a:moveTo>
                  <a:pt x="813" y="562"/>
                </a:moveTo>
                <a:cubicBezTo>
                  <a:pt x="808" y="562"/>
                  <a:pt x="804" y="559"/>
                  <a:pt x="803" y="554"/>
                </a:cubicBezTo>
                <a:cubicBezTo>
                  <a:pt x="802" y="538"/>
                  <a:pt x="799" y="523"/>
                  <a:pt x="796" y="508"/>
                </a:cubicBezTo>
                <a:cubicBezTo>
                  <a:pt x="795" y="502"/>
                  <a:pt x="799" y="497"/>
                  <a:pt x="804" y="496"/>
                </a:cubicBezTo>
                <a:cubicBezTo>
                  <a:pt x="810" y="495"/>
                  <a:pt x="815" y="498"/>
                  <a:pt x="816" y="504"/>
                </a:cubicBezTo>
                <a:cubicBezTo>
                  <a:pt x="819" y="519"/>
                  <a:pt x="822" y="535"/>
                  <a:pt x="823" y="551"/>
                </a:cubicBezTo>
                <a:cubicBezTo>
                  <a:pt x="824" y="557"/>
                  <a:pt x="820" y="562"/>
                  <a:pt x="815" y="562"/>
                </a:cubicBezTo>
                <a:cubicBezTo>
                  <a:pt x="814" y="562"/>
                  <a:pt x="814" y="562"/>
                  <a:pt x="813" y="562"/>
                </a:cubicBezTo>
                <a:close/>
                <a:moveTo>
                  <a:pt x="795" y="470"/>
                </a:moveTo>
                <a:cubicBezTo>
                  <a:pt x="791" y="470"/>
                  <a:pt x="787" y="467"/>
                  <a:pt x="786" y="462"/>
                </a:cubicBezTo>
                <a:cubicBezTo>
                  <a:pt x="782" y="447"/>
                  <a:pt x="777" y="433"/>
                  <a:pt x="772" y="418"/>
                </a:cubicBezTo>
                <a:cubicBezTo>
                  <a:pt x="770" y="413"/>
                  <a:pt x="773" y="407"/>
                  <a:pt x="778" y="405"/>
                </a:cubicBezTo>
                <a:cubicBezTo>
                  <a:pt x="783" y="403"/>
                  <a:pt x="789" y="406"/>
                  <a:pt x="790" y="411"/>
                </a:cubicBezTo>
                <a:cubicBezTo>
                  <a:pt x="796" y="426"/>
                  <a:pt x="801" y="442"/>
                  <a:pt x="805" y="457"/>
                </a:cubicBezTo>
                <a:cubicBezTo>
                  <a:pt x="807" y="462"/>
                  <a:pt x="803" y="468"/>
                  <a:pt x="798" y="469"/>
                </a:cubicBezTo>
                <a:cubicBezTo>
                  <a:pt x="797" y="470"/>
                  <a:pt x="796" y="470"/>
                  <a:pt x="795" y="470"/>
                </a:cubicBezTo>
                <a:close/>
                <a:moveTo>
                  <a:pt x="763" y="381"/>
                </a:moveTo>
                <a:cubicBezTo>
                  <a:pt x="759" y="381"/>
                  <a:pt x="756" y="379"/>
                  <a:pt x="754" y="375"/>
                </a:cubicBezTo>
                <a:cubicBezTo>
                  <a:pt x="748" y="361"/>
                  <a:pt x="741" y="347"/>
                  <a:pt x="733" y="333"/>
                </a:cubicBezTo>
                <a:cubicBezTo>
                  <a:pt x="731" y="328"/>
                  <a:pt x="732" y="322"/>
                  <a:pt x="737" y="320"/>
                </a:cubicBezTo>
                <a:cubicBezTo>
                  <a:pt x="742" y="317"/>
                  <a:pt x="748" y="319"/>
                  <a:pt x="751" y="324"/>
                </a:cubicBezTo>
                <a:cubicBezTo>
                  <a:pt x="759" y="338"/>
                  <a:pt x="766" y="352"/>
                  <a:pt x="772" y="367"/>
                </a:cubicBezTo>
                <a:cubicBezTo>
                  <a:pt x="775" y="372"/>
                  <a:pt x="772" y="378"/>
                  <a:pt x="767" y="380"/>
                </a:cubicBezTo>
                <a:cubicBezTo>
                  <a:pt x="766" y="381"/>
                  <a:pt x="765" y="381"/>
                  <a:pt x="763" y="381"/>
                </a:cubicBezTo>
                <a:close/>
                <a:moveTo>
                  <a:pt x="718" y="298"/>
                </a:moveTo>
                <a:cubicBezTo>
                  <a:pt x="715" y="298"/>
                  <a:pt x="711" y="296"/>
                  <a:pt x="709" y="293"/>
                </a:cubicBezTo>
                <a:cubicBezTo>
                  <a:pt x="701" y="280"/>
                  <a:pt x="692" y="268"/>
                  <a:pt x="682" y="255"/>
                </a:cubicBezTo>
                <a:cubicBezTo>
                  <a:pt x="679" y="251"/>
                  <a:pt x="680" y="245"/>
                  <a:pt x="684" y="241"/>
                </a:cubicBezTo>
                <a:cubicBezTo>
                  <a:pt x="689" y="238"/>
                  <a:pt x="695" y="239"/>
                  <a:pt x="698" y="243"/>
                </a:cubicBezTo>
                <a:cubicBezTo>
                  <a:pt x="708" y="256"/>
                  <a:pt x="717" y="269"/>
                  <a:pt x="726" y="282"/>
                </a:cubicBezTo>
                <a:cubicBezTo>
                  <a:pt x="729" y="287"/>
                  <a:pt x="728" y="293"/>
                  <a:pt x="723" y="296"/>
                </a:cubicBezTo>
                <a:cubicBezTo>
                  <a:pt x="722" y="297"/>
                  <a:pt x="720" y="298"/>
                  <a:pt x="718" y="298"/>
                </a:cubicBezTo>
                <a:close/>
                <a:moveTo>
                  <a:pt x="660" y="223"/>
                </a:moveTo>
                <a:cubicBezTo>
                  <a:pt x="657" y="223"/>
                  <a:pt x="655" y="222"/>
                  <a:pt x="653" y="220"/>
                </a:cubicBezTo>
                <a:cubicBezTo>
                  <a:pt x="642" y="208"/>
                  <a:pt x="631" y="197"/>
                  <a:pt x="620" y="186"/>
                </a:cubicBezTo>
                <a:cubicBezTo>
                  <a:pt x="616" y="183"/>
                  <a:pt x="616" y="176"/>
                  <a:pt x="620" y="172"/>
                </a:cubicBezTo>
                <a:cubicBezTo>
                  <a:pt x="624" y="168"/>
                  <a:pt x="630" y="168"/>
                  <a:pt x="634" y="172"/>
                </a:cubicBezTo>
                <a:cubicBezTo>
                  <a:pt x="645" y="183"/>
                  <a:pt x="657" y="194"/>
                  <a:pt x="667" y="206"/>
                </a:cubicBezTo>
                <a:cubicBezTo>
                  <a:pt x="671" y="210"/>
                  <a:pt x="671" y="217"/>
                  <a:pt x="667" y="220"/>
                </a:cubicBezTo>
                <a:cubicBezTo>
                  <a:pt x="665" y="222"/>
                  <a:pt x="662" y="223"/>
                  <a:pt x="660" y="223"/>
                </a:cubicBezTo>
                <a:close/>
                <a:moveTo>
                  <a:pt x="592" y="158"/>
                </a:moveTo>
                <a:cubicBezTo>
                  <a:pt x="589" y="158"/>
                  <a:pt x="587" y="157"/>
                  <a:pt x="585" y="156"/>
                </a:cubicBezTo>
                <a:cubicBezTo>
                  <a:pt x="573" y="146"/>
                  <a:pt x="561" y="136"/>
                  <a:pt x="548" y="128"/>
                </a:cubicBezTo>
                <a:cubicBezTo>
                  <a:pt x="544" y="124"/>
                  <a:pt x="542" y="118"/>
                  <a:pt x="546" y="114"/>
                </a:cubicBezTo>
                <a:cubicBezTo>
                  <a:pt x="549" y="109"/>
                  <a:pt x="555" y="108"/>
                  <a:pt x="560" y="111"/>
                </a:cubicBezTo>
                <a:cubicBezTo>
                  <a:pt x="573" y="120"/>
                  <a:pt x="586" y="130"/>
                  <a:pt x="598" y="140"/>
                </a:cubicBezTo>
                <a:cubicBezTo>
                  <a:pt x="602" y="144"/>
                  <a:pt x="603" y="150"/>
                  <a:pt x="599" y="154"/>
                </a:cubicBezTo>
                <a:cubicBezTo>
                  <a:pt x="597" y="157"/>
                  <a:pt x="594" y="158"/>
                  <a:pt x="592" y="158"/>
                </a:cubicBezTo>
                <a:close/>
                <a:moveTo>
                  <a:pt x="514" y="104"/>
                </a:moveTo>
                <a:cubicBezTo>
                  <a:pt x="512" y="104"/>
                  <a:pt x="510" y="104"/>
                  <a:pt x="509" y="103"/>
                </a:cubicBezTo>
                <a:cubicBezTo>
                  <a:pt x="496" y="95"/>
                  <a:pt x="482" y="87"/>
                  <a:pt x="468" y="81"/>
                </a:cubicBezTo>
                <a:cubicBezTo>
                  <a:pt x="463" y="78"/>
                  <a:pt x="461" y="72"/>
                  <a:pt x="463" y="67"/>
                </a:cubicBezTo>
                <a:cubicBezTo>
                  <a:pt x="466" y="62"/>
                  <a:pt x="472" y="60"/>
                  <a:pt x="477" y="63"/>
                </a:cubicBezTo>
                <a:cubicBezTo>
                  <a:pt x="491" y="70"/>
                  <a:pt x="505" y="77"/>
                  <a:pt x="519" y="85"/>
                </a:cubicBezTo>
                <a:cubicBezTo>
                  <a:pt x="524" y="88"/>
                  <a:pt x="525" y="94"/>
                  <a:pt x="523" y="99"/>
                </a:cubicBezTo>
                <a:cubicBezTo>
                  <a:pt x="521" y="102"/>
                  <a:pt x="517" y="104"/>
                  <a:pt x="514" y="104"/>
                </a:cubicBezTo>
                <a:close/>
                <a:moveTo>
                  <a:pt x="429" y="63"/>
                </a:moveTo>
                <a:cubicBezTo>
                  <a:pt x="428" y="63"/>
                  <a:pt x="427" y="62"/>
                  <a:pt x="425" y="62"/>
                </a:cubicBezTo>
                <a:cubicBezTo>
                  <a:pt x="411" y="56"/>
                  <a:pt x="396" y="51"/>
                  <a:pt x="381" y="47"/>
                </a:cubicBezTo>
                <a:cubicBezTo>
                  <a:pt x="376" y="45"/>
                  <a:pt x="373" y="39"/>
                  <a:pt x="375" y="34"/>
                </a:cubicBezTo>
                <a:cubicBezTo>
                  <a:pt x="376" y="29"/>
                  <a:pt x="382" y="26"/>
                  <a:pt x="387" y="28"/>
                </a:cubicBezTo>
                <a:cubicBezTo>
                  <a:pt x="403" y="32"/>
                  <a:pt x="418" y="38"/>
                  <a:pt x="433" y="43"/>
                </a:cubicBezTo>
                <a:cubicBezTo>
                  <a:pt x="438" y="45"/>
                  <a:pt x="440" y="51"/>
                  <a:pt x="438" y="56"/>
                </a:cubicBezTo>
                <a:cubicBezTo>
                  <a:pt x="437" y="60"/>
                  <a:pt x="433" y="63"/>
                  <a:pt x="429" y="63"/>
                </a:cubicBezTo>
                <a:close/>
                <a:moveTo>
                  <a:pt x="12" y="51"/>
                </a:moveTo>
                <a:cubicBezTo>
                  <a:pt x="8" y="51"/>
                  <a:pt x="4" y="49"/>
                  <a:pt x="2" y="45"/>
                </a:cubicBezTo>
                <a:cubicBezTo>
                  <a:pt x="1" y="39"/>
                  <a:pt x="3" y="34"/>
                  <a:pt x="9" y="32"/>
                </a:cubicBezTo>
                <a:cubicBezTo>
                  <a:pt x="24" y="27"/>
                  <a:pt x="39" y="22"/>
                  <a:pt x="55" y="19"/>
                </a:cubicBezTo>
                <a:cubicBezTo>
                  <a:pt x="60" y="17"/>
                  <a:pt x="66" y="21"/>
                  <a:pt x="67" y="26"/>
                </a:cubicBezTo>
                <a:cubicBezTo>
                  <a:pt x="68" y="31"/>
                  <a:pt x="65" y="37"/>
                  <a:pt x="60" y="38"/>
                </a:cubicBezTo>
                <a:cubicBezTo>
                  <a:pt x="45" y="42"/>
                  <a:pt x="30" y="46"/>
                  <a:pt x="15" y="51"/>
                </a:cubicBezTo>
                <a:cubicBezTo>
                  <a:pt x="14" y="51"/>
                  <a:pt x="13" y="51"/>
                  <a:pt x="12" y="51"/>
                </a:cubicBezTo>
                <a:close/>
                <a:moveTo>
                  <a:pt x="339" y="35"/>
                </a:moveTo>
                <a:cubicBezTo>
                  <a:pt x="338" y="35"/>
                  <a:pt x="337" y="35"/>
                  <a:pt x="336" y="35"/>
                </a:cubicBezTo>
                <a:cubicBezTo>
                  <a:pt x="321" y="31"/>
                  <a:pt x="306" y="29"/>
                  <a:pt x="291" y="26"/>
                </a:cubicBezTo>
                <a:cubicBezTo>
                  <a:pt x="285" y="26"/>
                  <a:pt x="281" y="21"/>
                  <a:pt x="282" y="15"/>
                </a:cubicBezTo>
                <a:cubicBezTo>
                  <a:pt x="283" y="10"/>
                  <a:pt x="288" y="6"/>
                  <a:pt x="294" y="7"/>
                </a:cubicBezTo>
                <a:cubicBezTo>
                  <a:pt x="309" y="9"/>
                  <a:pt x="325" y="12"/>
                  <a:pt x="341" y="15"/>
                </a:cubicBezTo>
                <a:cubicBezTo>
                  <a:pt x="346" y="16"/>
                  <a:pt x="350" y="22"/>
                  <a:pt x="348" y="27"/>
                </a:cubicBezTo>
                <a:cubicBezTo>
                  <a:pt x="347" y="32"/>
                  <a:pt x="343" y="35"/>
                  <a:pt x="339" y="35"/>
                </a:cubicBezTo>
                <a:close/>
                <a:moveTo>
                  <a:pt x="104" y="29"/>
                </a:moveTo>
                <a:cubicBezTo>
                  <a:pt x="99" y="29"/>
                  <a:pt x="95" y="25"/>
                  <a:pt x="94" y="20"/>
                </a:cubicBezTo>
                <a:cubicBezTo>
                  <a:pt x="93" y="15"/>
                  <a:pt x="96" y="10"/>
                  <a:pt x="102" y="9"/>
                </a:cubicBezTo>
                <a:cubicBezTo>
                  <a:pt x="118" y="6"/>
                  <a:pt x="134" y="4"/>
                  <a:pt x="150" y="3"/>
                </a:cubicBezTo>
                <a:cubicBezTo>
                  <a:pt x="155" y="2"/>
                  <a:pt x="160" y="6"/>
                  <a:pt x="160" y="12"/>
                </a:cubicBezTo>
                <a:cubicBezTo>
                  <a:pt x="161" y="17"/>
                  <a:pt x="157" y="22"/>
                  <a:pt x="151" y="23"/>
                </a:cubicBezTo>
                <a:cubicBezTo>
                  <a:pt x="136" y="24"/>
                  <a:pt x="120" y="26"/>
                  <a:pt x="105" y="29"/>
                </a:cubicBezTo>
                <a:cubicBezTo>
                  <a:pt x="105" y="29"/>
                  <a:pt x="104" y="29"/>
                  <a:pt x="104" y="29"/>
                </a:cubicBezTo>
                <a:close/>
                <a:moveTo>
                  <a:pt x="245" y="22"/>
                </a:moveTo>
                <a:cubicBezTo>
                  <a:pt x="245" y="22"/>
                  <a:pt x="245" y="22"/>
                  <a:pt x="244" y="22"/>
                </a:cubicBezTo>
                <a:cubicBezTo>
                  <a:pt x="231" y="21"/>
                  <a:pt x="218" y="20"/>
                  <a:pt x="205" y="20"/>
                </a:cubicBezTo>
                <a:cubicBezTo>
                  <a:pt x="203" y="20"/>
                  <a:pt x="200" y="20"/>
                  <a:pt x="198" y="20"/>
                </a:cubicBezTo>
                <a:cubicBezTo>
                  <a:pt x="198" y="20"/>
                  <a:pt x="198" y="20"/>
                  <a:pt x="198" y="20"/>
                </a:cubicBezTo>
                <a:cubicBezTo>
                  <a:pt x="192" y="20"/>
                  <a:pt x="188" y="16"/>
                  <a:pt x="188" y="11"/>
                </a:cubicBezTo>
                <a:cubicBezTo>
                  <a:pt x="188" y="5"/>
                  <a:pt x="192" y="0"/>
                  <a:pt x="198" y="0"/>
                </a:cubicBezTo>
                <a:cubicBezTo>
                  <a:pt x="200" y="0"/>
                  <a:pt x="203" y="0"/>
                  <a:pt x="205" y="0"/>
                </a:cubicBezTo>
                <a:cubicBezTo>
                  <a:pt x="219" y="0"/>
                  <a:pt x="232" y="1"/>
                  <a:pt x="246" y="2"/>
                </a:cubicBezTo>
                <a:cubicBezTo>
                  <a:pt x="251" y="2"/>
                  <a:pt x="255" y="7"/>
                  <a:pt x="255" y="12"/>
                </a:cubicBezTo>
                <a:cubicBezTo>
                  <a:pt x="255" y="18"/>
                  <a:pt x="250" y="22"/>
                  <a:pt x="245" y="22"/>
                </a:cubicBezTo>
                <a:close/>
              </a:path>
            </a:pathLst>
          </a:custGeom>
          <a:solidFill>
            <a:srgbClr val="C0DC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01D76C6E-9B74-5128-7501-905FD51EEAB4}"/>
              </a:ext>
            </a:extLst>
          </p:cNvPr>
          <p:cNvSpPr>
            <a:spLocks/>
          </p:cNvSpPr>
          <p:nvPr/>
        </p:nvSpPr>
        <p:spPr bwMode="auto">
          <a:xfrm>
            <a:off x="17158888" y="1588532"/>
            <a:ext cx="54841" cy="37523"/>
          </a:xfrm>
          <a:custGeom>
            <a:avLst/>
            <a:gdLst>
              <a:gd name="T0" fmla="*/ 12 w 45"/>
              <a:gd name="T1" fmla="*/ 31 h 31"/>
              <a:gd name="T2" fmla="*/ 3 w 45"/>
              <a:gd name="T3" fmla="*/ 25 h 31"/>
              <a:gd name="T4" fmla="*/ 8 w 45"/>
              <a:gd name="T5" fmla="*/ 12 h 31"/>
              <a:gd name="T6" fmla="*/ 30 w 45"/>
              <a:gd name="T7" fmla="*/ 2 h 31"/>
              <a:gd name="T8" fmla="*/ 43 w 45"/>
              <a:gd name="T9" fmla="*/ 8 h 31"/>
              <a:gd name="T10" fmla="*/ 38 w 45"/>
              <a:gd name="T11" fmla="*/ 21 h 31"/>
              <a:gd name="T12" fmla="*/ 16 w 45"/>
              <a:gd name="T13" fmla="*/ 30 h 31"/>
              <a:gd name="T14" fmla="*/ 12 w 45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5" h="31">
                <a:moveTo>
                  <a:pt x="12" y="31"/>
                </a:moveTo>
                <a:cubicBezTo>
                  <a:pt x="8" y="31"/>
                  <a:pt x="5" y="29"/>
                  <a:pt x="3" y="25"/>
                </a:cubicBezTo>
                <a:cubicBezTo>
                  <a:pt x="0" y="20"/>
                  <a:pt x="3" y="15"/>
                  <a:pt x="8" y="12"/>
                </a:cubicBezTo>
                <a:cubicBezTo>
                  <a:pt x="15" y="9"/>
                  <a:pt x="22" y="5"/>
                  <a:pt x="30" y="2"/>
                </a:cubicBezTo>
                <a:cubicBezTo>
                  <a:pt x="35" y="0"/>
                  <a:pt x="41" y="2"/>
                  <a:pt x="43" y="8"/>
                </a:cubicBezTo>
                <a:cubicBezTo>
                  <a:pt x="45" y="13"/>
                  <a:pt x="43" y="19"/>
                  <a:pt x="38" y="21"/>
                </a:cubicBezTo>
                <a:cubicBezTo>
                  <a:pt x="31" y="24"/>
                  <a:pt x="23" y="27"/>
                  <a:pt x="16" y="30"/>
                </a:cubicBezTo>
                <a:cubicBezTo>
                  <a:pt x="15" y="31"/>
                  <a:pt x="13" y="31"/>
                  <a:pt x="12" y="31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6CEEB486-31FA-CF7D-7F99-D93E097345B7}"/>
              </a:ext>
            </a:extLst>
          </p:cNvPr>
          <p:cNvGrpSpPr/>
          <p:nvPr/>
        </p:nvGrpSpPr>
        <p:grpSpPr>
          <a:xfrm>
            <a:off x="18712096" y="1530804"/>
            <a:ext cx="1902534" cy="1650871"/>
            <a:chOff x="4931227" y="1530804"/>
            <a:chExt cx="1902534" cy="1650871"/>
          </a:xfrm>
        </p:grpSpPr>
        <p:sp>
          <p:nvSpPr>
            <p:cNvPr id="16" name="Rectangle 23">
              <a:extLst>
                <a:ext uri="{FF2B5EF4-FFF2-40B4-BE49-F238E27FC236}">
                  <a16:creationId xmlns:a16="http://schemas.microsoft.com/office/drawing/2014/main" id="{D2D98B20-5200-902D-CC69-4EDBF0CA1F39}"/>
                </a:ext>
              </a:extLst>
            </p:cNvPr>
            <p:cNvSpPr/>
            <p:nvPr/>
          </p:nvSpPr>
          <p:spPr>
            <a:xfrm>
              <a:off x="4931227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3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BAE8B488-4963-AED4-ADB9-87BFA28D2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B727B0D7-70FE-5991-6501-3744BCA0A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2962442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B117EE23-6377-C63D-6844-18643FDC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1530804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807CA2BF-DFB7-8E82-9DF1-DD5D2D347F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72FD2E63-3F49-89AD-2750-BB1F3F63D22C}"/>
              </a:ext>
            </a:extLst>
          </p:cNvPr>
          <p:cNvGrpSpPr/>
          <p:nvPr/>
        </p:nvGrpSpPr>
        <p:grpSpPr>
          <a:xfrm>
            <a:off x="21076843" y="1530804"/>
            <a:ext cx="1959602" cy="1650871"/>
            <a:chOff x="7295974" y="1530804"/>
            <a:chExt cx="1959602" cy="1650871"/>
          </a:xfrm>
        </p:grpSpPr>
        <p:sp>
          <p:nvSpPr>
            <p:cNvPr id="22" name="Rectangle 22">
              <a:extLst>
                <a:ext uri="{FF2B5EF4-FFF2-40B4-BE49-F238E27FC236}">
                  <a16:creationId xmlns:a16="http://schemas.microsoft.com/office/drawing/2014/main" id="{C29846E8-6C68-D681-0C8D-937BAA7A238E}"/>
                </a:ext>
              </a:extLst>
            </p:cNvPr>
            <p:cNvSpPr/>
            <p:nvPr/>
          </p:nvSpPr>
          <p:spPr>
            <a:xfrm>
              <a:off x="7295974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4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69530DB6-4B9C-5490-524C-1AA81CA2E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1543071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BD4F39EE-5A18-7998-CAF1-BEEF7D09D9A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2962442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9DCCC7D4-B644-0892-7F99-D0231FAB23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1530804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E322A1A0-E27A-4F81-0607-7832ABFEE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1588532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9E91592E-2173-57DF-4DE5-70E2FB146D7E}"/>
              </a:ext>
            </a:extLst>
          </p:cNvPr>
          <p:cNvGrpSpPr/>
          <p:nvPr/>
        </p:nvGrpSpPr>
        <p:grpSpPr>
          <a:xfrm>
            <a:off x="23498677" y="1530804"/>
            <a:ext cx="1902714" cy="1650871"/>
            <a:chOff x="9717808" y="1530804"/>
            <a:chExt cx="1902714" cy="1650871"/>
          </a:xfrm>
        </p:grpSpPr>
        <p:sp>
          <p:nvSpPr>
            <p:cNvPr id="28" name="Rectangle 21">
              <a:extLst>
                <a:ext uri="{FF2B5EF4-FFF2-40B4-BE49-F238E27FC236}">
                  <a16:creationId xmlns:a16="http://schemas.microsoft.com/office/drawing/2014/main" id="{82E674CE-744E-F543-9FE6-87FC8461C07D}"/>
                </a:ext>
              </a:extLst>
            </p:cNvPr>
            <p:cNvSpPr/>
            <p:nvPr/>
          </p:nvSpPr>
          <p:spPr>
            <a:xfrm>
              <a:off x="9717808" y="1612015"/>
              <a:ext cx="1337882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5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2313D312-E7FE-F3C8-DA62-A26A1AFF3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8136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1D3641DF-E5A1-741D-35A3-3B203A602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FEA78A76-3A0D-2089-C82F-7FD540CD95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5965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3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59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3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88 w 827"/>
                <a:gd name="T99" fmla="*/ 11 h 1245"/>
                <a:gd name="T100" fmla="*/ 245 w 827"/>
                <a:gd name="T101" fmla="*/ 2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199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8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7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4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3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1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8" y="842"/>
                    <a:pt x="777" y="841"/>
                  </a:cubicBezTo>
                  <a:cubicBezTo>
                    <a:pt x="772" y="839"/>
                    <a:pt x="769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1" y="535"/>
                    <a:pt x="823" y="551"/>
                  </a:cubicBezTo>
                  <a:cubicBezTo>
                    <a:pt x="824" y="557"/>
                    <a:pt x="820" y="562"/>
                    <a:pt x="814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2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4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59" y="111"/>
                  </a:cubicBezTo>
                  <a:cubicBezTo>
                    <a:pt x="573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6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4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29" y="21"/>
                    <a:pt x="213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32" name="Freeform 23">
              <a:extLst>
                <a:ext uri="{FF2B5EF4-FFF2-40B4-BE49-F238E27FC236}">
                  <a16:creationId xmlns:a16="http://schemas.microsoft.com/office/drawing/2014/main" id="{41D16052-4C73-1048-9075-2A351865E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38CADC94-0711-B3E3-BD66-0F859519BEC4}"/>
              </a:ext>
            </a:extLst>
          </p:cNvPr>
          <p:cNvGrpSpPr/>
          <p:nvPr/>
        </p:nvGrpSpPr>
        <p:grpSpPr>
          <a:xfrm>
            <a:off x="14005629" y="1530804"/>
            <a:ext cx="1890777" cy="1650871"/>
            <a:chOff x="224760" y="1530804"/>
            <a:chExt cx="1890777" cy="1650871"/>
          </a:xfrm>
        </p:grpSpPr>
        <p:sp>
          <p:nvSpPr>
            <p:cNvPr id="34" name="Rectangle 25">
              <a:extLst>
                <a:ext uri="{FF2B5EF4-FFF2-40B4-BE49-F238E27FC236}">
                  <a16:creationId xmlns:a16="http://schemas.microsoft.com/office/drawing/2014/main" id="{F3AD5D0A-30E8-F016-E6DA-BA7D50D2F1D1}"/>
                </a:ext>
              </a:extLst>
            </p:cNvPr>
            <p:cNvSpPr/>
            <p:nvPr/>
          </p:nvSpPr>
          <p:spPr>
            <a:xfrm>
              <a:off x="224760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35" name="Freeform 24">
              <a:extLst>
                <a:ext uri="{FF2B5EF4-FFF2-40B4-BE49-F238E27FC236}">
                  <a16:creationId xmlns:a16="http://schemas.microsoft.com/office/drawing/2014/main" id="{22F2A7D5-0AC6-40C8-08C9-CEB5F7D01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1543071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38F54A8F-0BF2-DFC1-480F-53ABA357C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2962442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EBBA5908-F5CA-E50C-A867-A7B4116050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1530804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3DADBDF9-B0DA-62CA-EBD9-045F302EE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894929FB-C545-1A8D-E59D-5F831C219A42}"/>
              </a:ext>
            </a:extLst>
          </p:cNvPr>
          <p:cNvSpPr txBox="1"/>
          <p:nvPr/>
        </p:nvSpPr>
        <p:spPr>
          <a:xfrm>
            <a:off x="13888363" y="3248119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скусствен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нтеллект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15BA6F8-9FC8-4F3F-24FD-2E55E529F0CD}"/>
              </a:ext>
            </a:extLst>
          </p:cNvPr>
          <p:cNvSpPr txBox="1"/>
          <p:nvPr/>
        </p:nvSpPr>
        <p:spPr>
          <a:xfrm>
            <a:off x="16547184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иксель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8FD7247-98CE-ED8F-7F76-9E0F3904E9E4}"/>
              </a:ext>
            </a:extLst>
          </p:cNvPr>
          <p:cNvSpPr txBox="1"/>
          <p:nvPr/>
        </p:nvSpPr>
        <p:spPr>
          <a:xfrm>
            <a:off x="18734610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Яркие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цвета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62AD46F-2DF1-99CC-1F4C-63CAAF58C186}"/>
              </a:ext>
            </a:extLst>
          </p:cNvPr>
          <p:cNvSpPr txBox="1"/>
          <p:nvPr/>
        </p:nvSpPr>
        <p:spPr>
          <a:xfrm>
            <a:off x="21214160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Ретр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иль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32716F2-D7E3-1A63-CE1D-29031364DC64}"/>
              </a:ext>
            </a:extLst>
          </p:cNvPr>
          <p:cNvSpPr txBox="1"/>
          <p:nvPr/>
        </p:nvSpPr>
        <p:spPr>
          <a:xfrm>
            <a:off x="23579528" y="3248119"/>
            <a:ext cx="2284517" cy="352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Минимализм</a:t>
            </a:r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EEA59C0F-6A96-ABD7-5C0A-D4BB67C4910A}"/>
              </a:ext>
            </a:extLst>
          </p:cNvPr>
          <p:cNvGrpSpPr/>
          <p:nvPr/>
        </p:nvGrpSpPr>
        <p:grpSpPr>
          <a:xfrm>
            <a:off x="-13211614" y="4071540"/>
            <a:ext cx="1904144" cy="1650871"/>
            <a:chOff x="2570693" y="4071540"/>
            <a:chExt cx="1904144" cy="1650871"/>
          </a:xfrm>
        </p:grpSpPr>
        <p:sp>
          <p:nvSpPr>
            <p:cNvPr id="45" name="Rectangle 24">
              <a:extLst>
                <a:ext uri="{FF2B5EF4-FFF2-40B4-BE49-F238E27FC236}">
                  <a16:creationId xmlns:a16="http://schemas.microsoft.com/office/drawing/2014/main" id="{881CA775-66D8-8611-7679-ED08503FB4BB}"/>
                </a:ext>
              </a:extLst>
            </p:cNvPr>
            <p:cNvSpPr/>
            <p:nvPr/>
          </p:nvSpPr>
          <p:spPr>
            <a:xfrm>
              <a:off x="2570693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7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46" name="Freeform 5">
              <a:extLst>
                <a:ext uri="{FF2B5EF4-FFF2-40B4-BE49-F238E27FC236}">
                  <a16:creationId xmlns:a16="http://schemas.microsoft.com/office/drawing/2014/main" id="{B60EDB23-8917-823B-1685-CC68C5960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50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id="{961F48DB-5EA8-0DA3-975D-916DE2475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id="{2DFD30DA-4EEF-C4DB-F7DC-57326BA03B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4071540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id="{2593B457-B4F0-B187-1A89-C7B54E41D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B51A2F07-31CB-2B51-B10B-C77E5BC6AE0F}"/>
              </a:ext>
            </a:extLst>
          </p:cNvPr>
          <p:cNvGrpSpPr/>
          <p:nvPr/>
        </p:nvGrpSpPr>
        <p:grpSpPr>
          <a:xfrm>
            <a:off x="-10851080" y="4071540"/>
            <a:ext cx="1902534" cy="1650871"/>
            <a:chOff x="4931227" y="4071540"/>
            <a:chExt cx="1902534" cy="1650871"/>
          </a:xfrm>
        </p:grpSpPr>
        <p:sp>
          <p:nvSpPr>
            <p:cNvPr id="51" name="Rectangle 23">
              <a:extLst>
                <a:ext uri="{FF2B5EF4-FFF2-40B4-BE49-F238E27FC236}">
                  <a16:creationId xmlns:a16="http://schemas.microsoft.com/office/drawing/2014/main" id="{AD251A7C-8A04-DA89-561A-17EF23447368}"/>
                </a:ext>
              </a:extLst>
            </p:cNvPr>
            <p:cNvSpPr/>
            <p:nvPr/>
          </p:nvSpPr>
          <p:spPr>
            <a:xfrm>
              <a:off x="4931227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8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52" name="Freeform 10">
              <a:extLst>
                <a:ext uri="{FF2B5EF4-FFF2-40B4-BE49-F238E27FC236}">
                  <a16:creationId xmlns:a16="http://schemas.microsoft.com/office/drawing/2014/main" id="{91670D3A-5C51-AA48-F710-E3A09467E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53" name="Freeform 12">
              <a:extLst>
                <a:ext uri="{FF2B5EF4-FFF2-40B4-BE49-F238E27FC236}">
                  <a16:creationId xmlns:a16="http://schemas.microsoft.com/office/drawing/2014/main" id="{0360789F-2F32-3E80-0811-504E782F2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5503178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54" name="Freeform 13">
              <a:extLst>
                <a:ext uri="{FF2B5EF4-FFF2-40B4-BE49-F238E27FC236}">
                  <a16:creationId xmlns:a16="http://schemas.microsoft.com/office/drawing/2014/main" id="{18F8AA1E-EBC5-EE4C-900F-C60CC5AD53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4071540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854575A7-8BCA-E59D-9D4C-7AC34E903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96C4578B-8EA9-3058-0383-C5A79AA1221E}"/>
              </a:ext>
            </a:extLst>
          </p:cNvPr>
          <p:cNvGrpSpPr/>
          <p:nvPr/>
        </p:nvGrpSpPr>
        <p:grpSpPr>
          <a:xfrm>
            <a:off x="-8486333" y="4071540"/>
            <a:ext cx="1959602" cy="1650871"/>
            <a:chOff x="7295974" y="4071540"/>
            <a:chExt cx="1959602" cy="1650871"/>
          </a:xfrm>
        </p:grpSpPr>
        <p:sp>
          <p:nvSpPr>
            <p:cNvPr id="57" name="Rectangle 22">
              <a:extLst>
                <a:ext uri="{FF2B5EF4-FFF2-40B4-BE49-F238E27FC236}">
                  <a16:creationId xmlns:a16="http://schemas.microsoft.com/office/drawing/2014/main" id="{9A38D75B-6841-14F3-6556-129304344278}"/>
                </a:ext>
              </a:extLst>
            </p:cNvPr>
            <p:cNvSpPr/>
            <p:nvPr/>
          </p:nvSpPr>
          <p:spPr>
            <a:xfrm>
              <a:off x="7295974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9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AC5F73FC-951C-C96B-BE9A-06856D4287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4083807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59" name="Freeform 17">
              <a:extLst>
                <a:ext uri="{FF2B5EF4-FFF2-40B4-BE49-F238E27FC236}">
                  <a16:creationId xmlns:a16="http://schemas.microsoft.com/office/drawing/2014/main" id="{F3FFE490-A431-6EBC-B0D4-B8CD72C89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5503178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60" name="Freeform 18">
              <a:extLst>
                <a:ext uri="{FF2B5EF4-FFF2-40B4-BE49-F238E27FC236}">
                  <a16:creationId xmlns:a16="http://schemas.microsoft.com/office/drawing/2014/main" id="{AEA0EE01-75A7-7658-EA4E-43651EA4FC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4071540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61" name="Freeform 19">
              <a:extLst>
                <a:ext uri="{FF2B5EF4-FFF2-40B4-BE49-F238E27FC236}">
                  <a16:creationId xmlns:a16="http://schemas.microsoft.com/office/drawing/2014/main" id="{11AE897C-CC15-64E4-25B6-C849B72AB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4129268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62" name="Freeform 22">
            <a:extLst>
              <a:ext uri="{FF2B5EF4-FFF2-40B4-BE49-F238E27FC236}">
                <a16:creationId xmlns:a16="http://schemas.microsoft.com/office/drawing/2014/main" id="{FB97EDFD-643B-4578-A76C-4E34011D4B03}"/>
              </a:ext>
            </a:extLst>
          </p:cNvPr>
          <p:cNvSpPr>
            <a:spLocks noEditPoints="1"/>
          </p:cNvSpPr>
          <p:nvPr/>
        </p:nvSpPr>
        <p:spPr bwMode="auto">
          <a:xfrm>
            <a:off x="-5203865" y="4071540"/>
            <a:ext cx="1014557" cy="1529774"/>
          </a:xfrm>
          <a:custGeom>
            <a:avLst/>
            <a:gdLst>
              <a:gd name="T0" fmla="*/ 197 w 827"/>
              <a:gd name="T1" fmla="*/ 1225 h 1245"/>
              <a:gd name="T2" fmla="*/ 245 w 827"/>
              <a:gd name="T3" fmla="*/ 1244 h 1245"/>
              <a:gd name="T4" fmla="*/ 101 w 827"/>
              <a:gd name="T5" fmla="*/ 1237 h 1245"/>
              <a:gd name="T6" fmla="*/ 160 w 827"/>
              <a:gd name="T7" fmla="*/ 1234 h 1245"/>
              <a:gd name="T8" fmla="*/ 290 w 827"/>
              <a:gd name="T9" fmla="*/ 1219 h 1245"/>
              <a:gd name="T10" fmla="*/ 293 w 827"/>
              <a:gd name="T11" fmla="*/ 1239 h 1245"/>
              <a:gd name="T12" fmla="*/ 8 w 827"/>
              <a:gd name="T13" fmla="*/ 1214 h 1245"/>
              <a:gd name="T14" fmla="*/ 66 w 827"/>
              <a:gd name="T15" fmla="*/ 1220 h 1245"/>
              <a:gd name="T16" fmla="*/ 381 w 827"/>
              <a:gd name="T17" fmla="*/ 1199 h 1245"/>
              <a:gd name="T18" fmla="*/ 386 w 827"/>
              <a:gd name="T19" fmla="*/ 1218 h 1245"/>
              <a:gd name="T20" fmla="*/ 467 w 827"/>
              <a:gd name="T21" fmla="*/ 1165 h 1245"/>
              <a:gd name="T22" fmla="*/ 476 w 827"/>
              <a:gd name="T23" fmla="*/ 1183 h 1245"/>
              <a:gd name="T24" fmla="*/ 548 w 827"/>
              <a:gd name="T25" fmla="*/ 1119 h 1245"/>
              <a:gd name="T26" fmla="*/ 559 w 827"/>
              <a:gd name="T27" fmla="*/ 1135 h 1245"/>
              <a:gd name="T28" fmla="*/ 620 w 827"/>
              <a:gd name="T29" fmla="*/ 1060 h 1245"/>
              <a:gd name="T30" fmla="*/ 633 w 827"/>
              <a:gd name="T31" fmla="*/ 1074 h 1245"/>
              <a:gd name="T32" fmla="*/ 682 w 827"/>
              <a:gd name="T33" fmla="*/ 991 h 1245"/>
              <a:gd name="T34" fmla="*/ 698 w 827"/>
              <a:gd name="T35" fmla="*/ 1003 h 1245"/>
              <a:gd name="T36" fmla="*/ 733 w 827"/>
              <a:gd name="T37" fmla="*/ 913 h 1245"/>
              <a:gd name="T38" fmla="*/ 751 w 827"/>
              <a:gd name="T39" fmla="*/ 923 h 1245"/>
              <a:gd name="T40" fmla="*/ 771 w 827"/>
              <a:gd name="T41" fmla="*/ 828 h 1245"/>
              <a:gd name="T42" fmla="*/ 790 w 827"/>
              <a:gd name="T43" fmla="*/ 835 h 1245"/>
              <a:gd name="T44" fmla="*/ 796 w 827"/>
              <a:gd name="T45" fmla="*/ 739 h 1245"/>
              <a:gd name="T46" fmla="*/ 816 w 827"/>
              <a:gd name="T47" fmla="*/ 743 h 1245"/>
              <a:gd name="T48" fmla="*/ 807 w 827"/>
              <a:gd name="T49" fmla="*/ 647 h 1245"/>
              <a:gd name="T50" fmla="*/ 827 w 827"/>
              <a:gd name="T51" fmla="*/ 599 h 1245"/>
              <a:gd name="T52" fmla="*/ 813 w 827"/>
              <a:gd name="T53" fmla="*/ 562 h 1245"/>
              <a:gd name="T54" fmla="*/ 816 w 827"/>
              <a:gd name="T55" fmla="*/ 504 h 1245"/>
              <a:gd name="T56" fmla="*/ 795 w 827"/>
              <a:gd name="T57" fmla="*/ 470 h 1245"/>
              <a:gd name="T58" fmla="*/ 790 w 827"/>
              <a:gd name="T59" fmla="*/ 411 h 1245"/>
              <a:gd name="T60" fmla="*/ 763 w 827"/>
              <a:gd name="T61" fmla="*/ 381 h 1245"/>
              <a:gd name="T62" fmla="*/ 751 w 827"/>
              <a:gd name="T63" fmla="*/ 324 h 1245"/>
              <a:gd name="T64" fmla="*/ 718 w 827"/>
              <a:gd name="T65" fmla="*/ 298 h 1245"/>
              <a:gd name="T66" fmla="*/ 698 w 827"/>
              <a:gd name="T67" fmla="*/ 243 h 1245"/>
              <a:gd name="T68" fmla="*/ 660 w 827"/>
              <a:gd name="T69" fmla="*/ 223 h 1245"/>
              <a:gd name="T70" fmla="*/ 634 w 827"/>
              <a:gd name="T71" fmla="*/ 172 h 1245"/>
              <a:gd name="T72" fmla="*/ 592 w 827"/>
              <a:gd name="T73" fmla="*/ 158 h 1245"/>
              <a:gd name="T74" fmla="*/ 559 w 827"/>
              <a:gd name="T75" fmla="*/ 111 h 1245"/>
              <a:gd name="T76" fmla="*/ 514 w 827"/>
              <a:gd name="T77" fmla="*/ 104 h 1245"/>
              <a:gd name="T78" fmla="*/ 477 w 827"/>
              <a:gd name="T79" fmla="*/ 63 h 1245"/>
              <a:gd name="T80" fmla="*/ 429 w 827"/>
              <a:gd name="T81" fmla="*/ 63 h 1245"/>
              <a:gd name="T82" fmla="*/ 387 w 827"/>
              <a:gd name="T83" fmla="*/ 28 h 1245"/>
              <a:gd name="T84" fmla="*/ 12 w 827"/>
              <a:gd name="T85" fmla="*/ 51 h 1245"/>
              <a:gd name="T86" fmla="*/ 67 w 827"/>
              <a:gd name="T87" fmla="*/ 26 h 1245"/>
              <a:gd name="T88" fmla="*/ 339 w 827"/>
              <a:gd name="T89" fmla="*/ 35 h 1245"/>
              <a:gd name="T90" fmla="*/ 293 w 827"/>
              <a:gd name="T91" fmla="*/ 7 h 1245"/>
              <a:gd name="T92" fmla="*/ 104 w 827"/>
              <a:gd name="T93" fmla="*/ 29 h 1245"/>
              <a:gd name="T94" fmla="*/ 160 w 827"/>
              <a:gd name="T95" fmla="*/ 12 h 1245"/>
              <a:gd name="T96" fmla="*/ 245 w 827"/>
              <a:gd name="T97" fmla="*/ 22 h 1245"/>
              <a:gd name="T98" fmla="*/ 188 w 827"/>
              <a:gd name="T99" fmla="*/ 11 h 1245"/>
              <a:gd name="T100" fmla="*/ 245 w 827"/>
              <a:gd name="T101" fmla="*/ 22 h 1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27" h="1245">
                <a:moveTo>
                  <a:pt x="205" y="1245"/>
                </a:moveTo>
                <a:cubicBezTo>
                  <a:pt x="202" y="1245"/>
                  <a:pt x="199" y="1245"/>
                  <a:pt x="197" y="1245"/>
                </a:cubicBezTo>
                <a:cubicBezTo>
                  <a:pt x="191" y="1245"/>
                  <a:pt x="187" y="1241"/>
                  <a:pt x="187" y="1235"/>
                </a:cubicBezTo>
                <a:cubicBezTo>
                  <a:pt x="187" y="1230"/>
                  <a:pt x="191" y="1225"/>
                  <a:pt x="197" y="1225"/>
                </a:cubicBezTo>
                <a:cubicBezTo>
                  <a:pt x="197" y="1225"/>
                  <a:pt x="197" y="1225"/>
                  <a:pt x="197" y="1225"/>
                </a:cubicBezTo>
                <a:cubicBezTo>
                  <a:pt x="212" y="1226"/>
                  <a:pt x="228" y="1225"/>
                  <a:pt x="244" y="1224"/>
                </a:cubicBezTo>
                <a:cubicBezTo>
                  <a:pt x="249" y="1224"/>
                  <a:pt x="254" y="1228"/>
                  <a:pt x="254" y="1234"/>
                </a:cubicBezTo>
                <a:cubicBezTo>
                  <a:pt x="255" y="1239"/>
                  <a:pt x="250" y="1244"/>
                  <a:pt x="245" y="1244"/>
                </a:cubicBezTo>
                <a:cubicBezTo>
                  <a:pt x="232" y="1245"/>
                  <a:pt x="218" y="1245"/>
                  <a:pt x="205" y="1245"/>
                </a:cubicBezTo>
                <a:close/>
                <a:moveTo>
                  <a:pt x="150" y="1243"/>
                </a:moveTo>
                <a:cubicBezTo>
                  <a:pt x="149" y="1243"/>
                  <a:pt x="149" y="1243"/>
                  <a:pt x="149" y="1243"/>
                </a:cubicBezTo>
                <a:cubicBezTo>
                  <a:pt x="133" y="1241"/>
                  <a:pt x="117" y="1239"/>
                  <a:pt x="101" y="1237"/>
                </a:cubicBezTo>
                <a:cubicBezTo>
                  <a:pt x="96" y="1236"/>
                  <a:pt x="92" y="1231"/>
                  <a:pt x="93" y="1225"/>
                </a:cubicBezTo>
                <a:cubicBezTo>
                  <a:pt x="94" y="1220"/>
                  <a:pt x="99" y="1216"/>
                  <a:pt x="104" y="1217"/>
                </a:cubicBezTo>
                <a:cubicBezTo>
                  <a:pt x="120" y="1220"/>
                  <a:pt x="135" y="1222"/>
                  <a:pt x="151" y="1223"/>
                </a:cubicBezTo>
                <a:cubicBezTo>
                  <a:pt x="156" y="1223"/>
                  <a:pt x="160" y="1228"/>
                  <a:pt x="160" y="1234"/>
                </a:cubicBezTo>
                <a:cubicBezTo>
                  <a:pt x="159" y="1239"/>
                  <a:pt x="155" y="1243"/>
                  <a:pt x="150" y="1243"/>
                </a:cubicBezTo>
                <a:close/>
                <a:moveTo>
                  <a:pt x="291" y="1239"/>
                </a:moveTo>
                <a:cubicBezTo>
                  <a:pt x="286" y="1239"/>
                  <a:pt x="282" y="1236"/>
                  <a:pt x="281" y="1231"/>
                </a:cubicBezTo>
                <a:cubicBezTo>
                  <a:pt x="281" y="1225"/>
                  <a:pt x="284" y="1220"/>
                  <a:pt x="290" y="1219"/>
                </a:cubicBezTo>
                <a:cubicBezTo>
                  <a:pt x="305" y="1217"/>
                  <a:pt x="321" y="1214"/>
                  <a:pt x="336" y="1211"/>
                </a:cubicBezTo>
                <a:cubicBezTo>
                  <a:pt x="341" y="1210"/>
                  <a:pt x="346" y="1213"/>
                  <a:pt x="348" y="1219"/>
                </a:cubicBezTo>
                <a:cubicBezTo>
                  <a:pt x="349" y="1224"/>
                  <a:pt x="345" y="1229"/>
                  <a:pt x="340" y="1231"/>
                </a:cubicBezTo>
                <a:cubicBezTo>
                  <a:pt x="324" y="1234"/>
                  <a:pt x="308" y="1237"/>
                  <a:pt x="293" y="1239"/>
                </a:cubicBezTo>
                <a:cubicBezTo>
                  <a:pt x="292" y="1239"/>
                  <a:pt x="292" y="1239"/>
                  <a:pt x="291" y="1239"/>
                </a:cubicBezTo>
                <a:close/>
                <a:moveTo>
                  <a:pt x="56" y="1227"/>
                </a:moveTo>
                <a:cubicBezTo>
                  <a:pt x="56" y="1227"/>
                  <a:pt x="55" y="1227"/>
                  <a:pt x="54" y="1227"/>
                </a:cubicBezTo>
                <a:cubicBezTo>
                  <a:pt x="39" y="1223"/>
                  <a:pt x="23" y="1219"/>
                  <a:pt x="8" y="1214"/>
                </a:cubicBezTo>
                <a:cubicBezTo>
                  <a:pt x="3" y="1212"/>
                  <a:pt x="0" y="1206"/>
                  <a:pt x="2" y="1201"/>
                </a:cubicBezTo>
                <a:cubicBezTo>
                  <a:pt x="3" y="1196"/>
                  <a:pt x="9" y="1193"/>
                  <a:pt x="14" y="1195"/>
                </a:cubicBezTo>
                <a:cubicBezTo>
                  <a:pt x="29" y="1199"/>
                  <a:pt x="44" y="1204"/>
                  <a:pt x="59" y="1208"/>
                </a:cubicBezTo>
                <a:cubicBezTo>
                  <a:pt x="64" y="1209"/>
                  <a:pt x="67" y="1214"/>
                  <a:pt x="66" y="1220"/>
                </a:cubicBezTo>
                <a:cubicBezTo>
                  <a:pt x="65" y="1224"/>
                  <a:pt x="61" y="1227"/>
                  <a:pt x="56" y="1227"/>
                </a:cubicBezTo>
                <a:close/>
                <a:moveTo>
                  <a:pt x="384" y="1219"/>
                </a:moveTo>
                <a:cubicBezTo>
                  <a:pt x="379" y="1219"/>
                  <a:pt x="375" y="1216"/>
                  <a:pt x="374" y="1212"/>
                </a:cubicBezTo>
                <a:cubicBezTo>
                  <a:pt x="372" y="1207"/>
                  <a:pt x="375" y="1201"/>
                  <a:pt x="381" y="1199"/>
                </a:cubicBezTo>
                <a:cubicBezTo>
                  <a:pt x="395" y="1195"/>
                  <a:pt x="410" y="1190"/>
                  <a:pt x="425" y="1184"/>
                </a:cubicBezTo>
                <a:cubicBezTo>
                  <a:pt x="430" y="1182"/>
                  <a:pt x="436" y="1185"/>
                  <a:pt x="438" y="1190"/>
                </a:cubicBezTo>
                <a:cubicBezTo>
                  <a:pt x="440" y="1195"/>
                  <a:pt x="437" y="1201"/>
                  <a:pt x="432" y="1203"/>
                </a:cubicBezTo>
                <a:cubicBezTo>
                  <a:pt x="417" y="1209"/>
                  <a:pt x="402" y="1214"/>
                  <a:pt x="386" y="1218"/>
                </a:cubicBezTo>
                <a:cubicBezTo>
                  <a:pt x="385" y="1219"/>
                  <a:pt x="384" y="1219"/>
                  <a:pt x="384" y="1219"/>
                </a:cubicBezTo>
                <a:close/>
                <a:moveTo>
                  <a:pt x="472" y="1184"/>
                </a:moveTo>
                <a:cubicBezTo>
                  <a:pt x="468" y="1184"/>
                  <a:pt x="464" y="1182"/>
                  <a:pt x="463" y="1179"/>
                </a:cubicBezTo>
                <a:cubicBezTo>
                  <a:pt x="460" y="1174"/>
                  <a:pt x="462" y="1168"/>
                  <a:pt x="467" y="1165"/>
                </a:cubicBezTo>
                <a:cubicBezTo>
                  <a:pt x="481" y="1159"/>
                  <a:pt x="495" y="1151"/>
                  <a:pt x="508" y="1144"/>
                </a:cubicBezTo>
                <a:cubicBezTo>
                  <a:pt x="513" y="1141"/>
                  <a:pt x="519" y="1142"/>
                  <a:pt x="522" y="1147"/>
                </a:cubicBezTo>
                <a:cubicBezTo>
                  <a:pt x="525" y="1152"/>
                  <a:pt x="523" y="1158"/>
                  <a:pt x="518" y="1161"/>
                </a:cubicBezTo>
                <a:cubicBezTo>
                  <a:pt x="505" y="1169"/>
                  <a:pt x="490" y="1176"/>
                  <a:pt x="476" y="1183"/>
                </a:cubicBezTo>
                <a:cubicBezTo>
                  <a:pt x="475" y="1184"/>
                  <a:pt x="473" y="1184"/>
                  <a:pt x="472" y="1184"/>
                </a:cubicBezTo>
                <a:close/>
                <a:moveTo>
                  <a:pt x="553" y="1137"/>
                </a:moveTo>
                <a:cubicBezTo>
                  <a:pt x="550" y="1137"/>
                  <a:pt x="547" y="1135"/>
                  <a:pt x="545" y="1132"/>
                </a:cubicBezTo>
                <a:cubicBezTo>
                  <a:pt x="542" y="1128"/>
                  <a:pt x="543" y="1122"/>
                  <a:pt x="548" y="1119"/>
                </a:cubicBezTo>
                <a:cubicBezTo>
                  <a:pt x="560" y="1110"/>
                  <a:pt x="573" y="1100"/>
                  <a:pt x="585" y="1091"/>
                </a:cubicBezTo>
                <a:cubicBezTo>
                  <a:pt x="589" y="1087"/>
                  <a:pt x="595" y="1088"/>
                  <a:pt x="599" y="1092"/>
                </a:cubicBezTo>
                <a:cubicBezTo>
                  <a:pt x="602" y="1096"/>
                  <a:pt x="602" y="1103"/>
                  <a:pt x="597" y="1106"/>
                </a:cubicBezTo>
                <a:cubicBezTo>
                  <a:pt x="585" y="1116"/>
                  <a:pt x="572" y="1126"/>
                  <a:pt x="559" y="1135"/>
                </a:cubicBezTo>
                <a:cubicBezTo>
                  <a:pt x="557" y="1136"/>
                  <a:pt x="555" y="1137"/>
                  <a:pt x="553" y="1137"/>
                </a:cubicBezTo>
                <a:close/>
                <a:moveTo>
                  <a:pt x="627" y="1077"/>
                </a:moveTo>
                <a:cubicBezTo>
                  <a:pt x="624" y="1077"/>
                  <a:pt x="621" y="1076"/>
                  <a:pt x="619" y="1074"/>
                </a:cubicBezTo>
                <a:cubicBezTo>
                  <a:pt x="616" y="1070"/>
                  <a:pt x="616" y="1064"/>
                  <a:pt x="620" y="1060"/>
                </a:cubicBezTo>
                <a:cubicBezTo>
                  <a:pt x="631" y="1049"/>
                  <a:pt x="642" y="1038"/>
                  <a:pt x="652" y="1026"/>
                </a:cubicBezTo>
                <a:cubicBezTo>
                  <a:pt x="656" y="1022"/>
                  <a:pt x="662" y="1022"/>
                  <a:pt x="666" y="1026"/>
                </a:cubicBezTo>
                <a:cubicBezTo>
                  <a:pt x="670" y="1029"/>
                  <a:pt x="671" y="1036"/>
                  <a:pt x="667" y="1040"/>
                </a:cubicBezTo>
                <a:cubicBezTo>
                  <a:pt x="656" y="1052"/>
                  <a:pt x="645" y="1063"/>
                  <a:pt x="633" y="1074"/>
                </a:cubicBezTo>
                <a:cubicBezTo>
                  <a:pt x="632" y="1076"/>
                  <a:pt x="629" y="1077"/>
                  <a:pt x="627" y="1077"/>
                </a:cubicBezTo>
                <a:close/>
                <a:moveTo>
                  <a:pt x="690" y="1007"/>
                </a:moveTo>
                <a:cubicBezTo>
                  <a:pt x="688" y="1007"/>
                  <a:pt x="686" y="1006"/>
                  <a:pt x="684" y="1005"/>
                </a:cubicBezTo>
                <a:cubicBezTo>
                  <a:pt x="679" y="1001"/>
                  <a:pt x="679" y="995"/>
                  <a:pt x="682" y="991"/>
                </a:cubicBezTo>
                <a:cubicBezTo>
                  <a:pt x="691" y="979"/>
                  <a:pt x="701" y="966"/>
                  <a:pt x="709" y="953"/>
                </a:cubicBezTo>
                <a:cubicBezTo>
                  <a:pt x="712" y="948"/>
                  <a:pt x="718" y="947"/>
                  <a:pt x="723" y="950"/>
                </a:cubicBezTo>
                <a:cubicBezTo>
                  <a:pt x="727" y="953"/>
                  <a:pt x="729" y="959"/>
                  <a:pt x="726" y="964"/>
                </a:cubicBezTo>
                <a:cubicBezTo>
                  <a:pt x="717" y="977"/>
                  <a:pt x="708" y="990"/>
                  <a:pt x="698" y="1003"/>
                </a:cubicBezTo>
                <a:cubicBezTo>
                  <a:pt x="696" y="1006"/>
                  <a:pt x="693" y="1007"/>
                  <a:pt x="690" y="1007"/>
                </a:cubicBezTo>
                <a:close/>
                <a:moveTo>
                  <a:pt x="742" y="928"/>
                </a:moveTo>
                <a:cubicBezTo>
                  <a:pt x="740" y="928"/>
                  <a:pt x="738" y="928"/>
                  <a:pt x="737" y="927"/>
                </a:cubicBezTo>
                <a:cubicBezTo>
                  <a:pt x="732" y="924"/>
                  <a:pt x="730" y="918"/>
                  <a:pt x="733" y="913"/>
                </a:cubicBezTo>
                <a:cubicBezTo>
                  <a:pt x="740" y="900"/>
                  <a:pt x="747" y="886"/>
                  <a:pt x="754" y="872"/>
                </a:cubicBezTo>
                <a:cubicBezTo>
                  <a:pt x="756" y="866"/>
                  <a:pt x="762" y="864"/>
                  <a:pt x="767" y="867"/>
                </a:cubicBezTo>
                <a:cubicBezTo>
                  <a:pt x="772" y="869"/>
                  <a:pt x="774" y="875"/>
                  <a:pt x="772" y="880"/>
                </a:cubicBezTo>
                <a:cubicBezTo>
                  <a:pt x="765" y="894"/>
                  <a:pt x="758" y="909"/>
                  <a:pt x="751" y="923"/>
                </a:cubicBezTo>
                <a:cubicBezTo>
                  <a:pt x="749" y="926"/>
                  <a:pt x="745" y="928"/>
                  <a:pt x="742" y="928"/>
                </a:cubicBezTo>
                <a:close/>
                <a:moveTo>
                  <a:pt x="781" y="842"/>
                </a:moveTo>
                <a:cubicBezTo>
                  <a:pt x="780" y="842"/>
                  <a:pt x="778" y="842"/>
                  <a:pt x="777" y="841"/>
                </a:cubicBezTo>
                <a:cubicBezTo>
                  <a:pt x="772" y="839"/>
                  <a:pt x="769" y="834"/>
                  <a:pt x="771" y="828"/>
                </a:cubicBezTo>
                <a:cubicBezTo>
                  <a:pt x="777" y="814"/>
                  <a:pt x="781" y="799"/>
                  <a:pt x="786" y="784"/>
                </a:cubicBezTo>
                <a:cubicBezTo>
                  <a:pt x="787" y="779"/>
                  <a:pt x="793" y="776"/>
                  <a:pt x="798" y="777"/>
                </a:cubicBezTo>
                <a:cubicBezTo>
                  <a:pt x="803" y="779"/>
                  <a:pt x="806" y="784"/>
                  <a:pt x="805" y="790"/>
                </a:cubicBezTo>
                <a:cubicBezTo>
                  <a:pt x="801" y="805"/>
                  <a:pt x="796" y="820"/>
                  <a:pt x="790" y="835"/>
                </a:cubicBezTo>
                <a:cubicBezTo>
                  <a:pt x="789" y="839"/>
                  <a:pt x="785" y="842"/>
                  <a:pt x="781" y="842"/>
                </a:cubicBezTo>
                <a:close/>
                <a:moveTo>
                  <a:pt x="806" y="751"/>
                </a:moveTo>
                <a:cubicBezTo>
                  <a:pt x="805" y="751"/>
                  <a:pt x="805" y="751"/>
                  <a:pt x="804" y="751"/>
                </a:cubicBezTo>
                <a:cubicBezTo>
                  <a:pt x="799" y="750"/>
                  <a:pt x="795" y="744"/>
                  <a:pt x="796" y="739"/>
                </a:cubicBezTo>
                <a:cubicBezTo>
                  <a:pt x="799" y="724"/>
                  <a:pt x="802" y="708"/>
                  <a:pt x="803" y="693"/>
                </a:cubicBezTo>
                <a:cubicBezTo>
                  <a:pt x="804" y="687"/>
                  <a:pt x="809" y="684"/>
                  <a:pt x="814" y="684"/>
                </a:cubicBezTo>
                <a:cubicBezTo>
                  <a:pt x="820" y="685"/>
                  <a:pt x="824" y="690"/>
                  <a:pt x="823" y="695"/>
                </a:cubicBezTo>
                <a:cubicBezTo>
                  <a:pt x="821" y="711"/>
                  <a:pt x="819" y="727"/>
                  <a:pt x="816" y="743"/>
                </a:cubicBezTo>
                <a:cubicBezTo>
                  <a:pt x="815" y="748"/>
                  <a:pt x="811" y="751"/>
                  <a:pt x="806" y="751"/>
                </a:cubicBezTo>
                <a:close/>
                <a:moveTo>
                  <a:pt x="817" y="657"/>
                </a:moveTo>
                <a:cubicBezTo>
                  <a:pt x="817" y="657"/>
                  <a:pt x="817" y="657"/>
                  <a:pt x="817" y="657"/>
                </a:cubicBezTo>
                <a:cubicBezTo>
                  <a:pt x="811" y="657"/>
                  <a:pt x="807" y="652"/>
                  <a:pt x="807" y="647"/>
                </a:cubicBezTo>
                <a:cubicBezTo>
                  <a:pt x="807" y="639"/>
                  <a:pt x="807" y="631"/>
                  <a:pt x="807" y="623"/>
                </a:cubicBezTo>
                <a:cubicBezTo>
                  <a:pt x="807" y="615"/>
                  <a:pt x="807" y="608"/>
                  <a:pt x="807" y="600"/>
                </a:cubicBezTo>
                <a:cubicBezTo>
                  <a:pt x="807" y="594"/>
                  <a:pt x="811" y="590"/>
                  <a:pt x="817" y="590"/>
                </a:cubicBezTo>
                <a:cubicBezTo>
                  <a:pt x="822" y="590"/>
                  <a:pt x="827" y="594"/>
                  <a:pt x="827" y="599"/>
                </a:cubicBezTo>
                <a:cubicBezTo>
                  <a:pt x="827" y="607"/>
                  <a:pt x="827" y="615"/>
                  <a:pt x="827" y="623"/>
                </a:cubicBezTo>
                <a:cubicBezTo>
                  <a:pt x="827" y="631"/>
                  <a:pt x="827" y="639"/>
                  <a:pt x="827" y="647"/>
                </a:cubicBezTo>
                <a:cubicBezTo>
                  <a:pt x="827" y="653"/>
                  <a:pt x="822" y="657"/>
                  <a:pt x="817" y="657"/>
                </a:cubicBezTo>
                <a:close/>
                <a:moveTo>
                  <a:pt x="813" y="562"/>
                </a:moveTo>
                <a:cubicBezTo>
                  <a:pt x="808" y="562"/>
                  <a:pt x="804" y="559"/>
                  <a:pt x="803" y="554"/>
                </a:cubicBezTo>
                <a:cubicBezTo>
                  <a:pt x="802" y="538"/>
                  <a:pt x="799" y="523"/>
                  <a:pt x="796" y="508"/>
                </a:cubicBezTo>
                <a:cubicBezTo>
                  <a:pt x="795" y="502"/>
                  <a:pt x="799" y="497"/>
                  <a:pt x="804" y="496"/>
                </a:cubicBezTo>
                <a:cubicBezTo>
                  <a:pt x="810" y="495"/>
                  <a:pt x="815" y="498"/>
                  <a:pt x="816" y="504"/>
                </a:cubicBezTo>
                <a:cubicBezTo>
                  <a:pt x="819" y="519"/>
                  <a:pt x="821" y="535"/>
                  <a:pt x="823" y="551"/>
                </a:cubicBezTo>
                <a:cubicBezTo>
                  <a:pt x="824" y="557"/>
                  <a:pt x="820" y="562"/>
                  <a:pt x="814" y="562"/>
                </a:cubicBezTo>
                <a:cubicBezTo>
                  <a:pt x="814" y="562"/>
                  <a:pt x="814" y="562"/>
                  <a:pt x="813" y="562"/>
                </a:cubicBezTo>
                <a:close/>
                <a:moveTo>
                  <a:pt x="795" y="470"/>
                </a:moveTo>
                <a:cubicBezTo>
                  <a:pt x="791" y="470"/>
                  <a:pt x="787" y="467"/>
                  <a:pt x="786" y="462"/>
                </a:cubicBezTo>
                <a:cubicBezTo>
                  <a:pt x="782" y="447"/>
                  <a:pt x="777" y="433"/>
                  <a:pt x="772" y="418"/>
                </a:cubicBezTo>
                <a:cubicBezTo>
                  <a:pt x="770" y="413"/>
                  <a:pt x="772" y="407"/>
                  <a:pt x="778" y="405"/>
                </a:cubicBezTo>
                <a:cubicBezTo>
                  <a:pt x="783" y="403"/>
                  <a:pt x="789" y="406"/>
                  <a:pt x="790" y="411"/>
                </a:cubicBezTo>
                <a:cubicBezTo>
                  <a:pt x="796" y="426"/>
                  <a:pt x="801" y="442"/>
                  <a:pt x="805" y="457"/>
                </a:cubicBezTo>
                <a:cubicBezTo>
                  <a:pt x="806" y="462"/>
                  <a:pt x="803" y="468"/>
                  <a:pt x="798" y="469"/>
                </a:cubicBezTo>
                <a:cubicBezTo>
                  <a:pt x="797" y="470"/>
                  <a:pt x="796" y="470"/>
                  <a:pt x="795" y="470"/>
                </a:cubicBezTo>
                <a:close/>
                <a:moveTo>
                  <a:pt x="763" y="381"/>
                </a:moveTo>
                <a:cubicBezTo>
                  <a:pt x="759" y="381"/>
                  <a:pt x="756" y="379"/>
                  <a:pt x="754" y="375"/>
                </a:cubicBezTo>
                <a:cubicBezTo>
                  <a:pt x="748" y="361"/>
                  <a:pt x="741" y="347"/>
                  <a:pt x="733" y="333"/>
                </a:cubicBezTo>
                <a:cubicBezTo>
                  <a:pt x="731" y="328"/>
                  <a:pt x="732" y="322"/>
                  <a:pt x="737" y="320"/>
                </a:cubicBezTo>
                <a:cubicBezTo>
                  <a:pt x="742" y="317"/>
                  <a:pt x="748" y="319"/>
                  <a:pt x="751" y="324"/>
                </a:cubicBezTo>
                <a:cubicBezTo>
                  <a:pt x="759" y="338"/>
                  <a:pt x="766" y="352"/>
                  <a:pt x="772" y="367"/>
                </a:cubicBezTo>
                <a:cubicBezTo>
                  <a:pt x="775" y="372"/>
                  <a:pt x="772" y="378"/>
                  <a:pt x="767" y="380"/>
                </a:cubicBezTo>
                <a:cubicBezTo>
                  <a:pt x="766" y="381"/>
                  <a:pt x="765" y="381"/>
                  <a:pt x="763" y="381"/>
                </a:cubicBezTo>
                <a:close/>
                <a:moveTo>
                  <a:pt x="718" y="298"/>
                </a:moveTo>
                <a:cubicBezTo>
                  <a:pt x="714" y="298"/>
                  <a:pt x="711" y="296"/>
                  <a:pt x="709" y="293"/>
                </a:cubicBezTo>
                <a:cubicBezTo>
                  <a:pt x="701" y="280"/>
                  <a:pt x="692" y="268"/>
                  <a:pt x="682" y="255"/>
                </a:cubicBezTo>
                <a:cubicBezTo>
                  <a:pt x="679" y="251"/>
                  <a:pt x="680" y="245"/>
                  <a:pt x="684" y="241"/>
                </a:cubicBezTo>
                <a:cubicBezTo>
                  <a:pt x="689" y="238"/>
                  <a:pt x="695" y="239"/>
                  <a:pt x="698" y="243"/>
                </a:cubicBezTo>
                <a:cubicBezTo>
                  <a:pt x="708" y="256"/>
                  <a:pt x="717" y="269"/>
                  <a:pt x="726" y="282"/>
                </a:cubicBezTo>
                <a:cubicBezTo>
                  <a:pt x="729" y="287"/>
                  <a:pt x="728" y="293"/>
                  <a:pt x="723" y="296"/>
                </a:cubicBezTo>
                <a:cubicBezTo>
                  <a:pt x="722" y="297"/>
                  <a:pt x="720" y="298"/>
                  <a:pt x="718" y="298"/>
                </a:cubicBezTo>
                <a:close/>
                <a:moveTo>
                  <a:pt x="660" y="223"/>
                </a:moveTo>
                <a:cubicBezTo>
                  <a:pt x="657" y="223"/>
                  <a:pt x="655" y="222"/>
                  <a:pt x="653" y="220"/>
                </a:cubicBezTo>
                <a:cubicBezTo>
                  <a:pt x="642" y="208"/>
                  <a:pt x="631" y="197"/>
                  <a:pt x="620" y="186"/>
                </a:cubicBezTo>
                <a:cubicBezTo>
                  <a:pt x="616" y="183"/>
                  <a:pt x="616" y="176"/>
                  <a:pt x="620" y="172"/>
                </a:cubicBezTo>
                <a:cubicBezTo>
                  <a:pt x="624" y="168"/>
                  <a:pt x="630" y="168"/>
                  <a:pt x="634" y="172"/>
                </a:cubicBezTo>
                <a:cubicBezTo>
                  <a:pt x="645" y="183"/>
                  <a:pt x="657" y="194"/>
                  <a:pt x="667" y="206"/>
                </a:cubicBezTo>
                <a:cubicBezTo>
                  <a:pt x="671" y="210"/>
                  <a:pt x="671" y="217"/>
                  <a:pt x="667" y="220"/>
                </a:cubicBezTo>
                <a:cubicBezTo>
                  <a:pt x="665" y="222"/>
                  <a:pt x="662" y="223"/>
                  <a:pt x="660" y="223"/>
                </a:cubicBezTo>
                <a:close/>
                <a:moveTo>
                  <a:pt x="592" y="158"/>
                </a:moveTo>
                <a:cubicBezTo>
                  <a:pt x="589" y="158"/>
                  <a:pt x="587" y="157"/>
                  <a:pt x="585" y="156"/>
                </a:cubicBezTo>
                <a:cubicBezTo>
                  <a:pt x="573" y="146"/>
                  <a:pt x="561" y="136"/>
                  <a:pt x="548" y="128"/>
                </a:cubicBezTo>
                <a:cubicBezTo>
                  <a:pt x="544" y="124"/>
                  <a:pt x="542" y="118"/>
                  <a:pt x="546" y="114"/>
                </a:cubicBezTo>
                <a:cubicBezTo>
                  <a:pt x="549" y="109"/>
                  <a:pt x="555" y="108"/>
                  <a:pt x="559" y="111"/>
                </a:cubicBezTo>
                <a:cubicBezTo>
                  <a:pt x="573" y="120"/>
                  <a:pt x="585" y="130"/>
                  <a:pt x="598" y="140"/>
                </a:cubicBezTo>
                <a:cubicBezTo>
                  <a:pt x="602" y="144"/>
                  <a:pt x="603" y="150"/>
                  <a:pt x="599" y="154"/>
                </a:cubicBezTo>
                <a:cubicBezTo>
                  <a:pt x="597" y="157"/>
                  <a:pt x="594" y="158"/>
                  <a:pt x="592" y="158"/>
                </a:cubicBezTo>
                <a:close/>
                <a:moveTo>
                  <a:pt x="514" y="104"/>
                </a:moveTo>
                <a:cubicBezTo>
                  <a:pt x="512" y="104"/>
                  <a:pt x="510" y="104"/>
                  <a:pt x="509" y="103"/>
                </a:cubicBezTo>
                <a:cubicBezTo>
                  <a:pt x="496" y="95"/>
                  <a:pt x="482" y="87"/>
                  <a:pt x="468" y="81"/>
                </a:cubicBezTo>
                <a:cubicBezTo>
                  <a:pt x="463" y="78"/>
                  <a:pt x="461" y="72"/>
                  <a:pt x="463" y="67"/>
                </a:cubicBezTo>
                <a:cubicBezTo>
                  <a:pt x="466" y="62"/>
                  <a:pt x="472" y="60"/>
                  <a:pt x="477" y="63"/>
                </a:cubicBezTo>
                <a:cubicBezTo>
                  <a:pt x="491" y="70"/>
                  <a:pt x="505" y="77"/>
                  <a:pt x="519" y="85"/>
                </a:cubicBezTo>
                <a:cubicBezTo>
                  <a:pt x="524" y="88"/>
                  <a:pt x="525" y="94"/>
                  <a:pt x="523" y="99"/>
                </a:cubicBezTo>
                <a:cubicBezTo>
                  <a:pt x="521" y="102"/>
                  <a:pt x="517" y="104"/>
                  <a:pt x="514" y="104"/>
                </a:cubicBezTo>
                <a:close/>
                <a:moveTo>
                  <a:pt x="429" y="63"/>
                </a:moveTo>
                <a:cubicBezTo>
                  <a:pt x="428" y="63"/>
                  <a:pt x="426" y="62"/>
                  <a:pt x="425" y="62"/>
                </a:cubicBezTo>
                <a:cubicBezTo>
                  <a:pt x="411" y="56"/>
                  <a:pt x="396" y="51"/>
                  <a:pt x="381" y="47"/>
                </a:cubicBezTo>
                <a:cubicBezTo>
                  <a:pt x="376" y="45"/>
                  <a:pt x="373" y="39"/>
                  <a:pt x="375" y="34"/>
                </a:cubicBezTo>
                <a:cubicBezTo>
                  <a:pt x="376" y="29"/>
                  <a:pt x="382" y="26"/>
                  <a:pt x="387" y="28"/>
                </a:cubicBezTo>
                <a:cubicBezTo>
                  <a:pt x="402" y="32"/>
                  <a:pt x="418" y="38"/>
                  <a:pt x="433" y="43"/>
                </a:cubicBezTo>
                <a:cubicBezTo>
                  <a:pt x="438" y="45"/>
                  <a:pt x="440" y="51"/>
                  <a:pt x="438" y="56"/>
                </a:cubicBezTo>
                <a:cubicBezTo>
                  <a:pt x="437" y="60"/>
                  <a:pt x="433" y="63"/>
                  <a:pt x="429" y="63"/>
                </a:cubicBezTo>
                <a:close/>
                <a:moveTo>
                  <a:pt x="12" y="51"/>
                </a:moveTo>
                <a:cubicBezTo>
                  <a:pt x="8" y="51"/>
                  <a:pt x="4" y="49"/>
                  <a:pt x="2" y="45"/>
                </a:cubicBezTo>
                <a:cubicBezTo>
                  <a:pt x="1" y="39"/>
                  <a:pt x="3" y="34"/>
                  <a:pt x="9" y="32"/>
                </a:cubicBezTo>
                <a:cubicBezTo>
                  <a:pt x="24" y="27"/>
                  <a:pt x="39" y="22"/>
                  <a:pt x="55" y="19"/>
                </a:cubicBezTo>
                <a:cubicBezTo>
                  <a:pt x="60" y="17"/>
                  <a:pt x="66" y="21"/>
                  <a:pt x="67" y="26"/>
                </a:cubicBezTo>
                <a:cubicBezTo>
                  <a:pt x="68" y="31"/>
                  <a:pt x="65" y="37"/>
                  <a:pt x="60" y="38"/>
                </a:cubicBezTo>
                <a:cubicBezTo>
                  <a:pt x="45" y="42"/>
                  <a:pt x="30" y="46"/>
                  <a:pt x="15" y="51"/>
                </a:cubicBezTo>
                <a:cubicBezTo>
                  <a:pt x="14" y="51"/>
                  <a:pt x="13" y="51"/>
                  <a:pt x="12" y="51"/>
                </a:cubicBezTo>
                <a:close/>
                <a:moveTo>
                  <a:pt x="339" y="35"/>
                </a:moveTo>
                <a:cubicBezTo>
                  <a:pt x="338" y="35"/>
                  <a:pt x="337" y="35"/>
                  <a:pt x="336" y="35"/>
                </a:cubicBezTo>
                <a:cubicBezTo>
                  <a:pt x="321" y="31"/>
                  <a:pt x="306" y="29"/>
                  <a:pt x="291" y="26"/>
                </a:cubicBezTo>
                <a:cubicBezTo>
                  <a:pt x="285" y="26"/>
                  <a:pt x="281" y="21"/>
                  <a:pt x="282" y="15"/>
                </a:cubicBezTo>
                <a:cubicBezTo>
                  <a:pt x="283" y="10"/>
                  <a:pt x="288" y="6"/>
                  <a:pt x="293" y="7"/>
                </a:cubicBezTo>
                <a:cubicBezTo>
                  <a:pt x="309" y="9"/>
                  <a:pt x="325" y="12"/>
                  <a:pt x="341" y="15"/>
                </a:cubicBezTo>
                <a:cubicBezTo>
                  <a:pt x="346" y="16"/>
                  <a:pt x="350" y="22"/>
                  <a:pt x="348" y="27"/>
                </a:cubicBezTo>
                <a:cubicBezTo>
                  <a:pt x="347" y="32"/>
                  <a:pt x="343" y="35"/>
                  <a:pt x="339" y="35"/>
                </a:cubicBezTo>
                <a:close/>
                <a:moveTo>
                  <a:pt x="104" y="29"/>
                </a:moveTo>
                <a:cubicBezTo>
                  <a:pt x="99" y="29"/>
                  <a:pt x="94" y="25"/>
                  <a:pt x="94" y="20"/>
                </a:cubicBezTo>
                <a:cubicBezTo>
                  <a:pt x="93" y="15"/>
                  <a:pt x="96" y="10"/>
                  <a:pt x="102" y="9"/>
                </a:cubicBezTo>
                <a:cubicBezTo>
                  <a:pt x="118" y="6"/>
                  <a:pt x="134" y="4"/>
                  <a:pt x="150" y="3"/>
                </a:cubicBezTo>
                <a:cubicBezTo>
                  <a:pt x="155" y="2"/>
                  <a:pt x="160" y="6"/>
                  <a:pt x="160" y="12"/>
                </a:cubicBezTo>
                <a:cubicBezTo>
                  <a:pt x="161" y="17"/>
                  <a:pt x="157" y="22"/>
                  <a:pt x="151" y="23"/>
                </a:cubicBezTo>
                <a:cubicBezTo>
                  <a:pt x="136" y="24"/>
                  <a:pt x="120" y="26"/>
                  <a:pt x="105" y="29"/>
                </a:cubicBezTo>
                <a:cubicBezTo>
                  <a:pt x="105" y="29"/>
                  <a:pt x="104" y="29"/>
                  <a:pt x="104" y="29"/>
                </a:cubicBezTo>
                <a:close/>
                <a:moveTo>
                  <a:pt x="245" y="22"/>
                </a:moveTo>
                <a:cubicBezTo>
                  <a:pt x="245" y="22"/>
                  <a:pt x="245" y="22"/>
                  <a:pt x="244" y="22"/>
                </a:cubicBezTo>
                <a:cubicBezTo>
                  <a:pt x="229" y="21"/>
                  <a:pt x="213" y="20"/>
                  <a:pt x="198" y="20"/>
                </a:cubicBezTo>
                <a:cubicBezTo>
                  <a:pt x="198" y="20"/>
                  <a:pt x="198" y="20"/>
                  <a:pt x="198" y="20"/>
                </a:cubicBezTo>
                <a:cubicBezTo>
                  <a:pt x="192" y="20"/>
                  <a:pt x="188" y="16"/>
                  <a:pt x="188" y="11"/>
                </a:cubicBezTo>
                <a:cubicBezTo>
                  <a:pt x="188" y="5"/>
                  <a:pt x="192" y="0"/>
                  <a:pt x="198" y="0"/>
                </a:cubicBezTo>
                <a:cubicBezTo>
                  <a:pt x="214" y="0"/>
                  <a:pt x="230" y="1"/>
                  <a:pt x="246" y="2"/>
                </a:cubicBezTo>
                <a:cubicBezTo>
                  <a:pt x="251" y="2"/>
                  <a:pt x="255" y="7"/>
                  <a:pt x="255" y="12"/>
                </a:cubicBezTo>
                <a:cubicBezTo>
                  <a:pt x="255" y="18"/>
                  <a:pt x="250" y="22"/>
                  <a:pt x="245" y="22"/>
                </a:cubicBezTo>
                <a:close/>
              </a:path>
            </a:pathLst>
          </a:custGeom>
          <a:solidFill>
            <a:srgbClr val="C0DC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25CD399F-4C13-2C8B-C04A-B76DECBE1E87}"/>
              </a:ext>
            </a:extLst>
          </p:cNvPr>
          <p:cNvGrpSpPr/>
          <p:nvPr/>
        </p:nvGrpSpPr>
        <p:grpSpPr>
          <a:xfrm>
            <a:off x="-6354144" y="4083807"/>
            <a:ext cx="2151847" cy="1638604"/>
            <a:chOff x="9428163" y="4083807"/>
            <a:chExt cx="2151847" cy="1638604"/>
          </a:xfrm>
        </p:grpSpPr>
        <p:sp>
          <p:nvSpPr>
            <p:cNvPr id="64" name="Rectangle 21">
              <a:extLst>
                <a:ext uri="{FF2B5EF4-FFF2-40B4-BE49-F238E27FC236}">
                  <a16:creationId xmlns:a16="http://schemas.microsoft.com/office/drawing/2014/main" id="{DBEF5EF9-32C2-BE00-09A3-0AE4CA782E61}"/>
                </a:ext>
              </a:extLst>
            </p:cNvPr>
            <p:cNvSpPr/>
            <p:nvPr/>
          </p:nvSpPr>
          <p:spPr>
            <a:xfrm>
              <a:off x="9428163" y="4152751"/>
              <a:ext cx="1657944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0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65" name="Freeform 20">
              <a:extLst>
                <a:ext uri="{FF2B5EF4-FFF2-40B4-BE49-F238E27FC236}">
                  <a16:creationId xmlns:a16="http://schemas.microsoft.com/office/drawing/2014/main" id="{273B344C-1D14-F7CF-FA79-E64F255A20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613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66" name="Freeform 21">
              <a:extLst>
                <a:ext uri="{FF2B5EF4-FFF2-40B4-BE49-F238E27FC236}">
                  <a16:creationId xmlns:a16="http://schemas.microsoft.com/office/drawing/2014/main" id="{21F18578-FE80-AD71-58B0-3917D12B9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67" name="Freeform 23">
              <a:extLst>
                <a:ext uri="{FF2B5EF4-FFF2-40B4-BE49-F238E27FC236}">
                  <a16:creationId xmlns:a16="http://schemas.microsoft.com/office/drawing/2014/main" id="{FBEF1BF7-D6F8-023D-E6E5-4011B1626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68105723-FBFC-49D1-F198-1CF37CD009D4}"/>
              </a:ext>
            </a:extLst>
          </p:cNvPr>
          <p:cNvGrpSpPr/>
          <p:nvPr/>
        </p:nvGrpSpPr>
        <p:grpSpPr>
          <a:xfrm>
            <a:off x="-15557547" y="4071540"/>
            <a:ext cx="1890777" cy="1650871"/>
            <a:chOff x="224760" y="4071540"/>
            <a:chExt cx="1890777" cy="1650871"/>
          </a:xfrm>
        </p:grpSpPr>
        <p:sp>
          <p:nvSpPr>
            <p:cNvPr id="69" name="Rectangle 25">
              <a:extLst>
                <a:ext uri="{FF2B5EF4-FFF2-40B4-BE49-F238E27FC236}">
                  <a16:creationId xmlns:a16="http://schemas.microsoft.com/office/drawing/2014/main" id="{ADB5A2D4-1BF7-CE27-2F41-9D565E55E096}"/>
                </a:ext>
              </a:extLst>
            </p:cNvPr>
            <p:cNvSpPr/>
            <p:nvPr/>
          </p:nvSpPr>
          <p:spPr>
            <a:xfrm>
              <a:off x="224760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6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70" name="Freeform 24">
              <a:extLst>
                <a:ext uri="{FF2B5EF4-FFF2-40B4-BE49-F238E27FC236}">
                  <a16:creationId xmlns:a16="http://schemas.microsoft.com/office/drawing/2014/main" id="{199FE319-5D1D-7610-0E51-EF3DE6653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71" name="Freeform 26">
              <a:extLst>
                <a:ext uri="{FF2B5EF4-FFF2-40B4-BE49-F238E27FC236}">
                  <a16:creationId xmlns:a16="http://schemas.microsoft.com/office/drawing/2014/main" id="{CF183766-7FAA-4D67-6632-9DFCCC1C68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5503178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72" name="Freeform 27">
              <a:extLst>
                <a:ext uri="{FF2B5EF4-FFF2-40B4-BE49-F238E27FC236}">
                  <a16:creationId xmlns:a16="http://schemas.microsoft.com/office/drawing/2014/main" id="{B8478389-1870-A7CE-EBE5-243FA9076F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4071540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73" name="Freeform 28">
              <a:extLst>
                <a:ext uri="{FF2B5EF4-FFF2-40B4-BE49-F238E27FC236}">
                  <a16:creationId xmlns:a16="http://schemas.microsoft.com/office/drawing/2014/main" id="{B552B0AD-99EA-B1B8-BC8C-FE353572C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82F4D4C3-A47E-06B3-DDF7-F457E1C832DD}"/>
              </a:ext>
            </a:extLst>
          </p:cNvPr>
          <p:cNvSpPr txBox="1"/>
          <p:nvPr/>
        </p:nvSpPr>
        <p:spPr>
          <a:xfrm>
            <a:off x="-15674813" y="5684038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ерегружен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композиция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0095417-CFEA-C24C-5704-FDD8F035D626}"/>
              </a:ext>
            </a:extLst>
          </p:cNvPr>
          <p:cNvSpPr txBox="1"/>
          <p:nvPr/>
        </p:nvSpPr>
        <p:spPr>
          <a:xfrm>
            <a:off x="-13015992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Нестандарт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ипографика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796B5AD-F39E-D407-3B7C-85A73F405E41}"/>
              </a:ext>
            </a:extLst>
          </p:cNvPr>
          <p:cNvSpPr txBox="1"/>
          <p:nvPr/>
        </p:nvSpPr>
        <p:spPr>
          <a:xfrm>
            <a:off x="-10828566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Черн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белый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727A382-7537-6D68-C7FB-6B4DDC4BCE28}"/>
              </a:ext>
            </a:extLst>
          </p:cNvPr>
          <p:cNvSpPr txBox="1"/>
          <p:nvPr/>
        </p:nvSpPr>
        <p:spPr>
          <a:xfrm>
            <a:off x="-8349016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екл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D6AE16A-D486-E21C-0986-29EFF70E8933}"/>
              </a:ext>
            </a:extLst>
          </p:cNvPr>
          <p:cNvSpPr txBox="1"/>
          <p:nvPr/>
        </p:nvSpPr>
        <p:spPr>
          <a:xfrm>
            <a:off x="-5983648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екстуры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 фактуры</a:t>
            </a:r>
          </a:p>
        </p:txBody>
      </p:sp>
    </p:spTree>
    <p:extLst>
      <p:ext uri="{BB962C8B-B14F-4D97-AF65-F5344CB8AC3E}">
        <p14:creationId xmlns:p14="http://schemas.microsoft.com/office/powerpoint/2010/main" val="17683673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436268" y="451062"/>
            <a:ext cx="8590385" cy="679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36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ТРЕНДЫ В ПРЕЗЕНТАЦИЯХ</a:t>
            </a:r>
          </a:p>
        </p:txBody>
      </p:sp>
      <p:grpSp>
        <p:nvGrpSpPr>
          <p:cNvPr id="181" name="Группа 180">
            <a:extLst>
              <a:ext uri="{FF2B5EF4-FFF2-40B4-BE49-F238E27FC236}">
                <a16:creationId xmlns:a16="http://schemas.microsoft.com/office/drawing/2014/main" id="{DEBCCBA6-033A-E9B3-B39B-F85295242BB4}"/>
              </a:ext>
            </a:extLst>
          </p:cNvPr>
          <p:cNvGrpSpPr/>
          <p:nvPr/>
        </p:nvGrpSpPr>
        <p:grpSpPr>
          <a:xfrm>
            <a:off x="2570693" y="1530804"/>
            <a:ext cx="1904144" cy="1650871"/>
            <a:chOff x="2570693" y="1530804"/>
            <a:chExt cx="1904144" cy="1650871"/>
          </a:xfrm>
        </p:grpSpPr>
        <p:grpSp>
          <p:nvGrpSpPr>
            <p:cNvPr id="163" name="Группа 162">
              <a:extLst>
                <a:ext uri="{FF2B5EF4-FFF2-40B4-BE49-F238E27FC236}">
                  <a16:creationId xmlns:a16="http://schemas.microsoft.com/office/drawing/2014/main" id="{4B8A1FD4-56F7-CF9F-A9B0-1DC5AA30F5E5}"/>
                </a:ext>
              </a:extLst>
            </p:cNvPr>
            <p:cNvGrpSpPr/>
            <p:nvPr/>
          </p:nvGrpSpPr>
          <p:grpSpPr>
            <a:xfrm>
              <a:off x="2570693" y="1543071"/>
              <a:ext cx="1891155" cy="1638604"/>
              <a:chOff x="2570693" y="1543071"/>
              <a:chExt cx="1891155" cy="1638604"/>
            </a:xfrm>
          </p:grpSpPr>
          <p:sp>
            <p:nvSpPr>
              <p:cNvPr id="93" name="Rectangle 24">
                <a:extLst>
                  <a:ext uri="{FF2B5EF4-FFF2-40B4-BE49-F238E27FC236}">
                    <a16:creationId xmlns:a16="http://schemas.microsoft.com/office/drawing/2014/main" id="{56E5413D-BEB3-D6DA-40AC-5C27DF8D4C54}"/>
                  </a:ext>
                </a:extLst>
              </p:cNvPr>
              <p:cNvSpPr/>
              <p:nvPr/>
            </p:nvSpPr>
            <p:spPr>
              <a:xfrm>
                <a:off x="2570693" y="1612015"/>
                <a:ext cx="1337881" cy="15696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9600" dirty="0">
                    <a:solidFill>
                      <a:srgbClr val="620CFD"/>
                    </a:solidFill>
                    <a:latin typeface="Poppins SemiBold" panose="00000700000000000000" pitchFamily="2" charset="0"/>
                    <a:ea typeface="Roboto Bold" panose="02000000000000000000" pitchFamily="2" charset="0"/>
                    <a:cs typeface="Poppins SemiBold" panose="00000700000000000000" pitchFamily="2" charset="0"/>
                  </a:rPr>
                  <a:t>2</a:t>
                </a:r>
                <a:endParaRPr lang="en-US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95" name="Freeform 5">
                <a:extLst>
                  <a:ext uri="{FF2B5EF4-FFF2-40B4-BE49-F238E27FC236}">
                    <a16:creationId xmlns:a16="http://schemas.microsoft.com/office/drawing/2014/main" id="{1217AEF5-802E-A251-3622-85C194DF9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50" y="1543071"/>
                <a:ext cx="1069398" cy="1505240"/>
              </a:xfrm>
              <a:custGeom>
                <a:avLst/>
                <a:gdLst>
                  <a:gd name="T0" fmla="*/ 260 w 872"/>
                  <a:gd name="T1" fmla="*/ 0 h 1225"/>
                  <a:gd name="T2" fmla="*/ 0 w 872"/>
                  <a:gd name="T3" fmla="*/ 58 h 1225"/>
                  <a:gd name="T4" fmla="*/ 0 w 872"/>
                  <a:gd name="T5" fmla="*/ 1168 h 1225"/>
                  <a:gd name="T6" fmla="*/ 260 w 872"/>
                  <a:gd name="T7" fmla="*/ 1225 h 1225"/>
                  <a:gd name="T8" fmla="*/ 872 w 872"/>
                  <a:gd name="T9" fmla="*/ 613 h 1225"/>
                  <a:gd name="T10" fmla="*/ 260 w 872"/>
                  <a:gd name="T11" fmla="*/ 0 h 1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2" h="1225">
                    <a:moveTo>
                      <a:pt x="260" y="0"/>
                    </a:moveTo>
                    <a:cubicBezTo>
                      <a:pt x="167" y="0"/>
                      <a:pt x="79" y="21"/>
                      <a:pt x="0" y="58"/>
                    </a:cubicBezTo>
                    <a:cubicBezTo>
                      <a:pt x="0" y="1168"/>
                      <a:pt x="0" y="1168"/>
                      <a:pt x="0" y="1168"/>
                    </a:cubicBezTo>
                    <a:cubicBezTo>
                      <a:pt x="79" y="1205"/>
                      <a:pt x="167" y="1225"/>
                      <a:pt x="260" y="1225"/>
                    </a:cubicBezTo>
                    <a:cubicBezTo>
                      <a:pt x="598" y="1225"/>
                      <a:pt x="872" y="951"/>
                      <a:pt x="872" y="613"/>
                    </a:cubicBezTo>
                    <a:cubicBezTo>
                      <a:pt x="872" y="275"/>
                      <a:pt x="598" y="0"/>
                      <a:pt x="2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76200" dist="38100" dir="10800000" algn="r" rotWithShape="0">
                  <a:prstClr val="black">
                    <a:alpha val="3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A3572630-598B-5C94-8D3E-3784DF297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id="{DAA99000-EA9A-AE50-74C7-2BA64FDCC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id="{8B3DD752-C6A4-CFD4-19C2-EB2456B2D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3" name="Группа 172">
            <a:extLst>
              <a:ext uri="{FF2B5EF4-FFF2-40B4-BE49-F238E27FC236}">
                <a16:creationId xmlns:a16="http://schemas.microsoft.com/office/drawing/2014/main" id="{EB1D928E-4F1C-D312-593E-162A0FF3104C}"/>
              </a:ext>
            </a:extLst>
          </p:cNvPr>
          <p:cNvGrpSpPr/>
          <p:nvPr/>
        </p:nvGrpSpPr>
        <p:grpSpPr>
          <a:xfrm>
            <a:off x="4931227" y="1530804"/>
            <a:ext cx="1902534" cy="1650871"/>
            <a:chOff x="4931227" y="1530804"/>
            <a:chExt cx="1902534" cy="1650871"/>
          </a:xfrm>
        </p:grpSpPr>
        <p:sp>
          <p:nvSpPr>
            <p:cNvPr id="92" name="Rectangle 23">
              <a:extLst>
                <a:ext uri="{FF2B5EF4-FFF2-40B4-BE49-F238E27FC236}">
                  <a16:creationId xmlns:a16="http://schemas.microsoft.com/office/drawing/2014/main" id="{273617A1-2DC0-5FB9-D7E0-FF6BCB3EB5ED}"/>
                </a:ext>
              </a:extLst>
            </p:cNvPr>
            <p:cNvSpPr/>
            <p:nvPr/>
          </p:nvSpPr>
          <p:spPr>
            <a:xfrm>
              <a:off x="4931227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3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006CAACD-CC97-0283-4433-83EF84659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D7108752-D1B1-31C4-D013-C181BD470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2962442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C6A1B4F2-3F92-F637-BB6F-29F3023B5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1530804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C1360D4A-55EB-272D-6048-902A967F1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3CCC8006-DC23-82B5-9306-E15D523021AC}"/>
              </a:ext>
            </a:extLst>
          </p:cNvPr>
          <p:cNvGrpSpPr/>
          <p:nvPr/>
        </p:nvGrpSpPr>
        <p:grpSpPr>
          <a:xfrm>
            <a:off x="7295974" y="1530804"/>
            <a:ext cx="1959602" cy="1650871"/>
            <a:chOff x="7295974" y="1530804"/>
            <a:chExt cx="1959602" cy="1650871"/>
          </a:xfrm>
        </p:grpSpPr>
        <p:sp>
          <p:nvSpPr>
            <p:cNvPr id="91" name="Rectangle 22">
              <a:extLst>
                <a:ext uri="{FF2B5EF4-FFF2-40B4-BE49-F238E27FC236}">
                  <a16:creationId xmlns:a16="http://schemas.microsoft.com/office/drawing/2014/main" id="{AF59DD62-7880-13CC-4138-B454478E64D9}"/>
                </a:ext>
              </a:extLst>
            </p:cNvPr>
            <p:cNvSpPr/>
            <p:nvPr/>
          </p:nvSpPr>
          <p:spPr>
            <a:xfrm>
              <a:off x="7295974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4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B988EB9F-9358-3C35-272D-F6EFF02A7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1543071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0" name="Freeform 17">
              <a:extLst>
                <a:ext uri="{FF2B5EF4-FFF2-40B4-BE49-F238E27FC236}">
                  <a16:creationId xmlns:a16="http://schemas.microsoft.com/office/drawing/2014/main" id="{CE1C1353-7B83-A46C-5D84-EEF7396A6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2962442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1" name="Freeform 18">
              <a:extLst>
                <a:ext uri="{FF2B5EF4-FFF2-40B4-BE49-F238E27FC236}">
                  <a16:creationId xmlns:a16="http://schemas.microsoft.com/office/drawing/2014/main" id="{0D092205-5F45-3E67-E60B-C5468BB8F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1530804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2" name="Freeform 19">
              <a:extLst>
                <a:ext uri="{FF2B5EF4-FFF2-40B4-BE49-F238E27FC236}">
                  <a16:creationId xmlns:a16="http://schemas.microsoft.com/office/drawing/2014/main" id="{62B77E0A-A3CB-4BAD-15B2-38C772EEF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1588532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5" name="Группа 174">
            <a:extLst>
              <a:ext uri="{FF2B5EF4-FFF2-40B4-BE49-F238E27FC236}">
                <a16:creationId xmlns:a16="http://schemas.microsoft.com/office/drawing/2014/main" id="{0B591BB7-477C-7C35-7106-26B676D5BE13}"/>
              </a:ext>
            </a:extLst>
          </p:cNvPr>
          <p:cNvGrpSpPr/>
          <p:nvPr/>
        </p:nvGrpSpPr>
        <p:grpSpPr>
          <a:xfrm>
            <a:off x="9717808" y="1530804"/>
            <a:ext cx="1902714" cy="1650871"/>
            <a:chOff x="9717808" y="1530804"/>
            <a:chExt cx="1902714" cy="1650871"/>
          </a:xfrm>
        </p:grpSpPr>
        <p:sp>
          <p:nvSpPr>
            <p:cNvPr id="90" name="Rectangle 21">
              <a:extLst>
                <a:ext uri="{FF2B5EF4-FFF2-40B4-BE49-F238E27FC236}">
                  <a16:creationId xmlns:a16="http://schemas.microsoft.com/office/drawing/2014/main" id="{29569A48-EE85-2ED7-8D80-191157BE8C22}"/>
                </a:ext>
              </a:extLst>
            </p:cNvPr>
            <p:cNvSpPr/>
            <p:nvPr/>
          </p:nvSpPr>
          <p:spPr>
            <a:xfrm>
              <a:off x="9717808" y="1612015"/>
              <a:ext cx="1337882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5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3" name="Freeform 20">
              <a:extLst>
                <a:ext uri="{FF2B5EF4-FFF2-40B4-BE49-F238E27FC236}">
                  <a16:creationId xmlns:a16="http://schemas.microsoft.com/office/drawing/2014/main" id="{9EE6F49C-07F6-DB6B-4B0B-1EB921EE5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8136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5" name="Freeform 21">
              <a:extLst>
                <a:ext uri="{FF2B5EF4-FFF2-40B4-BE49-F238E27FC236}">
                  <a16:creationId xmlns:a16="http://schemas.microsoft.com/office/drawing/2014/main" id="{6749EA0B-A536-CDB9-C374-57F4AE4E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6" name="Freeform 22">
              <a:extLst>
                <a:ext uri="{FF2B5EF4-FFF2-40B4-BE49-F238E27FC236}">
                  <a16:creationId xmlns:a16="http://schemas.microsoft.com/office/drawing/2014/main" id="{E4B64482-23A1-4452-2675-AA1B5EFFB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5965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3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59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3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88 w 827"/>
                <a:gd name="T99" fmla="*/ 11 h 1245"/>
                <a:gd name="T100" fmla="*/ 245 w 827"/>
                <a:gd name="T101" fmla="*/ 2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199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8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7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4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3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1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8" y="842"/>
                    <a:pt x="777" y="841"/>
                  </a:cubicBezTo>
                  <a:cubicBezTo>
                    <a:pt x="772" y="839"/>
                    <a:pt x="769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1" y="535"/>
                    <a:pt x="823" y="551"/>
                  </a:cubicBezTo>
                  <a:cubicBezTo>
                    <a:pt x="824" y="557"/>
                    <a:pt x="820" y="562"/>
                    <a:pt x="814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2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4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59" y="111"/>
                  </a:cubicBezTo>
                  <a:cubicBezTo>
                    <a:pt x="573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6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4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29" y="21"/>
                    <a:pt x="213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7" name="Freeform 23">
              <a:extLst>
                <a:ext uri="{FF2B5EF4-FFF2-40B4-BE49-F238E27FC236}">
                  <a16:creationId xmlns:a16="http://schemas.microsoft.com/office/drawing/2014/main" id="{04E21E31-4E2B-6A92-5A7F-D0ED69C0E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2" name="Группа 171">
            <a:extLst>
              <a:ext uri="{FF2B5EF4-FFF2-40B4-BE49-F238E27FC236}">
                <a16:creationId xmlns:a16="http://schemas.microsoft.com/office/drawing/2014/main" id="{70F9F561-E925-CC3F-3FD1-0CF9DB029578}"/>
              </a:ext>
            </a:extLst>
          </p:cNvPr>
          <p:cNvGrpSpPr/>
          <p:nvPr/>
        </p:nvGrpSpPr>
        <p:grpSpPr>
          <a:xfrm>
            <a:off x="224760" y="1530804"/>
            <a:ext cx="1890777" cy="1650871"/>
            <a:chOff x="224760" y="1530804"/>
            <a:chExt cx="1890777" cy="1650871"/>
          </a:xfrm>
        </p:grpSpPr>
        <p:sp>
          <p:nvSpPr>
            <p:cNvPr id="94" name="Rectangle 25">
              <a:extLst>
                <a:ext uri="{FF2B5EF4-FFF2-40B4-BE49-F238E27FC236}">
                  <a16:creationId xmlns:a16="http://schemas.microsoft.com/office/drawing/2014/main" id="{9426B5F4-A4AA-8DEB-EADD-889E43D6ECF0}"/>
                </a:ext>
              </a:extLst>
            </p:cNvPr>
            <p:cNvSpPr/>
            <p:nvPr/>
          </p:nvSpPr>
          <p:spPr>
            <a:xfrm>
              <a:off x="224760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8" name="Freeform 24">
              <a:extLst>
                <a:ext uri="{FF2B5EF4-FFF2-40B4-BE49-F238E27FC236}">
                  <a16:creationId xmlns:a16="http://schemas.microsoft.com/office/drawing/2014/main" id="{8668C76E-DE85-167C-8B9D-C63A038FC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1543071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1" name="Freeform 26">
              <a:extLst>
                <a:ext uri="{FF2B5EF4-FFF2-40B4-BE49-F238E27FC236}">
                  <a16:creationId xmlns:a16="http://schemas.microsoft.com/office/drawing/2014/main" id="{821036B1-A114-9E54-AC89-AFD52FDBD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2962442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2" name="Freeform 27">
              <a:extLst>
                <a:ext uri="{FF2B5EF4-FFF2-40B4-BE49-F238E27FC236}">
                  <a16:creationId xmlns:a16="http://schemas.microsoft.com/office/drawing/2014/main" id="{FADFDA08-A75F-E108-01D3-C17D96AF18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1530804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23" name="Freeform 28">
              <a:extLst>
                <a:ext uri="{FF2B5EF4-FFF2-40B4-BE49-F238E27FC236}">
                  <a16:creationId xmlns:a16="http://schemas.microsoft.com/office/drawing/2014/main" id="{02E78DB1-B4D3-B148-1742-D14CDC023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CEE3B85A-97B9-89F8-C67A-48CF9E943346}"/>
              </a:ext>
            </a:extLst>
          </p:cNvPr>
          <p:cNvGrpSpPr/>
          <p:nvPr/>
        </p:nvGrpSpPr>
        <p:grpSpPr>
          <a:xfrm>
            <a:off x="2570693" y="4071540"/>
            <a:ext cx="1904144" cy="1650871"/>
            <a:chOff x="2570693" y="4071540"/>
            <a:chExt cx="1904144" cy="1650871"/>
          </a:xfrm>
        </p:grpSpPr>
        <p:sp>
          <p:nvSpPr>
            <p:cNvPr id="131" name="Rectangle 24">
              <a:extLst>
                <a:ext uri="{FF2B5EF4-FFF2-40B4-BE49-F238E27FC236}">
                  <a16:creationId xmlns:a16="http://schemas.microsoft.com/office/drawing/2014/main" id="{39A4F353-AB65-8B80-1741-785AC44F9562}"/>
                </a:ext>
              </a:extLst>
            </p:cNvPr>
            <p:cNvSpPr/>
            <p:nvPr/>
          </p:nvSpPr>
          <p:spPr>
            <a:xfrm>
              <a:off x="2570693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7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7B1958A9-DF83-922C-950A-7314D9F26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50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3" name="Freeform 7">
              <a:extLst>
                <a:ext uri="{FF2B5EF4-FFF2-40B4-BE49-F238E27FC236}">
                  <a16:creationId xmlns:a16="http://schemas.microsoft.com/office/drawing/2014/main" id="{564C58DD-3A84-B66A-E8A5-F6FD608DA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4" name="Freeform 8">
              <a:extLst>
                <a:ext uri="{FF2B5EF4-FFF2-40B4-BE49-F238E27FC236}">
                  <a16:creationId xmlns:a16="http://schemas.microsoft.com/office/drawing/2014/main" id="{F098A11B-806D-749D-B8E3-34D6654304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4071540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5" name="Freeform 9">
              <a:extLst>
                <a:ext uri="{FF2B5EF4-FFF2-40B4-BE49-F238E27FC236}">
                  <a16:creationId xmlns:a16="http://schemas.microsoft.com/office/drawing/2014/main" id="{FBABAF63-61AF-5442-229A-F95325EF3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8" name="Группа 177">
            <a:extLst>
              <a:ext uri="{FF2B5EF4-FFF2-40B4-BE49-F238E27FC236}">
                <a16:creationId xmlns:a16="http://schemas.microsoft.com/office/drawing/2014/main" id="{C99650E0-C87B-0F1D-590C-BEBF62DD60CC}"/>
              </a:ext>
            </a:extLst>
          </p:cNvPr>
          <p:cNvGrpSpPr/>
          <p:nvPr/>
        </p:nvGrpSpPr>
        <p:grpSpPr>
          <a:xfrm>
            <a:off x="4931227" y="4071540"/>
            <a:ext cx="1902534" cy="1650871"/>
            <a:chOff x="4931227" y="4071540"/>
            <a:chExt cx="1902534" cy="1650871"/>
          </a:xfrm>
        </p:grpSpPr>
        <p:sp>
          <p:nvSpPr>
            <p:cNvPr id="137" name="Rectangle 23">
              <a:extLst>
                <a:ext uri="{FF2B5EF4-FFF2-40B4-BE49-F238E27FC236}">
                  <a16:creationId xmlns:a16="http://schemas.microsoft.com/office/drawing/2014/main" id="{ED07FEA2-D699-6335-26A2-4AF432160754}"/>
                </a:ext>
              </a:extLst>
            </p:cNvPr>
            <p:cNvSpPr/>
            <p:nvPr/>
          </p:nvSpPr>
          <p:spPr>
            <a:xfrm>
              <a:off x="4931227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8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09C3FF1-010B-ED79-6CA1-1B68C3731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9" name="Freeform 12">
              <a:extLst>
                <a:ext uri="{FF2B5EF4-FFF2-40B4-BE49-F238E27FC236}">
                  <a16:creationId xmlns:a16="http://schemas.microsoft.com/office/drawing/2014/main" id="{247B6EB1-243F-98B7-3420-9B7E47C17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5503178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0" name="Freeform 13">
              <a:extLst>
                <a:ext uri="{FF2B5EF4-FFF2-40B4-BE49-F238E27FC236}">
                  <a16:creationId xmlns:a16="http://schemas.microsoft.com/office/drawing/2014/main" id="{E1A9EFCB-1E58-4FF0-A5F8-9EC6968E1E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4071540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1" name="Freeform 14">
              <a:extLst>
                <a:ext uri="{FF2B5EF4-FFF2-40B4-BE49-F238E27FC236}">
                  <a16:creationId xmlns:a16="http://schemas.microsoft.com/office/drawing/2014/main" id="{EA221590-F141-E01D-575B-5DE9A0222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9" name="Группа 178">
            <a:extLst>
              <a:ext uri="{FF2B5EF4-FFF2-40B4-BE49-F238E27FC236}">
                <a16:creationId xmlns:a16="http://schemas.microsoft.com/office/drawing/2014/main" id="{6E953091-5929-4FB2-64FD-9599FF6FA641}"/>
              </a:ext>
            </a:extLst>
          </p:cNvPr>
          <p:cNvGrpSpPr/>
          <p:nvPr/>
        </p:nvGrpSpPr>
        <p:grpSpPr>
          <a:xfrm>
            <a:off x="7295974" y="4071540"/>
            <a:ext cx="1959602" cy="1650871"/>
            <a:chOff x="7295974" y="4071540"/>
            <a:chExt cx="1959602" cy="1650871"/>
          </a:xfrm>
        </p:grpSpPr>
        <p:sp>
          <p:nvSpPr>
            <p:cNvPr id="143" name="Rectangle 22">
              <a:extLst>
                <a:ext uri="{FF2B5EF4-FFF2-40B4-BE49-F238E27FC236}">
                  <a16:creationId xmlns:a16="http://schemas.microsoft.com/office/drawing/2014/main" id="{20EFDC4D-8D49-F4A1-63CA-733DC4D66C8D}"/>
                </a:ext>
              </a:extLst>
            </p:cNvPr>
            <p:cNvSpPr/>
            <p:nvPr/>
          </p:nvSpPr>
          <p:spPr>
            <a:xfrm>
              <a:off x="7295974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9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0A68112C-D223-568A-7F32-730CA6D7F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4083807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5" name="Freeform 17">
              <a:extLst>
                <a:ext uri="{FF2B5EF4-FFF2-40B4-BE49-F238E27FC236}">
                  <a16:creationId xmlns:a16="http://schemas.microsoft.com/office/drawing/2014/main" id="{857360FC-21B5-721D-A68B-D195A19CC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5503178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6" name="Freeform 18">
              <a:extLst>
                <a:ext uri="{FF2B5EF4-FFF2-40B4-BE49-F238E27FC236}">
                  <a16:creationId xmlns:a16="http://schemas.microsoft.com/office/drawing/2014/main" id="{A9DA7EF3-C181-CE39-61D6-916C859D4C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4071540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7" name="Freeform 19">
              <a:extLst>
                <a:ext uri="{FF2B5EF4-FFF2-40B4-BE49-F238E27FC236}">
                  <a16:creationId xmlns:a16="http://schemas.microsoft.com/office/drawing/2014/main" id="{6E0744BF-151B-AF62-3BDB-9CB6D9283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4129268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52" name="Freeform 22">
            <a:extLst>
              <a:ext uri="{FF2B5EF4-FFF2-40B4-BE49-F238E27FC236}">
                <a16:creationId xmlns:a16="http://schemas.microsoft.com/office/drawing/2014/main" id="{8E6FD6D1-0690-0E47-11F1-32AEE325EB8F}"/>
              </a:ext>
            </a:extLst>
          </p:cNvPr>
          <p:cNvSpPr>
            <a:spLocks noEditPoints="1"/>
          </p:cNvSpPr>
          <p:nvPr/>
        </p:nvSpPr>
        <p:spPr bwMode="auto">
          <a:xfrm>
            <a:off x="10578442" y="4071540"/>
            <a:ext cx="1014557" cy="1529774"/>
          </a:xfrm>
          <a:custGeom>
            <a:avLst/>
            <a:gdLst>
              <a:gd name="T0" fmla="*/ 197 w 827"/>
              <a:gd name="T1" fmla="*/ 1225 h 1245"/>
              <a:gd name="T2" fmla="*/ 245 w 827"/>
              <a:gd name="T3" fmla="*/ 1244 h 1245"/>
              <a:gd name="T4" fmla="*/ 101 w 827"/>
              <a:gd name="T5" fmla="*/ 1237 h 1245"/>
              <a:gd name="T6" fmla="*/ 160 w 827"/>
              <a:gd name="T7" fmla="*/ 1234 h 1245"/>
              <a:gd name="T8" fmla="*/ 290 w 827"/>
              <a:gd name="T9" fmla="*/ 1219 h 1245"/>
              <a:gd name="T10" fmla="*/ 293 w 827"/>
              <a:gd name="T11" fmla="*/ 1239 h 1245"/>
              <a:gd name="T12" fmla="*/ 8 w 827"/>
              <a:gd name="T13" fmla="*/ 1214 h 1245"/>
              <a:gd name="T14" fmla="*/ 66 w 827"/>
              <a:gd name="T15" fmla="*/ 1220 h 1245"/>
              <a:gd name="T16" fmla="*/ 381 w 827"/>
              <a:gd name="T17" fmla="*/ 1199 h 1245"/>
              <a:gd name="T18" fmla="*/ 386 w 827"/>
              <a:gd name="T19" fmla="*/ 1218 h 1245"/>
              <a:gd name="T20" fmla="*/ 467 w 827"/>
              <a:gd name="T21" fmla="*/ 1165 h 1245"/>
              <a:gd name="T22" fmla="*/ 476 w 827"/>
              <a:gd name="T23" fmla="*/ 1183 h 1245"/>
              <a:gd name="T24" fmla="*/ 548 w 827"/>
              <a:gd name="T25" fmla="*/ 1119 h 1245"/>
              <a:gd name="T26" fmla="*/ 559 w 827"/>
              <a:gd name="T27" fmla="*/ 1135 h 1245"/>
              <a:gd name="T28" fmla="*/ 620 w 827"/>
              <a:gd name="T29" fmla="*/ 1060 h 1245"/>
              <a:gd name="T30" fmla="*/ 633 w 827"/>
              <a:gd name="T31" fmla="*/ 1074 h 1245"/>
              <a:gd name="T32" fmla="*/ 682 w 827"/>
              <a:gd name="T33" fmla="*/ 991 h 1245"/>
              <a:gd name="T34" fmla="*/ 698 w 827"/>
              <a:gd name="T35" fmla="*/ 1003 h 1245"/>
              <a:gd name="T36" fmla="*/ 733 w 827"/>
              <a:gd name="T37" fmla="*/ 913 h 1245"/>
              <a:gd name="T38" fmla="*/ 751 w 827"/>
              <a:gd name="T39" fmla="*/ 923 h 1245"/>
              <a:gd name="T40" fmla="*/ 771 w 827"/>
              <a:gd name="T41" fmla="*/ 828 h 1245"/>
              <a:gd name="T42" fmla="*/ 790 w 827"/>
              <a:gd name="T43" fmla="*/ 835 h 1245"/>
              <a:gd name="T44" fmla="*/ 796 w 827"/>
              <a:gd name="T45" fmla="*/ 739 h 1245"/>
              <a:gd name="T46" fmla="*/ 816 w 827"/>
              <a:gd name="T47" fmla="*/ 743 h 1245"/>
              <a:gd name="T48" fmla="*/ 807 w 827"/>
              <a:gd name="T49" fmla="*/ 647 h 1245"/>
              <a:gd name="T50" fmla="*/ 827 w 827"/>
              <a:gd name="T51" fmla="*/ 599 h 1245"/>
              <a:gd name="T52" fmla="*/ 813 w 827"/>
              <a:gd name="T53" fmla="*/ 562 h 1245"/>
              <a:gd name="T54" fmla="*/ 816 w 827"/>
              <a:gd name="T55" fmla="*/ 504 h 1245"/>
              <a:gd name="T56" fmla="*/ 795 w 827"/>
              <a:gd name="T57" fmla="*/ 470 h 1245"/>
              <a:gd name="T58" fmla="*/ 790 w 827"/>
              <a:gd name="T59" fmla="*/ 411 h 1245"/>
              <a:gd name="T60" fmla="*/ 763 w 827"/>
              <a:gd name="T61" fmla="*/ 381 h 1245"/>
              <a:gd name="T62" fmla="*/ 751 w 827"/>
              <a:gd name="T63" fmla="*/ 324 h 1245"/>
              <a:gd name="T64" fmla="*/ 718 w 827"/>
              <a:gd name="T65" fmla="*/ 298 h 1245"/>
              <a:gd name="T66" fmla="*/ 698 w 827"/>
              <a:gd name="T67" fmla="*/ 243 h 1245"/>
              <a:gd name="T68" fmla="*/ 660 w 827"/>
              <a:gd name="T69" fmla="*/ 223 h 1245"/>
              <a:gd name="T70" fmla="*/ 634 w 827"/>
              <a:gd name="T71" fmla="*/ 172 h 1245"/>
              <a:gd name="T72" fmla="*/ 592 w 827"/>
              <a:gd name="T73" fmla="*/ 158 h 1245"/>
              <a:gd name="T74" fmla="*/ 559 w 827"/>
              <a:gd name="T75" fmla="*/ 111 h 1245"/>
              <a:gd name="T76" fmla="*/ 514 w 827"/>
              <a:gd name="T77" fmla="*/ 104 h 1245"/>
              <a:gd name="T78" fmla="*/ 477 w 827"/>
              <a:gd name="T79" fmla="*/ 63 h 1245"/>
              <a:gd name="T80" fmla="*/ 429 w 827"/>
              <a:gd name="T81" fmla="*/ 63 h 1245"/>
              <a:gd name="T82" fmla="*/ 387 w 827"/>
              <a:gd name="T83" fmla="*/ 28 h 1245"/>
              <a:gd name="T84" fmla="*/ 12 w 827"/>
              <a:gd name="T85" fmla="*/ 51 h 1245"/>
              <a:gd name="T86" fmla="*/ 67 w 827"/>
              <a:gd name="T87" fmla="*/ 26 h 1245"/>
              <a:gd name="T88" fmla="*/ 339 w 827"/>
              <a:gd name="T89" fmla="*/ 35 h 1245"/>
              <a:gd name="T90" fmla="*/ 293 w 827"/>
              <a:gd name="T91" fmla="*/ 7 h 1245"/>
              <a:gd name="T92" fmla="*/ 104 w 827"/>
              <a:gd name="T93" fmla="*/ 29 h 1245"/>
              <a:gd name="T94" fmla="*/ 160 w 827"/>
              <a:gd name="T95" fmla="*/ 12 h 1245"/>
              <a:gd name="T96" fmla="*/ 245 w 827"/>
              <a:gd name="T97" fmla="*/ 22 h 1245"/>
              <a:gd name="T98" fmla="*/ 188 w 827"/>
              <a:gd name="T99" fmla="*/ 11 h 1245"/>
              <a:gd name="T100" fmla="*/ 245 w 827"/>
              <a:gd name="T101" fmla="*/ 22 h 1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27" h="1245">
                <a:moveTo>
                  <a:pt x="205" y="1245"/>
                </a:moveTo>
                <a:cubicBezTo>
                  <a:pt x="202" y="1245"/>
                  <a:pt x="199" y="1245"/>
                  <a:pt x="197" y="1245"/>
                </a:cubicBezTo>
                <a:cubicBezTo>
                  <a:pt x="191" y="1245"/>
                  <a:pt x="187" y="1241"/>
                  <a:pt x="187" y="1235"/>
                </a:cubicBezTo>
                <a:cubicBezTo>
                  <a:pt x="187" y="1230"/>
                  <a:pt x="191" y="1225"/>
                  <a:pt x="197" y="1225"/>
                </a:cubicBezTo>
                <a:cubicBezTo>
                  <a:pt x="197" y="1225"/>
                  <a:pt x="197" y="1225"/>
                  <a:pt x="197" y="1225"/>
                </a:cubicBezTo>
                <a:cubicBezTo>
                  <a:pt x="212" y="1226"/>
                  <a:pt x="228" y="1225"/>
                  <a:pt x="244" y="1224"/>
                </a:cubicBezTo>
                <a:cubicBezTo>
                  <a:pt x="249" y="1224"/>
                  <a:pt x="254" y="1228"/>
                  <a:pt x="254" y="1234"/>
                </a:cubicBezTo>
                <a:cubicBezTo>
                  <a:pt x="255" y="1239"/>
                  <a:pt x="250" y="1244"/>
                  <a:pt x="245" y="1244"/>
                </a:cubicBezTo>
                <a:cubicBezTo>
                  <a:pt x="232" y="1245"/>
                  <a:pt x="218" y="1245"/>
                  <a:pt x="205" y="1245"/>
                </a:cubicBezTo>
                <a:close/>
                <a:moveTo>
                  <a:pt x="150" y="1243"/>
                </a:moveTo>
                <a:cubicBezTo>
                  <a:pt x="149" y="1243"/>
                  <a:pt x="149" y="1243"/>
                  <a:pt x="149" y="1243"/>
                </a:cubicBezTo>
                <a:cubicBezTo>
                  <a:pt x="133" y="1241"/>
                  <a:pt x="117" y="1239"/>
                  <a:pt x="101" y="1237"/>
                </a:cubicBezTo>
                <a:cubicBezTo>
                  <a:pt x="96" y="1236"/>
                  <a:pt x="92" y="1231"/>
                  <a:pt x="93" y="1225"/>
                </a:cubicBezTo>
                <a:cubicBezTo>
                  <a:pt x="94" y="1220"/>
                  <a:pt x="99" y="1216"/>
                  <a:pt x="104" y="1217"/>
                </a:cubicBezTo>
                <a:cubicBezTo>
                  <a:pt x="120" y="1220"/>
                  <a:pt x="135" y="1222"/>
                  <a:pt x="151" y="1223"/>
                </a:cubicBezTo>
                <a:cubicBezTo>
                  <a:pt x="156" y="1223"/>
                  <a:pt x="160" y="1228"/>
                  <a:pt x="160" y="1234"/>
                </a:cubicBezTo>
                <a:cubicBezTo>
                  <a:pt x="159" y="1239"/>
                  <a:pt x="155" y="1243"/>
                  <a:pt x="150" y="1243"/>
                </a:cubicBezTo>
                <a:close/>
                <a:moveTo>
                  <a:pt x="291" y="1239"/>
                </a:moveTo>
                <a:cubicBezTo>
                  <a:pt x="286" y="1239"/>
                  <a:pt x="282" y="1236"/>
                  <a:pt x="281" y="1231"/>
                </a:cubicBezTo>
                <a:cubicBezTo>
                  <a:pt x="281" y="1225"/>
                  <a:pt x="284" y="1220"/>
                  <a:pt x="290" y="1219"/>
                </a:cubicBezTo>
                <a:cubicBezTo>
                  <a:pt x="305" y="1217"/>
                  <a:pt x="321" y="1214"/>
                  <a:pt x="336" y="1211"/>
                </a:cubicBezTo>
                <a:cubicBezTo>
                  <a:pt x="341" y="1210"/>
                  <a:pt x="346" y="1213"/>
                  <a:pt x="348" y="1219"/>
                </a:cubicBezTo>
                <a:cubicBezTo>
                  <a:pt x="349" y="1224"/>
                  <a:pt x="345" y="1229"/>
                  <a:pt x="340" y="1231"/>
                </a:cubicBezTo>
                <a:cubicBezTo>
                  <a:pt x="324" y="1234"/>
                  <a:pt x="308" y="1237"/>
                  <a:pt x="293" y="1239"/>
                </a:cubicBezTo>
                <a:cubicBezTo>
                  <a:pt x="292" y="1239"/>
                  <a:pt x="292" y="1239"/>
                  <a:pt x="291" y="1239"/>
                </a:cubicBezTo>
                <a:close/>
                <a:moveTo>
                  <a:pt x="56" y="1227"/>
                </a:moveTo>
                <a:cubicBezTo>
                  <a:pt x="56" y="1227"/>
                  <a:pt x="55" y="1227"/>
                  <a:pt x="54" y="1227"/>
                </a:cubicBezTo>
                <a:cubicBezTo>
                  <a:pt x="39" y="1223"/>
                  <a:pt x="23" y="1219"/>
                  <a:pt x="8" y="1214"/>
                </a:cubicBezTo>
                <a:cubicBezTo>
                  <a:pt x="3" y="1212"/>
                  <a:pt x="0" y="1206"/>
                  <a:pt x="2" y="1201"/>
                </a:cubicBezTo>
                <a:cubicBezTo>
                  <a:pt x="3" y="1196"/>
                  <a:pt x="9" y="1193"/>
                  <a:pt x="14" y="1195"/>
                </a:cubicBezTo>
                <a:cubicBezTo>
                  <a:pt x="29" y="1199"/>
                  <a:pt x="44" y="1204"/>
                  <a:pt x="59" y="1208"/>
                </a:cubicBezTo>
                <a:cubicBezTo>
                  <a:pt x="64" y="1209"/>
                  <a:pt x="67" y="1214"/>
                  <a:pt x="66" y="1220"/>
                </a:cubicBezTo>
                <a:cubicBezTo>
                  <a:pt x="65" y="1224"/>
                  <a:pt x="61" y="1227"/>
                  <a:pt x="56" y="1227"/>
                </a:cubicBezTo>
                <a:close/>
                <a:moveTo>
                  <a:pt x="384" y="1219"/>
                </a:moveTo>
                <a:cubicBezTo>
                  <a:pt x="379" y="1219"/>
                  <a:pt x="375" y="1216"/>
                  <a:pt x="374" y="1212"/>
                </a:cubicBezTo>
                <a:cubicBezTo>
                  <a:pt x="372" y="1207"/>
                  <a:pt x="375" y="1201"/>
                  <a:pt x="381" y="1199"/>
                </a:cubicBezTo>
                <a:cubicBezTo>
                  <a:pt x="395" y="1195"/>
                  <a:pt x="410" y="1190"/>
                  <a:pt x="425" y="1184"/>
                </a:cubicBezTo>
                <a:cubicBezTo>
                  <a:pt x="430" y="1182"/>
                  <a:pt x="436" y="1185"/>
                  <a:pt x="438" y="1190"/>
                </a:cubicBezTo>
                <a:cubicBezTo>
                  <a:pt x="440" y="1195"/>
                  <a:pt x="437" y="1201"/>
                  <a:pt x="432" y="1203"/>
                </a:cubicBezTo>
                <a:cubicBezTo>
                  <a:pt x="417" y="1209"/>
                  <a:pt x="402" y="1214"/>
                  <a:pt x="386" y="1218"/>
                </a:cubicBezTo>
                <a:cubicBezTo>
                  <a:pt x="385" y="1219"/>
                  <a:pt x="384" y="1219"/>
                  <a:pt x="384" y="1219"/>
                </a:cubicBezTo>
                <a:close/>
                <a:moveTo>
                  <a:pt x="472" y="1184"/>
                </a:moveTo>
                <a:cubicBezTo>
                  <a:pt x="468" y="1184"/>
                  <a:pt x="464" y="1182"/>
                  <a:pt x="463" y="1179"/>
                </a:cubicBezTo>
                <a:cubicBezTo>
                  <a:pt x="460" y="1174"/>
                  <a:pt x="462" y="1168"/>
                  <a:pt x="467" y="1165"/>
                </a:cubicBezTo>
                <a:cubicBezTo>
                  <a:pt x="481" y="1159"/>
                  <a:pt x="495" y="1151"/>
                  <a:pt x="508" y="1144"/>
                </a:cubicBezTo>
                <a:cubicBezTo>
                  <a:pt x="513" y="1141"/>
                  <a:pt x="519" y="1142"/>
                  <a:pt x="522" y="1147"/>
                </a:cubicBezTo>
                <a:cubicBezTo>
                  <a:pt x="525" y="1152"/>
                  <a:pt x="523" y="1158"/>
                  <a:pt x="518" y="1161"/>
                </a:cubicBezTo>
                <a:cubicBezTo>
                  <a:pt x="505" y="1169"/>
                  <a:pt x="490" y="1176"/>
                  <a:pt x="476" y="1183"/>
                </a:cubicBezTo>
                <a:cubicBezTo>
                  <a:pt x="475" y="1184"/>
                  <a:pt x="473" y="1184"/>
                  <a:pt x="472" y="1184"/>
                </a:cubicBezTo>
                <a:close/>
                <a:moveTo>
                  <a:pt x="553" y="1137"/>
                </a:moveTo>
                <a:cubicBezTo>
                  <a:pt x="550" y="1137"/>
                  <a:pt x="547" y="1135"/>
                  <a:pt x="545" y="1132"/>
                </a:cubicBezTo>
                <a:cubicBezTo>
                  <a:pt x="542" y="1128"/>
                  <a:pt x="543" y="1122"/>
                  <a:pt x="548" y="1119"/>
                </a:cubicBezTo>
                <a:cubicBezTo>
                  <a:pt x="560" y="1110"/>
                  <a:pt x="573" y="1100"/>
                  <a:pt x="585" y="1091"/>
                </a:cubicBezTo>
                <a:cubicBezTo>
                  <a:pt x="589" y="1087"/>
                  <a:pt x="595" y="1088"/>
                  <a:pt x="599" y="1092"/>
                </a:cubicBezTo>
                <a:cubicBezTo>
                  <a:pt x="602" y="1096"/>
                  <a:pt x="602" y="1103"/>
                  <a:pt x="597" y="1106"/>
                </a:cubicBezTo>
                <a:cubicBezTo>
                  <a:pt x="585" y="1116"/>
                  <a:pt x="572" y="1126"/>
                  <a:pt x="559" y="1135"/>
                </a:cubicBezTo>
                <a:cubicBezTo>
                  <a:pt x="557" y="1136"/>
                  <a:pt x="555" y="1137"/>
                  <a:pt x="553" y="1137"/>
                </a:cubicBezTo>
                <a:close/>
                <a:moveTo>
                  <a:pt x="627" y="1077"/>
                </a:moveTo>
                <a:cubicBezTo>
                  <a:pt x="624" y="1077"/>
                  <a:pt x="621" y="1076"/>
                  <a:pt x="619" y="1074"/>
                </a:cubicBezTo>
                <a:cubicBezTo>
                  <a:pt x="616" y="1070"/>
                  <a:pt x="616" y="1064"/>
                  <a:pt x="620" y="1060"/>
                </a:cubicBezTo>
                <a:cubicBezTo>
                  <a:pt x="631" y="1049"/>
                  <a:pt x="642" y="1038"/>
                  <a:pt x="652" y="1026"/>
                </a:cubicBezTo>
                <a:cubicBezTo>
                  <a:pt x="656" y="1022"/>
                  <a:pt x="662" y="1022"/>
                  <a:pt x="666" y="1026"/>
                </a:cubicBezTo>
                <a:cubicBezTo>
                  <a:pt x="670" y="1029"/>
                  <a:pt x="671" y="1036"/>
                  <a:pt x="667" y="1040"/>
                </a:cubicBezTo>
                <a:cubicBezTo>
                  <a:pt x="656" y="1052"/>
                  <a:pt x="645" y="1063"/>
                  <a:pt x="633" y="1074"/>
                </a:cubicBezTo>
                <a:cubicBezTo>
                  <a:pt x="632" y="1076"/>
                  <a:pt x="629" y="1077"/>
                  <a:pt x="627" y="1077"/>
                </a:cubicBezTo>
                <a:close/>
                <a:moveTo>
                  <a:pt x="690" y="1007"/>
                </a:moveTo>
                <a:cubicBezTo>
                  <a:pt x="688" y="1007"/>
                  <a:pt x="686" y="1006"/>
                  <a:pt x="684" y="1005"/>
                </a:cubicBezTo>
                <a:cubicBezTo>
                  <a:pt x="679" y="1001"/>
                  <a:pt x="679" y="995"/>
                  <a:pt x="682" y="991"/>
                </a:cubicBezTo>
                <a:cubicBezTo>
                  <a:pt x="691" y="979"/>
                  <a:pt x="701" y="966"/>
                  <a:pt x="709" y="953"/>
                </a:cubicBezTo>
                <a:cubicBezTo>
                  <a:pt x="712" y="948"/>
                  <a:pt x="718" y="947"/>
                  <a:pt x="723" y="950"/>
                </a:cubicBezTo>
                <a:cubicBezTo>
                  <a:pt x="727" y="953"/>
                  <a:pt x="729" y="959"/>
                  <a:pt x="726" y="964"/>
                </a:cubicBezTo>
                <a:cubicBezTo>
                  <a:pt x="717" y="977"/>
                  <a:pt x="708" y="990"/>
                  <a:pt x="698" y="1003"/>
                </a:cubicBezTo>
                <a:cubicBezTo>
                  <a:pt x="696" y="1006"/>
                  <a:pt x="693" y="1007"/>
                  <a:pt x="690" y="1007"/>
                </a:cubicBezTo>
                <a:close/>
                <a:moveTo>
                  <a:pt x="742" y="928"/>
                </a:moveTo>
                <a:cubicBezTo>
                  <a:pt x="740" y="928"/>
                  <a:pt x="738" y="928"/>
                  <a:pt x="737" y="927"/>
                </a:cubicBezTo>
                <a:cubicBezTo>
                  <a:pt x="732" y="924"/>
                  <a:pt x="730" y="918"/>
                  <a:pt x="733" y="913"/>
                </a:cubicBezTo>
                <a:cubicBezTo>
                  <a:pt x="740" y="900"/>
                  <a:pt x="747" y="886"/>
                  <a:pt x="754" y="872"/>
                </a:cubicBezTo>
                <a:cubicBezTo>
                  <a:pt x="756" y="866"/>
                  <a:pt x="762" y="864"/>
                  <a:pt x="767" y="867"/>
                </a:cubicBezTo>
                <a:cubicBezTo>
                  <a:pt x="772" y="869"/>
                  <a:pt x="774" y="875"/>
                  <a:pt x="772" y="880"/>
                </a:cubicBezTo>
                <a:cubicBezTo>
                  <a:pt x="765" y="894"/>
                  <a:pt x="758" y="909"/>
                  <a:pt x="751" y="923"/>
                </a:cubicBezTo>
                <a:cubicBezTo>
                  <a:pt x="749" y="926"/>
                  <a:pt x="745" y="928"/>
                  <a:pt x="742" y="928"/>
                </a:cubicBezTo>
                <a:close/>
                <a:moveTo>
                  <a:pt x="781" y="842"/>
                </a:moveTo>
                <a:cubicBezTo>
                  <a:pt x="780" y="842"/>
                  <a:pt x="778" y="842"/>
                  <a:pt x="777" y="841"/>
                </a:cubicBezTo>
                <a:cubicBezTo>
                  <a:pt x="772" y="839"/>
                  <a:pt x="769" y="834"/>
                  <a:pt x="771" y="828"/>
                </a:cubicBezTo>
                <a:cubicBezTo>
                  <a:pt x="777" y="814"/>
                  <a:pt x="781" y="799"/>
                  <a:pt x="786" y="784"/>
                </a:cubicBezTo>
                <a:cubicBezTo>
                  <a:pt x="787" y="779"/>
                  <a:pt x="793" y="776"/>
                  <a:pt x="798" y="777"/>
                </a:cubicBezTo>
                <a:cubicBezTo>
                  <a:pt x="803" y="779"/>
                  <a:pt x="806" y="784"/>
                  <a:pt x="805" y="790"/>
                </a:cubicBezTo>
                <a:cubicBezTo>
                  <a:pt x="801" y="805"/>
                  <a:pt x="796" y="820"/>
                  <a:pt x="790" y="835"/>
                </a:cubicBezTo>
                <a:cubicBezTo>
                  <a:pt x="789" y="839"/>
                  <a:pt x="785" y="842"/>
                  <a:pt x="781" y="842"/>
                </a:cubicBezTo>
                <a:close/>
                <a:moveTo>
                  <a:pt x="806" y="751"/>
                </a:moveTo>
                <a:cubicBezTo>
                  <a:pt x="805" y="751"/>
                  <a:pt x="805" y="751"/>
                  <a:pt x="804" y="751"/>
                </a:cubicBezTo>
                <a:cubicBezTo>
                  <a:pt x="799" y="750"/>
                  <a:pt x="795" y="744"/>
                  <a:pt x="796" y="739"/>
                </a:cubicBezTo>
                <a:cubicBezTo>
                  <a:pt x="799" y="724"/>
                  <a:pt x="802" y="708"/>
                  <a:pt x="803" y="693"/>
                </a:cubicBezTo>
                <a:cubicBezTo>
                  <a:pt x="804" y="687"/>
                  <a:pt x="809" y="684"/>
                  <a:pt x="814" y="684"/>
                </a:cubicBezTo>
                <a:cubicBezTo>
                  <a:pt x="820" y="685"/>
                  <a:pt x="824" y="690"/>
                  <a:pt x="823" y="695"/>
                </a:cubicBezTo>
                <a:cubicBezTo>
                  <a:pt x="821" y="711"/>
                  <a:pt x="819" y="727"/>
                  <a:pt x="816" y="743"/>
                </a:cubicBezTo>
                <a:cubicBezTo>
                  <a:pt x="815" y="748"/>
                  <a:pt x="811" y="751"/>
                  <a:pt x="806" y="751"/>
                </a:cubicBezTo>
                <a:close/>
                <a:moveTo>
                  <a:pt x="817" y="657"/>
                </a:moveTo>
                <a:cubicBezTo>
                  <a:pt x="817" y="657"/>
                  <a:pt x="817" y="657"/>
                  <a:pt x="817" y="657"/>
                </a:cubicBezTo>
                <a:cubicBezTo>
                  <a:pt x="811" y="657"/>
                  <a:pt x="807" y="652"/>
                  <a:pt x="807" y="647"/>
                </a:cubicBezTo>
                <a:cubicBezTo>
                  <a:pt x="807" y="639"/>
                  <a:pt x="807" y="631"/>
                  <a:pt x="807" y="623"/>
                </a:cubicBezTo>
                <a:cubicBezTo>
                  <a:pt x="807" y="615"/>
                  <a:pt x="807" y="608"/>
                  <a:pt x="807" y="600"/>
                </a:cubicBezTo>
                <a:cubicBezTo>
                  <a:pt x="807" y="594"/>
                  <a:pt x="811" y="590"/>
                  <a:pt x="817" y="590"/>
                </a:cubicBezTo>
                <a:cubicBezTo>
                  <a:pt x="822" y="590"/>
                  <a:pt x="827" y="594"/>
                  <a:pt x="827" y="599"/>
                </a:cubicBezTo>
                <a:cubicBezTo>
                  <a:pt x="827" y="607"/>
                  <a:pt x="827" y="615"/>
                  <a:pt x="827" y="623"/>
                </a:cubicBezTo>
                <a:cubicBezTo>
                  <a:pt x="827" y="631"/>
                  <a:pt x="827" y="639"/>
                  <a:pt x="827" y="647"/>
                </a:cubicBezTo>
                <a:cubicBezTo>
                  <a:pt x="827" y="653"/>
                  <a:pt x="822" y="657"/>
                  <a:pt x="817" y="657"/>
                </a:cubicBezTo>
                <a:close/>
                <a:moveTo>
                  <a:pt x="813" y="562"/>
                </a:moveTo>
                <a:cubicBezTo>
                  <a:pt x="808" y="562"/>
                  <a:pt x="804" y="559"/>
                  <a:pt x="803" y="554"/>
                </a:cubicBezTo>
                <a:cubicBezTo>
                  <a:pt x="802" y="538"/>
                  <a:pt x="799" y="523"/>
                  <a:pt x="796" y="508"/>
                </a:cubicBezTo>
                <a:cubicBezTo>
                  <a:pt x="795" y="502"/>
                  <a:pt x="799" y="497"/>
                  <a:pt x="804" y="496"/>
                </a:cubicBezTo>
                <a:cubicBezTo>
                  <a:pt x="810" y="495"/>
                  <a:pt x="815" y="498"/>
                  <a:pt x="816" y="504"/>
                </a:cubicBezTo>
                <a:cubicBezTo>
                  <a:pt x="819" y="519"/>
                  <a:pt x="821" y="535"/>
                  <a:pt x="823" y="551"/>
                </a:cubicBezTo>
                <a:cubicBezTo>
                  <a:pt x="824" y="557"/>
                  <a:pt x="820" y="562"/>
                  <a:pt x="814" y="562"/>
                </a:cubicBezTo>
                <a:cubicBezTo>
                  <a:pt x="814" y="562"/>
                  <a:pt x="814" y="562"/>
                  <a:pt x="813" y="562"/>
                </a:cubicBezTo>
                <a:close/>
                <a:moveTo>
                  <a:pt x="795" y="470"/>
                </a:moveTo>
                <a:cubicBezTo>
                  <a:pt x="791" y="470"/>
                  <a:pt x="787" y="467"/>
                  <a:pt x="786" y="462"/>
                </a:cubicBezTo>
                <a:cubicBezTo>
                  <a:pt x="782" y="447"/>
                  <a:pt x="777" y="433"/>
                  <a:pt x="772" y="418"/>
                </a:cubicBezTo>
                <a:cubicBezTo>
                  <a:pt x="770" y="413"/>
                  <a:pt x="772" y="407"/>
                  <a:pt x="778" y="405"/>
                </a:cubicBezTo>
                <a:cubicBezTo>
                  <a:pt x="783" y="403"/>
                  <a:pt x="789" y="406"/>
                  <a:pt x="790" y="411"/>
                </a:cubicBezTo>
                <a:cubicBezTo>
                  <a:pt x="796" y="426"/>
                  <a:pt x="801" y="442"/>
                  <a:pt x="805" y="457"/>
                </a:cubicBezTo>
                <a:cubicBezTo>
                  <a:pt x="806" y="462"/>
                  <a:pt x="803" y="468"/>
                  <a:pt x="798" y="469"/>
                </a:cubicBezTo>
                <a:cubicBezTo>
                  <a:pt x="797" y="470"/>
                  <a:pt x="796" y="470"/>
                  <a:pt x="795" y="470"/>
                </a:cubicBezTo>
                <a:close/>
                <a:moveTo>
                  <a:pt x="763" y="381"/>
                </a:moveTo>
                <a:cubicBezTo>
                  <a:pt x="759" y="381"/>
                  <a:pt x="756" y="379"/>
                  <a:pt x="754" y="375"/>
                </a:cubicBezTo>
                <a:cubicBezTo>
                  <a:pt x="748" y="361"/>
                  <a:pt x="741" y="347"/>
                  <a:pt x="733" y="333"/>
                </a:cubicBezTo>
                <a:cubicBezTo>
                  <a:pt x="731" y="328"/>
                  <a:pt x="732" y="322"/>
                  <a:pt x="737" y="320"/>
                </a:cubicBezTo>
                <a:cubicBezTo>
                  <a:pt x="742" y="317"/>
                  <a:pt x="748" y="319"/>
                  <a:pt x="751" y="324"/>
                </a:cubicBezTo>
                <a:cubicBezTo>
                  <a:pt x="759" y="338"/>
                  <a:pt x="766" y="352"/>
                  <a:pt x="772" y="367"/>
                </a:cubicBezTo>
                <a:cubicBezTo>
                  <a:pt x="775" y="372"/>
                  <a:pt x="772" y="378"/>
                  <a:pt x="767" y="380"/>
                </a:cubicBezTo>
                <a:cubicBezTo>
                  <a:pt x="766" y="381"/>
                  <a:pt x="765" y="381"/>
                  <a:pt x="763" y="381"/>
                </a:cubicBezTo>
                <a:close/>
                <a:moveTo>
                  <a:pt x="718" y="298"/>
                </a:moveTo>
                <a:cubicBezTo>
                  <a:pt x="714" y="298"/>
                  <a:pt x="711" y="296"/>
                  <a:pt x="709" y="293"/>
                </a:cubicBezTo>
                <a:cubicBezTo>
                  <a:pt x="701" y="280"/>
                  <a:pt x="692" y="268"/>
                  <a:pt x="682" y="255"/>
                </a:cubicBezTo>
                <a:cubicBezTo>
                  <a:pt x="679" y="251"/>
                  <a:pt x="680" y="245"/>
                  <a:pt x="684" y="241"/>
                </a:cubicBezTo>
                <a:cubicBezTo>
                  <a:pt x="689" y="238"/>
                  <a:pt x="695" y="239"/>
                  <a:pt x="698" y="243"/>
                </a:cubicBezTo>
                <a:cubicBezTo>
                  <a:pt x="708" y="256"/>
                  <a:pt x="717" y="269"/>
                  <a:pt x="726" y="282"/>
                </a:cubicBezTo>
                <a:cubicBezTo>
                  <a:pt x="729" y="287"/>
                  <a:pt x="728" y="293"/>
                  <a:pt x="723" y="296"/>
                </a:cubicBezTo>
                <a:cubicBezTo>
                  <a:pt x="722" y="297"/>
                  <a:pt x="720" y="298"/>
                  <a:pt x="718" y="298"/>
                </a:cubicBezTo>
                <a:close/>
                <a:moveTo>
                  <a:pt x="660" y="223"/>
                </a:moveTo>
                <a:cubicBezTo>
                  <a:pt x="657" y="223"/>
                  <a:pt x="655" y="222"/>
                  <a:pt x="653" y="220"/>
                </a:cubicBezTo>
                <a:cubicBezTo>
                  <a:pt x="642" y="208"/>
                  <a:pt x="631" y="197"/>
                  <a:pt x="620" y="186"/>
                </a:cubicBezTo>
                <a:cubicBezTo>
                  <a:pt x="616" y="183"/>
                  <a:pt x="616" y="176"/>
                  <a:pt x="620" y="172"/>
                </a:cubicBezTo>
                <a:cubicBezTo>
                  <a:pt x="624" y="168"/>
                  <a:pt x="630" y="168"/>
                  <a:pt x="634" y="172"/>
                </a:cubicBezTo>
                <a:cubicBezTo>
                  <a:pt x="645" y="183"/>
                  <a:pt x="657" y="194"/>
                  <a:pt x="667" y="206"/>
                </a:cubicBezTo>
                <a:cubicBezTo>
                  <a:pt x="671" y="210"/>
                  <a:pt x="671" y="217"/>
                  <a:pt x="667" y="220"/>
                </a:cubicBezTo>
                <a:cubicBezTo>
                  <a:pt x="665" y="222"/>
                  <a:pt x="662" y="223"/>
                  <a:pt x="660" y="223"/>
                </a:cubicBezTo>
                <a:close/>
                <a:moveTo>
                  <a:pt x="592" y="158"/>
                </a:moveTo>
                <a:cubicBezTo>
                  <a:pt x="589" y="158"/>
                  <a:pt x="587" y="157"/>
                  <a:pt x="585" y="156"/>
                </a:cubicBezTo>
                <a:cubicBezTo>
                  <a:pt x="573" y="146"/>
                  <a:pt x="561" y="136"/>
                  <a:pt x="548" y="128"/>
                </a:cubicBezTo>
                <a:cubicBezTo>
                  <a:pt x="544" y="124"/>
                  <a:pt x="542" y="118"/>
                  <a:pt x="546" y="114"/>
                </a:cubicBezTo>
                <a:cubicBezTo>
                  <a:pt x="549" y="109"/>
                  <a:pt x="555" y="108"/>
                  <a:pt x="559" y="111"/>
                </a:cubicBezTo>
                <a:cubicBezTo>
                  <a:pt x="573" y="120"/>
                  <a:pt x="585" y="130"/>
                  <a:pt x="598" y="140"/>
                </a:cubicBezTo>
                <a:cubicBezTo>
                  <a:pt x="602" y="144"/>
                  <a:pt x="603" y="150"/>
                  <a:pt x="599" y="154"/>
                </a:cubicBezTo>
                <a:cubicBezTo>
                  <a:pt x="597" y="157"/>
                  <a:pt x="594" y="158"/>
                  <a:pt x="592" y="158"/>
                </a:cubicBezTo>
                <a:close/>
                <a:moveTo>
                  <a:pt x="514" y="104"/>
                </a:moveTo>
                <a:cubicBezTo>
                  <a:pt x="512" y="104"/>
                  <a:pt x="510" y="104"/>
                  <a:pt x="509" y="103"/>
                </a:cubicBezTo>
                <a:cubicBezTo>
                  <a:pt x="496" y="95"/>
                  <a:pt x="482" y="87"/>
                  <a:pt x="468" y="81"/>
                </a:cubicBezTo>
                <a:cubicBezTo>
                  <a:pt x="463" y="78"/>
                  <a:pt x="461" y="72"/>
                  <a:pt x="463" y="67"/>
                </a:cubicBezTo>
                <a:cubicBezTo>
                  <a:pt x="466" y="62"/>
                  <a:pt x="472" y="60"/>
                  <a:pt x="477" y="63"/>
                </a:cubicBezTo>
                <a:cubicBezTo>
                  <a:pt x="491" y="70"/>
                  <a:pt x="505" y="77"/>
                  <a:pt x="519" y="85"/>
                </a:cubicBezTo>
                <a:cubicBezTo>
                  <a:pt x="524" y="88"/>
                  <a:pt x="525" y="94"/>
                  <a:pt x="523" y="99"/>
                </a:cubicBezTo>
                <a:cubicBezTo>
                  <a:pt x="521" y="102"/>
                  <a:pt x="517" y="104"/>
                  <a:pt x="514" y="104"/>
                </a:cubicBezTo>
                <a:close/>
                <a:moveTo>
                  <a:pt x="429" y="63"/>
                </a:moveTo>
                <a:cubicBezTo>
                  <a:pt x="428" y="63"/>
                  <a:pt x="426" y="62"/>
                  <a:pt x="425" y="62"/>
                </a:cubicBezTo>
                <a:cubicBezTo>
                  <a:pt x="411" y="56"/>
                  <a:pt x="396" y="51"/>
                  <a:pt x="381" y="47"/>
                </a:cubicBezTo>
                <a:cubicBezTo>
                  <a:pt x="376" y="45"/>
                  <a:pt x="373" y="39"/>
                  <a:pt x="375" y="34"/>
                </a:cubicBezTo>
                <a:cubicBezTo>
                  <a:pt x="376" y="29"/>
                  <a:pt x="382" y="26"/>
                  <a:pt x="387" y="28"/>
                </a:cubicBezTo>
                <a:cubicBezTo>
                  <a:pt x="402" y="32"/>
                  <a:pt x="418" y="38"/>
                  <a:pt x="433" y="43"/>
                </a:cubicBezTo>
                <a:cubicBezTo>
                  <a:pt x="438" y="45"/>
                  <a:pt x="440" y="51"/>
                  <a:pt x="438" y="56"/>
                </a:cubicBezTo>
                <a:cubicBezTo>
                  <a:pt x="437" y="60"/>
                  <a:pt x="433" y="63"/>
                  <a:pt x="429" y="63"/>
                </a:cubicBezTo>
                <a:close/>
                <a:moveTo>
                  <a:pt x="12" y="51"/>
                </a:moveTo>
                <a:cubicBezTo>
                  <a:pt x="8" y="51"/>
                  <a:pt x="4" y="49"/>
                  <a:pt x="2" y="45"/>
                </a:cubicBezTo>
                <a:cubicBezTo>
                  <a:pt x="1" y="39"/>
                  <a:pt x="3" y="34"/>
                  <a:pt x="9" y="32"/>
                </a:cubicBezTo>
                <a:cubicBezTo>
                  <a:pt x="24" y="27"/>
                  <a:pt x="39" y="22"/>
                  <a:pt x="55" y="19"/>
                </a:cubicBezTo>
                <a:cubicBezTo>
                  <a:pt x="60" y="17"/>
                  <a:pt x="66" y="21"/>
                  <a:pt x="67" y="26"/>
                </a:cubicBezTo>
                <a:cubicBezTo>
                  <a:pt x="68" y="31"/>
                  <a:pt x="65" y="37"/>
                  <a:pt x="60" y="38"/>
                </a:cubicBezTo>
                <a:cubicBezTo>
                  <a:pt x="45" y="42"/>
                  <a:pt x="30" y="46"/>
                  <a:pt x="15" y="51"/>
                </a:cubicBezTo>
                <a:cubicBezTo>
                  <a:pt x="14" y="51"/>
                  <a:pt x="13" y="51"/>
                  <a:pt x="12" y="51"/>
                </a:cubicBezTo>
                <a:close/>
                <a:moveTo>
                  <a:pt x="339" y="35"/>
                </a:moveTo>
                <a:cubicBezTo>
                  <a:pt x="338" y="35"/>
                  <a:pt x="337" y="35"/>
                  <a:pt x="336" y="35"/>
                </a:cubicBezTo>
                <a:cubicBezTo>
                  <a:pt x="321" y="31"/>
                  <a:pt x="306" y="29"/>
                  <a:pt x="291" y="26"/>
                </a:cubicBezTo>
                <a:cubicBezTo>
                  <a:pt x="285" y="26"/>
                  <a:pt x="281" y="21"/>
                  <a:pt x="282" y="15"/>
                </a:cubicBezTo>
                <a:cubicBezTo>
                  <a:pt x="283" y="10"/>
                  <a:pt x="288" y="6"/>
                  <a:pt x="293" y="7"/>
                </a:cubicBezTo>
                <a:cubicBezTo>
                  <a:pt x="309" y="9"/>
                  <a:pt x="325" y="12"/>
                  <a:pt x="341" y="15"/>
                </a:cubicBezTo>
                <a:cubicBezTo>
                  <a:pt x="346" y="16"/>
                  <a:pt x="350" y="22"/>
                  <a:pt x="348" y="27"/>
                </a:cubicBezTo>
                <a:cubicBezTo>
                  <a:pt x="347" y="32"/>
                  <a:pt x="343" y="35"/>
                  <a:pt x="339" y="35"/>
                </a:cubicBezTo>
                <a:close/>
                <a:moveTo>
                  <a:pt x="104" y="29"/>
                </a:moveTo>
                <a:cubicBezTo>
                  <a:pt x="99" y="29"/>
                  <a:pt x="94" y="25"/>
                  <a:pt x="94" y="20"/>
                </a:cubicBezTo>
                <a:cubicBezTo>
                  <a:pt x="93" y="15"/>
                  <a:pt x="96" y="10"/>
                  <a:pt x="102" y="9"/>
                </a:cubicBezTo>
                <a:cubicBezTo>
                  <a:pt x="118" y="6"/>
                  <a:pt x="134" y="4"/>
                  <a:pt x="150" y="3"/>
                </a:cubicBezTo>
                <a:cubicBezTo>
                  <a:pt x="155" y="2"/>
                  <a:pt x="160" y="6"/>
                  <a:pt x="160" y="12"/>
                </a:cubicBezTo>
                <a:cubicBezTo>
                  <a:pt x="161" y="17"/>
                  <a:pt x="157" y="22"/>
                  <a:pt x="151" y="23"/>
                </a:cubicBezTo>
                <a:cubicBezTo>
                  <a:pt x="136" y="24"/>
                  <a:pt x="120" y="26"/>
                  <a:pt x="105" y="29"/>
                </a:cubicBezTo>
                <a:cubicBezTo>
                  <a:pt x="105" y="29"/>
                  <a:pt x="104" y="29"/>
                  <a:pt x="104" y="29"/>
                </a:cubicBezTo>
                <a:close/>
                <a:moveTo>
                  <a:pt x="245" y="22"/>
                </a:moveTo>
                <a:cubicBezTo>
                  <a:pt x="245" y="22"/>
                  <a:pt x="245" y="22"/>
                  <a:pt x="244" y="22"/>
                </a:cubicBezTo>
                <a:cubicBezTo>
                  <a:pt x="229" y="21"/>
                  <a:pt x="213" y="20"/>
                  <a:pt x="198" y="20"/>
                </a:cubicBezTo>
                <a:cubicBezTo>
                  <a:pt x="198" y="20"/>
                  <a:pt x="198" y="20"/>
                  <a:pt x="198" y="20"/>
                </a:cubicBezTo>
                <a:cubicBezTo>
                  <a:pt x="192" y="20"/>
                  <a:pt x="188" y="16"/>
                  <a:pt x="188" y="11"/>
                </a:cubicBezTo>
                <a:cubicBezTo>
                  <a:pt x="188" y="5"/>
                  <a:pt x="192" y="0"/>
                  <a:pt x="198" y="0"/>
                </a:cubicBezTo>
                <a:cubicBezTo>
                  <a:pt x="214" y="0"/>
                  <a:pt x="230" y="1"/>
                  <a:pt x="246" y="2"/>
                </a:cubicBezTo>
                <a:cubicBezTo>
                  <a:pt x="251" y="2"/>
                  <a:pt x="255" y="7"/>
                  <a:pt x="255" y="12"/>
                </a:cubicBezTo>
                <a:cubicBezTo>
                  <a:pt x="255" y="18"/>
                  <a:pt x="250" y="22"/>
                  <a:pt x="245" y="22"/>
                </a:cubicBezTo>
                <a:close/>
              </a:path>
            </a:pathLst>
          </a:custGeom>
          <a:solidFill>
            <a:srgbClr val="C0DC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grpSp>
        <p:nvGrpSpPr>
          <p:cNvPr id="180" name="Группа 179">
            <a:extLst>
              <a:ext uri="{FF2B5EF4-FFF2-40B4-BE49-F238E27FC236}">
                <a16:creationId xmlns:a16="http://schemas.microsoft.com/office/drawing/2014/main" id="{DAADE944-CE47-A44A-8819-0334D685B558}"/>
              </a:ext>
            </a:extLst>
          </p:cNvPr>
          <p:cNvGrpSpPr/>
          <p:nvPr/>
        </p:nvGrpSpPr>
        <p:grpSpPr>
          <a:xfrm>
            <a:off x="9428163" y="4083807"/>
            <a:ext cx="2151847" cy="1638604"/>
            <a:chOff x="9428163" y="4083807"/>
            <a:chExt cx="2151847" cy="1638604"/>
          </a:xfrm>
        </p:grpSpPr>
        <p:sp>
          <p:nvSpPr>
            <p:cNvPr id="149" name="Rectangle 21">
              <a:extLst>
                <a:ext uri="{FF2B5EF4-FFF2-40B4-BE49-F238E27FC236}">
                  <a16:creationId xmlns:a16="http://schemas.microsoft.com/office/drawing/2014/main" id="{36F4E629-27D6-DD4C-4954-61521BB5AA99}"/>
                </a:ext>
              </a:extLst>
            </p:cNvPr>
            <p:cNvSpPr/>
            <p:nvPr/>
          </p:nvSpPr>
          <p:spPr>
            <a:xfrm>
              <a:off x="9428163" y="4152751"/>
              <a:ext cx="1657944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0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0" name="Freeform 20">
              <a:extLst>
                <a:ext uri="{FF2B5EF4-FFF2-40B4-BE49-F238E27FC236}">
                  <a16:creationId xmlns:a16="http://schemas.microsoft.com/office/drawing/2014/main" id="{2480290A-41EC-D483-4B2B-DB80CB1B0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613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1" name="Freeform 21">
              <a:extLst>
                <a:ext uri="{FF2B5EF4-FFF2-40B4-BE49-F238E27FC236}">
                  <a16:creationId xmlns:a16="http://schemas.microsoft.com/office/drawing/2014/main" id="{2B300D93-F99A-70CA-8C32-460D60BC7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3" name="Freeform 23">
              <a:extLst>
                <a:ext uri="{FF2B5EF4-FFF2-40B4-BE49-F238E27FC236}">
                  <a16:creationId xmlns:a16="http://schemas.microsoft.com/office/drawing/2014/main" id="{306C8701-EF10-8814-6311-FE751CCF1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6" name="Группа 175">
            <a:extLst>
              <a:ext uri="{FF2B5EF4-FFF2-40B4-BE49-F238E27FC236}">
                <a16:creationId xmlns:a16="http://schemas.microsoft.com/office/drawing/2014/main" id="{E4D7ED61-36AC-F9C6-3445-7AC2CA08A747}"/>
              </a:ext>
            </a:extLst>
          </p:cNvPr>
          <p:cNvGrpSpPr/>
          <p:nvPr/>
        </p:nvGrpSpPr>
        <p:grpSpPr>
          <a:xfrm>
            <a:off x="224760" y="4071540"/>
            <a:ext cx="1890777" cy="1650871"/>
            <a:chOff x="224760" y="4071540"/>
            <a:chExt cx="1890777" cy="1650871"/>
          </a:xfrm>
        </p:grpSpPr>
        <p:sp>
          <p:nvSpPr>
            <p:cNvPr id="155" name="Rectangle 25">
              <a:extLst>
                <a:ext uri="{FF2B5EF4-FFF2-40B4-BE49-F238E27FC236}">
                  <a16:creationId xmlns:a16="http://schemas.microsoft.com/office/drawing/2014/main" id="{357B8EC3-E7A2-3FD0-5323-9095DE84CB4D}"/>
                </a:ext>
              </a:extLst>
            </p:cNvPr>
            <p:cNvSpPr/>
            <p:nvPr/>
          </p:nvSpPr>
          <p:spPr>
            <a:xfrm>
              <a:off x="224760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6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6" name="Freeform 24">
              <a:extLst>
                <a:ext uri="{FF2B5EF4-FFF2-40B4-BE49-F238E27FC236}">
                  <a16:creationId xmlns:a16="http://schemas.microsoft.com/office/drawing/2014/main" id="{058E620E-8F51-3B75-4F91-7C445F7A6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7" name="Freeform 26">
              <a:extLst>
                <a:ext uri="{FF2B5EF4-FFF2-40B4-BE49-F238E27FC236}">
                  <a16:creationId xmlns:a16="http://schemas.microsoft.com/office/drawing/2014/main" id="{056FA1BB-B0A6-278B-B272-957B3EB05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5503178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8" name="Freeform 27">
              <a:extLst>
                <a:ext uri="{FF2B5EF4-FFF2-40B4-BE49-F238E27FC236}">
                  <a16:creationId xmlns:a16="http://schemas.microsoft.com/office/drawing/2014/main" id="{B371D828-B986-6A13-2F8F-8C2AA9CE76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4071540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59" name="Freeform 28">
              <a:extLst>
                <a:ext uri="{FF2B5EF4-FFF2-40B4-BE49-F238E27FC236}">
                  <a16:creationId xmlns:a16="http://schemas.microsoft.com/office/drawing/2014/main" id="{46FFBFAB-5BA1-161C-28D1-DC9512515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id="{CF73DFC4-F83D-3C5D-93E6-DC53F4B396E4}"/>
              </a:ext>
            </a:extLst>
          </p:cNvPr>
          <p:cNvSpPr txBox="1"/>
          <p:nvPr/>
        </p:nvSpPr>
        <p:spPr>
          <a:xfrm>
            <a:off x="107494" y="3248119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скусствен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нтеллект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4D249C36-FF51-0447-B15B-31D335C9FD3C}"/>
              </a:ext>
            </a:extLst>
          </p:cNvPr>
          <p:cNvSpPr txBox="1"/>
          <p:nvPr/>
        </p:nvSpPr>
        <p:spPr>
          <a:xfrm>
            <a:off x="2766315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иксель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29C65B57-3AA0-D6FE-C94C-E370A4EDD7B9}"/>
              </a:ext>
            </a:extLst>
          </p:cNvPr>
          <p:cNvSpPr txBox="1"/>
          <p:nvPr/>
        </p:nvSpPr>
        <p:spPr>
          <a:xfrm>
            <a:off x="495374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Яркие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цвета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395AFBD5-9B99-F345-FDFD-93A5D5B71B8B}"/>
              </a:ext>
            </a:extLst>
          </p:cNvPr>
          <p:cNvSpPr txBox="1"/>
          <p:nvPr/>
        </p:nvSpPr>
        <p:spPr>
          <a:xfrm>
            <a:off x="743329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Ретр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иль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5313716C-B7B8-C6FF-ACED-F428CB2ACDAA}"/>
              </a:ext>
            </a:extLst>
          </p:cNvPr>
          <p:cNvSpPr txBox="1"/>
          <p:nvPr/>
        </p:nvSpPr>
        <p:spPr>
          <a:xfrm>
            <a:off x="9798659" y="3248119"/>
            <a:ext cx="2284517" cy="352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Минимализм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8570A41B-47BE-1ADC-53D4-B5C4C87BF32A}"/>
              </a:ext>
            </a:extLst>
          </p:cNvPr>
          <p:cNvSpPr txBox="1"/>
          <p:nvPr/>
        </p:nvSpPr>
        <p:spPr>
          <a:xfrm>
            <a:off x="107494" y="5684038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ерегружен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композиция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900F5795-34FF-8E0C-5755-2A87841E1FE5}"/>
              </a:ext>
            </a:extLst>
          </p:cNvPr>
          <p:cNvSpPr txBox="1"/>
          <p:nvPr/>
        </p:nvSpPr>
        <p:spPr>
          <a:xfrm>
            <a:off x="2766315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Нестандарт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ипографика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6DD45F9-5584-5D17-58D5-4194B430A37C}"/>
              </a:ext>
            </a:extLst>
          </p:cNvPr>
          <p:cNvSpPr txBox="1"/>
          <p:nvPr/>
        </p:nvSpPr>
        <p:spPr>
          <a:xfrm>
            <a:off x="495374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Черн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белый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90A2FE5A-C11E-3349-F29A-A3A4CDFD8145}"/>
              </a:ext>
            </a:extLst>
          </p:cNvPr>
          <p:cNvSpPr txBox="1"/>
          <p:nvPr/>
        </p:nvSpPr>
        <p:spPr>
          <a:xfrm>
            <a:off x="743329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екл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2ECDF986-333B-B886-9B05-C45E5BC23EDE}"/>
              </a:ext>
            </a:extLst>
          </p:cNvPr>
          <p:cNvSpPr txBox="1"/>
          <p:nvPr/>
        </p:nvSpPr>
        <p:spPr>
          <a:xfrm>
            <a:off x="9798659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екстуры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 фактуры</a:t>
            </a:r>
          </a:p>
        </p:txBody>
      </p:sp>
      <p:pic>
        <p:nvPicPr>
          <p:cNvPr id="182" name="Picture 2" descr="Искусственный интеллект Искусственный интеллект Презентация PowerPoint">
            <a:extLst>
              <a:ext uri="{FF2B5EF4-FFF2-40B4-BE49-F238E27FC236}">
                <a16:creationId xmlns:a16="http://schemas.microsoft.com/office/drawing/2014/main" id="{3E1356A8-8BEB-E1C3-CA86-31A9DC1720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0385" y="3080379"/>
            <a:ext cx="4798961" cy="3199306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3" name="Picture 4" descr="Искусственный интеллект Искусственный интеллект Презентация PowerPoint">
            <a:extLst>
              <a:ext uri="{FF2B5EF4-FFF2-40B4-BE49-F238E27FC236}">
                <a16:creationId xmlns:a16="http://schemas.microsoft.com/office/drawing/2014/main" id="{847C93CE-81DF-1F2C-82AD-571468DDE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34988" y="3080379"/>
            <a:ext cx="4791552" cy="3194368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22171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22222E-6 L 0.06576 2.22222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72" name="Группа 171">
            <a:extLst>
              <a:ext uri="{FF2B5EF4-FFF2-40B4-BE49-F238E27FC236}">
                <a16:creationId xmlns:a16="http://schemas.microsoft.com/office/drawing/2014/main" id="{70F9F561-E925-CC3F-3FD1-0CF9DB029578}"/>
              </a:ext>
            </a:extLst>
          </p:cNvPr>
          <p:cNvGrpSpPr/>
          <p:nvPr/>
        </p:nvGrpSpPr>
        <p:grpSpPr>
          <a:xfrm>
            <a:off x="-6075921" y="0"/>
            <a:ext cx="8960074" cy="7823200"/>
            <a:chOff x="224760" y="1530804"/>
            <a:chExt cx="1890777" cy="1650871"/>
          </a:xfrm>
        </p:grpSpPr>
        <p:sp>
          <p:nvSpPr>
            <p:cNvPr id="94" name="Rectangle 25">
              <a:extLst>
                <a:ext uri="{FF2B5EF4-FFF2-40B4-BE49-F238E27FC236}">
                  <a16:creationId xmlns:a16="http://schemas.microsoft.com/office/drawing/2014/main" id="{9426B5F4-A4AA-8DEB-EADD-889E43D6ECF0}"/>
                </a:ext>
              </a:extLst>
            </p:cNvPr>
            <p:cNvSpPr/>
            <p:nvPr/>
          </p:nvSpPr>
          <p:spPr>
            <a:xfrm>
              <a:off x="224760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8" name="Freeform 24">
              <a:extLst>
                <a:ext uri="{FF2B5EF4-FFF2-40B4-BE49-F238E27FC236}">
                  <a16:creationId xmlns:a16="http://schemas.microsoft.com/office/drawing/2014/main" id="{8668C76E-DE85-167C-8B9D-C63A038FC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1543071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1" name="Freeform 26">
              <a:extLst>
                <a:ext uri="{FF2B5EF4-FFF2-40B4-BE49-F238E27FC236}">
                  <a16:creationId xmlns:a16="http://schemas.microsoft.com/office/drawing/2014/main" id="{821036B1-A114-9E54-AC89-AFD52FDBD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2962442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2" name="Freeform 27">
              <a:extLst>
                <a:ext uri="{FF2B5EF4-FFF2-40B4-BE49-F238E27FC236}">
                  <a16:creationId xmlns:a16="http://schemas.microsoft.com/office/drawing/2014/main" id="{FADFDA08-A75F-E108-01D3-C17D96AF18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1530804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23" name="Freeform 28">
              <a:extLst>
                <a:ext uri="{FF2B5EF4-FFF2-40B4-BE49-F238E27FC236}">
                  <a16:creationId xmlns:a16="http://schemas.microsoft.com/office/drawing/2014/main" id="{02E78DB1-B4D3-B148-1742-D14CDC023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F2833E9D-8D34-D5D6-DFA0-75CBEF298C7B}"/>
              </a:ext>
            </a:extLst>
          </p:cNvPr>
          <p:cNvSpPr txBox="1"/>
          <p:nvPr/>
        </p:nvSpPr>
        <p:spPr>
          <a:xfrm>
            <a:off x="1043932" y="1195583"/>
            <a:ext cx="9667656" cy="1724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ИСКУССТВЕННЫЙ ИНТЕЛЛЕКТ</a:t>
            </a:r>
          </a:p>
        </p:txBody>
      </p:sp>
      <p:pic>
        <p:nvPicPr>
          <p:cNvPr id="1026" name="Picture 2" descr="Искусственный интеллект Искусственный интеллект Презентация PowerPoint">
            <a:extLst>
              <a:ext uri="{FF2B5EF4-FFF2-40B4-BE49-F238E27FC236}">
                <a16:creationId xmlns:a16="http://schemas.microsoft.com/office/drawing/2014/main" id="{35C0799C-9047-04C0-0C48-BA28E8EA0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219" y="3080379"/>
            <a:ext cx="4798961" cy="3199306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Искусственный интеллект Искусственный интеллект Презентация PowerPoint">
            <a:extLst>
              <a:ext uri="{FF2B5EF4-FFF2-40B4-BE49-F238E27FC236}">
                <a16:creationId xmlns:a16="http://schemas.microsoft.com/office/drawing/2014/main" id="{25AACCD3-EAE9-6540-F723-8566ADB2E6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8822" y="3080379"/>
            <a:ext cx="4791552" cy="3194368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23611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436268" y="451062"/>
            <a:ext cx="8590385" cy="679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36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ТРЕНДЫ В ПРЕЗЕНТАЦИЯХ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35B0E2B-7288-51E5-1236-CF55D862B48D}"/>
              </a:ext>
            </a:extLst>
          </p:cNvPr>
          <p:cNvGrpSpPr/>
          <p:nvPr/>
        </p:nvGrpSpPr>
        <p:grpSpPr>
          <a:xfrm>
            <a:off x="2570693" y="1530804"/>
            <a:ext cx="1904144" cy="1650871"/>
            <a:chOff x="2570693" y="1530804"/>
            <a:chExt cx="1904144" cy="1650871"/>
          </a:xfrm>
        </p:grpSpPr>
        <p:grpSp>
          <p:nvGrpSpPr>
            <p:cNvPr id="163" name="Группа 162">
              <a:extLst>
                <a:ext uri="{FF2B5EF4-FFF2-40B4-BE49-F238E27FC236}">
                  <a16:creationId xmlns:a16="http://schemas.microsoft.com/office/drawing/2014/main" id="{4B8A1FD4-56F7-CF9F-A9B0-1DC5AA30F5E5}"/>
                </a:ext>
              </a:extLst>
            </p:cNvPr>
            <p:cNvGrpSpPr/>
            <p:nvPr/>
          </p:nvGrpSpPr>
          <p:grpSpPr>
            <a:xfrm>
              <a:off x="2570693" y="1543071"/>
              <a:ext cx="1891155" cy="1638604"/>
              <a:chOff x="2570693" y="1543071"/>
              <a:chExt cx="1891155" cy="1638604"/>
            </a:xfrm>
          </p:grpSpPr>
          <p:sp>
            <p:nvSpPr>
              <p:cNvPr id="93" name="Rectangle 24">
                <a:extLst>
                  <a:ext uri="{FF2B5EF4-FFF2-40B4-BE49-F238E27FC236}">
                    <a16:creationId xmlns:a16="http://schemas.microsoft.com/office/drawing/2014/main" id="{56E5413D-BEB3-D6DA-40AC-5C27DF8D4C54}"/>
                  </a:ext>
                </a:extLst>
              </p:cNvPr>
              <p:cNvSpPr/>
              <p:nvPr/>
            </p:nvSpPr>
            <p:spPr>
              <a:xfrm>
                <a:off x="2570693" y="1612015"/>
                <a:ext cx="1337881" cy="15696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9600" dirty="0">
                    <a:solidFill>
                      <a:srgbClr val="620CFD"/>
                    </a:solidFill>
                    <a:latin typeface="Poppins SemiBold" panose="00000700000000000000" pitchFamily="2" charset="0"/>
                    <a:ea typeface="Roboto Bold" panose="02000000000000000000" pitchFamily="2" charset="0"/>
                    <a:cs typeface="Poppins SemiBold" panose="00000700000000000000" pitchFamily="2" charset="0"/>
                  </a:rPr>
                  <a:t>2</a:t>
                </a:r>
                <a:endParaRPr lang="en-US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95" name="Freeform 5">
                <a:extLst>
                  <a:ext uri="{FF2B5EF4-FFF2-40B4-BE49-F238E27FC236}">
                    <a16:creationId xmlns:a16="http://schemas.microsoft.com/office/drawing/2014/main" id="{1217AEF5-802E-A251-3622-85C194DF9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50" y="1543071"/>
                <a:ext cx="1069398" cy="1505240"/>
              </a:xfrm>
              <a:custGeom>
                <a:avLst/>
                <a:gdLst>
                  <a:gd name="T0" fmla="*/ 260 w 872"/>
                  <a:gd name="T1" fmla="*/ 0 h 1225"/>
                  <a:gd name="T2" fmla="*/ 0 w 872"/>
                  <a:gd name="T3" fmla="*/ 58 h 1225"/>
                  <a:gd name="T4" fmla="*/ 0 w 872"/>
                  <a:gd name="T5" fmla="*/ 1168 h 1225"/>
                  <a:gd name="T6" fmla="*/ 260 w 872"/>
                  <a:gd name="T7" fmla="*/ 1225 h 1225"/>
                  <a:gd name="T8" fmla="*/ 872 w 872"/>
                  <a:gd name="T9" fmla="*/ 613 h 1225"/>
                  <a:gd name="T10" fmla="*/ 260 w 872"/>
                  <a:gd name="T11" fmla="*/ 0 h 1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2" h="1225">
                    <a:moveTo>
                      <a:pt x="260" y="0"/>
                    </a:moveTo>
                    <a:cubicBezTo>
                      <a:pt x="167" y="0"/>
                      <a:pt x="79" y="21"/>
                      <a:pt x="0" y="58"/>
                    </a:cubicBezTo>
                    <a:cubicBezTo>
                      <a:pt x="0" y="1168"/>
                      <a:pt x="0" y="1168"/>
                      <a:pt x="0" y="1168"/>
                    </a:cubicBezTo>
                    <a:cubicBezTo>
                      <a:pt x="79" y="1205"/>
                      <a:pt x="167" y="1225"/>
                      <a:pt x="260" y="1225"/>
                    </a:cubicBezTo>
                    <a:cubicBezTo>
                      <a:pt x="598" y="1225"/>
                      <a:pt x="872" y="951"/>
                      <a:pt x="872" y="613"/>
                    </a:cubicBezTo>
                    <a:cubicBezTo>
                      <a:pt x="872" y="275"/>
                      <a:pt x="598" y="0"/>
                      <a:pt x="2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76200" dist="38100" dir="10800000" algn="r" rotWithShape="0">
                  <a:prstClr val="black">
                    <a:alpha val="3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A3572630-598B-5C94-8D3E-3784DF297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id="{DAA99000-EA9A-AE50-74C7-2BA64FDCC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id="{8B3DD752-C6A4-CFD4-19C2-EB2456B2D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3" name="Группа 172">
            <a:extLst>
              <a:ext uri="{FF2B5EF4-FFF2-40B4-BE49-F238E27FC236}">
                <a16:creationId xmlns:a16="http://schemas.microsoft.com/office/drawing/2014/main" id="{EB1D928E-4F1C-D312-593E-162A0FF3104C}"/>
              </a:ext>
            </a:extLst>
          </p:cNvPr>
          <p:cNvGrpSpPr/>
          <p:nvPr/>
        </p:nvGrpSpPr>
        <p:grpSpPr>
          <a:xfrm>
            <a:off x="4931227" y="1530804"/>
            <a:ext cx="1902534" cy="1650871"/>
            <a:chOff x="4931227" y="1530804"/>
            <a:chExt cx="1902534" cy="1650871"/>
          </a:xfrm>
        </p:grpSpPr>
        <p:sp>
          <p:nvSpPr>
            <p:cNvPr id="92" name="Rectangle 23">
              <a:extLst>
                <a:ext uri="{FF2B5EF4-FFF2-40B4-BE49-F238E27FC236}">
                  <a16:creationId xmlns:a16="http://schemas.microsoft.com/office/drawing/2014/main" id="{273617A1-2DC0-5FB9-D7E0-FF6BCB3EB5ED}"/>
                </a:ext>
              </a:extLst>
            </p:cNvPr>
            <p:cNvSpPr/>
            <p:nvPr/>
          </p:nvSpPr>
          <p:spPr>
            <a:xfrm>
              <a:off x="4931227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3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006CAACD-CC97-0283-4433-83EF84659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D7108752-D1B1-31C4-D013-C181BD470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2962442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C6A1B4F2-3F92-F637-BB6F-29F3023B5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1530804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C1360D4A-55EB-272D-6048-902A967F1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3CCC8006-DC23-82B5-9306-E15D523021AC}"/>
              </a:ext>
            </a:extLst>
          </p:cNvPr>
          <p:cNvGrpSpPr/>
          <p:nvPr/>
        </p:nvGrpSpPr>
        <p:grpSpPr>
          <a:xfrm>
            <a:off x="7295974" y="1530804"/>
            <a:ext cx="1959602" cy="1650871"/>
            <a:chOff x="7295974" y="1530804"/>
            <a:chExt cx="1959602" cy="1650871"/>
          </a:xfrm>
        </p:grpSpPr>
        <p:sp>
          <p:nvSpPr>
            <p:cNvPr id="91" name="Rectangle 22">
              <a:extLst>
                <a:ext uri="{FF2B5EF4-FFF2-40B4-BE49-F238E27FC236}">
                  <a16:creationId xmlns:a16="http://schemas.microsoft.com/office/drawing/2014/main" id="{AF59DD62-7880-13CC-4138-B454478E64D9}"/>
                </a:ext>
              </a:extLst>
            </p:cNvPr>
            <p:cNvSpPr/>
            <p:nvPr/>
          </p:nvSpPr>
          <p:spPr>
            <a:xfrm>
              <a:off x="7295974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4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B988EB9F-9358-3C35-272D-F6EFF02A7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1543071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0" name="Freeform 17">
              <a:extLst>
                <a:ext uri="{FF2B5EF4-FFF2-40B4-BE49-F238E27FC236}">
                  <a16:creationId xmlns:a16="http://schemas.microsoft.com/office/drawing/2014/main" id="{CE1C1353-7B83-A46C-5D84-EEF7396A6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2962442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1" name="Freeform 18">
              <a:extLst>
                <a:ext uri="{FF2B5EF4-FFF2-40B4-BE49-F238E27FC236}">
                  <a16:creationId xmlns:a16="http://schemas.microsoft.com/office/drawing/2014/main" id="{0D092205-5F45-3E67-E60B-C5468BB8F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1530804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2" name="Freeform 19">
              <a:extLst>
                <a:ext uri="{FF2B5EF4-FFF2-40B4-BE49-F238E27FC236}">
                  <a16:creationId xmlns:a16="http://schemas.microsoft.com/office/drawing/2014/main" id="{62B77E0A-A3CB-4BAD-15B2-38C772EEF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1588532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5" name="Группа 174">
            <a:extLst>
              <a:ext uri="{FF2B5EF4-FFF2-40B4-BE49-F238E27FC236}">
                <a16:creationId xmlns:a16="http://schemas.microsoft.com/office/drawing/2014/main" id="{0B591BB7-477C-7C35-7106-26B676D5BE13}"/>
              </a:ext>
            </a:extLst>
          </p:cNvPr>
          <p:cNvGrpSpPr/>
          <p:nvPr/>
        </p:nvGrpSpPr>
        <p:grpSpPr>
          <a:xfrm>
            <a:off x="9717808" y="1530804"/>
            <a:ext cx="1902714" cy="1650871"/>
            <a:chOff x="9717808" y="1530804"/>
            <a:chExt cx="1902714" cy="1650871"/>
          </a:xfrm>
        </p:grpSpPr>
        <p:sp>
          <p:nvSpPr>
            <p:cNvPr id="90" name="Rectangle 21">
              <a:extLst>
                <a:ext uri="{FF2B5EF4-FFF2-40B4-BE49-F238E27FC236}">
                  <a16:creationId xmlns:a16="http://schemas.microsoft.com/office/drawing/2014/main" id="{29569A48-EE85-2ED7-8D80-191157BE8C22}"/>
                </a:ext>
              </a:extLst>
            </p:cNvPr>
            <p:cNvSpPr/>
            <p:nvPr/>
          </p:nvSpPr>
          <p:spPr>
            <a:xfrm>
              <a:off x="9717808" y="1612015"/>
              <a:ext cx="1337882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5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3" name="Freeform 20">
              <a:extLst>
                <a:ext uri="{FF2B5EF4-FFF2-40B4-BE49-F238E27FC236}">
                  <a16:creationId xmlns:a16="http://schemas.microsoft.com/office/drawing/2014/main" id="{9EE6F49C-07F6-DB6B-4B0B-1EB921EE5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8136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5" name="Freeform 21">
              <a:extLst>
                <a:ext uri="{FF2B5EF4-FFF2-40B4-BE49-F238E27FC236}">
                  <a16:creationId xmlns:a16="http://schemas.microsoft.com/office/drawing/2014/main" id="{6749EA0B-A536-CDB9-C374-57F4AE4E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6" name="Freeform 22">
              <a:extLst>
                <a:ext uri="{FF2B5EF4-FFF2-40B4-BE49-F238E27FC236}">
                  <a16:creationId xmlns:a16="http://schemas.microsoft.com/office/drawing/2014/main" id="{E4B64482-23A1-4452-2675-AA1B5EFFB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5965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3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59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3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88 w 827"/>
                <a:gd name="T99" fmla="*/ 11 h 1245"/>
                <a:gd name="T100" fmla="*/ 245 w 827"/>
                <a:gd name="T101" fmla="*/ 2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199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8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7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4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3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1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8" y="842"/>
                    <a:pt x="777" y="841"/>
                  </a:cubicBezTo>
                  <a:cubicBezTo>
                    <a:pt x="772" y="839"/>
                    <a:pt x="769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1" y="535"/>
                    <a:pt x="823" y="551"/>
                  </a:cubicBezTo>
                  <a:cubicBezTo>
                    <a:pt x="824" y="557"/>
                    <a:pt x="820" y="562"/>
                    <a:pt x="814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2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4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59" y="111"/>
                  </a:cubicBezTo>
                  <a:cubicBezTo>
                    <a:pt x="573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6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4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29" y="21"/>
                    <a:pt x="213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7" name="Freeform 23">
              <a:extLst>
                <a:ext uri="{FF2B5EF4-FFF2-40B4-BE49-F238E27FC236}">
                  <a16:creationId xmlns:a16="http://schemas.microsoft.com/office/drawing/2014/main" id="{04E21E31-4E2B-6A92-5A7F-D0ED69C0E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2" name="Группа 171">
            <a:extLst>
              <a:ext uri="{FF2B5EF4-FFF2-40B4-BE49-F238E27FC236}">
                <a16:creationId xmlns:a16="http://schemas.microsoft.com/office/drawing/2014/main" id="{70F9F561-E925-CC3F-3FD1-0CF9DB029578}"/>
              </a:ext>
            </a:extLst>
          </p:cNvPr>
          <p:cNvGrpSpPr/>
          <p:nvPr/>
        </p:nvGrpSpPr>
        <p:grpSpPr>
          <a:xfrm>
            <a:off x="224760" y="1530804"/>
            <a:ext cx="1890777" cy="1650871"/>
            <a:chOff x="224760" y="1530804"/>
            <a:chExt cx="1890777" cy="1650871"/>
          </a:xfrm>
        </p:grpSpPr>
        <p:sp>
          <p:nvSpPr>
            <p:cNvPr id="94" name="Rectangle 25">
              <a:extLst>
                <a:ext uri="{FF2B5EF4-FFF2-40B4-BE49-F238E27FC236}">
                  <a16:creationId xmlns:a16="http://schemas.microsoft.com/office/drawing/2014/main" id="{9426B5F4-A4AA-8DEB-EADD-889E43D6ECF0}"/>
                </a:ext>
              </a:extLst>
            </p:cNvPr>
            <p:cNvSpPr/>
            <p:nvPr/>
          </p:nvSpPr>
          <p:spPr>
            <a:xfrm>
              <a:off x="224760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8" name="Freeform 24">
              <a:extLst>
                <a:ext uri="{FF2B5EF4-FFF2-40B4-BE49-F238E27FC236}">
                  <a16:creationId xmlns:a16="http://schemas.microsoft.com/office/drawing/2014/main" id="{8668C76E-DE85-167C-8B9D-C63A038FC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1543071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1" name="Freeform 26">
              <a:extLst>
                <a:ext uri="{FF2B5EF4-FFF2-40B4-BE49-F238E27FC236}">
                  <a16:creationId xmlns:a16="http://schemas.microsoft.com/office/drawing/2014/main" id="{821036B1-A114-9E54-AC89-AFD52FDBD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2962442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2" name="Freeform 27">
              <a:extLst>
                <a:ext uri="{FF2B5EF4-FFF2-40B4-BE49-F238E27FC236}">
                  <a16:creationId xmlns:a16="http://schemas.microsoft.com/office/drawing/2014/main" id="{FADFDA08-A75F-E108-01D3-C17D96AF18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1530804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23" name="Freeform 28">
              <a:extLst>
                <a:ext uri="{FF2B5EF4-FFF2-40B4-BE49-F238E27FC236}">
                  <a16:creationId xmlns:a16="http://schemas.microsoft.com/office/drawing/2014/main" id="{02E78DB1-B4D3-B148-1742-D14CDC023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CEE3B85A-97B9-89F8-C67A-48CF9E943346}"/>
              </a:ext>
            </a:extLst>
          </p:cNvPr>
          <p:cNvGrpSpPr/>
          <p:nvPr/>
        </p:nvGrpSpPr>
        <p:grpSpPr>
          <a:xfrm>
            <a:off x="2570693" y="4071540"/>
            <a:ext cx="1904144" cy="1650871"/>
            <a:chOff x="2570693" y="4071540"/>
            <a:chExt cx="1904144" cy="1650871"/>
          </a:xfrm>
        </p:grpSpPr>
        <p:sp>
          <p:nvSpPr>
            <p:cNvPr id="131" name="Rectangle 24">
              <a:extLst>
                <a:ext uri="{FF2B5EF4-FFF2-40B4-BE49-F238E27FC236}">
                  <a16:creationId xmlns:a16="http://schemas.microsoft.com/office/drawing/2014/main" id="{39A4F353-AB65-8B80-1741-785AC44F9562}"/>
                </a:ext>
              </a:extLst>
            </p:cNvPr>
            <p:cNvSpPr/>
            <p:nvPr/>
          </p:nvSpPr>
          <p:spPr>
            <a:xfrm>
              <a:off x="2570693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7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7B1958A9-DF83-922C-950A-7314D9F26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50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3" name="Freeform 7">
              <a:extLst>
                <a:ext uri="{FF2B5EF4-FFF2-40B4-BE49-F238E27FC236}">
                  <a16:creationId xmlns:a16="http://schemas.microsoft.com/office/drawing/2014/main" id="{564C58DD-3A84-B66A-E8A5-F6FD608DA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4" name="Freeform 8">
              <a:extLst>
                <a:ext uri="{FF2B5EF4-FFF2-40B4-BE49-F238E27FC236}">
                  <a16:creationId xmlns:a16="http://schemas.microsoft.com/office/drawing/2014/main" id="{F098A11B-806D-749D-B8E3-34D6654304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4071540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5" name="Freeform 9">
              <a:extLst>
                <a:ext uri="{FF2B5EF4-FFF2-40B4-BE49-F238E27FC236}">
                  <a16:creationId xmlns:a16="http://schemas.microsoft.com/office/drawing/2014/main" id="{FBABAF63-61AF-5442-229A-F95325EF3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8" name="Группа 177">
            <a:extLst>
              <a:ext uri="{FF2B5EF4-FFF2-40B4-BE49-F238E27FC236}">
                <a16:creationId xmlns:a16="http://schemas.microsoft.com/office/drawing/2014/main" id="{C99650E0-C87B-0F1D-590C-BEBF62DD60CC}"/>
              </a:ext>
            </a:extLst>
          </p:cNvPr>
          <p:cNvGrpSpPr/>
          <p:nvPr/>
        </p:nvGrpSpPr>
        <p:grpSpPr>
          <a:xfrm>
            <a:off x="4931227" y="4071540"/>
            <a:ext cx="1902534" cy="1650871"/>
            <a:chOff x="4931227" y="4071540"/>
            <a:chExt cx="1902534" cy="1650871"/>
          </a:xfrm>
        </p:grpSpPr>
        <p:sp>
          <p:nvSpPr>
            <p:cNvPr id="137" name="Rectangle 23">
              <a:extLst>
                <a:ext uri="{FF2B5EF4-FFF2-40B4-BE49-F238E27FC236}">
                  <a16:creationId xmlns:a16="http://schemas.microsoft.com/office/drawing/2014/main" id="{ED07FEA2-D699-6335-26A2-4AF432160754}"/>
                </a:ext>
              </a:extLst>
            </p:cNvPr>
            <p:cNvSpPr/>
            <p:nvPr/>
          </p:nvSpPr>
          <p:spPr>
            <a:xfrm>
              <a:off x="4931227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8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09C3FF1-010B-ED79-6CA1-1B68C3731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9" name="Freeform 12">
              <a:extLst>
                <a:ext uri="{FF2B5EF4-FFF2-40B4-BE49-F238E27FC236}">
                  <a16:creationId xmlns:a16="http://schemas.microsoft.com/office/drawing/2014/main" id="{247B6EB1-243F-98B7-3420-9B7E47C17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5503178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0" name="Freeform 13">
              <a:extLst>
                <a:ext uri="{FF2B5EF4-FFF2-40B4-BE49-F238E27FC236}">
                  <a16:creationId xmlns:a16="http://schemas.microsoft.com/office/drawing/2014/main" id="{E1A9EFCB-1E58-4FF0-A5F8-9EC6968E1E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4071540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1" name="Freeform 14">
              <a:extLst>
                <a:ext uri="{FF2B5EF4-FFF2-40B4-BE49-F238E27FC236}">
                  <a16:creationId xmlns:a16="http://schemas.microsoft.com/office/drawing/2014/main" id="{EA221590-F141-E01D-575B-5DE9A0222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9" name="Группа 178">
            <a:extLst>
              <a:ext uri="{FF2B5EF4-FFF2-40B4-BE49-F238E27FC236}">
                <a16:creationId xmlns:a16="http://schemas.microsoft.com/office/drawing/2014/main" id="{6E953091-5929-4FB2-64FD-9599FF6FA641}"/>
              </a:ext>
            </a:extLst>
          </p:cNvPr>
          <p:cNvGrpSpPr/>
          <p:nvPr/>
        </p:nvGrpSpPr>
        <p:grpSpPr>
          <a:xfrm>
            <a:off x="7295974" y="4071540"/>
            <a:ext cx="1959602" cy="1650871"/>
            <a:chOff x="7295974" y="4071540"/>
            <a:chExt cx="1959602" cy="1650871"/>
          </a:xfrm>
        </p:grpSpPr>
        <p:sp>
          <p:nvSpPr>
            <p:cNvPr id="143" name="Rectangle 22">
              <a:extLst>
                <a:ext uri="{FF2B5EF4-FFF2-40B4-BE49-F238E27FC236}">
                  <a16:creationId xmlns:a16="http://schemas.microsoft.com/office/drawing/2014/main" id="{20EFDC4D-8D49-F4A1-63CA-733DC4D66C8D}"/>
                </a:ext>
              </a:extLst>
            </p:cNvPr>
            <p:cNvSpPr/>
            <p:nvPr/>
          </p:nvSpPr>
          <p:spPr>
            <a:xfrm>
              <a:off x="7295974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9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0A68112C-D223-568A-7F32-730CA6D7F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4083807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5" name="Freeform 17">
              <a:extLst>
                <a:ext uri="{FF2B5EF4-FFF2-40B4-BE49-F238E27FC236}">
                  <a16:creationId xmlns:a16="http://schemas.microsoft.com/office/drawing/2014/main" id="{857360FC-21B5-721D-A68B-D195A19CC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5503178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6" name="Freeform 18">
              <a:extLst>
                <a:ext uri="{FF2B5EF4-FFF2-40B4-BE49-F238E27FC236}">
                  <a16:creationId xmlns:a16="http://schemas.microsoft.com/office/drawing/2014/main" id="{A9DA7EF3-C181-CE39-61D6-916C859D4C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4071540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7" name="Freeform 19">
              <a:extLst>
                <a:ext uri="{FF2B5EF4-FFF2-40B4-BE49-F238E27FC236}">
                  <a16:creationId xmlns:a16="http://schemas.microsoft.com/office/drawing/2014/main" id="{6E0744BF-151B-AF62-3BDB-9CB6D9283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4129268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52" name="Freeform 22">
            <a:extLst>
              <a:ext uri="{FF2B5EF4-FFF2-40B4-BE49-F238E27FC236}">
                <a16:creationId xmlns:a16="http://schemas.microsoft.com/office/drawing/2014/main" id="{8E6FD6D1-0690-0E47-11F1-32AEE325EB8F}"/>
              </a:ext>
            </a:extLst>
          </p:cNvPr>
          <p:cNvSpPr>
            <a:spLocks noEditPoints="1"/>
          </p:cNvSpPr>
          <p:nvPr/>
        </p:nvSpPr>
        <p:spPr bwMode="auto">
          <a:xfrm>
            <a:off x="10578442" y="4071540"/>
            <a:ext cx="1014557" cy="1529774"/>
          </a:xfrm>
          <a:custGeom>
            <a:avLst/>
            <a:gdLst>
              <a:gd name="T0" fmla="*/ 197 w 827"/>
              <a:gd name="T1" fmla="*/ 1225 h 1245"/>
              <a:gd name="T2" fmla="*/ 245 w 827"/>
              <a:gd name="T3" fmla="*/ 1244 h 1245"/>
              <a:gd name="T4" fmla="*/ 101 w 827"/>
              <a:gd name="T5" fmla="*/ 1237 h 1245"/>
              <a:gd name="T6" fmla="*/ 160 w 827"/>
              <a:gd name="T7" fmla="*/ 1234 h 1245"/>
              <a:gd name="T8" fmla="*/ 290 w 827"/>
              <a:gd name="T9" fmla="*/ 1219 h 1245"/>
              <a:gd name="T10" fmla="*/ 293 w 827"/>
              <a:gd name="T11" fmla="*/ 1239 h 1245"/>
              <a:gd name="T12" fmla="*/ 8 w 827"/>
              <a:gd name="T13" fmla="*/ 1214 h 1245"/>
              <a:gd name="T14" fmla="*/ 66 w 827"/>
              <a:gd name="T15" fmla="*/ 1220 h 1245"/>
              <a:gd name="T16" fmla="*/ 381 w 827"/>
              <a:gd name="T17" fmla="*/ 1199 h 1245"/>
              <a:gd name="T18" fmla="*/ 386 w 827"/>
              <a:gd name="T19" fmla="*/ 1218 h 1245"/>
              <a:gd name="T20" fmla="*/ 467 w 827"/>
              <a:gd name="T21" fmla="*/ 1165 h 1245"/>
              <a:gd name="T22" fmla="*/ 476 w 827"/>
              <a:gd name="T23" fmla="*/ 1183 h 1245"/>
              <a:gd name="T24" fmla="*/ 548 w 827"/>
              <a:gd name="T25" fmla="*/ 1119 h 1245"/>
              <a:gd name="T26" fmla="*/ 559 w 827"/>
              <a:gd name="T27" fmla="*/ 1135 h 1245"/>
              <a:gd name="T28" fmla="*/ 620 w 827"/>
              <a:gd name="T29" fmla="*/ 1060 h 1245"/>
              <a:gd name="T30" fmla="*/ 633 w 827"/>
              <a:gd name="T31" fmla="*/ 1074 h 1245"/>
              <a:gd name="T32" fmla="*/ 682 w 827"/>
              <a:gd name="T33" fmla="*/ 991 h 1245"/>
              <a:gd name="T34" fmla="*/ 698 w 827"/>
              <a:gd name="T35" fmla="*/ 1003 h 1245"/>
              <a:gd name="T36" fmla="*/ 733 w 827"/>
              <a:gd name="T37" fmla="*/ 913 h 1245"/>
              <a:gd name="T38" fmla="*/ 751 w 827"/>
              <a:gd name="T39" fmla="*/ 923 h 1245"/>
              <a:gd name="T40" fmla="*/ 771 w 827"/>
              <a:gd name="T41" fmla="*/ 828 h 1245"/>
              <a:gd name="T42" fmla="*/ 790 w 827"/>
              <a:gd name="T43" fmla="*/ 835 h 1245"/>
              <a:gd name="T44" fmla="*/ 796 w 827"/>
              <a:gd name="T45" fmla="*/ 739 h 1245"/>
              <a:gd name="T46" fmla="*/ 816 w 827"/>
              <a:gd name="T47" fmla="*/ 743 h 1245"/>
              <a:gd name="T48" fmla="*/ 807 w 827"/>
              <a:gd name="T49" fmla="*/ 647 h 1245"/>
              <a:gd name="T50" fmla="*/ 827 w 827"/>
              <a:gd name="T51" fmla="*/ 599 h 1245"/>
              <a:gd name="T52" fmla="*/ 813 w 827"/>
              <a:gd name="T53" fmla="*/ 562 h 1245"/>
              <a:gd name="T54" fmla="*/ 816 w 827"/>
              <a:gd name="T55" fmla="*/ 504 h 1245"/>
              <a:gd name="T56" fmla="*/ 795 w 827"/>
              <a:gd name="T57" fmla="*/ 470 h 1245"/>
              <a:gd name="T58" fmla="*/ 790 w 827"/>
              <a:gd name="T59" fmla="*/ 411 h 1245"/>
              <a:gd name="T60" fmla="*/ 763 w 827"/>
              <a:gd name="T61" fmla="*/ 381 h 1245"/>
              <a:gd name="T62" fmla="*/ 751 w 827"/>
              <a:gd name="T63" fmla="*/ 324 h 1245"/>
              <a:gd name="T64" fmla="*/ 718 w 827"/>
              <a:gd name="T65" fmla="*/ 298 h 1245"/>
              <a:gd name="T66" fmla="*/ 698 w 827"/>
              <a:gd name="T67" fmla="*/ 243 h 1245"/>
              <a:gd name="T68" fmla="*/ 660 w 827"/>
              <a:gd name="T69" fmla="*/ 223 h 1245"/>
              <a:gd name="T70" fmla="*/ 634 w 827"/>
              <a:gd name="T71" fmla="*/ 172 h 1245"/>
              <a:gd name="T72" fmla="*/ 592 w 827"/>
              <a:gd name="T73" fmla="*/ 158 h 1245"/>
              <a:gd name="T74" fmla="*/ 559 w 827"/>
              <a:gd name="T75" fmla="*/ 111 h 1245"/>
              <a:gd name="T76" fmla="*/ 514 w 827"/>
              <a:gd name="T77" fmla="*/ 104 h 1245"/>
              <a:gd name="T78" fmla="*/ 477 w 827"/>
              <a:gd name="T79" fmla="*/ 63 h 1245"/>
              <a:gd name="T80" fmla="*/ 429 w 827"/>
              <a:gd name="T81" fmla="*/ 63 h 1245"/>
              <a:gd name="T82" fmla="*/ 387 w 827"/>
              <a:gd name="T83" fmla="*/ 28 h 1245"/>
              <a:gd name="T84" fmla="*/ 12 w 827"/>
              <a:gd name="T85" fmla="*/ 51 h 1245"/>
              <a:gd name="T86" fmla="*/ 67 w 827"/>
              <a:gd name="T87" fmla="*/ 26 h 1245"/>
              <a:gd name="T88" fmla="*/ 339 w 827"/>
              <a:gd name="T89" fmla="*/ 35 h 1245"/>
              <a:gd name="T90" fmla="*/ 293 w 827"/>
              <a:gd name="T91" fmla="*/ 7 h 1245"/>
              <a:gd name="T92" fmla="*/ 104 w 827"/>
              <a:gd name="T93" fmla="*/ 29 h 1245"/>
              <a:gd name="T94" fmla="*/ 160 w 827"/>
              <a:gd name="T95" fmla="*/ 12 h 1245"/>
              <a:gd name="T96" fmla="*/ 245 w 827"/>
              <a:gd name="T97" fmla="*/ 22 h 1245"/>
              <a:gd name="T98" fmla="*/ 188 w 827"/>
              <a:gd name="T99" fmla="*/ 11 h 1245"/>
              <a:gd name="T100" fmla="*/ 245 w 827"/>
              <a:gd name="T101" fmla="*/ 22 h 1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27" h="1245">
                <a:moveTo>
                  <a:pt x="205" y="1245"/>
                </a:moveTo>
                <a:cubicBezTo>
                  <a:pt x="202" y="1245"/>
                  <a:pt x="199" y="1245"/>
                  <a:pt x="197" y="1245"/>
                </a:cubicBezTo>
                <a:cubicBezTo>
                  <a:pt x="191" y="1245"/>
                  <a:pt x="187" y="1241"/>
                  <a:pt x="187" y="1235"/>
                </a:cubicBezTo>
                <a:cubicBezTo>
                  <a:pt x="187" y="1230"/>
                  <a:pt x="191" y="1225"/>
                  <a:pt x="197" y="1225"/>
                </a:cubicBezTo>
                <a:cubicBezTo>
                  <a:pt x="197" y="1225"/>
                  <a:pt x="197" y="1225"/>
                  <a:pt x="197" y="1225"/>
                </a:cubicBezTo>
                <a:cubicBezTo>
                  <a:pt x="212" y="1226"/>
                  <a:pt x="228" y="1225"/>
                  <a:pt x="244" y="1224"/>
                </a:cubicBezTo>
                <a:cubicBezTo>
                  <a:pt x="249" y="1224"/>
                  <a:pt x="254" y="1228"/>
                  <a:pt x="254" y="1234"/>
                </a:cubicBezTo>
                <a:cubicBezTo>
                  <a:pt x="255" y="1239"/>
                  <a:pt x="250" y="1244"/>
                  <a:pt x="245" y="1244"/>
                </a:cubicBezTo>
                <a:cubicBezTo>
                  <a:pt x="232" y="1245"/>
                  <a:pt x="218" y="1245"/>
                  <a:pt x="205" y="1245"/>
                </a:cubicBezTo>
                <a:close/>
                <a:moveTo>
                  <a:pt x="150" y="1243"/>
                </a:moveTo>
                <a:cubicBezTo>
                  <a:pt x="149" y="1243"/>
                  <a:pt x="149" y="1243"/>
                  <a:pt x="149" y="1243"/>
                </a:cubicBezTo>
                <a:cubicBezTo>
                  <a:pt x="133" y="1241"/>
                  <a:pt x="117" y="1239"/>
                  <a:pt x="101" y="1237"/>
                </a:cubicBezTo>
                <a:cubicBezTo>
                  <a:pt x="96" y="1236"/>
                  <a:pt x="92" y="1231"/>
                  <a:pt x="93" y="1225"/>
                </a:cubicBezTo>
                <a:cubicBezTo>
                  <a:pt x="94" y="1220"/>
                  <a:pt x="99" y="1216"/>
                  <a:pt x="104" y="1217"/>
                </a:cubicBezTo>
                <a:cubicBezTo>
                  <a:pt x="120" y="1220"/>
                  <a:pt x="135" y="1222"/>
                  <a:pt x="151" y="1223"/>
                </a:cubicBezTo>
                <a:cubicBezTo>
                  <a:pt x="156" y="1223"/>
                  <a:pt x="160" y="1228"/>
                  <a:pt x="160" y="1234"/>
                </a:cubicBezTo>
                <a:cubicBezTo>
                  <a:pt x="159" y="1239"/>
                  <a:pt x="155" y="1243"/>
                  <a:pt x="150" y="1243"/>
                </a:cubicBezTo>
                <a:close/>
                <a:moveTo>
                  <a:pt x="291" y="1239"/>
                </a:moveTo>
                <a:cubicBezTo>
                  <a:pt x="286" y="1239"/>
                  <a:pt x="282" y="1236"/>
                  <a:pt x="281" y="1231"/>
                </a:cubicBezTo>
                <a:cubicBezTo>
                  <a:pt x="281" y="1225"/>
                  <a:pt x="284" y="1220"/>
                  <a:pt x="290" y="1219"/>
                </a:cubicBezTo>
                <a:cubicBezTo>
                  <a:pt x="305" y="1217"/>
                  <a:pt x="321" y="1214"/>
                  <a:pt x="336" y="1211"/>
                </a:cubicBezTo>
                <a:cubicBezTo>
                  <a:pt x="341" y="1210"/>
                  <a:pt x="346" y="1213"/>
                  <a:pt x="348" y="1219"/>
                </a:cubicBezTo>
                <a:cubicBezTo>
                  <a:pt x="349" y="1224"/>
                  <a:pt x="345" y="1229"/>
                  <a:pt x="340" y="1231"/>
                </a:cubicBezTo>
                <a:cubicBezTo>
                  <a:pt x="324" y="1234"/>
                  <a:pt x="308" y="1237"/>
                  <a:pt x="293" y="1239"/>
                </a:cubicBezTo>
                <a:cubicBezTo>
                  <a:pt x="292" y="1239"/>
                  <a:pt x="292" y="1239"/>
                  <a:pt x="291" y="1239"/>
                </a:cubicBezTo>
                <a:close/>
                <a:moveTo>
                  <a:pt x="56" y="1227"/>
                </a:moveTo>
                <a:cubicBezTo>
                  <a:pt x="56" y="1227"/>
                  <a:pt x="55" y="1227"/>
                  <a:pt x="54" y="1227"/>
                </a:cubicBezTo>
                <a:cubicBezTo>
                  <a:pt x="39" y="1223"/>
                  <a:pt x="23" y="1219"/>
                  <a:pt x="8" y="1214"/>
                </a:cubicBezTo>
                <a:cubicBezTo>
                  <a:pt x="3" y="1212"/>
                  <a:pt x="0" y="1206"/>
                  <a:pt x="2" y="1201"/>
                </a:cubicBezTo>
                <a:cubicBezTo>
                  <a:pt x="3" y="1196"/>
                  <a:pt x="9" y="1193"/>
                  <a:pt x="14" y="1195"/>
                </a:cubicBezTo>
                <a:cubicBezTo>
                  <a:pt x="29" y="1199"/>
                  <a:pt x="44" y="1204"/>
                  <a:pt x="59" y="1208"/>
                </a:cubicBezTo>
                <a:cubicBezTo>
                  <a:pt x="64" y="1209"/>
                  <a:pt x="67" y="1214"/>
                  <a:pt x="66" y="1220"/>
                </a:cubicBezTo>
                <a:cubicBezTo>
                  <a:pt x="65" y="1224"/>
                  <a:pt x="61" y="1227"/>
                  <a:pt x="56" y="1227"/>
                </a:cubicBezTo>
                <a:close/>
                <a:moveTo>
                  <a:pt x="384" y="1219"/>
                </a:moveTo>
                <a:cubicBezTo>
                  <a:pt x="379" y="1219"/>
                  <a:pt x="375" y="1216"/>
                  <a:pt x="374" y="1212"/>
                </a:cubicBezTo>
                <a:cubicBezTo>
                  <a:pt x="372" y="1207"/>
                  <a:pt x="375" y="1201"/>
                  <a:pt x="381" y="1199"/>
                </a:cubicBezTo>
                <a:cubicBezTo>
                  <a:pt x="395" y="1195"/>
                  <a:pt x="410" y="1190"/>
                  <a:pt x="425" y="1184"/>
                </a:cubicBezTo>
                <a:cubicBezTo>
                  <a:pt x="430" y="1182"/>
                  <a:pt x="436" y="1185"/>
                  <a:pt x="438" y="1190"/>
                </a:cubicBezTo>
                <a:cubicBezTo>
                  <a:pt x="440" y="1195"/>
                  <a:pt x="437" y="1201"/>
                  <a:pt x="432" y="1203"/>
                </a:cubicBezTo>
                <a:cubicBezTo>
                  <a:pt x="417" y="1209"/>
                  <a:pt x="402" y="1214"/>
                  <a:pt x="386" y="1218"/>
                </a:cubicBezTo>
                <a:cubicBezTo>
                  <a:pt x="385" y="1219"/>
                  <a:pt x="384" y="1219"/>
                  <a:pt x="384" y="1219"/>
                </a:cubicBezTo>
                <a:close/>
                <a:moveTo>
                  <a:pt x="472" y="1184"/>
                </a:moveTo>
                <a:cubicBezTo>
                  <a:pt x="468" y="1184"/>
                  <a:pt x="464" y="1182"/>
                  <a:pt x="463" y="1179"/>
                </a:cubicBezTo>
                <a:cubicBezTo>
                  <a:pt x="460" y="1174"/>
                  <a:pt x="462" y="1168"/>
                  <a:pt x="467" y="1165"/>
                </a:cubicBezTo>
                <a:cubicBezTo>
                  <a:pt x="481" y="1159"/>
                  <a:pt x="495" y="1151"/>
                  <a:pt x="508" y="1144"/>
                </a:cubicBezTo>
                <a:cubicBezTo>
                  <a:pt x="513" y="1141"/>
                  <a:pt x="519" y="1142"/>
                  <a:pt x="522" y="1147"/>
                </a:cubicBezTo>
                <a:cubicBezTo>
                  <a:pt x="525" y="1152"/>
                  <a:pt x="523" y="1158"/>
                  <a:pt x="518" y="1161"/>
                </a:cubicBezTo>
                <a:cubicBezTo>
                  <a:pt x="505" y="1169"/>
                  <a:pt x="490" y="1176"/>
                  <a:pt x="476" y="1183"/>
                </a:cubicBezTo>
                <a:cubicBezTo>
                  <a:pt x="475" y="1184"/>
                  <a:pt x="473" y="1184"/>
                  <a:pt x="472" y="1184"/>
                </a:cubicBezTo>
                <a:close/>
                <a:moveTo>
                  <a:pt x="553" y="1137"/>
                </a:moveTo>
                <a:cubicBezTo>
                  <a:pt x="550" y="1137"/>
                  <a:pt x="547" y="1135"/>
                  <a:pt x="545" y="1132"/>
                </a:cubicBezTo>
                <a:cubicBezTo>
                  <a:pt x="542" y="1128"/>
                  <a:pt x="543" y="1122"/>
                  <a:pt x="548" y="1119"/>
                </a:cubicBezTo>
                <a:cubicBezTo>
                  <a:pt x="560" y="1110"/>
                  <a:pt x="573" y="1100"/>
                  <a:pt x="585" y="1091"/>
                </a:cubicBezTo>
                <a:cubicBezTo>
                  <a:pt x="589" y="1087"/>
                  <a:pt x="595" y="1088"/>
                  <a:pt x="599" y="1092"/>
                </a:cubicBezTo>
                <a:cubicBezTo>
                  <a:pt x="602" y="1096"/>
                  <a:pt x="602" y="1103"/>
                  <a:pt x="597" y="1106"/>
                </a:cubicBezTo>
                <a:cubicBezTo>
                  <a:pt x="585" y="1116"/>
                  <a:pt x="572" y="1126"/>
                  <a:pt x="559" y="1135"/>
                </a:cubicBezTo>
                <a:cubicBezTo>
                  <a:pt x="557" y="1136"/>
                  <a:pt x="555" y="1137"/>
                  <a:pt x="553" y="1137"/>
                </a:cubicBezTo>
                <a:close/>
                <a:moveTo>
                  <a:pt x="627" y="1077"/>
                </a:moveTo>
                <a:cubicBezTo>
                  <a:pt x="624" y="1077"/>
                  <a:pt x="621" y="1076"/>
                  <a:pt x="619" y="1074"/>
                </a:cubicBezTo>
                <a:cubicBezTo>
                  <a:pt x="616" y="1070"/>
                  <a:pt x="616" y="1064"/>
                  <a:pt x="620" y="1060"/>
                </a:cubicBezTo>
                <a:cubicBezTo>
                  <a:pt x="631" y="1049"/>
                  <a:pt x="642" y="1038"/>
                  <a:pt x="652" y="1026"/>
                </a:cubicBezTo>
                <a:cubicBezTo>
                  <a:pt x="656" y="1022"/>
                  <a:pt x="662" y="1022"/>
                  <a:pt x="666" y="1026"/>
                </a:cubicBezTo>
                <a:cubicBezTo>
                  <a:pt x="670" y="1029"/>
                  <a:pt x="671" y="1036"/>
                  <a:pt x="667" y="1040"/>
                </a:cubicBezTo>
                <a:cubicBezTo>
                  <a:pt x="656" y="1052"/>
                  <a:pt x="645" y="1063"/>
                  <a:pt x="633" y="1074"/>
                </a:cubicBezTo>
                <a:cubicBezTo>
                  <a:pt x="632" y="1076"/>
                  <a:pt x="629" y="1077"/>
                  <a:pt x="627" y="1077"/>
                </a:cubicBezTo>
                <a:close/>
                <a:moveTo>
                  <a:pt x="690" y="1007"/>
                </a:moveTo>
                <a:cubicBezTo>
                  <a:pt x="688" y="1007"/>
                  <a:pt x="686" y="1006"/>
                  <a:pt x="684" y="1005"/>
                </a:cubicBezTo>
                <a:cubicBezTo>
                  <a:pt x="679" y="1001"/>
                  <a:pt x="679" y="995"/>
                  <a:pt x="682" y="991"/>
                </a:cubicBezTo>
                <a:cubicBezTo>
                  <a:pt x="691" y="979"/>
                  <a:pt x="701" y="966"/>
                  <a:pt x="709" y="953"/>
                </a:cubicBezTo>
                <a:cubicBezTo>
                  <a:pt x="712" y="948"/>
                  <a:pt x="718" y="947"/>
                  <a:pt x="723" y="950"/>
                </a:cubicBezTo>
                <a:cubicBezTo>
                  <a:pt x="727" y="953"/>
                  <a:pt x="729" y="959"/>
                  <a:pt x="726" y="964"/>
                </a:cubicBezTo>
                <a:cubicBezTo>
                  <a:pt x="717" y="977"/>
                  <a:pt x="708" y="990"/>
                  <a:pt x="698" y="1003"/>
                </a:cubicBezTo>
                <a:cubicBezTo>
                  <a:pt x="696" y="1006"/>
                  <a:pt x="693" y="1007"/>
                  <a:pt x="690" y="1007"/>
                </a:cubicBezTo>
                <a:close/>
                <a:moveTo>
                  <a:pt x="742" y="928"/>
                </a:moveTo>
                <a:cubicBezTo>
                  <a:pt x="740" y="928"/>
                  <a:pt x="738" y="928"/>
                  <a:pt x="737" y="927"/>
                </a:cubicBezTo>
                <a:cubicBezTo>
                  <a:pt x="732" y="924"/>
                  <a:pt x="730" y="918"/>
                  <a:pt x="733" y="913"/>
                </a:cubicBezTo>
                <a:cubicBezTo>
                  <a:pt x="740" y="900"/>
                  <a:pt x="747" y="886"/>
                  <a:pt x="754" y="872"/>
                </a:cubicBezTo>
                <a:cubicBezTo>
                  <a:pt x="756" y="866"/>
                  <a:pt x="762" y="864"/>
                  <a:pt x="767" y="867"/>
                </a:cubicBezTo>
                <a:cubicBezTo>
                  <a:pt x="772" y="869"/>
                  <a:pt x="774" y="875"/>
                  <a:pt x="772" y="880"/>
                </a:cubicBezTo>
                <a:cubicBezTo>
                  <a:pt x="765" y="894"/>
                  <a:pt x="758" y="909"/>
                  <a:pt x="751" y="923"/>
                </a:cubicBezTo>
                <a:cubicBezTo>
                  <a:pt x="749" y="926"/>
                  <a:pt x="745" y="928"/>
                  <a:pt x="742" y="928"/>
                </a:cubicBezTo>
                <a:close/>
                <a:moveTo>
                  <a:pt x="781" y="842"/>
                </a:moveTo>
                <a:cubicBezTo>
                  <a:pt x="780" y="842"/>
                  <a:pt x="778" y="842"/>
                  <a:pt x="777" y="841"/>
                </a:cubicBezTo>
                <a:cubicBezTo>
                  <a:pt x="772" y="839"/>
                  <a:pt x="769" y="834"/>
                  <a:pt x="771" y="828"/>
                </a:cubicBezTo>
                <a:cubicBezTo>
                  <a:pt x="777" y="814"/>
                  <a:pt x="781" y="799"/>
                  <a:pt x="786" y="784"/>
                </a:cubicBezTo>
                <a:cubicBezTo>
                  <a:pt x="787" y="779"/>
                  <a:pt x="793" y="776"/>
                  <a:pt x="798" y="777"/>
                </a:cubicBezTo>
                <a:cubicBezTo>
                  <a:pt x="803" y="779"/>
                  <a:pt x="806" y="784"/>
                  <a:pt x="805" y="790"/>
                </a:cubicBezTo>
                <a:cubicBezTo>
                  <a:pt x="801" y="805"/>
                  <a:pt x="796" y="820"/>
                  <a:pt x="790" y="835"/>
                </a:cubicBezTo>
                <a:cubicBezTo>
                  <a:pt x="789" y="839"/>
                  <a:pt x="785" y="842"/>
                  <a:pt x="781" y="842"/>
                </a:cubicBezTo>
                <a:close/>
                <a:moveTo>
                  <a:pt x="806" y="751"/>
                </a:moveTo>
                <a:cubicBezTo>
                  <a:pt x="805" y="751"/>
                  <a:pt x="805" y="751"/>
                  <a:pt x="804" y="751"/>
                </a:cubicBezTo>
                <a:cubicBezTo>
                  <a:pt x="799" y="750"/>
                  <a:pt x="795" y="744"/>
                  <a:pt x="796" y="739"/>
                </a:cubicBezTo>
                <a:cubicBezTo>
                  <a:pt x="799" y="724"/>
                  <a:pt x="802" y="708"/>
                  <a:pt x="803" y="693"/>
                </a:cubicBezTo>
                <a:cubicBezTo>
                  <a:pt x="804" y="687"/>
                  <a:pt x="809" y="684"/>
                  <a:pt x="814" y="684"/>
                </a:cubicBezTo>
                <a:cubicBezTo>
                  <a:pt x="820" y="685"/>
                  <a:pt x="824" y="690"/>
                  <a:pt x="823" y="695"/>
                </a:cubicBezTo>
                <a:cubicBezTo>
                  <a:pt x="821" y="711"/>
                  <a:pt x="819" y="727"/>
                  <a:pt x="816" y="743"/>
                </a:cubicBezTo>
                <a:cubicBezTo>
                  <a:pt x="815" y="748"/>
                  <a:pt x="811" y="751"/>
                  <a:pt x="806" y="751"/>
                </a:cubicBezTo>
                <a:close/>
                <a:moveTo>
                  <a:pt x="817" y="657"/>
                </a:moveTo>
                <a:cubicBezTo>
                  <a:pt x="817" y="657"/>
                  <a:pt x="817" y="657"/>
                  <a:pt x="817" y="657"/>
                </a:cubicBezTo>
                <a:cubicBezTo>
                  <a:pt x="811" y="657"/>
                  <a:pt x="807" y="652"/>
                  <a:pt x="807" y="647"/>
                </a:cubicBezTo>
                <a:cubicBezTo>
                  <a:pt x="807" y="639"/>
                  <a:pt x="807" y="631"/>
                  <a:pt x="807" y="623"/>
                </a:cubicBezTo>
                <a:cubicBezTo>
                  <a:pt x="807" y="615"/>
                  <a:pt x="807" y="608"/>
                  <a:pt x="807" y="600"/>
                </a:cubicBezTo>
                <a:cubicBezTo>
                  <a:pt x="807" y="594"/>
                  <a:pt x="811" y="590"/>
                  <a:pt x="817" y="590"/>
                </a:cubicBezTo>
                <a:cubicBezTo>
                  <a:pt x="822" y="590"/>
                  <a:pt x="827" y="594"/>
                  <a:pt x="827" y="599"/>
                </a:cubicBezTo>
                <a:cubicBezTo>
                  <a:pt x="827" y="607"/>
                  <a:pt x="827" y="615"/>
                  <a:pt x="827" y="623"/>
                </a:cubicBezTo>
                <a:cubicBezTo>
                  <a:pt x="827" y="631"/>
                  <a:pt x="827" y="639"/>
                  <a:pt x="827" y="647"/>
                </a:cubicBezTo>
                <a:cubicBezTo>
                  <a:pt x="827" y="653"/>
                  <a:pt x="822" y="657"/>
                  <a:pt x="817" y="657"/>
                </a:cubicBezTo>
                <a:close/>
                <a:moveTo>
                  <a:pt x="813" y="562"/>
                </a:moveTo>
                <a:cubicBezTo>
                  <a:pt x="808" y="562"/>
                  <a:pt x="804" y="559"/>
                  <a:pt x="803" y="554"/>
                </a:cubicBezTo>
                <a:cubicBezTo>
                  <a:pt x="802" y="538"/>
                  <a:pt x="799" y="523"/>
                  <a:pt x="796" y="508"/>
                </a:cubicBezTo>
                <a:cubicBezTo>
                  <a:pt x="795" y="502"/>
                  <a:pt x="799" y="497"/>
                  <a:pt x="804" y="496"/>
                </a:cubicBezTo>
                <a:cubicBezTo>
                  <a:pt x="810" y="495"/>
                  <a:pt x="815" y="498"/>
                  <a:pt x="816" y="504"/>
                </a:cubicBezTo>
                <a:cubicBezTo>
                  <a:pt x="819" y="519"/>
                  <a:pt x="821" y="535"/>
                  <a:pt x="823" y="551"/>
                </a:cubicBezTo>
                <a:cubicBezTo>
                  <a:pt x="824" y="557"/>
                  <a:pt x="820" y="562"/>
                  <a:pt x="814" y="562"/>
                </a:cubicBezTo>
                <a:cubicBezTo>
                  <a:pt x="814" y="562"/>
                  <a:pt x="814" y="562"/>
                  <a:pt x="813" y="562"/>
                </a:cubicBezTo>
                <a:close/>
                <a:moveTo>
                  <a:pt x="795" y="470"/>
                </a:moveTo>
                <a:cubicBezTo>
                  <a:pt x="791" y="470"/>
                  <a:pt x="787" y="467"/>
                  <a:pt x="786" y="462"/>
                </a:cubicBezTo>
                <a:cubicBezTo>
                  <a:pt x="782" y="447"/>
                  <a:pt x="777" y="433"/>
                  <a:pt x="772" y="418"/>
                </a:cubicBezTo>
                <a:cubicBezTo>
                  <a:pt x="770" y="413"/>
                  <a:pt x="772" y="407"/>
                  <a:pt x="778" y="405"/>
                </a:cubicBezTo>
                <a:cubicBezTo>
                  <a:pt x="783" y="403"/>
                  <a:pt x="789" y="406"/>
                  <a:pt x="790" y="411"/>
                </a:cubicBezTo>
                <a:cubicBezTo>
                  <a:pt x="796" y="426"/>
                  <a:pt x="801" y="442"/>
                  <a:pt x="805" y="457"/>
                </a:cubicBezTo>
                <a:cubicBezTo>
                  <a:pt x="806" y="462"/>
                  <a:pt x="803" y="468"/>
                  <a:pt x="798" y="469"/>
                </a:cubicBezTo>
                <a:cubicBezTo>
                  <a:pt x="797" y="470"/>
                  <a:pt x="796" y="470"/>
                  <a:pt x="795" y="470"/>
                </a:cubicBezTo>
                <a:close/>
                <a:moveTo>
                  <a:pt x="763" y="381"/>
                </a:moveTo>
                <a:cubicBezTo>
                  <a:pt x="759" y="381"/>
                  <a:pt x="756" y="379"/>
                  <a:pt x="754" y="375"/>
                </a:cubicBezTo>
                <a:cubicBezTo>
                  <a:pt x="748" y="361"/>
                  <a:pt x="741" y="347"/>
                  <a:pt x="733" y="333"/>
                </a:cubicBezTo>
                <a:cubicBezTo>
                  <a:pt x="731" y="328"/>
                  <a:pt x="732" y="322"/>
                  <a:pt x="737" y="320"/>
                </a:cubicBezTo>
                <a:cubicBezTo>
                  <a:pt x="742" y="317"/>
                  <a:pt x="748" y="319"/>
                  <a:pt x="751" y="324"/>
                </a:cubicBezTo>
                <a:cubicBezTo>
                  <a:pt x="759" y="338"/>
                  <a:pt x="766" y="352"/>
                  <a:pt x="772" y="367"/>
                </a:cubicBezTo>
                <a:cubicBezTo>
                  <a:pt x="775" y="372"/>
                  <a:pt x="772" y="378"/>
                  <a:pt x="767" y="380"/>
                </a:cubicBezTo>
                <a:cubicBezTo>
                  <a:pt x="766" y="381"/>
                  <a:pt x="765" y="381"/>
                  <a:pt x="763" y="381"/>
                </a:cubicBezTo>
                <a:close/>
                <a:moveTo>
                  <a:pt x="718" y="298"/>
                </a:moveTo>
                <a:cubicBezTo>
                  <a:pt x="714" y="298"/>
                  <a:pt x="711" y="296"/>
                  <a:pt x="709" y="293"/>
                </a:cubicBezTo>
                <a:cubicBezTo>
                  <a:pt x="701" y="280"/>
                  <a:pt x="692" y="268"/>
                  <a:pt x="682" y="255"/>
                </a:cubicBezTo>
                <a:cubicBezTo>
                  <a:pt x="679" y="251"/>
                  <a:pt x="680" y="245"/>
                  <a:pt x="684" y="241"/>
                </a:cubicBezTo>
                <a:cubicBezTo>
                  <a:pt x="689" y="238"/>
                  <a:pt x="695" y="239"/>
                  <a:pt x="698" y="243"/>
                </a:cubicBezTo>
                <a:cubicBezTo>
                  <a:pt x="708" y="256"/>
                  <a:pt x="717" y="269"/>
                  <a:pt x="726" y="282"/>
                </a:cubicBezTo>
                <a:cubicBezTo>
                  <a:pt x="729" y="287"/>
                  <a:pt x="728" y="293"/>
                  <a:pt x="723" y="296"/>
                </a:cubicBezTo>
                <a:cubicBezTo>
                  <a:pt x="722" y="297"/>
                  <a:pt x="720" y="298"/>
                  <a:pt x="718" y="298"/>
                </a:cubicBezTo>
                <a:close/>
                <a:moveTo>
                  <a:pt x="660" y="223"/>
                </a:moveTo>
                <a:cubicBezTo>
                  <a:pt x="657" y="223"/>
                  <a:pt x="655" y="222"/>
                  <a:pt x="653" y="220"/>
                </a:cubicBezTo>
                <a:cubicBezTo>
                  <a:pt x="642" y="208"/>
                  <a:pt x="631" y="197"/>
                  <a:pt x="620" y="186"/>
                </a:cubicBezTo>
                <a:cubicBezTo>
                  <a:pt x="616" y="183"/>
                  <a:pt x="616" y="176"/>
                  <a:pt x="620" y="172"/>
                </a:cubicBezTo>
                <a:cubicBezTo>
                  <a:pt x="624" y="168"/>
                  <a:pt x="630" y="168"/>
                  <a:pt x="634" y="172"/>
                </a:cubicBezTo>
                <a:cubicBezTo>
                  <a:pt x="645" y="183"/>
                  <a:pt x="657" y="194"/>
                  <a:pt x="667" y="206"/>
                </a:cubicBezTo>
                <a:cubicBezTo>
                  <a:pt x="671" y="210"/>
                  <a:pt x="671" y="217"/>
                  <a:pt x="667" y="220"/>
                </a:cubicBezTo>
                <a:cubicBezTo>
                  <a:pt x="665" y="222"/>
                  <a:pt x="662" y="223"/>
                  <a:pt x="660" y="223"/>
                </a:cubicBezTo>
                <a:close/>
                <a:moveTo>
                  <a:pt x="592" y="158"/>
                </a:moveTo>
                <a:cubicBezTo>
                  <a:pt x="589" y="158"/>
                  <a:pt x="587" y="157"/>
                  <a:pt x="585" y="156"/>
                </a:cubicBezTo>
                <a:cubicBezTo>
                  <a:pt x="573" y="146"/>
                  <a:pt x="561" y="136"/>
                  <a:pt x="548" y="128"/>
                </a:cubicBezTo>
                <a:cubicBezTo>
                  <a:pt x="544" y="124"/>
                  <a:pt x="542" y="118"/>
                  <a:pt x="546" y="114"/>
                </a:cubicBezTo>
                <a:cubicBezTo>
                  <a:pt x="549" y="109"/>
                  <a:pt x="555" y="108"/>
                  <a:pt x="559" y="111"/>
                </a:cubicBezTo>
                <a:cubicBezTo>
                  <a:pt x="573" y="120"/>
                  <a:pt x="585" y="130"/>
                  <a:pt x="598" y="140"/>
                </a:cubicBezTo>
                <a:cubicBezTo>
                  <a:pt x="602" y="144"/>
                  <a:pt x="603" y="150"/>
                  <a:pt x="599" y="154"/>
                </a:cubicBezTo>
                <a:cubicBezTo>
                  <a:pt x="597" y="157"/>
                  <a:pt x="594" y="158"/>
                  <a:pt x="592" y="158"/>
                </a:cubicBezTo>
                <a:close/>
                <a:moveTo>
                  <a:pt x="514" y="104"/>
                </a:moveTo>
                <a:cubicBezTo>
                  <a:pt x="512" y="104"/>
                  <a:pt x="510" y="104"/>
                  <a:pt x="509" y="103"/>
                </a:cubicBezTo>
                <a:cubicBezTo>
                  <a:pt x="496" y="95"/>
                  <a:pt x="482" y="87"/>
                  <a:pt x="468" y="81"/>
                </a:cubicBezTo>
                <a:cubicBezTo>
                  <a:pt x="463" y="78"/>
                  <a:pt x="461" y="72"/>
                  <a:pt x="463" y="67"/>
                </a:cubicBezTo>
                <a:cubicBezTo>
                  <a:pt x="466" y="62"/>
                  <a:pt x="472" y="60"/>
                  <a:pt x="477" y="63"/>
                </a:cubicBezTo>
                <a:cubicBezTo>
                  <a:pt x="491" y="70"/>
                  <a:pt x="505" y="77"/>
                  <a:pt x="519" y="85"/>
                </a:cubicBezTo>
                <a:cubicBezTo>
                  <a:pt x="524" y="88"/>
                  <a:pt x="525" y="94"/>
                  <a:pt x="523" y="99"/>
                </a:cubicBezTo>
                <a:cubicBezTo>
                  <a:pt x="521" y="102"/>
                  <a:pt x="517" y="104"/>
                  <a:pt x="514" y="104"/>
                </a:cubicBezTo>
                <a:close/>
                <a:moveTo>
                  <a:pt x="429" y="63"/>
                </a:moveTo>
                <a:cubicBezTo>
                  <a:pt x="428" y="63"/>
                  <a:pt x="426" y="62"/>
                  <a:pt x="425" y="62"/>
                </a:cubicBezTo>
                <a:cubicBezTo>
                  <a:pt x="411" y="56"/>
                  <a:pt x="396" y="51"/>
                  <a:pt x="381" y="47"/>
                </a:cubicBezTo>
                <a:cubicBezTo>
                  <a:pt x="376" y="45"/>
                  <a:pt x="373" y="39"/>
                  <a:pt x="375" y="34"/>
                </a:cubicBezTo>
                <a:cubicBezTo>
                  <a:pt x="376" y="29"/>
                  <a:pt x="382" y="26"/>
                  <a:pt x="387" y="28"/>
                </a:cubicBezTo>
                <a:cubicBezTo>
                  <a:pt x="402" y="32"/>
                  <a:pt x="418" y="38"/>
                  <a:pt x="433" y="43"/>
                </a:cubicBezTo>
                <a:cubicBezTo>
                  <a:pt x="438" y="45"/>
                  <a:pt x="440" y="51"/>
                  <a:pt x="438" y="56"/>
                </a:cubicBezTo>
                <a:cubicBezTo>
                  <a:pt x="437" y="60"/>
                  <a:pt x="433" y="63"/>
                  <a:pt x="429" y="63"/>
                </a:cubicBezTo>
                <a:close/>
                <a:moveTo>
                  <a:pt x="12" y="51"/>
                </a:moveTo>
                <a:cubicBezTo>
                  <a:pt x="8" y="51"/>
                  <a:pt x="4" y="49"/>
                  <a:pt x="2" y="45"/>
                </a:cubicBezTo>
                <a:cubicBezTo>
                  <a:pt x="1" y="39"/>
                  <a:pt x="3" y="34"/>
                  <a:pt x="9" y="32"/>
                </a:cubicBezTo>
                <a:cubicBezTo>
                  <a:pt x="24" y="27"/>
                  <a:pt x="39" y="22"/>
                  <a:pt x="55" y="19"/>
                </a:cubicBezTo>
                <a:cubicBezTo>
                  <a:pt x="60" y="17"/>
                  <a:pt x="66" y="21"/>
                  <a:pt x="67" y="26"/>
                </a:cubicBezTo>
                <a:cubicBezTo>
                  <a:pt x="68" y="31"/>
                  <a:pt x="65" y="37"/>
                  <a:pt x="60" y="38"/>
                </a:cubicBezTo>
                <a:cubicBezTo>
                  <a:pt x="45" y="42"/>
                  <a:pt x="30" y="46"/>
                  <a:pt x="15" y="51"/>
                </a:cubicBezTo>
                <a:cubicBezTo>
                  <a:pt x="14" y="51"/>
                  <a:pt x="13" y="51"/>
                  <a:pt x="12" y="51"/>
                </a:cubicBezTo>
                <a:close/>
                <a:moveTo>
                  <a:pt x="339" y="35"/>
                </a:moveTo>
                <a:cubicBezTo>
                  <a:pt x="338" y="35"/>
                  <a:pt x="337" y="35"/>
                  <a:pt x="336" y="35"/>
                </a:cubicBezTo>
                <a:cubicBezTo>
                  <a:pt x="321" y="31"/>
                  <a:pt x="306" y="29"/>
                  <a:pt x="291" y="26"/>
                </a:cubicBezTo>
                <a:cubicBezTo>
                  <a:pt x="285" y="26"/>
                  <a:pt x="281" y="21"/>
                  <a:pt x="282" y="15"/>
                </a:cubicBezTo>
                <a:cubicBezTo>
                  <a:pt x="283" y="10"/>
                  <a:pt x="288" y="6"/>
                  <a:pt x="293" y="7"/>
                </a:cubicBezTo>
                <a:cubicBezTo>
                  <a:pt x="309" y="9"/>
                  <a:pt x="325" y="12"/>
                  <a:pt x="341" y="15"/>
                </a:cubicBezTo>
                <a:cubicBezTo>
                  <a:pt x="346" y="16"/>
                  <a:pt x="350" y="22"/>
                  <a:pt x="348" y="27"/>
                </a:cubicBezTo>
                <a:cubicBezTo>
                  <a:pt x="347" y="32"/>
                  <a:pt x="343" y="35"/>
                  <a:pt x="339" y="35"/>
                </a:cubicBezTo>
                <a:close/>
                <a:moveTo>
                  <a:pt x="104" y="29"/>
                </a:moveTo>
                <a:cubicBezTo>
                  <a:pt x="99" y="29"/>
                  <a:pt x="94" y="25"/>
                  <a:pt x="94" y="20"/>
                </a:cubicBezTo>
                <a:cubicBezTo>
                  <a:pt x="93" y="15"/>
                  <a:pt x="96" y="10"/>
                  <a:pt x="102" y="9"/>
                </a:cubicBezTo>
                <a:cubicBezTo>
                  <a:pt x="118" y="6"/>
                  <a:pt x="134" y="4"/>
                  <a:pt x="150" y="3"/>
                </a:cubicBezTo>
                <a:cubicBezTo>
                  <a:pt x="155" y="2"/>
                  <a:pt x="160" y="6"/>
                  <a:pt x="160" y="12"/>
                </a:cubicBezTo>
                <a:cubicBezTo>
                  <a:pt x="161" y="17"/>
                  <a:pt x="157" y="22"/>
                  <a:pt x="151" y="23"/>
                </a:cubicBezTo>
                <a:cubicBezTo>
                  <a:pt x="136" y="24"/>
                  <a:pt x="120" y="26"/>
                  <a:pt x="105" y="29"/>
                </a:cubicBezTo>
                <a:cubicBezTo>
                  <a:pt x="105" y="29"/>
                  <a:pt x="104" y="29"/>
                  <a:pt x="104" y="29"/>
                </a:cubicBezTo>
                <a:close/>
                <a:moveTo>
                  <a:pt x="245" y="22"/>
                </a:moveTo>
                <a:cubicBezTo>
                  <a:pt x="245" y="22"/>
                  <a:pt x="245" y="22"/>
                  <a:pt x="244" y="22"/>
                </a:cubicBezTo>
                <a:cubicBezTo>
                  <a:pt x="229" y="21"/>
                  <a:pt x="213" y="20"/>
                  <a:pt x="198" y="20"/>
                </a:cubicBezTo>
                <a:cubicBezTo>
                  <a:pt x="198" y="20"/>
                  <a:pt x="198" y="20"/>
                  <a:pt x="198" y="20"/>
                </a:cubicBezTo>
                <a:cubicBezTo>
                  <a:pt x="192" y="20"/>
                  <a:pt x="188" y="16"/>
                  <a:pt x="188" y="11"/>
                </a:cubicBezTo>
                <a:cubicBezTo>
                  <a:pt x="188" y="5"/>
                  <a:pt x="192" y="0"/>
                  <a:pt x="198" y="0"/>
                </a:cubicBezTo>
                <a:cubicBezTo>
                  <a:pt x="214" y="0"/>
                  <a:pt x="230" y="1"/>
                  <a:pt x="246" y="2"/>
                </a:cubicBezTo>
                <a:cubicBezTo>
                  <a:pt x="251" y="2"/>
                  <a:pt x="255" y="7"/>
                  <a:pt x="255" y="12"/>
                </a:cubicBezTo>
                <a:cubicBezTo>
                  <a:pt x="255" y="18"/>
                  <a:pt x="250" y="22"/>
                  <a:pt x="245" y="22"/>
                </a:cubicBezTo>
                <a:close/>
              </a:path>
            </a:pathLst>
          </a:custGeom>
          <a:solidFill>
            <a:srgbClr val="C0DC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grpSp>
        <p:nvGrpSpPr>
          <p:cNvPr id="180" name="Группа 179">
            <a:extLst>
              <a:ext uri="{FF2B5EF4-FFF2-40B4-BE49-F238E27FC236}">
                <a16:creationId xmlns:a16="http://schemas.microsoft.com/office/drawing/2014/main" id="{DAADE944-CE47-A44A-8819-0334D685B558}"/>
              </a:ext>
            </a:extLst>
          </p:cNvPr>
          <p:cNvGrpSpPr/>
          <p:nvPr/>
        </p:nvGrpSpPr>
        <p:grpSpPr>
          <a:xfrm>
            <a:off x="9428163" y="4083807"/>
            <a:ext cx="2151847" cy="1638604"/>
            <a:chOff x="9428163" y="4083807"/>
            <a:chExt cx="2151847" cy="1638604"/>
          </a:xfrm>
        </p:grpSpPr>
        <p:sp>
          <p:nvSpPr>
            <p:cNvPr id="149" name="Rectangle 21">
              <a:extLst>
                <a:ext uri="{FF2B5EF4-FFF2-40B4-BE49-F238E27FC236}">
                  <a16:creationId xmlns:a16="http://schemas.microsoft.com/office/drawing/2014/main" id="{36F4E629-27D6-DD4C-4954-61521BB5AA99}"/>
                </a:ext>
              </a:extLst>
            </p:cNvPr>
            <p:cNvSpPr/>
            <p:nvPr/>
          </p:nvSpPr>
          <p:spPr>
            <a:xfrm>
              <a:off x="9428163" y="4152751"/>
              <a:ext cx="1657944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0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0" name="Freeform 20">
              <a:extLst>
                <a:ext uri="{FF2B5EF4-FFF2-40B4-BE49-F238E27FC236}">
                  <a16:creationId xmlns:a16="http://schemas.microsoft.com/office/drawing/2014/main" id="{2480290A-41EC-D483-4B2B-DB80CB1B0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613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1" name="Freeform 21">
              <a:extLst>
                <a:ext uri="{FF2B5EF4-FFF2-40B4-BE49-F238E27FC236}">
                  <a16:creationId xmlns:a16="http://schemas.microsoft.com/office/drawing/2014/main" id="{2B300D93-F99A-70CA-8C32-460D60BC7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3" name="Freeform 23">
              <a:extLst>
                <a:ext uri="{FF2B5EF4-FFF2-40B4-BE49-F238E27FC236}">
                  <a16:creationId xmlns:a16="http://schemas.microsoft.com/office/drawing/2014/main" id="{306C8701-EF10-8814-6311-FE751CCF1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6" name="Группа 175">
            <a:extLst>
              <a:ext uri="{FF2B5EF4-FFF2-40B4-BE49-F238E27FC236}">
                <a16:creationId xmlns:a16="http://schemas.microsoft.com/office/drawing/2014/main" id="{E4D7ED61-36AC-F9C6-3445-7AC2CA08A747}"/>
              </a:ext>
            </a:extLst>
          </p:cNvPr>
          <p:cNvGrpSpPr/>
          <p:nvPr/>
        </p:nvGrpSpPr>
        <p:grpSpPr>
          <a:xfrm>
            <a:off x="224760" y="4071540"/>
            <a:ext cx="1890777" cy="1650871"/>
            <a:chOff x="224760" y="4071540"/>
            <a:chExt cx="1890777" cy="1650871"/>
          </a:xfrm>
        </p:grpSpPr>
        <p:sp>
          <p:nvSpPr>
            <p:cNvPr id="155" name="Rectangle 25">
              <a:extLst>
                <a:ext uri="{FF2B5EF4-FFF2-40B4-BE49-F238E27FC236}">
                  <a16:creationId xmlns:a16="http://schemas.microsoft.com/office/drawing/2014/main" id="{357B8EC3-E7A2-3FD0-5323-9095DE84CB4D}"/>
                </a:ext>
              </a:extLst>
            </p:cNvPr>
            <p:cNvSpPr/>
            <p:nvPr/>
          </p:nvSpPr>
          <p:spPr>
            <a:xfrm>
              <a:off x="224760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6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6" name="Freeform 24">
              <a:extLst>
                <a:ext uri="{FF2B5EF4-FFF2-40B4-BE49-F238E27FC236}">
                  <a16:creationId xmlns:a16="http://schemas.microsoft.com/office/drawing/2014/main" id="{058E620E-8F51-3B75-4F91-7C445F7A6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7" name="Freeform 26">
              <a:extLst>
                <a:ext uri="{FF2B5EF4-FFF2-40B4-BE49-F238E27FC236}">
                  <a16:creationId xmlns:a16="http://schemas.microsoft.com/office/drawing/2014/main" id="{056FA1BB-B0A6-278B-B272-957B3EB05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5503178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8" name="Freeform 27">
              <a:extLst>
                <a:ext uri="{FF2B5EF4-FFF2-40B4-BE49-F238E27FC236}">
                  <a16:creationId xmlns:a16="http://schemas.microsoft.com/office/drawing/2014/main" id="{B371D828-B986-6A13-2F8F-8C2AA9CE76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4071540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59" name="Freeform 28">
              <a:extLst>
                <a:ext uri="{FF2B5EF4-FFF2-40B4-BE49-F238E27FC236}">
                  <a16:creationId xmlns:a16="http://schemas.microsoft.com/office/drawing/2014/main" id="{46FFBFAB-5BA1-161C-28D1-DC9512515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id="{CF73DFC4-F83D-3C5D-93E6-DC53F4B396E4}"/>
              </a:ext>
            </a:extLst>
          </p:cNvPr>
          <p:cNvSpPr txBox="1"/>
          <p:nvPr/>
        </p:nvSpPr>
        <p:spPr>
          <a:xfrm>
            <a:off x="107494" y="3248119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скусствен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нтеллект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4D249C36-FF51-0447-B15B-31D335C9FD3C}"/>
              </a:ext>
            </a:extLst>
          </p:cNvPr>
          <p:cNvSpPr txBox="1"/>
          <p:nvPr/>
        </p:nvSpPr>
        <p:spPr>
          <a:xfrm>
            <a:off x="2766315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иксель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29C65B57-3AA0-D6FE-C94C-E370A4EDD7B9}"/>
              </a:ext>
            </a:extLst>
          </p:cNvPr>
          <p:cNvSpPr txBox="1"/>
          <p:nvPr/>
        </p:nvSpPr>
        <p:spPr>
          <a:xfrm>
            <a:off x="495374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Яркие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цвета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395AFBD5-9B99-F345-FDFD-93A5D5B71B8B}"/>
              </a:ext>
            </a:extLst>
          </p:cNvPr>
          <p:cNvSpPr txBox="1"/>
          <p:nvPr/>
        </p:nvSpPr>
        <p:spPr>
          <a:xfrm>
            <a:off x="743329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Ретр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иль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5313716C-B7B8-C6FF-ACED-F428CB2ACDAA}"/>
              </a:ext>
            </a:extLst>
          </p:cNvPr>
          <p:cNvSpPr txBox="1"/>
          <p:nvPr/>
        </p:nvSpPr>
        <p:spPr>
          <a:xfrm>
            <a:off x="9798659" y="3248119"/>
            <a:ext cx="2284517" cy="352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Минимализм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8570A41B-47BE-1ADC-53D4-B5C4C87BF32A}"/>
              </a:ext>
            </a:extLst>
          </p:cNvPr>
          <p:cNvSpPr txBox="1"/>
          <p:nvPr/>
        </p:nvSpPr>
        <p:spPr>
          <a:xfrm>
            <a:off x="107494" y="5684038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ерегружен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композиция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900F5795-34FF-8E0C-5755-2A87841E1FE5}"/>
              </a:ext>
            </a:extLst>
          </p:cNvPr>
          <p:cNvSpPr txBox="1"/>
          <p:nvPr/>
        </p:nvSpPr>
        <p:spPr>
          <a:xfrm>
            <a:off x="2766315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Нестандарт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ипографика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6DD45F9-5584-5D17-58D5-4194B430A37C}"/>
              </a:ext>
            </a:extLst>
          </p:cNvPr>
          <p:cNvSpPr txBox="1"/>
          <p:nvPr/>
        </p:nvSpPr>
        <p:spPr>
          <a:xfrm>
            <a:off x="495374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Черн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белый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90A2FE5A-C11E-3349-F29A-A3A4CDFD8145}"/>
              </a:ext>
            </a:extLst>
          </p:cNvPr>
          <p:cNvSpPr txBox="1"/>
          <p:nvPr/>
        </p:nvSpPr>
        <p:spPr>
          <a:xfrm>
            <a:off x="743329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екл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2ECDF986-333B-B886-9B05-C45E5BC23EDE}"/>
              </a:ext>
            </a:extLst>
          </p:cNvPr>
          <p:cNvSpPr txBox="1"/>
          <p:nvPr/>
        </p:nvSpPr>
        <p:spPr>
          <a:xfrm>
            <a:off x="9798659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екстуры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 фактуры</a:t>
            </a:r>
          </a:p>
        </p:txBody>
      </p:sp>
      <p:pic>
        <p:nvPicPr>
          <p:cNvPr id="4" name="Picture 2" descr="Искусственный интеллект Искусственный интеллект Презентация PowerPoint">
            <a:extLst>
              <a:ext uri="{FF2B5EF4-FFF2-40B4-BE49-F238E27FC236}">
                <a16:creationId xmlns:a16="http://schemas.microsoft.com/office/drawing/2014/main" id="{C1183D60-90BF-C5F5-F68F-C65CB77F2F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308973" y="3080379"/>
            <a:ext cx="4798961" cy="3199306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Искусственный интеллект Искусственный интеллект Презентация PowerPoint">
            <a:extLst>
              <a:ext uri="{FF2B5EF4-FFF2-40B4-BE49-F238E27FC236}">
                <a16:creationId xmlns:a16="http://schemas.microsoft.com/office/drawing/2014/main" id="{9A1749E1-C9EF-8165-5445-1482A101CB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184370" y="3080379"/>
            <a:ext cx="4791552" cy="3194368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8BF4F3F6-F6E9-7138-E27A-B8F69B35C2F6}"/>
              </a:ext>
            </a:extLst>
          </p:cNvPr>
          <p:cNvGrpSpPr/>
          <p:nvPr/>
        </p:nvGrpSpPr>
        <p:grpSpPr>
          <a:xfrm>
            <a:off x="15904585" y="-7287216"/>
            <a:ext cx="20763121" cy="9582907"/>
            <a:chOff x="163842" y="-347809"/>
            <a:chExt cx="20763121" cy="9582907"/>
          </a:xfrm>
        </p:grpSpPr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FDEACDF9-21E5-59C8-69A1-D4F2BF482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/>
          </p:blipFill>
          <p:spPr>
            <a:xfrm rot="21154645">
              <a:off x="163842" y="3475514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6F77B516-2830-02FF-14F7-A61C36BB1F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21154645">
              <a:off x="5329320" y="2193963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152EB20F-1B73-71CA-C112-BEB6C2905C5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 rot="21154645">
              <a:off x="571702" y="6520445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20954EDE-B0C9-B6A6-7E0A-47B2913818D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 rot="21154645">
              <a:off x="5737180" y="5238894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58508502-51C1-F1C8-65CB-DCA6AE56DCC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 rot="21154645">
              <a:off x="10465625" y="933742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D0092FC5-69FF-C4C4-A001-57F9E6A65A2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21154645">
              <a:off x="15631103" y="-347809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30D9F545-6350-5743-3BA9-235F044547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/>
            <a:stretch/>
          </p:blipFill>
          <p:spPr>
            <a:xfrm rot="21154645">
              <a:off x="10935436" y="3930880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7FF3D83D-E6B8-65EF-8208-2EAF88CAD88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21154645">
              <a:off x="16100914" y="2649329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41161892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22222E-6 L 0.06576 2.22222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996C0DAA-B2AA-70B4-5962-94469D31ECE5}"/>
              </a:ext>
            </a:extLst>
          </p:cNvPr>
          <p:cNvGrpSpPr/>
          <p:nvPr/>
        </p:nvGrpSpPr>
        <p:grpSpPr>
          <a:xfrm>
            <a:off x="-5948320" y="0"/>
            <a:ext cx="8840745" cy="7664824"/>
            <a:chOff x="2570693" y="1530804"/>
            <a:chExt cx="1904144" cy="1650871"/>
          </a:xfrm>
        </p:grpSpPr>
        <p:grpSp>
          <p:nvGrpSpPr>
            <p:cNvPr id="163" name="Группа 162">
              <a:extLst>
                <a:ext uri="{FF2B5EF4-FFF2-40B4-BE49-F238E27FC236}">
                  <a16:creationId xmlns:a16="http://schemas.microsoft.com/office/drawing/2014/main" id="{4B8A1FD4-56F7-CF9F-A9B0-1DC5AA30F5E5}"/>
                </a:ext>
              </a:extLst>
            </p:cNvPr>
            <p:cNvGrpSpPr/>
            <p:nvPr/>
          </p:nvGrpSpPr>
          <p:grpSpPr>
            <a:xfrm>
              <a:off x="2570693" y="1543071"/>
              <a:ext cx="1891155" cy="1638604"/>
              <a:chOff x="2570693" y="1543071"/>
              <a:chExt cx="1891155" cy="1638604"/>
            </a:xfrm>
          </p:grpSpPr>
          <p:sp>
            <p:nvSpPr>
              <p:cNvPr id="93" name="Rectangle 24">
                <a:extLst>
                  <a:ext uri="{FF2B5EF4-FFF2-40B4-BE49-F238E27FC236}">
                    <a16:creationId xmlns:a16="http://schemas.microsoft.com/office/drawing/2014/main" id="{56E5413D-BEB3-D6DA-40AC-5C27DF8D4C54}"/>
                  </a:ext>
                </a:extLst>
              </p:cNvPr>
              <p:cNvSpPr/>
              <p:nvPr/>
            </p:nvSpPr>
            <p:spPr>
              <a:xfrm>
                <a:off x="2570693" y="1612015"/>
                <a:ext cx="1337881" cy="15696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9600" dirty="0">
                    <a:solidFill>
                      <a:srgbClr val="620CFD"/>
                    </a:solidFill>
                    <a:latin typeface="Poppins SemiBold" panose="00000700000000000000" pitchFamily="2" charset="0"/>
                    <a:ea typeface="Roboto Bold" panose="02000000000000000000" pitchFamily="2" charset="0"/>
                    <a:cs typeface="Poppins SemiBold" panose="00000700000000000000" pitchFamily="2" charset="0"/>
                  </a:rPr>
                  <a:t>2</a:t>
                </a:r>
                <a:endParaRPr lang="en-US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95" name="Freeform 5">
                <a:extLst>
                  <a:ext uri="{FF2B5EF4-FFF2-40B4-BE49-F238E27FC236}">
                    <a16:creationId xmlns:a16="http://schemas.microsoft.com/office/drawing/2014/main" id="{1217AEF5-802E-A251-3622-85C194DF9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50" y="1543071"/>
                <a:ext cx="1069398" cy="1505240"/>
              </a:xfrm>
              <a:custGeom>
                <a:avLst/>
                <a:gdLst>
                  <a:gd name="T0" fmla="*/ 260 w 872"/>
                  <a:gd name="T1" fmla="*/ 0 h 1225"/>
                  <a:gd name="T2" fmla="*/ 0 w 872"/>
                  <a:gd name="T3" fmla="*/ 58 h 1225"/>
                  <a:gd name="T4" fmla="*/ 0 w 872"/>
                  <a:gd name="T5" fmla="*/ 1168 h 1225"/>
                  <a:gd name="T6" fmla="*/ 260 w 872"/>
                  <a:gd name="T7" fmla="*/ 1225 h 1225"/>
                  <a:gd name="T8" fmla="*/ 872 w 872"/>
                  <a:gd name="T9" fmla="*/ 613 h 1225"/>
                  <a:gd name="T10" fmla="*/ 260 w 872"/>
                  <a:gd name="T11" fmla="*/ 0 h 1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2" h="1225">
                    <a:moveTo>
                      <a:pt x="260" y="0"/>
                    </a:moveTo>
                    <a:cubicBezTo>
                      <a:pt x="167" y="0"/>
                      <a:pt x="79" y="21"/>
                      <a:pt x="0" y="58"/>
                    </a:cubicBezTo>
                    <a:cubicBezTo>
                      <a:pt x="0" y="1168"/>
                      <a:pt x="0" y="1168"/>
                      <a:pt x="0" y="1168"/>
                    </a:cubicBezTo>
                    <a:cubicBezTo>
                      <a:pt x="79" y="1205"/>
                      <a:pt x="167" y="1225"/>
                      <a:pt x="260" y="1225"/>
                    </a:cubicBezTo>
                    <a:cubicBezTo>
                      <a:pt x="598" y="1225"/>
                      <a:pt x="872" y="951"/>
                      <a:pt x="872" y="613"/>
                    </a:cubicBezTo>
                    <a:cubicBezTo>
                      <a:pt x="872" y="275"/>
                      <a:pt x="598" y="0"/>
                      <a:pt x="2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76200" dist="38100" dir="10800000" algn="r" rotWithShape="0">
                  <a:prstClr val="black">
                    <a:alpha val="3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A3572630-598B-5C94-8D3E-3784DF297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id="{DAA99000-EA9A-AE50-74C7-2BA64FDCC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id="{8B3DD752-C6A4-CFD4-19C2-EB2456B2D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FEB805F-639F-7683-AF8F-8B7F7EF70D4D}"/>
              </a:ext>
            </a:extLst>
          </p:cNvPr>
          <p:cNvSpPr txBox="1"/>
          <p:nvPr/>
        </p:nvSpPr>
        <p:spPr>
          <a:xfrm>
            <a:off x="1043932" y="1195583"/>
            <a:ext cx="9667656" cy="1724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ПИКСЕЛЬНЫЙ</a:t>
            </a:r>
            <a:b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</a:br>
            <a: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39EC7B5B-5127-D7DB-C26E-8677067C53A5}"/>
              </a:ext>
            </a:extLst>
          </p:cNvPr>
          <p:cNvGrpSpPr/>
          <p:nvPr/>
        </p:nvGrpSpPr>
        <p:grpSpPr>
          <a:xfrm>
            <a:off x="163842" y="-347809"/>
            <a:ext cx="20763121" cy="9582907"/>
            <a:chOff x="163842" y="-347809"/>
            <a:chExt cx="20763121" cy="9582907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E0844A08-0D23-A7C4-32D6-EA595E1EB26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 rot="21154645">
              <a:off x="163842" y="3475514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D0091510-B7F0-50B6-1527-7B43B316D6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1154645">
              <a:off x="5329320" y="2193963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A967D842-2646-D81B-660B-5C89D045B1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/>
          </p:blipFill>
          <p:spPr>
            <a:xfrm rot="21154645">
              <a:off x="571702" y="6520445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5CC3B825-47F1-8C6B-7D54-D8F46A0EC08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 rot="21154645">
              <a:off x="5737180" y="5238894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6F0E6686-0DC6-C069-37E2-D2E3695C6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 rot="21154645">
              <a:off x="10465625" y="933742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B8D9A141-4AF0-0108-4ACF-62C5AE81A05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1154645">
              <a:off x="15631103" y="-347809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DBE9B776-74C6-8399-4B27-F39B1C320BA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 rot="21154645">
              <a:off x="10935436" y="3930880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0B2E2006-647C-1C21-221D-4E93A2AD32B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1154645">
              <a:off x="16100914" y="2649329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4894721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436268" y="451062"/>
            <a:ext cx="8590385" cy="679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36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ТРЕНДЫ В ПРЕЗЕНТАЦИЯХ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35B0E2B-7288-51E5-1236-CF55D862B48D}"/>
              </a:ext>
            </a:extLst>
          </p:cNvPr>
          <p:cNvGrpSpPr/>
          <p:nvPr/>
        </p:nvGrpSpPr>
        <p:grpSpPr>
          <a:xfrm>
            <a:off x="2570693" y="1530804"/>
            <a:ext cx="1904144" cy="1650871"/>
            <a:chOff x="2570693" y="1530804"/>
            <a:chExt cx="1904144" cy="1650871"/>
          </a:xfrm>
        </p:grpSpPr>
        <p:grpSp>
          <p:nvGrpSpPr>
            <p:cNvPr id="163" name="Группа 162">
              <a:extLst>
                <a:ext uri="{FF2B5EF4-FFF2-40B4-BE49-F238E27FC236}">
                  <a16:creationId xmlns:a16="http://schemas.microsoft.com/office/drawing/2014/main" id="{4B8A1FD4-56F7-CF9F-A9B0-1DC5AA30F5E5}"/>
                </a:ext>
              </a:extLst>
            </p:cNvPr>
            <p:cNvGrpSpPr/>
            <p:nvPr/>
          </p:nvGrpSpPr>
          <p:grpSpPr>
            <a:xfrm>
              <a:off x="2570693" y="1543071"/>
              <a:ext cx="1891155" cy="1638604"/>
              <a:chOff x="2570693" y="1543071"/>
              <a:chExt cx="1891155" cy="1638604"/>
            </a:xfrm>
          </p:grpSpPr>
          <p:sp>
            <p:nvSpPr>
              <p:cNvPr id="93" name="Rectangle 24">
                <a:extLst>
                  <a:ext uri="{FF2B5EF4-FFF2-40B4-BE49-F238E27FC236}">
                    <a16:creationId xmlns:a16="http://schemas.microsoft.com/office/drawing/2014/main" id="{56E5413D-BEB3-D6DA-40AC-5C27DF8D4C54}"/>
                  </a:ext>
                </a:extLst>
              </p:cNvPr>
              <p:cNvSpPr/>
              <p:nvPr/>
            </p:nvSpPr>
            <p:spPr>
              <a:xfrm>
                <a:off x="2570693" y="1612015"/>
                <a:ext cx="1337881" cy="15696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9600" dirty="0">
                    <a:solidFill>
                      <a:srgbClr val="620CFD"/>
                    </a:solidFill>
                    <a:latin typeface="Poppins SemiBold" panose="00000700000000000000" pitchFamily="2" charset="0"/>
                    <a:ea typeface="Roboto Bold" panose="02000000000000000000" pitchFamily="2" charset="0"/>
                    <a:cs typeface="Poppins SemiBold" panose="00000700000000000000" pitchFamily="2" charset="0"/>
                  </a:rPr>
                  <a:t>2</a:t>
                </a:r>
                <a:endParaRPr lang="en-US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95" name="Freeform 5">
                <a:extLst>
                  <a:ext uri="{FF2B5EF4-FFF2-40B4-BE49-F238E27FC236}">
                    <a16:creationId xmlns:a16="http://schemas.microsoft.com/office/drawing/2014/main" id="{1217AEF5-802E-A251-3622-85C194DF9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50" y="1543071"/>
                <a:ext cx="1069398" cy="1505240"/>
              </a:xfrm>
              <a:custGeom>
                <a:avLst/>
                <a:gdLst>
                  <a:gd name="T0" fmla="*/ 260 w 872"/>
                  <a:gd name="T1" fmla="*/ 0 h 1225"/>
                  <a:gd name="T2" fmla="*/ 0 w 872"/>
                  <a:gd name="T3" fmla="*/ 58 h 1225"/>
                  <a:gd name="T4" fmla="*/ 0 w 872"/>
                  <a:gd name="T5" fmla="*/ 1168 h 1225"/>
                  <a:gd name="T6" fmla="*/ 260 w 872"/>
                  <a:gd name="T7" fmla="*/ 1225 h 1225"/>
                  <a:gd name="T8" fmla="*/ 872 w 872"/>
                  <a:gd name="T9" fmla="*/ 613 h 1225"/>
                  <a:gd name="T10" fmla="*/ 260 w 872"/>
                  <a:gd name="T11" fmla="*/ 0 h 1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2" h="1225">
                    <a:moveTo>
                      <a:pt x="260" y="0"/>
                    </a:moveTo>
                    <a:cubicBezTo>
                      <a:pt x="167" y="0"/>
                      <a:pt x="79" y="21"/>
                      <a:pt x="0" y="58"/>
                    </a:cubicBezTo>
                    <a:cubicBezTo>
                      <a:pt x="0" y="1168"/>
                      <a:pt x="0" y="1168"/>
                      <a:pt x="0" y="1168"/>
                    </a:cubicBezTo>
                    <a:cubicBezTo>
                      <a:pt x="79" y="1205"/>
                      <a:pt x="167" y="1225"/>
                      <a:pt x="260" y="1225"/>
                    </a:cubicBezTo>
                    <a:cubicBezTo>
                      <a:pt x="598" y="1225"/>
                      <a:pt x="872" y="951"/>
                      <a:pt x="872" y="613"/>
                    </a:cubicBezTo>
                    <a:cubicBezTo>
                      <a:pt x="872" y="275"/>
                      <a:pt x="598" y="0"/>
                      <a:pt x="2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76200" dist="38100" dir="10800000" algn="r" rotWithShape="0">
                  <a:prstClr val="black">
                    <a:alpha val="3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A3572630-598B-5C94-8D3E-3784DF297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id="{DAA99000-EA9A-AE50-74C7-2BA64FDCC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id="{8B3DD752-C6A4-CFD4-19C2-EB2456B2D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3" name="Группа 172">
            <a:extLst>
              <a:ext uri="{FF2B5EF4-FFF2-40B4-BE49-F238E27FC236}">
                <a16:creationId xmlns:a16="http://schemas.microsoft.com/office/drawing/2014/main" id="{EB1D928E-4F1C-D312-593E-162A0FF3104C}"/>
              </a:ext>
            </a:extLst>
          </p:cNvPr>
          <p:cNvGrpSpPr/>
          <p:nvPr/>
        </p:nvGrpSpPr>
        <p:grpSpPr>
          <a:xfrm>
            <a:off x="4931227" y="1530804"/>
            <a:ext cx="1902534" cy="1650871"/>
            <a:chOff x="4931227" y="1530804"/>
            <a:chExt cx="1902534" cy="1650871"/>
          </a:xfrm>
        </p:grpSpPr>
        <p:sp>
          <p:nvSpPr>
            <p:cNvPr id="92" name="Rectangle 23">
              <a:extLst>
                <a:ext uri="{FF2B5EF4-FFF2-40B4-BE49-F238E27FC236}">
                  <a16:creationId xmlns:a16="http://schemas.microsoft.com/office/drawing/2014/main" id="{273617A1-2DC0-5FB9-D7E0-FF6BCB3EB5ED}"/>
                </a:ext>
              </a:extLst>
            </p:cNvPr>
            <p:cNvSpPr/>
            <p:nvPr/>
          </p:nvSpPr>
          <p:spPr>
            <a:xfrm>
              <a:off x="4931227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3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006CAACD-CC97-0283-4433-83EF84659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D7108752-D1B1-31C4-D013-C181BD470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2962442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C6A1B4F2-3F92-F637-BB6F-29F3023B5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1530804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C1360D4A-55EB-272D-6048-902A967F1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3CCC8006-DC23-82B5-9306-E15D523021AC}"/>
              </a:ext>
            </a:extLst>
          </p:cNvPr>
          <p:cNvGrpSpPr/>
          <p:nvPr/>
        </p:nvGrpSpPr>
        <p:grpSpPr>
          <a:xfrm>
            <a:off x="7295974" y="1530804"/>
            <a:ext cx="1959602" cy="1650871"/>
            <a:chOff x="7295974" y="1530804"/>
            <a:chExt cx="1959602" cy="1650871"/>
          </a:xfrm>
        </p:grpSpPr>
        <p:sp>
          <p:nvSpPr>
            <p:cNvPr id="91" name="Rectangle 22">
              <a:extLst>
                <a:ext uri="{FF2B5EF4-FFF2-40B4-BE49-F238E27FC236}">
                  <a16:creationId xmlns:a16="http://schemas.microsoft.com/office/drawing/2014/main" id="{AF59DD62-7880-13CC-4138-B454478E64D9}"/>
                </a:ext>
              </a:extLst>
            </p:cNvPr>
            <p:cNvSpPr/>
            <p:nvPr/>
          </p:nvSpPr>
          <p:spPr>
            <a:xfrm>
              <a:off x="7295974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4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B988EB9F-9358-3C35-272D-F6EFF02A7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1543071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0" name="Freeform 17">
              <a:extLst>
                <a:ext uri="{FF2B5EF4-FFF2-40B4-BE49-F238E27FC236}">
                  <a16:creationId xmlns:a16="http://schemas.microsoft.com/office/drawing/2014/main" id="{CE1C1353-7B83-A46C-5D84-EEF7396A6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2962442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1" name="Freeform 18">
              <a:extLst>
                <a:ext uri="{FF2B5EF4-FFF2-40B4-BE49-F238E27FC236}">
                  <a16:creationId xmlns:a16="http://schemas.microsoft.com/office/drawing/2014/main" id="{0D092205-5F45-3E67-E60B-C5468BB8F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1530804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2" name="Freeform 19">
              <a:extLst>
                <a:ext uri="{FF2B5EF4-FFF2-40B4-BE49-F238E27FC236}">
                  <a16:creationId xmlns:a16="http://schemas.microsoft.com/office/drawing/2014/main" id="{62B77E0A-A3CB-4BAD-15B2-38C772EEF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1588532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5" name="Группа 174">
            <a:extLst>
              <a:ext uri="{FF2B5EF4-FFF2-40B4-BE49-F238E27FC236}">
                <a16:creationId xmlns:a16="http://schemas.microsoft.com/office/drawing/2014/main" id="{0B591BB7-477C-7C35-7106-26B676D5BE13}"/>
              </a:ext>
            </a:extLst>
          </p:cNvPr>
          <p:cNvGrpSpPr/>
          <p:nvPr/>
        </p:nvGrpSpPr>
        <p:grpSpPr>
          <a:xfrm>
            <a:off x="9717808" y="1530804"/>
            <a:ext cx="1902714" cy="1650871"/>
            <a:chOff x="9717808" y="1530804"/>
            <a:chExt cx="1902714" cy="1650871"/>
          </a:xfrm>
        </p:grpSpPr>
        <p:sp>
          <p:nvSpPr>
            <p:cNvPr id="90" name="Rectangle 21">
              <a:extLst>
                <a:ext uri="{FF2B5EF4-FFF2-40B4-BE49-F238E27FC236}">
                  <a16:creationId xmlns:a16="http://schemas.microsoft.com/office/drawing/2014/main" id="{29569A48-EE85-2ED7-8D80-191157BE8C22}"/>
                </a:ext>
              </a:extLst>
            </p:cNvPr>
            <p:cNvSpPr/>
            <p:nvPr/>
          </p:nvSpPr>
          <p:spPr>
            <a:xfrm>
              <a:off x="9717808" y="1612015"/>
              <a:ext cx="1337882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5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3" name="Freeform 20">
              <a:extLst>
                <a:ext uri="{FF2B5EF4-FFF2-40B4-BE49-F238E27FC236}">
                  <a16:creationId xmlns:a16="http://schemas.microsoft.com/office/drawing/2014/main" id="{9EE6F49C-07F6-DB6B-4B0B-1EB921EE5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8136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5" name="Freeform 21">
              <a:extLst>
                <a:ext uri="{FF2B5EF4-FFF2-40B4-BE49-F238E27FC236}">
                  <a16:creationId xmlns:a16="http://schemas.microsoft.com/office/drawing/2014/main" id="{6749EA0B-A536-CDB9-C374-57F4AE4E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6" name="Freeform 22">
              <a:extLst>
                <a:ext uri="{FF2B5EF4-FFF2-40B4-BE49-F238E27FC236}">
                  <a16:creationId xmlns:a16="http://schemas.microsoft.com/office/drawing/2014/main" id="{E4B64482-23A1-4452-2675-AA1B5EFFB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5965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3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59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3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88 w 827"/>
                <a:gd name="T99" fmla="*/ 11 h 1245"/>
                <a:gd name="T100" fmla="*/ 245 w 827"/>
                <a:gd name="T101" fmla="*/ 2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199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8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7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4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3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1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8" y="842"/>
                    <a:pt x="777" y="841"/>
                  </a:cubicBezTo>
                  <a:cubicBezTo>
                    <a:pt x="772" y="839"/>
                    <a:pt x="769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1" y="535"/>
                    <a:pt x="823" y="551"/>
                  </a:cubicBezTo>
                  <a:cubicBezTo>
                    <a:pt x="824" y="557"/>
                    <a:pt x="820" y="562"/>
                    <a:pt x="814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2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4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59" y="111"/>
                  </a:cubicBezTo>
                  <a:cubicBezTo>
                    <a:pt x="573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6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4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29" y="21"/>
                    <a:pt x="213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7" name="Freeform 23">
              <a:extLst>
                <a:ext uri="{FF2B5EF4-FFF2-40B4-BE49-F238E27FC236}">
                  <a16:creationId xmlns:a16="http://schemas.microsoft.com/office/drawing/2014/main" id="{04E21E31-4E2B-6A92-5A7F-D0ED69C0E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2" name="Группа 171">
            <a:extLst>
              <a:ext uri="{FF2B5EF4-FFF2-40B4-BE49-F238E27FC236}">
                <a16:creationId xmlns:a16="http://schemas.microsoft.com/office/drawing/2014/main" id="{70F9F561-E925-CC3F-3FD1-0CF9DB029578}"/>
              </a:ext>
            </a:extLst>
          </p:cNvPr>
          <p:cNvGrpSpPr/>
          <p:nvPr/>
        </p:nvGrpSpPr>
        <p:grpSpPr>
          <a:xfrm>
            <a:off x="224760" y="1530804"/>
            <a:ext cx="1890777" cy="1650871"/>
            <a:chOff x="224760" y="1530804"/>
            <a:chExt cx="1890777" cy="1650871"/>
          </a:xfrm>
        </p:grpSpPr>
        <p:sp>
          <p:nvSpPr>
            <p:cNvPr id="94" name="Rectangle 25">
              <a:extLst>
                <a:ext uri="{FF2B5EF4-FFF2-40B4-BE49-F238E27FC236}">
                  <a16:creationId xmlns:a16="http://schemas.microsoft.com/office/drawing/2014/main" id="{9426B5F4-A4AA-8DEB-EADD-889E43D6ECF0}"/>
                </a:ext>
              </a:extLst>
            </p:cNvPr>
            <p:cNvSpPr/>
            <p:nvPr/>
          </p:nvSpPr>
          <p:spPr>
            <a:xfrm>
              <a:off x="224760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8" name="Freeform 24">
              <a:extLst>
                <a:ext uri="{FF2B5EF4-FFF2-40B4-BE49-F238E27FC236}">
                  <a16:creationId xmlns:a16="http://schemas.microsoft.com/office/drawing/2014/main" id="{8668C76E-DE85-167C-8B9D-C63A038FC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1543071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1" name="Freeform 26">
              <a:extLst>
                <a:ext uri="{FF2B5EF4-FFF2-40B4-BE49-F238E27FC236}">
                  <a16:creationId xmlns:a16="http://schemas.microsoft.com/office/drawing/2014/main" id="{821036B1-A114-9E54-AC89-AFD52FDBD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2962442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2" name="Freeform 27">
              <a:extLst>
                <a:ext uri="{FF2B5EF4-FFF2-40B4-BE49-F238E27FC236}">
                  <a16:creationId xmlns:a16="http://schemas.microsoft.com/office/drawing/2014/main" id="{FADFDA08-A75F-E108-01D3-C17D96AF18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1530804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23" name="Freeform 28">
              <a:extLst>
                <a:ext uri="{FF2B5EF4-FFF2-40B4-BE49-F238E27FC236}">
                  <a16:creationId xmlns:a16="http://schemas.microsoft.com/office/drawing/2014/main" id="{02E78DB1-B4D3-B148-1742-D14CDC023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CEE3B85A-97B9-89F8-C67A-48CF9E943346}"/>
              </a:ext>
            </a:extLst>
          </p:cNvPr>
          <p:cNvGrpSpPr/>
          <p:nvPr/>
        </p:nvGrpSpPr>
        <p:grpSpPr>
          <a:xfrm>
            <a:off x="2570693" y="4071540"/>
            <a:ext cx="1904144" cy="1650871"/>
            <a:chOff x="2570693" y="4071540"/>
            <a:chExt cx="1904144" cy="1650871"/>
          </a:xfrm>
        </p:grpSpPr>
        <p:sp>
          <p:nvSpPr>
            <p:cNvPr id="131" name="Rectangle 24">
              <a:extLst>
                <a:ext uri="{FF2B5EF4-FFF2-40B4-BE49-F238E27FC236}">
                  <a16:creationId xmlns:a16="http://schemas.microsoft.com/office/drawing/2014/main" id="{39A4F353-AB65-8B80-1741-785AC44F9562}"/>
                </a:ext>
              </a:extLst>
            </p:cNvPr>
            <p:cNvSpPr/>
            <p:nvPr/>
          </p:nvSpPr>
          <p:spPr>
            <a:xfrm>
              <a:off x="2570693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7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7B1958A9-DF83-922C-950A-7314D9F26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50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3" name="Freeform 7">
              <a:extLst>
                <a:ext uri="{FF2B5EF4-FFF2-40B4-BE49-F238E27FC236}">
                  <a16:creationId xmlns:a16="http://schemas.microsoft.com/office/drawing/2014/main" id="{564C58DD-3A84-B66A-E8A5-F6FD608DA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4" name="Freeform 8">
              <a:extLst>
                <a:ext uri="{FF2B5EF4-FFF2-40B4-BE49-F238E27FC236}">
                  <a16:creationId xmlns:a16="http://schemas.microsoft.com/office/drawing/2014/main" id="{F098A11B-806D-749D-B8E3-34D6654304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4071540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5" name="Freeform 9">
              <a:extLst>
                <a:ext uri="{FF2B5EF4-FFF2-40B4-BE49-F238E27FC236}">
                  <a16:creationId xmlns:a16="http://schemas.microsoft.com/office/drawing/2014/main" id="{FBABAF63-61AF-5442-229A-F95325EF3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8" name="Группа 177">
            <a:extLst>
              <a:ext uri="{FF2B5EF4-FFF2-40B4-BE49-F238E27FC236}">
                <a16:creationId xmlns:a16="http://schemas.microsoft.com/office/drawing/2014/main" id="{C99650E0-C87B-0F1D-590C-BEBF62DD60CC}"/>
              </a:ext>
            </a:extLst>
          </p:cNvPr>
          <p:cNvGrpSpPr/>
          <p:nvPr/>
        </p:nvGrpSpPr>
        <p:grpSpPr>
          <a:xfrm>
            <a:off x="4931227" y="4071540"/>
            <a:ext cx="1902534" cy="1650871"/>
            <a:chOff x="4931227" y="4071540"/>
            <a:chExt cx="1902534" cy="1650871"/>
          </a:xfrm>
        </p:grpSpPr>
        <p:sp>
          <p:nvSpPr>
            <p:cNvPr id="137" name="Rectangle 23">
              <a:extLst>
                <a:ext uri="{FF2B5EF4-FFF2-40B4-BE49-F238E27FC236}">
                  <a16:creationId xmlns:a16="http://schemas.microsoft.com/office/drawing/2014/main" id="{ED07FEA2-D699-6335-26A2-4AF432160754}"/>
                </a:ext>
              </a:extLst>
            </p:cNvPr>
            <p:cNvSpPr/>
            <p:nvPr/>
          </p:nvSpPr>
          <p:spPr>
            <a:xfrm>
              <a:off x="4931227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8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09C3FF1-010B-ED79-6CA1-1B68C3731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9" name="Freeform 12">
              <a:extLst>
                <a:ext uri="{FF2B5EF4-FFF2-40B4-BE49-F238E27FC236}">
                  <a16:creationId xmlns:a16="http://schemas.microsoft.com/office/drawing/2014/main" id="{247B6EB1-243F-98B7-3420-9B7E47C17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5503178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0" name="Freeform 13">
              <a:extLst>
                <a:ext uri="{FF2B5EF4-FFF2-40B4-BE49-F238E27FC236}">
                  <a16:creationId xmlns:a16="http://schemas.microsoft.com/office/drawing/2014/main" id="{E1A9EFCB-1E58-4FF0-A5F8-9EC6968E1E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4071540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1" name="Freeform 14">
              <a:extLst>
                <a:ext uri="{FF2B5EF4-FFF2-40B4-BE49-F238E27FC236}">
                  <a16:creationId xmlns:a16="http://schemas.microsoft.com/office/drawing/2014/main" id="{EA221590-F141-E01D-575B-5DE9A0222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9" name="Группа 178">
            <a:extLst>
              <a:ext uri="{FF2B5EF4-FFF2-40B4-BE49-F238E27FC236}">
                <a16:creationId xmlns:a16="http://schemas.microsoft.com/office/drawing/2014/main" id="{6E953091-5929-4FB2-64FD-9599FF6FA641}"/>
              </a:ext>
            </a:extLst>
          </p:cNvPr>
          <p:cNvGrpSpPr/>
          <p:nvPr/>
        </p:nvGrpSpPr>
        <p:grpSpPr>
          <a:xfrm>
            <a:off x="7295974" y="4071540"/>
            <a:ext cx="1959602" cy="1650871"/>
            <a:chOff x="7295974" y="4071540"/>
            <a:chExt cx="1959602" cy="1650871"/>
          </a:xfrm>
        </p:grpSpPr>
        <p:sp>
          <p:nvSpPr>
            <p:cNvPr id="143" name="Rectangle 22">
              <a:extLst>
                <a:ext uri="{FF2B5EF4-FFF2-40B4-BE49-F238E27FC236}">
                  <a16:creationId xmlns:a16="http://schemas.microsoft.com/office/drawing/2014/main" id="{20EFDC4D-8D49-F4A1-63CA-733DC4D66C8D}"/>
                </a:ext>
              </a:extLst>
            </p:cNvPr>
            <p:cNvSpPr/>
            <p:nvPr/>
          </p:nvSpPr>
          <p:spPr>
            <a:xfrm>
              <a:off x="7295974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9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0A68112C-D223-568A-7F32-730CA6D7F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4083807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5" name="Freeform 17">
              <a:extLst>
                <a:ext uri="{FF2B5EF4-FFF2-40B4-BE49-F238E27FC236}">
                  <a16:creationId xmlns:a16="http://schemas.microsoft.com/office/drawing/2014/main" id="{857360FC-21B5-721D-A68B-D195A19CC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5503178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6" name="Freeform 18">
              <a:extLst>
                <a:ext uri="{FF2B5EF4-FFF2-40B4-BE49-F238E27FC236}">
                  <a16:creationId xmlns:a16="http://schemas.microsoft.com/office/drawing/2014/main" id="{A9DA7EF3-C181-CE39-61D6-916C859D4C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4071540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7" name="Freeform 19">
              <a:extLst>
                <a:ext uri="{FF2B5EF4-FFF2-40B4-BE49-F238E27FC236}">
                  <a16:creationId xmlns:a16="http://schemas.microsoft.com/office/drawing/2014/main" id="{6E0744BF-151B-AF62-3BDB-9CB6D9283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4129268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52" name="Freeform 22">
            <a:extLst>
              <a:ext uri="{FF2B5EF4-FFF2-40B4-BE49-F238E27FC236}">
                <a16:creationId xmlns:a16="http://schemas.microsoft.com/office/drawing/2014/main" id="{8E6FD6D1-0690-0E47-11F1-32AEE325EB8F}"/>
              </a:ext>
            </a:extLst>
          </p:cNvPr>
          <p:cNvSpPr>
            <a:spLocks noEditPoints="1"/>
          </p:cNvSpPr>
          <p:nvPr/>
        </p:nvSpPr>
        <p:spPr bwMode="auto">
          <a:xfrm>
            <a:off x="10578442" y="4071540"/>
            <a:ext cx="1014557" cy="1529774"/>
          </a:xfrm>
          <a:custGeom>
            <a:avLst/>
            <a:gdLst>
              <a:gd name="T0" fmla="*/ 197 w 827"/>
              <a:gd name="T1" fmla="*/ 1225 h 1245"/>
              <a:gd name="T2" fmla="*/ 245 w 827"/>
              <a:gd name="T3" fmla="*/ 1244 h 1245"/>
              <a:gd name="T4" fmla="*/ 101 w 827"/>
              <a:gd name="T5" fmla="*/ 1237 h 1245"/>
              <a:gd name="T6" fmla="*/ 160 w 827"/>
              <a:gd name="T7" fmla="*/ 1234 h 1245"/>
              <a:gd name="T8" fmla="*/ 290 w 827"/>
              <a:gd name="T9" fmla="*/ 1219 h 1245"/>
              <a:gd name="T10" fmla="*/ 293 w 827"/>
              <a:gd name="T11" fmla="*/ 1239 h 1245"/>
              <a:gd name="T12" fmla="*/ 8 w 827"/>
              <a:gd name="T13" fmla="*/ 1214 h 1245"/>
              <a:gd name="T14" fmla="*/ 66 w 827"/>
              <a:gd name="T15" fmla="*/ 1220 h 1245"/>
              <a:gd name="T16" fmla="*/ 381 w 827"/>
              <a:gd name="T17" fmla="*/ 1199 h 1245"/>
              <a:gd name="T18" fmla="*/ 386 w 827"/>
              <a:gd name="T19" fmla="*/ 1218 h 1245"/>
              <a:gd name="T20" fmla="*/ 467 w 827"/>
              <a:gd name="T21" fmla="*/ 1165 h 1245"/>
              <a:gd name="T22" fmla="*/ 476 w 827"/>
              <a:gd name="T23" fmla="*/ 1183 h 1245"/>
              <a:gd name="T24" fmla="*/ 548 w 827"/>
              <a:gd name="T25" fmla="*/ 1119 h 1245"/>
              <a:gd name="T26" fmla="*/ 559 w 827"/>
              <a:gd name="T27" fmla="*/ 1135 h 1245"/>
              <a:gd name="T28" fmla="*/ 620 w 827"/>
              <a:gd name="T29" fmla="*/ 1060 h 1245"/>
              <a:gd name="T30" fmla="*/ 633 w 827"/>
              <a:gd name="T31" fmla="*/ 1074 h 1245"/>
              <a:gd name="T32" fmla="*/ 682 w 827"/>
              <a:gd name="T33" fmla="*/ 991 h 1245"/>
              <a:gd name="T34" fmla="*/ 698 w 827"/>
              <a:gd name="T35" fmla="*/ 1003 h 1245"/>
              <a:gd name="T36" fmla="*/ 733 w 827"/>
              <a:gd name="T37" fmla="*/ 913 h 1245"/>
              <a:gd name="T38" fmla="*/ 751 w 827"/>
              <a:gd name="T39" fmla="*/ 923 h 1245"/>
              <a:gd name="T40" fmla="*/ 771 w 827"/>
              <a:gd name="T41" fmla="*/ 828 h 1245"/>
              <a:gd name="T42" fmla="*/ 790 w 827"/>
              <a:gd name="T43" fmla="*/ 835 h 1245"/>
              <a:gd name="T44" fmla="*/ 796 w 827"/>
              <a:gd name="T45" fmla="*/ 739 h 1245"/>
              <a:gd name="T46" fmla="*/ 816 w 827"/>
              <a:gd name="T47" fmla="*/ 743 h 1245"/>
              <a:gd name="T48" fmla="*/ 807 w 827"/>
              <a:gd name="T49" fmla="*/ 647 h 1245"/>
              <a:gd name="T50" fmla="*/ 827 w 827"/>
              <a:gd name="T51" fmla="*/ 599 h 1245"/>
              <a:gd name="T52" fmla="*/ 813 w 827"/>
              <a:gd name="T53" fmla="*/ 562 h 1245"/>
              <a:gd name="T54" fmla="*/ 816 w 827"/>
              <a:gd name="T55" fmla="*/ 504 h 1245"/>
              <a:gd name="T56" fmla="*/ 795 w 827"/>
              <a:gd name="T57" fmla="*/ 470 h 1245"/>
              <a:gd name="T58" fmla="*/ 790 w 827"/>
              <a:gd name="T59" fmla="*/ 411 h 1245"/>
              <a:gd name="T60" fmla="*/ 763 w 827"/>
              <a:gd name="T61" fmla="*/ 381 h 1245"/>
              <a:gd name="T62" fmla="*/ 751 w 827"/>
              <a:gd name="T63" fmla="*/ 324 h 1245"/>
              <a:gd name="T64" fmla="*/ 718 w 827"/>
              <a:gd name="T65" fmla="*/ 298 h 1245"/>
              <a:gd name="T66" fmla="*/ 698 w 827"/>
              <a:gd name="T67" fmla="*/ 243 h 1245"/>
              <a:gd name="T68" fmla="*/ 660 w 827"/>
              <a:gd name="T69" fmla="*/ 223 h 1245"/>
              <a:gd name="T70" fmla="*/ 634 w 827"/>
              <a:gd name="T71" fmla="*/ 172 h 1245"/>
              <a:gd name="T72" fmla="*/ 592 w 827"/>
              <a:gd name="T73" fmla="*/ 158 h 1245"/>
              <a:gd name="T74" fmla="*/ 559 w 827"/>
              <a:gd name="T75" fmla="*/ 111 h 1245"/>
              <a:gd name="T76" fmla="*/ 514 w 827"/>
              <a:gd name="T77" fmla="*/ 104 h 1245"/>
              <a:gd name="T78" fmla="*/ 477 w 827"/>
              <a:gd name="T79" fmla="*/ 63 h 1245"/>
              <a:gd name="T80" fmla="*/ 429 w 827"/>
              <a:gd name="T81" fmla="*/ 63 h 1245"/>
              <a:gd name="T82" fmla="*/ 387 w 827"/>
              <a:gd name="T83" fmla="*/ 28 h 1245"/>
              <a:gd name="T84" fmla="*/ 12 w 827"/>
              <a:gd name="T85" fmla="*/ 51 h 1245"/>
              <a:gd name="T86" fmla="*/ 67 w 827"/>
              <a:gd name="T87" fmla="*/ 26 h 1245"/>
              <a:gd name="T88" fmla="*/ 339 w 827"/>
              <a:gd name="T89" fmla="*/ 35 h 1245"/>
              <a:gd name="T90" fmla="*/ 293 w 827"/>
              <a:gd name="T91" fmla="*/ 7 h 1245"/>
              <a:gd name="T92" fmla="*/ 104 w 827"/>
              <a:gd name="T93" fmla="*/ 29 h 1245"/>
              <a:gd name="T94" fmla="*/ 160 w 827"/>
              <a:gd name="T95" fmla="*/ 12 h 1245"/>
              <a:gd name="T96" fmla="*/ 245 w 827"/>
              <a:gd name="T97" fmla="*/ 22 h 1245"/>
              <a:gd name="T98" fmla="*/ 188 w 827"/>
              <a:gd name="T99" fmla="*/ 11 h 1245"/>
              <a:gd name="T100" fmla="*/ 245 w 827"/>
              <a:gd name="T101" fmla="*/ 22 h 1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27" h="1245">
                <a:moveTo>
                  <a:pt x="205" y="1245"/>
                </a:moveTo>
                <a:cubicBezTo>
                  <a:pt x="202" y="1245"/>
                  <a:pt x="199" y="1245"/>
                  <a:pt x="197" y="1245"/>
                </a:cubicBezTo>
                <a:cubicBezTo>
                  <a:pt x="191" y="1245"/>
                  <a:pt x="187" y="1241"/>
                  <a:pt x="187" y="1235"/>
                </a:cubicBezTo>
                <a:cubicBezTo>
                  <a:pt x="187" y="1230"/>
                  <a:pt x="191" y="1225"/>
                  <a:pt x="197" y="1225"/>
                </a:cubicBezTo>
                <a:cubicBezTo>
                  <a:pt x="197" y="1225"/>
                  <a:pt x="197" y="1225"/>
                  <a:pt x="197" y="1225"/>
                </a:cubicBezTo>
                <a:cubicBezTo>
                  <a:pt x="212" y="1226"/>
                  <a:pt x="228" y="1225"/>
                  <a:pt x="244" y="1224"/>
                </a:cubicBezTo>
                <a:cubicBezTo>
                  <a:pt x="249" y="1224"/>
                  <a:pt x="254" y="1228"/>
                  <a:pt x="254" y="1234"/>
                </a:cubicBezTo>
                <a:cubicBezTo>
                  <a:pt x="255" y="1239"/>
                  <a:pt x="250" y="1244"/>
                  <a:pt x="245" y="1244"/>
                </a:cubicBezTo>
                <a:cubicBezTo>
                  <a:pt x="232" y="1245"/>
                  <a:pt x="218" y="1245"/>
                  <a:pt x="205" y="1245"/>
                </a:cubicBezTo>
                <a:close/>
                <a:moveTo>
                  <a:pt x="150" y="1243"/>
                </a:moveTo>
                <a:cubicBezTo>
                  <a:pt x="149" y="1243"/>
                  <a:pt x="149" y="1243"/>
                  <a:pt x="149" y="1243"/>
                </a:cubicBezTo>
                <a:cubicBezTo>
                  <a:pt x="133" y="1241"/>
                  <a:pt x="117" y="1239"/>
                  <a:pt x="101" y="1237"/>
                </a:cubicBezTo>
                <a:cubicBezTo>
                  <a:pt x="96" y="1236"/>
                  <a:pt x="92" y="1231"/>
                  <a:pt x="93" y="1225"/>
                </a:cubicBezTo>
                <a:cubicBezTo>
                  <a:pt x="94" y="1220"/>
                  <a:pt x="99" y="1216"/>
                  <a:pt x="104" y="1217"/>
                </a:cubicBezTo>
                <a:cubicBezTo>
                  <a:pt x="120" y="1220"/>
                  <a:pt x="135" y="1222"/>
                  <a:pt x="151" y="1223"/>
                </a:cubicBezTo>
                <a:cubicBezTo>
                  <a:pt x="156" y="1223"/>
                  <a:pt x="160" y="1228"/>
                  <a:pt x="160" y="1234"/>
                </a:cubicBezTo>
                <a:cubicBezTo>
                  <a:pt x="159" y="1239"/>
                  <a:pt x="155" y="1243"/>
                  <a:pt x="150" y="1243"/>
                </a:cubicBezTo>
                <a:close/>
                <a:moveTo>
                  <a:pt x="291" y="1239"/>
                </a:moveTo>
                <a:cubicBezTo>
                  <a:pt x="286" y="1239"/>
                  <a:pt x="282" y="1236"/>
                  <a:pt x="281" y="1231"/>
                </a:cubicBezTo>
                <a:cubicBezTo>
                  <a:pt x="281" y="1225"/>
                  <a:pt x="284" y="1220"/>
                  <a:pt x="290" y="1219"/>
                </a:cubicBezTo>
                <a:cubicBezTo>
                  <a:pt x="305" y="1217"/>
                  <a:pt x="321" y="1214"/>
                  <a:pt x="336" y="1211"/>
                </a:cubicBezTo>
                <a:cubicBezTo>
                  <a:pt x="341" y="1210"/>
                  <a:pt x="346" y="1213"/>
                  <a:pt x="348" y="1219"/>
                </a:cubicBezTo>
                <a:cubicBezTo>
                  <a:pt x="349" y="1224"/>
                  <a:pt x="345" y="1229"/>
                  <a:pt x="340" y="1231"/>
                </a:cubicBezTo>
                <a:cubicBezTo>
                  <a:pt x="324" y="1234"/>
                  <a:pt x="308" y="1237"/>
                  <a:pt x="293" y="1239"/>
                </a:cubicBezTo>
                <a:cubicBezTo>
                  <a:pt x="292" y="1239"/>
                  <a:pt x="292" y="1239"/>
                  <a:pt x="291" y="1239"/>
                </a:cubicBezTo>
                <a:close/>
                <a:moveTo>
                  <a:pt x="56" y="1227"/>
                </a:moveTo>
                <a:cubicBezTo>
                  <a:pt x="56" y="1227"/>
                  <a:pt x="55" y="1227"/>
                  <a:pt x="54" y="1227"/>
                </a:cubicBezTo>
                <a:cubicBezTo>
                  <a:pt x="39" y="1223"/>
                  <a:pt x="23" y="1219"/>
                  <a:pt x="8" y="1214"/>
                </a:cubicBezTo>
                <a:cubicBezTo>
                  <a:pt x="3" y="1212"/>
                  <a:pt x="0" y="1206"/>
                  <a:pt x="2" y="1201"/>
                </a:cubicBezTo>
                <a:cubicBezTo>
                  <a:pt x="3" y="1196"/>
                  <a:pt x="9" y="1193"/>
                  <a:pt x="14" y="1195"/>
                </a:cubicBezTo>
                <a:cubicBezTo>
                  <a:pt x="29" y="1199"/>
                  <a:pt x="44" y="1204"/>
                  <a:pt x="59" y="1208"/>
                </a:cubicBezTo>
                <a:cubicBezTo>
                  <a:pt x="64" y="1209"/>
                  <a:pt x="67" y="1214"/>
                  <a:pt x="66" y="1220"/>
                </a:cubicBezTo>
                <a:cubicBezTo>
                  <a:pt x="65" y="1224"/>
                  <a:pt x="61" y="1227"/>
                  <a:pt x="56" y="1227"/>
                </a:cubicBezTo>
                <a:close/>
                <a:moveTo>
                  <a:pt x="384" y="1219"/>
                </a:moveTo>
                <a:cubicBezTo>
                  <a:pt x="379" y="1219"/>
                  <a:pt x="375" y="1216"/>
                  <a:pt x="374" y="1212"/>
                </a:cubicBezTo>
                <a:cubicBezTo>
                  <a:pt x="372" y="1207"/>
                  <a:pt x="375" y="1201"/>
                  <a:pt x="381" y="1199"/>
                </a:cubicBezTo>
                <a:cubicBezTo>
                  <a:pt x="395" y="1195"/>
                  <a:pt x="410" y="1190"/>
                  <a:pt x="425" y="1184"/>
                </a:cubicBezTo>
                <a:cubicBezTo>
                  <a:pt x="430" y="1182"/>
                  <a:pt x="436" y="1185"/>
                  <a:pt x="438" y="1190"/>
                </a:cubicBezTo>
                <a:cubicBezTo>
                  <a:pt x="440" y="1195"/>
                  <a:pt x="437" y="1201"/>
                  <a:pt x="432" y="1203"/>
                </a:cubicBezTo>
                <a:cubicBezTo>
                  <a:pt x="417" y="1209"/>
                  <a:pt x="402" y="1214"/>
                  <a:pt x="386" y="1218"/>
                </a:cubicBezTo>
                <a:cubicBezTo>
                  <a:pt x="385" y="1219"/>
                  <a:pt x="384" y="1219"/>
                  <a:pt x="384" y="1219"/>
                </a:cubicBezTo>
                <a:close/>
                <a:moveTo>
                  <a:pt x="472" y="1184"/>
                </a:moveTo>
                <a:cubicBezTo>
                  <a:pt x="468" y="1184"/>
                  <a:pt x="464" y="1182"/>
                  <a:pt x="463" y="1179"/>
                </a:cubicBezTo>
                <a:cubicBezTo>
                  <a:pt x="460" y="1174"/>
                  <a:pt x="462" y="1168"/>
                  <a:pt x="467" y="1165"/>
                </a:cubicBezTo>
                <a:cubicBezTo>
                  <a:pt x="481" y="1159"/>
                  <a:pt x="495" y="1151"/>
                  <a:pt x="508" y="1144"/>
                </a:cubicBezTo>
                <a:cubicBezTo>
                  <a:pt x="513" y="1141"/>
                  <a:pt x="519" y="1142"/>
                  <a:pt x="522" y="1147"/>
                </a:cubicBezTo>
                <a:cubicBezTo>
                  <a:pt x="525" y="1152"/>
                  <a:pt x="523" y="1158"/>
                  <a:pt x="518" y="1161"/>
                </a:cubicBezTo>
                <a:cubicBezTo>
                  <a:pt x="505" y="1169"/>
                  <a:pt x="490" y="1176"/>
                  <a:pt x="476" y="1183"/>
                </a:cubicBezTo>
                <a:cubicBezTo>
                  <a:pt x="475" y="1184"/>
                  <a:pt x="473" y="1184"/>
                  <a:pt x="472" y="1184"/>
                </a:cubicBezTo>
                <a:close/>
                <a:moveTo>
                  <a:pt x="553" y="1137"/>
                </a:moveTo>
                <a:cubicBezTo>
                  <a:pt x="550" y="1137"/>
                  <a:pt x="547" y="1135"/>
                  <a:pt x="545" y="1132"/>
                </a:cubicBezTo>
                <a:cubicBezTo>
                  <a:pt x="542" y="1128"/>
                  <a:pt x="543" y="1122"/>
                  <a:pt x="548" y="1119"/>
                </a:cubicBezTo>
                <a:cubicBezTo>
                  <a:pt x="560" y="1110"/>
                  <a:pt x="573" y="1100"/>
                  <a:pt x="585" y="1091"/>
                </a:cubicBezTo>
                <a:cubicBezTo>
                  <a:pt x="589" y="1087"/>
                  <a:pt x="595" y="1088"/>
                  <a:pt x="599" y="1092"/>
                </a:cubicBezTo>
                <a:cubicBezTo>
                  <a:pt x="602" y="1096"/>
                  <a:pt x="602" y="1103"/>
                  <a:pt x="597" y="1106"/>
                </a:cubicBezTo>
                <a:cubicBezTo>
                  <a:pt x="585" y="1116"/>
                  <a:pt x="572" y="1126"/>
                  <a:pt x="559" y="1135"/>
                </a:cubicBezTo>
                <a:cubicBezTo>
                  <a:pt x="557" y="1136"/>
                  <a:pt x="555" y="1137"/>
                  <a:pt x="553" y="1137"/>
                </a:cubicBezTo>
                <a:close/>
                <a:moveTo>
                  <a:pt x="627" y="1077"/>
                </a:moveTo>
                <a:cubicBezTo>
                  <a:pt x="624" y="1077"/>
                  <a:pt x="621" y="1076"/>
                  <a:pt x="619" y="1074"/>
                </a:cubicBezTo>
                <a:cubicBezTo>
                  <a:pt x="616" y="1070"/>
                  <a:pt x="616" y="1064"/>
                  <a:pt x="620" y="1060"/>
                </a:cubicBezTo>
                <a:cubicBezTo>
                  <a:pt x="631" y="1049"/>
                  <a:pt x="642" y="1038"/>
                  <a:pt x="652" y="1026"/>
                </a:cubicBezTo>
                <a:cubicBezTo>
                  <a:pt x="656" y="1022"/>
                  <a:pt x="662" y="1022"/>
                  <a:pt x="666" y="1026"/>
                </a:cubicBezTo>
                <a:cubicBezTo>
                  <a:pt x="670" y="1029"/>
                  <a:pt x="671" y="1036"/>
                  <a:pt x="667" y="1040"/>
                </a:cubicBezTo>
                <a:cubicBezTo>
                  <a:pt x="656" y="1052"/>
                  <a:pt x="645" y="1063"/>
                  <a:pt x="633" y="1074"/>
                </a:cubicBezTo>
                <a:cubicBezTo>
                  <a:pt x="632" y="1076"/>
                  <a:pt x="629" y="1077"/>
                  <a:pt x="627" y="1077"/>
                </a:cubicBezTo>
                <a:close/>
                <a:moveTo>
                  <a:pt x="690" y="1007"/>
                </a:moveTo>
                <a:cubicBezTo>
                  <a:pt x="688" y="1007"/>
                  <a:pt x="686" y="1006"/>
                  <a:pt x="684" y="1005"/>
                </a:cubicBezTo>
                <a:cubicBezTo>
                  <a:pt x="679" y="1001"/>
                  <a:pt x="679" y="995"/>
                  <a:pt x="682" y="991"/>
                </a:cubicBezTo>
                <a:cubicBezTo>
                  <a:pt x="691" y="979"/>
                  <a:pt x="701" y="966"/>
                  <a:pt x="709" y="953"/>
                </a:cubicBezTo>
                <a:cubicBezTo>
                  <a:pt x="712" y="948"/>
                  <a:pt x="718" y="947"/>
                  <a:pt x="723" y="950"/>
                </a:cubicBezTo>
                <a:cubicBezTo>
                  <a:pt x="727" y="953"/>
                  <a:pt x="729" y="959"/>
                  <a:pt x="726" y="964"/>
                </a:cubicBezTo>
                <a:cubicBezTo>
                  <a:pt x="717" y="977"/>
                  <a:pt x="708" y="990"/>
                  <a:pt x="698" y="1003"/>
                </a:cubicBezTo>
                <a:cubicBezTo>
                  <a:pt x="696" y="1006"/>
                  <a:pt x="693" y="1007"/>
                  <a:pt x="690" y="1007"/>
                </a:cubicBezTo>
                <a:close/>
                <a:moveTo>
                  <a:pt x="742" y="928"/>
                </a:moveTo>
                <a:cubicBezTo>
                  <a:pt x="740" y="928"/>
                  <a:pt x="738" y="928"/>
                  <a:pt x="737" y="927"/>
                </a:cubicBezTo>
                <a:cubicBezTo>
                  <a:pt x="732" y="924"/>
                  <a:pt x="730" y="918"/>
                  <a:pt x="733" y="913"/>
                </a:cubicBezTo>
                <a:cubicBezTo>
                  <a:pt x="740" y="900"/>
                  <a:pt x="747" y="886"/>
                  <a:pt x="754" y="872"/>
                </a:cubicBezTo>
                <a:cubicBezTo>
                  <a:pt x="756" y="866"/>
                  <a:pt x="762" y="864"/>
                  <a:pt x="767" y="867"/>
                </a:cubicBezTo>
                <a:cubicBezTo>
                  <a:pt x="772" y="869"/>
                  <a:pt x="774" y="875"/>
                  <a:pt x="772" y="880"/>
                </a:cubicBezTo>
                <a:cubicBezTo>
                  <a:pt x="765" y="894"/>
                  <a:pt x="758" y="909"/>
                  <a:pt x="751" y="923"/>
                </a:cubicBezTo>
                <a:cubicBezTo>
                  <a:pt x="749" y="926"/>
                  <a:pt x="745" y="928"/>
                  <a:pt x="742" y="928"/>
                </a:cubicBezTo>
                <a:close/>
                <a:moveTo>
                  <a:pt x="781" y="842"/>
                </a:moveTo>
                <a:cubicBezTo>
                  <a:pt x="780" y="842"/>
                  <a:pt x="778" y="842"/>
                  <a:pt x="777" y="841"/>
                </a:cubicBezTo>
                <a:cubicBezTo>
                  <a:pt x="772" y="839"/>
                  <a:pt x="769" y="834"/>
                  <a:pt x="771" y="828"/>
                </a:cubicBezTo>
                <a:cubicBezTo>
                  <a:pt x="777" y="814"/>
                  <a:pt x="781" y="799"/>
                  <a:pt x="786" y="784"/>
                </a:cubicBezTo>
                <a:cubicBezTo>
                  <a:pt x="787" y="779"/>
                  <a:pt x="793" y="776"/>
                  <a:pt x="798" y="777"/>
                </a:cubicBezTo>
                <a:cubicBezTo>
                  <a:pt x="803" y="779"/>
                  <a:pt x="806" y="784"/>
                  <a:pt x="805" y="790"/>
                </a:cubicBezTo>
                <a:cubicBezTo>
                  <a:pt x="801" y="805"/>
                  <a:pt x="796" y="820"/>
                  <a:pt x="790" y="835"/>
                </a:cubicBezTo>
                <a:cubicBezTo>
                  <a:pt x="789" y="839"/>
                  <a:pt x="785" y="842"/>
                  <a:pt x="781" y="842"/>
                </a:cubicBezTo>
                <a:close/>
                <a:moveTo>
                  <a:pt x="806" y="751"/>
                </a:moveTo>
                <a:cubicBezTo>
                  <a:pt x="805" y="751"/>
                  <a:pt x="805" y="751"/>
                  <a:pt x="804" y="751"/>
                </a:cubicBezTo>
                <a:cubicBezTo>
                  <a:pt x="799" y="750"/>
                  <a:pt x="795" y="744"/>
                  <a:pt x="796" y="739"/>
                </a:cubicBezTo>
                <a:cubicBezTo>
                  <a:pt x="799" y="724"/>
                  <a:pt x="802" y="708"/>
                  <a:pt x="803" y="693"/>
                </a:cubicBezTo>
                <a:cubicBezTo>
                  <a:pt x="804" y="687"/>
                  <a:pt x="809" y="684"/>
                  <a:pt x="814" y="684"/>
                </a:cubicBezTo>
                <a:cubicBezTo>
                  <a:pt x="820" y="685"/>
                  <a:pt x="824" y="690"/>
                  <a:pt x="823" y="695"/>
                </a:cubicBezTo>
                <a:cubicBezTo>
                  <a:pt x="821" y="711"/>
                  <a:pt x="819" y="727"/>
                  <a:pt x="816" y="743"/>
                </a:cubicBezTo>
                <a:cubicBezTo>
                  <a:pt x="815" y="748"/>
                  <a:pt x="811" y="751"/>
                  <a:pt x="806" y="751"/>
                </a:cubicBezTo>
                <a:close/>
                <a:moveTo>
                  <a:pt x="817" y="657"/>
                </a:moveTo>
                <a:cubicBezTo>
                  <a:pt x="817" y="657"/>
                  <a:pt x="817" y="657"/>
                  <a:pt x="817" y="657"/>
                </a:cubicBezTo>
                <a:cubicBezTo>
                  <a:pt x="811" y="657"/>
                  <a:pt x="807" y="652"/>
                  <a:pt x="807" y="647"/>
                </a:cubicBezTo>
                <a:cubicBezTo>
                  <a:pt x="807" y="639"/>
                  <a:pt x="807" y="631"/>
                  <a:pt x="807" y="623"/>
                </a:cubicBezTo>
                <a:cubicBezTo>
                  <a:pt x="807" y="615"/>
                  <a:pt x="807" y="608"/>
                  <a:pt x="807" y="600"/>
                </a:cubicBezTo>
                <a:cubicBezTo>
                  <a:pt x="807" y="594"/>
                  <a:pt x="811" y="590"/>
                  <a:pt x="817" y="590"/>
                </a:cubicBezTo>
                <a:cubicBezTo>
                  <a:pt x="822" y="590"/>
                  <a:pt x="827" y="594"/>
                  <a:pt x="827" y="599"/>
                </a:cubicBezTo>
                <a:cubicBezTo>
                  <a:pt x="827" y="607"/>
                  <a:pt x="827" y="615"/>
                  <a:pt x="827" y="623"/>
                </a:cubicBezTo>
                <a:cubicBezTo>
                  <a:pt x="827" y="631"/>
                  <a:pt x="827" y="639"/>
                  <a:pt x="827" y="647"/>
                </a:cubicBezTo>
                <a:cubicBezTo>
                  <a:pt x="827" y="653"/>
                  <a:pt x="822" y="657"/>
                  <a:pt x="817" y="657"/>
                </a:cubicBezTo>
                <a:close/>
                <a:moveTo>
                  <a:pt x="813" y="562"/>
                </a:moveTo>
                <a:cubicBezTo>
                  <a:pt x="808" y="562"/>
                  <a:pt x="804" y="559"/>
                  <a:pt x="803" y="554"/>
                </a:cubicBezTo>
                <a:cubicBezTo>
                  <a:pt x="802" y="538"/>
                  <a:pt x="799" y="523"/>
                  <a:pt x="796" y="508"/>
                </a:cubicBezTo>
                <a:cubicBezTo>
                  <a:pt x="795" y="502"/>
                  <a:pt x="799" y="497"/>
                  <a:pt x="804" y="496"/>
                </a:cubicBezTo>
                <a:cubicBezTo>
                  <a:pt x="810" y="495"/>
                  <a:pt x="815" y="498"/>
                  <a:pt x="816" y="504"/>
                </a:cubicBezTo>
                <a:cubicBezTo>
                  <a:pt x="819" y="519"/>
                  <a:pt x="821" y="535"/>
                  <a:pt x="823" y="551"/>
                </a:cubicBezTo>
                <a:cubicBezTo>
                  <a:pt x="824" y="557"/>
                  <a:pt x="820" y="562"/>
                  <a:pt x="814" y="562"/>
                </a:cubicBezTo>
                <a:cubicBezTo>
                  <a:pt x="814" y="562"/>
                  <a:pt x="814" y="562"/>
                  <a:pt x="813" y="562"/>
                </a:cubicBezTo>
                <a:close/>
                <a:moveTo>
                  <a:pt x="795" y="470"/>
                </a:moveTo>
                <a:cubicBezTo>
                  <a:pt x="791" y="470"/>
                  <a:pt x="787" y="467"/>
                  <a:pt x="786" y="462"/>
                </a:cubicBezTo>
                <a:cubicBezTo>
                  <a:pt x="782" y="447"/>
                  <a:pt x="777" y="433"/>
                  <a:pt x="772" y="418"/>
                </a:cubicBezTo>
                <a:cubicBezTo>
                  <a:pt x="770" y="413"/>
                  <a:pt x="772" y="407"/>
                  <a:pt x="778" y="405"/>
                </a:cubicBezTo>
                <a:cubicBezTo>
                  <a:pt x="783" y="403"/>
                  <a:pt x="789" y="406"/>
                  <a:pt x="790" y="411"/>
                </a:cubicBezTo>
                <a:cubicBezTo>
                  <a:pt x="796" y="426"/>
                  <a:pt x="801" y="442"/>
                  <a:pt x="805" y="457"/>
                </a:cubicBezTo>
                <a:cubicBezTo>
                  <a:pt x="806" y="462"/>
                  <a:pt x="803" y="468"/>
                  <a:pt x="798" y="469"/>
                </a:cubicBezTo>
                <a:cubicBezTo>
                  <a:pt x="797" y="470"/>
                  <a:pt x="796" y="470"/>
                  <a:pt x="795" y="470"/>
                </a:cubicBezTo>
                <a:close/>
                <a:moveTo>
                  <a:pt x="763" y="381"/>
                </a:moveTo>
                <a:cubicBezTo>
                  <a:pt x="759" y="381"/>
                  <a:pt x="756" y="379"/>
                  <a:pt x="754" y="375"/>
                </a:cubicBezTo>
                <a:cubicBezTo>
                  <a:pt x="748" y="361"/>
                  <a:pt x="741" y="347"/>
                  <a:pt x="733" y="333"/>
                </a:cubicBezTo>
                <a:cubicBezTo>
                  <a:pt x="731" y="328"/>
                  <a:pt x="732" y="322"/>
                  <a:pt x="737" y="320"/>
                </a:cubicBezTo>
                <a:cubicBezTo>
                  <a:pt x="742" y="317"/>
                  <a:pt x="748" y="319"/>
                  <a:pt x="751" y="324"/>
                </a:cubicBezTo>
                <a:cubicBezTo>
                  <a:pt x="759" y="338"/>
                  <a:pt x="766" y="352"/>
                  <a:pt x="772" y="367"/>
                </a:cubicBezTo>
                <a:cubicBezTo>
                  <a:pt x="775" y="372"/>
                  <a:pt x="772" y="378"/>
                  <a:pt x="767" y="380"/>
                </a:cubicBezTo>
                <a:cubicBezTo>
                  <a:pt x="766" y="381"/>
                  <a:pt x="765" y="381"/>
                  <a:pt x="763" y="381"/>
                </a:cubicBezTo>
                <a:close/>
                <a:moveTo>
                  <a:pt x="718" y="298"/>
                </a:moveTo>
                <a:cubicBezTo>
                  <a:pt x="714" y="298"/>
                  <a:pt x="711" y="296"/>
                  <a:pt x="709" y="293"/>
                </a:cubicBezTo>
                <a:cubicBezTo>
                  <a:pt x="701" y="280"/>
                  <a:pt x="692" y="268"/>
                  <a:pt x="682" y="255"/>
                </a:cubicBezTo>
                <a:cubicBezTo>
                  <a:pt x="679" y="251"/>
                  <a:pt x="680" y="245"/>
                  <a:pt x="684" y="241"/>
                </a:cubicBezTo>
                <a:cubicBezTo>
                  <a:pt x="689" y="238"/>
                  <a:pt x="695" y="239"/>
                  <a:pt x="698" y="243"/>
                </a:cubicBezTo>
                <a:cubicBezTo>
                  <a:pt x="708" y="256"/>
                  <a:pt x="717" y="269"/>
                  <a:pt x="726" y="282"/>
                </a:cubicBezTo>
                <a:cubicBezTo>
                  <a:pt x="729" y="287"/>
                  <a:pt x="728" y="293"/>
                  <a:pt x="723" y="296"/>
                </a:cubicBezTo>
                <a:cubicBezTo>
                  <a:pt x="722" y="297"/>
                  <a:pt x="720" y="298"/>
                  <a:pt x="718" y="298"/>
                </a:cubicBezTo>
                <a:close/>
                <a:moveTo>
                  <a:pt x="660" y="223"/>
                </a:moveTo>
                <a:cubicBezTo>
                  <a:pt x="657" y="223"/>
                  <a:pt x="655" y="222"/>
                  <a:pt x="653" y="220"/>
                </a:cubicBezTo>
                <a:cubicBezTo>
                  <a:pt x="642" y="208"/>
                  <a:pt x="631" y="197"/>
                  <a:pt x="620" y="186"/>
                </a:cubicBezTo>
                <a:cubicBezTo>
                  <a:pt x="616" y="183"/>
                  <a:pt x="616" y="176"/>
                  <a:pt x="620" y="172"/>
                </a:cubicBezTo>
                <a:cubicBezTo>
                  <a:pt x="624" y="168"/>
                  <a:pt x="630" y="168"/>
                  <a:pt x="634" y="172"/>
                </a:cubicBezTo>
                <a:cubicBezTo>
                  <a:pt x="645" y="183"/>
                  <a:pt x="657" y="194"/>
                  <a:pt x="667" y="206"/>
                </a:cubicBezTo>
                <a:cubicBezTo>
                  <a:pt x="671" y="210"/>
                  <a:pt x="671" y="217"/>
                  <a:pt x="667" y="220"/>
                </a:cubicBezTo>
                <a:cubicBezTo>
                  <a:pt x="665" y="222"/>
                  <a:pt x="662" y="223"/>
                  <a:pt x="660" y="223"/>
                </a:cubicBezTo>
                <a:close/>
                <a:moveTo>
                  <a:pt x="592" y="158"/>
                </a:moveTo>
                <a:cubicBezTo>
                  <a:pt x="589" y="158"/>
                  <a:pt x="587" y="157"/>
                  <a:pt x="585" y="156"/>
                </a:cubicBezTo>
                <a:cubicBezTo>
                  <a:pt x="573" y="146"/>
                  <a:pt x="561" y="136"/>
                  <a:pt x="548" y="128"/>
                </a:cubicBezTo>
                <a:cubicBezTo>
                  <a:pt x="544" y="124"/>
                  <a:pt x="542" y="118"/>
                  <a:pt x="546" y="114"/>
                </a:cubicBezTo>
                <a:cubicBezTo>
                  <a:pt x="549" y="109"/>
                  <a:pt x="555" y="108"/>
                  <a:pt x="559" y="111"/>
                </a:cubicBezTo>
                <a:cubicBezTo>
                  <a:pt x="573" y="120"/>
                  <a:pt x="585" y="130"/>
                  <a:pt x="598" y="140"/>
                </a:cubicBezTo>
                <a:cubicBezTo>
                  <a:pt x="602" y="144"/>
                  <a:pt x="603" y="150"/>
                  <a:pt x="599" y="154"/>
                </a:cubicBezTo>
                <a:cubicBezTo>
                  <a:pt x="597" y="157"/>
                  <a:pt x="594" y="158"/>
                  <a:pt x="592" y="158"/>
                </a:cubicBezTo>
                <a:close/>
                <a:moveTo>
                  <a:pt x="514" y="104"/>
                </a:moveTo>
                <a:cubicBezTo>
                  <a:pt x="512" y="104"/>
                  <a:pt x="510" y="104"/>
                  <a:pt x="509" y="103"/>
                </a:cubicBezTo>
                <a:cubicBezTo>
                  <a:pt x="496" y="95"/>
                  <a:pt x="482" y="87"/>
                  <a:pt x="468" y="81"/>
                </a:cubicBezTo>
                <a:cubicBezTo>
                  <a:pt x="463" y="78"/>
                  <a:pt x="461" y="72"/>
                  <a:pt x="463" y="67"/>
                </a:cubicBezTo>
                <a:cubicBezTo>
                  <a:pt x="466" y="62"/>
                  <a:pt x="472" y="60"/>
                  <a:pt x="477" y="63"/>
                </a:cubicBezTo>
                <a:cubicBezTo>
                  <a:pt x="491" y="70"/>
                  <a:pt x="505" y="77"/>
                  <a:pt x="519" y="85"/>
                </a:cubicBezTo>
                <a:cubicBezTo>
                  <a:pt x="524" y="88"/>
                  <a:pt x="525" y="94"/>
                  <a:pt x="523" y="99"/>
                </a:cubicBezTo>
                <a:cubicBezTo>
                  <a:pt x="521" y="102"/>
                  <a:pt x="517" y="104"/>
                  <a:pt x="514" y="104"/>
                </a:cubicBezTo>
                <a:close/>
                <a:moveTo>
                  <a:pt x="429" y="63"/>
                </a:moveTo>
                <a:cubicBezTo>
                  <a:pt x="428" y="63"/>
                  <a:pt x="426" y="62"/>
                  <a:pt x="425" y="62"/>
                </a:cubicBezTo>
                <a:cubicBezTo>
                  <a:pt x="411" y="56"/>
                  <a:pt x="396" y="51"/>
                  <a:pt x="381" y="47"/>
                </a:cubicBezTo>
                <a:cubicBezTo>
                  <a:pt x="376" y="45"/>
                  <a:pt x="373" y="39"/>
                  <a:pt x="375" y="34"/>
                </a:cubicBezTo>
                <a:cubicBezTo>
                  <a:pt x="376" y="29"/>
                  <a:pt x="382" y="26"/>
                  <a:pt x="387" y="28"/>
                </a:cubicBezTo>
                <a:cubicBezTo>
                  <a:pt x="402" y="32"/>
                  <a:pt x="418" y="38"/>
                  <a:pt x="433" y="43"/>
                </a:cubicBezTo>
                <a:cubicBezTo>
                  <a:pt x="438" y="45"/>
                  <a:pt x="440" y="51"/>
                  <a:pt x="438" y="56"/>
                </a:cubicBezTo>
                <a:cubicBezTo>
                  <a:pt x="437" y="60"/>
                  <a:pt x="433" y="63"/>
                  <a:pt x="429" y="63"/>
                </a:cubicBezTo>
                <a:close/>
                <a:moveTo>
                  <a:pt x="12" y="51"/>
                </a:moveTo>
                <a:cubicBezTo>
                  <a:pt x="8" y="51"/>
                  <a:pt x="4" y="49"/>
                  <a:pt x="2" y="45"/>
                </a:cubicBezTo>
                <a:cubicBezTo>
                  <a:pt x="1" y="39"/>
                  <a:pt x="3" y="34"/>
                  <a:pt x="9" y="32"/>
                </a:cubicBezTo>
                <a:cubicBezTo>
                  <a:pt x="24" y="27"/>
                  <a:pt x="39" y="22"/>
                  <a:pt x="55" y="19"/>
                </a:cubicBezTo>
                <a:cubicBezTo>
                  <a:pt x="60" y="17"/>
                  <a:pt x="66" y="21"/>
                  <a:pt x="67" y="26"/>
                </a:cubicBezTo>
                <a:cubicBezTo>
                  <a:pt x="68" y="31"/>
                  <a:pt x="65" y="37"/>
                  <a:pt x="60" y="38"/>
                </a:cubicBezTo>
                <a:cubicBezTo>
                  <a:pt x="45" y="42"/>
                  <a:pt x="30" y="46"/>
                  <a:pt x="15" y="51"/>
                </a:cubicBezTo>
                <a:cubicBezTo>
                  <a:pt x="14" y="51"/>
                  <a:pt x="13" y="51"/>
                  <a:pt x="12" y="51"/>
                </a:cubicBezTo>
                <a:close/>
                <a:moveTo>
                  <a:pt x="339" y="35"/>
                </a:moveTo>
                <a:cubicBezTo>
                  <a:pt x="338" y="35"/>
                  <a:pt x="337" y="35"/>
                  <a:pt x="336" y="35"/>
                </a:cubicBezTo>
                <a:cubicBezTo>
                  <a:pt x="321" y="31"/>
                  <a:pt x="306" y="29"/>
                  <a:pt x="291" y="26"/>
                </a:cubicBezTo>
                <a:cubicBezTo>
                  <a:pt x="285" y="26"/>
                  <a:pt x="281" y="21"/>
                  <a:pt x="282" y="15"/>
                </a:cubicBezTo>
                <a:cubicBezTo>
                  <a:pt x="283" y="10"/>
                  <a:pt x="288" y="6"/>
                  <a:pt x="293" y="7"/>
                </a:cubicBezTo>
                <a:cubicBezTo>
                  <a:pt x="309" y="9"/>
                  <a:pt x="325" y="12"/>
                  <a:pt x="341" y="15"/>
                </a:cubicBezTo>
                <a:cubicBezTo>
                  <a:pt x="346" y="16"/>
                  <a:pt x="350" y="22"/>
                  <a:pt x="348" y="27"/>
                </a:cubicBezTo>
                <a:cubicBezTo>
                  <a:pt x="347" y="32"/>
                  <a:pt x="343" y="35"/>
                  <a:pt x="339" y="35"/>
                </a:cubicBezTo>
                <a:close/>
                <a:moveTo>
                  <a:pt x="104" y="29"/>
                </a:moveTo>
                <a:cubicBezTo>
                  <a:pt x="99" y="29"/>
                  <a:pt x="94" y="25"/>
                  <a:pt x="94" y="20"/>
                </a:cubicBezTo>
                <a:cubicBezTo>
                  <a:pt x="93" y="15"/>
                  <a:pt x="96" y="10"/>
                  <a:pt x="102" y="9"/>
                </a:cubicBezTo>
                <a:cubicBezTo>
                  <a:pt x="118" y="6"/>
                  <a:pt x="134" y="4"/>
                  <a:pt x="150" y="3"/>
                </a:cubicBezTo>
                <a:cubicBezTo>
                  <a:pt x="155" y="2"/>
                  <a:pt x="160" y="6"/>
                  <a:pt x="160" y="12"/>
                </a:cubicBezTo>
                <a:cubicBezTo>
                  <a:pt x="161" y="17"/>
                  <a:pt x="157" y="22"/>
                  <a:pt x="151" y="23"/>
                </a:cubicBezTo>
                <a:cubicBezTo>
                  <a:pt x="136" y="24"/>
                  <a:pt x="120" y="26"/>
                  <a:pt x="105" y="29"/>
                </a:cubicBezTo>
                <a:cubicBezTo>
                  <a:pt x="105" y="29"/>
                  <a:pt x="104" y="29"/>
                  <a:pt x="104" y="29"/>
                </a:cubicBezTo>
                <a:close/>
                <a:moveTo>
                  <a:pt x="245" y="22"/>
                </a:moveTo>
                <a:cubicBezTo>
                  <a:pt x="245" y="22"/>
                  <a:pt x="245" y="22"/>
                  <a:pt x="244" y="22"/>
                </a:cubicBezTo>
                <a:cubicBezTo>
                  <a:pt x="229" y="21"/>
                  <a:pt x="213" y="20"/>
                  <a:pt x="198" y="20"/>
                </a:cubicBezTo>
                <a:cubicBezTo>
                  <a:pt x="198" y="20"/>
                  <a:pt x="198" y="20"/>
                  <a:pt x="198" y="20"/>
                </a:cubicBezTo>
                <a:cubicBezTo>
                  <a:pt x="192" y="20"/>
                  <a:pt x="188" y="16"/>
                  <a:pt x="188" y="11"/>
                </a:cubicBezTo>
                <a:cubicBezTo>
                  <a:pt x="188" y="5"/>
                  <a:pt x="192" y="0"/>
                  <a:pt x="198" y="0"/>
                </a:cubicBezTo>
                <a:cubicBezTo>
                  <a:pt x="214" y="0"/>
                  <a:pt x="230" y="1"/>
                  <a:pt x="246" y="2"/>
                </a:cubicBezTo>
                <a:cubicBezTo>
                  <a:pt x="251" y="2"/>
                  <a:pt x="255" y="7"/>
                  <a:pt x="255" y="12"/>
                </a:cubicBezTo>
                <a:cubicBezTo>
                  <a:pt x="255" y="18"/>
                  <a:pt x="250" y="22"/>
                  <a:pt x="245" y="22"/>
                </a:cubicBezTo>
                <a:close/>
              </a:path>
            </a:pathLst>
          </a:custGeom>
          <a:solidFill>
            <a:srgbClr val="C0DC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grpSp>
        <p:nvGrpSpPr>
          <p:cNvPr id="180" name="Группа 179">
            <a:extLst>
              <a:ext uri="{FF2B5EF4-FFF2-40B4-BE49-F238E27FC236}">
                <a16:creationId xmlns:a16="http://schemas.microsoft.com/office/drawing/2014/main" id="{DAADE944-CE47-A44A-8819-0334D685B558}"/>
              </a:ext>
            </a:extLst>
          </p:cNvPr>
          <p:cNvGrpSpPr/>
          <p:nvPr/>
        </p:nvGrpSpPr>
        <p:grpSpPr>
          <a:xfrm>
            <a:off x="9428163" y="4083807"/>
            <a:ext cx="2151847" cy="1638604"/>
            <a:chOff x="9428163" y="4083807"/>
            <a:chExt cx="2151847" cy="1638604"/>
          </a:xfrm>
        </p:grpSpPr>
        <p:sp>
          <p:nvSpPr>
            <p:cNvPr id="149" name="Rectangle 21">
              <a:extLst>
                <a:ext uri="{FF2B5EF4-FFF2-40B4-BE49-F238E27FC236}">
                  <a16:creationId xmlns:a16="http://schemas.microsoft.com/office/drawing/2014/main" id="{36F4E629-27D6-DD4C-4954-61521BB5AA99}"/>
                </a:ext>
              </a:extLst>
            </p:cNvPr>
            <p:cNvSpPr/>
            <p:nvPr/>
          </p:nvSpPr>
          <p:spPr>
            <a:xfrm>
              <a:off x="9428163" y="4152751"/>
              <a:ext cx="1657944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0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0" name="Freeform 20">
              <a:extLst>
                <a:ext uri="{FF2B5EF4-FFF2-40B4-BE49-F238E27FC236}">
                  <a16:creationId xmlns:a16="http://schemas.microsoft.com/office/drawing/2014/main" id="{2480290A-41EC-D483-4B2B-DB80CB1B0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613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1" name="Freeform 21">
              <a:extLst>
                <a:ext uri="{FF2B5EF4-FFF2-40B4-BE49-F238E27FC236}">
                  <a16:creationId xmlns:a16="http://schemas.microsoft.com/office/drawing/2014/main" id="{2B300D93-F99A-70CA-8C32-460D60BC7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3" name="Freeform 23">
              <a:extLst>
                <a:ext uri="{FF2B5EF4-FFF2-40B4-BE49-F238E27FC236}">
                  <a16:creationId xmlns:a16="http://schemas.microsoft.com/office/drawing/2014/main" id="{306C8701-EF10-8814-6311-FE751CCF1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6" name="Группа 175">
            <a:extLst>
              <a:ext uri="{FF2B5EF4-FFF2-40B4-BE49-F238E27FC236}">
                <a16:creationId xmlns:a16="http://schemas.microsoft.com/office/drawing/2014/main" id="{E4D7ED61-36AC-F9C6-3445-7AC2CA08A747}"/>
              </a:ext>
            </a:extLst>
          </p:cNvPr>
          <p:cNvGrpSpPr/>
          <p:nvPr/>
        </p:nvGrpSpPr>
        <p:grpSpPr>
          <a:xfrm>
            <a:off x="224760" y="4071540"/>
            <a:ext cx="1890777" cy="1650871"/>
            <a:chOff x="224760" y="4071540"/>
            <a:chExt cx="1890777" cy="1650871"/>
          </a:xfrm>
        </p:grpSpPr>
        <p:sp>
          <p:nvSpPr>
            <p:cNvPr id="155" name="Rectangle 25">
              <a:extLst>
                <a:ext uri="{FF2B5EF4-FFF2-40B4-BE49-F238E27FC236}">
                  <a16:creationId xmlns:a16="http://schemas.microsoft.com/office/drawing/2014/main" id="{357B8EC3-E7A2-3FD0-5323-9095DE84CB4D}"/>
                </a:ext>
              </a:extLst>
            </p:cNvPr>
            <p:cNvSpPr/>
            <p:nvPr/>
          </p:nvSpPr>
          <p:spPr>
            <a:xfrm>
              <a:off x="224760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6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6" name="Freeform 24">
              <a:extLst>
                <a:ext uri="{FF2B5EF4-FFF2-40B4-BE49-F238E27FC236}">
                  <a16:creationId xmlns:a16="http://schemas.microsoft.com/office/drawing/2014/main" id="{058E620E-8F51-3B75-4F91-7C445F7A6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7" name="Freeform 26">
              <a:extLst>
                <a:ext uri="{FF2B5EF4-FFF2-40B4-BE49-F238E27FC236}">
                  <a16:creationId xmlns:a16="http://schemas.microsoft.com/office/drawing/2014/main" id="{056FA1BB-B0A6-278B-B272-957B3EB05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5503178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8" name="Freeform 27">
              <a:extLst>
                <a:ext uri="{FF2B5EF4-FFF2-40B4-BE49-F238E27FC236}">
                  <a16:creationId xmlns:a16="http://schemas.microsoft.com/office/drawing/2014/main" id="{B371D828-B986-6A13-2F8F-8C2AA9CE76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4071540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59" name="Freeform 28">
              <a:extLst>
                <a:ext uri="{FF2B5EF4-FFF2-40B4-BE49-F238E27FC236}">
                  <a16:creationId xmlns:a16="http://schemas.microsoft.com/office/drawing/2014/main" id="{46FFBFAB-5BA1-161C-28D1-DC9512515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id="{CF73DFC4-F83D-3C5D-93E6-DC53F4B396E4}"/>
              </a:ext>
            </a:extLst>
          </p:cNvPr>
          <p:cNvSpPr txBox="1"/>
          <p:nvPr/>
        </p:nvSpPr>
        <p:spPr>
          <a:xfrm>
            <a:off x="107494" y="3248119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скусствен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нтеллект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4D249C36-FF51-0447-B15B-31D335C9FD3C}"/>
              </a:ext>
            </a:extLst>
          </p:cNvPr>
          <p:cNvSpPr txBox="1"/>
          <p:nvPr/>
        </p:nvSpPr>
        <p:spPr>
          <a:xfrm>
            <a:off x="2766315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иксель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29C65B57-3AA0-D6FE-C94C-E370A4EDD7B9}"/>
              </a:ext>
            </a:extLst>
          </p:cNvPr>
          <p:cNvSpPr txBox="1"/>
          <p:nvPr/>
        </p:nvSpPr>
        <p:spPr>
          <a:xfrm>
            <a:off x="495374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Яркие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цвета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395AFBD5-9B99-F345-FDFD-93A5D5B71B8B}"/>
              </a:ext>
            </a:extLst>
          </p:cNvPr>
          <p:cNvSpPr txBox="1"/>
          <p:nvPr/>
        </p:nvSpPr>
        <p:spPr>
          <a:xfrm>
            <a:off x="743329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Ретр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иль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5313716C-B7B8-C6FF-ACED-F428CB2ACDAA}"/>
              </a:ext>
            </a:extLst>
          </p:cNvPr>
          <p:cNvSpPr txBox="1"/>
          <p:nvPr/>
        </p:nvSpPr>
        <p:spPr>
          <a:xfrm>
            <a:off x="9798659" y="3248119"/>
            <a:ext cx="2284517" cy="352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Минимализм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8570A41B-47BE-1ADC-53D4-B5C4C87BF32A}"/>
              </a:ext>
            </a:extLst>
          </p:cNvPr>
          <p:cNvSpPr txBox="1"/>
          <p:nvPr/>
        </p:nvSpPr>
        <p:spPr>
          <a:xfrm>
            <a:off x="107494" y="5684038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ерегружен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композиция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900F5795-34FF-8E0C-5755-2A87841E1FE5}"/>
              </a:ext>
            </a:extLst>
          </p:cNvPr>
          <p:cNvSpPr txBox="1"/>
          <p:nvPr/>
        </p:nvSpPr>
        <p:spPr>
          <a:xfrm>
            <a:off x="2766315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Нестандарт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ипографика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6DD45F9-5584-5D17-58D5-4194B430A37C}"/>
              </a:ext>
            </a:extLst>
          </p:cNvPr>
          <p:cNvSpPr txBox="1"/>
          <p:nvPr/>
        </p:nvSpPr>
        <p:spPr>
          <a:xfrm>
            <a:off x="495374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Черн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белый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90A2FE5A-C11E-3349-F29A-A3A4CDFD8145}"/>
              </a:ext>
            </a:extLst>
          </p:cNvPr>
          <p:cNvSpPr txBox="1"/>
          <p:nvPr/>
        </p:nvSpPr>
        <p:spPr>
          <a:xfrm>
            <a:off x="743329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екл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2ECDF986-333B-B886-9B05-C45E5BC23EDE}"/>
              </a:ext>
            </a:extLst>
          </p:cNvPr>
          <p:cNvSpPr txBox="1"/>
          <p:nvPr/>
        </p:nvSpPr>
        <p:spPr>
          <a:xfrm>
            <a:off x="9798659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екстуры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 фактуры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1BCB991E-6BCE-AE1A-AF87-9814B0CE796B}"/>
              </a:ext>
            </a:extLst>
          </p:cNvPr>
          <p:cNvGrpSpPr/>
          <p:nvPr/>
        </p:nvGrpSpPr>
        <p:grpSpPr>
          <a:xfrm>
            <a:off x="-22173644" y="6524626"/>
            <a:ext cx="20763121" cy="9582907"/>
            <a:chOff x="163842" y="-347809"/>
            <a:chExt cx="20763121" cy="9582907"/>
          </a:xfrm>
        </p:grpSpPr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B6023554-6CDB-B72F-7D03-455EA16B0A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 rot="21154645">
              <a:off x="163842" y="3475514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FC840A29-D23C-4611-D0EF-2B8CBB65B20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1154645">
              <a:off x="5329320" y="2193963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02AB1233-F450-B661-D310-B2736245F5C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/>
          </p:blipFill>
          <p:spPr>
            <a:xfrm rot="21154645">
              <a:off x="571702" y="6520445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2D819F7F-5BF9-E6B7-975E-F80C0783B93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 rot="21154645">
              <a:off x="5737180" y="5238894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EF39B582-1DAA-2D2E-C59D-6F82B6EA6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 rot="21154645">
              <a:off x="10465625" y="933742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CFD1CECC-1CA9-793F-6DD3-B07770F493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1154645">
              <a:off x="15631103" y="-347809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041BF841-78E5-DF96-B3E2-80E9331A51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 rot="21154645">
              <a:off x="10935436" y="3930880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84C5D57C-8C08-AF38-C9BA-C83C4971EF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1154645">
              <a:off x="16100914" y="2649329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</p:grpSp>
      <p:pic>
        <p:nvPicPr>
          <p:cNvPr id="13" name="Picture 2" descr="Golism - Шаблон профиля современной бизнес-компании">
            <a:extLst>
              <a:ext uri="{FF2B5EF4-FFF2-40B4-BE49-F238E27FC236}">
                <a16:creationId xmlns:a16="http://schemas.microsoft.com/office/drawing/2014/main" id="{BFCC7D08-228A-B5D3-EA2D-3F21BF0713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640864" y="3095624"/>
            <a:ext cx="13664845" cy="9109897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67920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22222E-6 L 0.06576 2.22222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73" name="Группа 172">
            <a:extLst>
              <a:ext uri="{FF2B5EF4-FFF2-40B4-BE49-F238E27FC236}">
                <a16:creationId xmlns:a16="http://schemas.microsoft.com/office/drawing/2014/main" id="{EB1D928E-4F1C-D312-593E-162A0FF3104C}"/>
              </a:ext>
            </a:extLst>
          </p:cNvPr>
          <p:cNvGrpSpPr/>
          <p:nvPr/>
        </p:nvGrpSpPr>
        <p:grpSpPr>
          <a:xfrm>
            <a:off x="-6284268" y="0"/>
            <a:ext cx="9176693" cy="7962820"/>
            <a:chOff x="4931227" y="1530804"/>
            <a:chExt cx="1902534" cy="1650871"/>
          </a:xfrm>
        </p:grpSpPr>
        <p:sp>
          <p:nvSpPr>
            <p:cNvPr id="92" name="Rectangle 23">
              <a:extLst>
                <a:ext uri="{FF2B5EF4-FFF2-40B4-BE49-F238E27FC236}">
                  <a16:creationId xmlns:a16="http://schemas.microsoft.com/office/drawing/2014/main" id="{273617A1-2DC0-5FB9-D7E0-FF6BCB3EB5ED}"/>
                </a:ext>
              </a:extLst>
            </p:cNvPr>
            <p:cNvSpPr/>
            <p:nvPr/>
          </p:nvSpPr>
          <p:spPr>
            <a:xfrm>
              <a:off x="4931227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3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006CAACD-CC97-0283-4433-83EF84659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D7108752-D1B1-31C4-D013-C181BD470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2962442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C6A1B4F2-3F92-F637-BB6F-29F3023B5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1530804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C1360D4A-55EB-272D-6048-902A967F1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5125CEF4-5743-62B2-E3F5-02CDDE4D510D}"/>
              </a:ext>
            </a:extLst>
          </p:cNvPr>
          <p:cNvSpPr txBox="1"/>
          <p:nvPr/>
        </p:nvSpPr>
        <p:spPr>
          <a:xfrm>
            <a:off x="1043932" y="1195583"/>
            <a:ext cx="9667656" cy="1724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ЯРКИЕ</a:t>
            </a:r>
            <a:b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</a:br>
            <a: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ЦВЕТОВЫЕ ПАЛИТРЫ</a:t>
            </a:r>
          </a:p>
        </p:txBody>
      </p:sp>
      <p:pic>
        <p:nvPicPr>
          <p:cNvPr id="4098" name="Picture 2" descr="Golism - Шаблон профиля современной бизнес-компании">
            <a:extLst>
              <a:ext uri="{FF2B5EF4-FFF2-40B4-BE49-F238E27FC236}">
                <a16:creationId xmlns:a16="http://schemas.microsoft.com/office/drawing/2014/main" id="{38A498EE-CF89-2CC7-648B-87FAB99DD6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2476" y="3095624"/>
            <a:ext cx="13664845" cy="9109897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30236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436268" y="451062"/>
            <a:ext cx="8590385" cy="679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36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ТРЕНДЫ В ПРЕЗЕНТАЦИЯХ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35B0E2B-7288-51E5-1236-CF55D862B48D}"/>
              </a:ext>
            </a:extLst>
          </p:cNvPr>
          <p:cNvGrpSpPr/>
          <p:nvPr/>
        </p:nvGrpSpPr>
        <p:grpSpPr>
          <a:xfrm>
            <a:off x="2570693" y="1530804"/>
            <a:ext cx="1904144" cy="1650871"/>
            <a:chOff x="2570693" y="1530804"/>
            <a:chExt cx="1904144" cy="1650871"/>
          </a:xfrm>
        </p:grpSpPr>
        <p:grpSp>
          <p:nvGrpSpPr>
            <p:cNvPr id="163" name="Группа 162">
              <a:extLst>
                <a:ext uri="{FF2B5EF4-FFF2-40B4-BE49-F238E27FC236}">
                  <a16:creationId xmlns:a16="http://schemas.microsoft.com/office/drawing/2014/main" id="{4B8A1FD4-56F7-CF9F-A9B0-1DC5AA30F5E5}"/>
                </a:ext>
              </a:extLst>
            </p:cNvPr>
            <p:cNvGrpSpPr/>
            <p:nvPr/>
          </p:nvGrpSpPr>
          <p:grpSpPr>
            <a:xfrm>
              <a:off x="2570693" y="1543071"/>
              <a:ext cx="1891155" cy="1638604"/>
              <a:chOff x="2570693" y="1543071"/>
              <a:chExt cx="1891155" cy="1638604"/>
            </a:xfrm>
          </p:grpSpPr>
          <p:sp>
            <p:nvSpPr>
              <p:cNvPr id="93" name="Rectangle 24">
                <a:extLst>
                  <a:ext uri="{FF2B5EF4-FFF2-40B4-BE49-F238E27FC236}">
                    <a16:creationId xmlns:a16="http://schemas.microsoft.com/office/drawing/2014/main" id="{56E5413D-BEB3-D6DA-40AC-5C27DF8D4C54}"/>
                  </a:ext>
                </a:extLst>
              </p:cNvPr>
              <p:cNvSpPr/>
              <p:nvPr/>
            </p:nvSpPr>
            <p:spPr>
              <a:xfrm>
                <a:off x="2570693" y="1612015"/>
                <a:ext cx="1337881" cy="15696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9600" dirty="0">
                    <a:solidFill>
                      <a:srgbClr val="620CFD"/>
                    </a:solidFill>
                    <a:latin typeface="Poppins SemiBold" panose="00000700000000000000" pitchFamily="2" charset="0"/>
                    <a:ea typeface="Roboto Bold" panose="02000000000000000000" pitchFamily="2" charset="0"/>
                    <a:cs typeface="Poppins SemiBold" panose="00000700000000000000" pitchFamily="2" charset="0"/>
                  </a:rPr>
                  <a:t>2</a:t>
                </a:r>
                <a:endParaRPr lang="en-US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95" name="Freeform 5">
                <a:extLst>
                  <a:ext uri="{FF2B5EF4-FFF2-40B4-BE49-F238E27FC236}">
                    <a16:creationId xmlns:a16="http://schemas.microsoft.com/office/drawing/2014/main" id="{1217AEF5-802E-A251-3622-85C194DF9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50" y="1543071"/>
                <a:ext cx="1069398" cy="1505240"/>
              </a:xfrm>
              <a:custGeom>
                <a:avLst/>
                <a:gdLst>
                  <a:gd name="T0" fmla="*/ 260 w 872"/>
                  <a:gd name="T1" fmla="*/ 0 h 1225"/>
                  <a:gd name="T2" fmla="*/ 0 w 872"/>
                  <a:gd name="T3" fmla="*/ 58 h 1225"/>
                  <a:gd name="T4" fmla="*/ 0 w 872"/>
                  <a:gd name="T5" fmla="*/ 1168 h 1225"/>
                  <a:gd name="T6" fmla="*/ 260 w 872"/>
                  <a:gd name="T7" fmla="*/ 1225 h 1225"/>
                  <a:gd name="T8" fmla="*/ 872 w 872"/>
                  <a:gd name="T9" fmla="*/ 613 h 1225"/>
                  <a:gd name="T10" fmla="*/ 260 w 872"/>
                  <a:gd name="T11" fmla="*/ 0 h 1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2" h="1225">
                    <a:moveTo>
                      <a:pt x="260" y="0"/>
                    </a:moveTo>
                    <a:cubicBezTo>
                      <a:pt x="167" y="0"/>
                      <a:pt x="79" y="21"/>
                      <a:pt x="0" y="58"/>
                    </a:cubicBezTo>
                    <a:cubicBezTo>
                      <a:pt x="0" y="1168"/>
                      <a:pt x="0" y="1168"/>
                      <a:pt x="0" y="1168"/>
                    </a:cubicBezTo>
                    <a:cubicBezTo>
                      <a:pt x="79" y="1205"/>
                      <a:pt x="167" y="1225"/>
                      <a:pt x="260" y="1225"/>
                    </a:cubicBezTo>
                    <a:cubicBezTo>
                      <a:pt x="598" y="1225"/>
                      <a:pt x="872" y="951"/>
                      <a:pt x="872" y="613"/>
                    </a:cubicBezTo>
                    <a:cubicBezTo>
                      <a:pt x="872" y="275"/>
                      <a:pt x="598" y="0"/>
                      <a:pt x="2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76200" dist="38100" dir="10800000" algn="r" rotWithShape="0">
                  <a:prstClr val="black">
                    <a:alpha val="3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A3572630-598B-5C94-8D3E-3784DF297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id="{DAA99000-EA9A-AE50-74C7-2BA64FDCC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id="{8B3DD752-C6A4-CFD4-19C2-EB2456B2D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3" name="Группа 172">
            <a:extLst>
              <a:ext uri="{FF2B5EF4-FFF2-40B4-BE49-F238E27FC236}">
                <a16:creationId xmlns:a16="http://schemas.microsoft.com/office/drawing/2014/main" id="{EB1D928E-4F1C-D312-593E-162A0FF3104C}"/>
              </a:ext>
            </a:extLst>
          </p:cNvPr>
          <p:cNvGrpSpPr/>
          <p:nvPr/>
        </p:nvGrpSpPr>
        <p:grpSpPr>
          <a:xfrm>
            <a:off x="4931227" y="1530804"/>
            <a:ext cx="1902534" cy="1650871"/>
            <a:chOff x="4931227" y="1530804"/>
            <a:chExt cx="1902534" cy="1650871"/>
          </a:xfrm>
        </p:grpSpPr>
        <p:sp>
          <p:nvSpPr>
            <p:cNvPr id="92" name="Rectangle 23">
              <a:extLst>
                <a:ext uri="{FF2B5EF4-FFF2-40B4-BE49-F238E27FC236}">
                  <a16:creationId xmlns:a16="http://schemas.microsoft.com/office/drawing/2014/main" id="{273617A1-2DC0-5FB9-D7E0-FF6BCB3EB5ED}"/>
                </a:ext>
              </a:extLst>
            </p:cNvPr>
            <p:cNvSpPr/>
            <p:nvPr/>
          </p:nvSpPr>
          <p:spPr>
            <a:xfrm>
              <a:off x="4931227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3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006CAACD-CC97-0283-4433-83EF84659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D7108752-D1B1-31C4-D013-C181BD470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2962442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C6A1B4F2-3F92-F637-BB6F-29F3023B5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1530804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C1360D4A-55EB-272D-6048-902A967F1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3CCC8006-DC23-82B5-9306-E15D523021AC}"/>
              </a:ext>
            </a:extLst>
          </p:cNvPr>
          <p:cNvGrpSpPr/>
          <p:nvPr/>
        </p:nvGrpSpPr>
        <p:grpSpPr>
          <a:xfrm>
            <a:off x="7295974" y="1530804"/>
            <a:ext cx="1959602" cy="1650871"/>
            <a:chOff x="7295974" y="1530804"/>
            <a:chExt cx="1959602" cy="1650871"/>
          </a:xfrm>
        </p:grpSpPr>
        <p:sp>
          <p:nvSpPr>
            <p:cNvPr id="91" name="Rectangle 22">
              <a:extLst>
                <a:ext uri="{FF2B5EF4-FFF2-40B4-BE49-F238E27FC236}">
                  <a16:creationId xmlns:a16="http://schemas.microsoft.com/office/drawing/2014/main" id="{AF59DD62-7880-13CC-4138-B454478E64D9}"/>
                </a:ext>
              </a:extLst>
            </p:cNvPr>
            <p:cNvSpPr/>
            <p:nvPr/>
          </p:nvSpPr>
          <p:spPr>
            <a:xfrm>
              <a:off x="7295974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4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B988EB9F-9358-3C35-272D-F6EFF02A7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1543071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0" name="Freeform 17">
              <a:extLst>
                <a:ext uri="{FF2B5EF4-FFF2-40B4-BE49-F238E27FC236}">
                  <a16:creationId xmlns:a16="http://schemas.microsoft.com/office/drawing/2014/main" id="{CE1C1353-7B83-A46C-5D84-EEF7396A6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2962442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1" name="Freeform 18">
              <a:extLst>
                <a:ext uri="{FF2B5EF4-FFF2-40B4-BE49-F238E27FC236}">
                  <a16:creationId xmlns:a16="http://schemas.microsoft.com/office/drawing/2014/main" id="{0D092205-5F45-3E67-E60B-C5468BB8F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1530804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2" name="Freeform 19">
              <a:extLst>
                <a:ext uri="{FF2B5EF4-FFF2-40B4-BE49-F238E27FC236}">
                  <a16:creationId xmlns:a16="http://schemas.microsoft.com/office/drawing/2014/main" id="{62B77E0A-A3CB-4BAD-15B2-38C772EEF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1588532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5" name="Группа 174">
            <a:extLst>
              <a:ext uri="{FF2B5EF4-FFF2-40B4-BE49-F238E27FC236}">
                <a16:creationId xmlns:a16="http://schemas.microsoft.com/office/drawing/2014/main" id="{0B591BB7-477C-7C35-7106-26B676D5BE13}"/>
              </a:ext>
            </a:extLst>
          </p:cNvPr>
          <p:cNvGrpSpPr/>
          <p:nvPr/>
        </p:nvGrpSpPr>
        <p:grpSpPr>
          <a:xfrm>
            <a:off x="9717808" y="1530804"/>
            <a:ext cx="1902714" cy="1650871"/>
            <a:chOff x="9717808" y="1530804"/>
            <a:chExt cx="1902714" cy="1650871"/>
          </a:xfrm>
        </p:grpSpPr>
        <p:sp>
          <p:nvSpPr>
            <p:cNvPr id="90" name="Rectangle 21">
              <a:extLst>
                <a:ext uri="{FF2B5EF4-FFF2-40B4-BE49-F238E27FC236}">
                  <a16:creationId xmlns:a16="http://schemas.microsoft.com/office/drawing/2014/main" id="{29569A48-EE85-2ED7-8D80-191157BE8C22}"/>
                </a:ext>
              </a:extLst>
            </p:cNvPr>
            <p:cNvSpPr/>
            <p:nvPr/>
          </p:nvSpPr>
          <p:spPr>
            <a:xfrm>
              <a:off x="9717808" y="1612015"/>
              <a:ext cx="1337882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5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3" name="Freeform 20">
              <a:extLst>
                <a:ext uri="{FF2B5EF4-FFF2-40B4-BE49-F238E27FC236}">
                  <a16:creationId xmlns:a16="http://schemas.microsoft.com/office/drawing/2014/main" id="{9EE6F49C-07F6-DB6B-4B0B-1EB921EE5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8136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5" name="Freeform 21">
              <a:extLst>
                <a:ext uri="{FF2B5EF4-FFF2-40B4-BE49-F238E27FC236}">
                  <a16:creationId xmlns:a16="http://schemas.microsoft.com/office/drawing/2014/main" id="{6749EA0B-A536-CDB9-C374-57F4AE4E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6" name="Freeform 22">
              <a:extLst>
                <a:ext uri="{FF2B5EF4-FFF2-40B4-BE49-F238E27FC236}">
                  <a16:creationId xmlns:a16="http://schemas.microsoft.com/office/drawing/2014/main" id="{E4B64482-23A1-4452-2675-AA1B5EFFB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5965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3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59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3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88 w 827"/>
                <a:gd name="T99" fmla="*/ 11 h 1245"/>
                <a:gd name="T100" fmla="*/ 245 w 827"/>
                <a:gd name="T101" fmla="*/ 2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199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8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7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4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3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1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8" y="842"/>
                    <a:pt x="777" y="841"/>
                  </a:cubicBezTo>
                  <a:cubicBezTo>
                    <a:pt x="772" y="839"/>
                    <a:pt x="769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1" y="535"/>
                    <a:pt x="823" y="551"/>
                  </a:cubicBezTo>
                  <a:cubicBezTo>
                    <a:pt x="824" y="557"/>
                    <a:pt x="820" y="562"/>
                    <a:pt x="814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2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4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59" y="111"/>
                  </a:cubicBezTo>
                  <a:cubicBezTo>
                    <a:pt x="573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6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4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29" y="21"/>
                    <a:pt x="213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7" name="Freeform 23">
              <a:extLst>
                <a:ext uri="{FF2B5EF4-FFF2-40B4-BE49-F238E27FC236}">
                  <a16:creationId xmlns:a16="http://schemas.microsoft.com/office/drawing/2014/main" id="{04E21E31-4E2B-6A92-5A7F-D0ED69C0E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2" name="Группа 171">
            <a:extLst>
              <a:ext uri="{FF2B5EF4-FFF2-40B4-BE49-F238E27FC236}">
                <a16:creationId xmlns:a16="http://schemas.microsoft.com/office/drawing/2014/main" id="{70F9F561-E925-CC3F-3FD1-0CF9DB029578}"/>
              </a:ext>
            </a:extLst>
          </p:cNvPr>
          <p:cNvGrpSpPr/>
          <p:nvPr/>
        </p:nvGrpSpPr>
        <p:grpSpPr>
          <a:xfrm>
            <a:off x="224760" y="1530804"/>
            <a:ext cx="1890777" cy="1650871"/>
            <a:chOff x="224760" y="1530804"/>
            <a:chExt cx="1890777" cy="1650871"/>
          </a:xfrm>
        </p:grpSpPr>
        <p:sp>
          <p:nvSpPr>
            <p:cNvPr id="94" name="Rectangle 25">
              <a:extLst>
                <a:ext uri="{FF2B5EF4-FFF2-40B4-BE49-F238E27FC236}">
                  <a16:creationId xmlns:a16="http://schemas.microsoft.com/office/drawing/2014/main" id="{9426B5F4-A4AA-8DEB-EADD-889E43D6ECF0}"/>
                </a:ext>
              </a:extLst>
            </p:cNvPr>
            <p:cNvSpPr/>
            <p:nvPr/>
          </p:nvSpPr>
          <p:spPr>
            <a:xfrm>
              <a:off x="224760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8" name="Freeform 24">
              <a:extLst>
                <a:ext uri="{FF2B5EF4-FFF2-40B4-BE49-F238E27FC236}">
                  <a16:creationId xmlns:a16="http://schemas.microsoft.com/office/drawing/2014/main" id="{8668C76E-DE85-167C-8B9D-C63A038FC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1543071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1" name="Freeform 26">
              <a:extLst>
                <a:ext uri="{FF2B5EF4-FFF2-40B4-BE49-F238E27FC236}">
                  <a16:creationId xmlns:a16="http://schemas.microsoft.com/office/drawing/2014/main" id="{821036B1-A114-9E54-AC89-AFD52FDBD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2962442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2" name="Freeform 27">
              <a:extLst>
                <a:ext uri="{FF2B5EF4-FFF2-40B4-BE49-F238E27FC236}">
                  <a16:creationId xmlns:a16="http://schemas.microsoft.com/office/drawing/2014/main" id="{FADFDA08-A75F-E108-01D3-C17D96AF18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1530804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23" name="Freeform 28">
              <a:extLst>
                <a:ext uri="{FF2B5EF4-FFF2-40B4-BE49-F238E27FC236}">
                  <a16:creationId xmlns:a16="http://schemas.microsoft.com/office/drawing/2014/main" id="{02E78DB1-B4D3-B148-1742-D14CDC023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CEE3B85A-97B9-89F8-C67A-48CF9E943346}"/>
              </a:ext>
            </a:extLst>
          </p:cNvPr>
          <p:cNvGrpSpPr/>
          <p:nvPr/>
        </p:nvGrpSpPr>
        <p:grpSpPr>
          <a:xfrm>
            <a:off x="2570693" y="4071540"/>
            <a:ext cx="1904144" cy="1650871"/>
            <a:chOff x="2570693" y="4071540"/>
            <a:chExt cx="1904144" cy="1650871"/>
          </a:xfrm>
        </p:grpSpPr>
        <p:sp>
          <p:nvSpPr>
            <p:cNvPr id="131" name="Rectangle 24">
              <a:extLst>
                <a:ext uri="{FF2B5EF4-FFF2-40B4-BE49-F238E27FC236}">
                  <a16:creationId xmlns:a16="http://schemas.microsoft.com/office/drawing/2014/main" id="{39A4F353-AB65-8B80-1741-785AC44F9562}"/>
                </a:ext>
              </a:extLst>
            </p:cNvPr>
            <p:cNvSpPr/>
            <p:nvPr/>
          </p:nvSpPr>
          <p:spPr>
            <a:xfrm>
              <a:off x="2570693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7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7B1958A9-DF83-922C-950A-7314D9F26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50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3" name="Freeform 7">
              <a:extLst>
                <a:ext uri="{FF2B5EF4-FFF2-40B4-BE49-F238E27FC236}">
                  <a16:creationId xmlns:a16="http://schemas.microsoft.com/office/drawing/2014/main" id="{564C58DD-3A84-B66A-E8A5-F6FD608DA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4" name="Freeform 8">
              <a:extLst>
                <a:ext uri="{FF2B5EF4-FFF2-40B4-BE49-F238E27FC236}">
                  <a16:creationId xmlns:a16="http://schemas.microsoft.com/office/drawing/2014/main" id="{F098A11B-806D-749D-B8E3-34D6654304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4071540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5" name="Freeform 9">
              <a:extLst>
                <a:ext uri="{FF2B5EF4-FFF2-40B4-BE49-F238E27FC236}">
                  <a16:creationId xmlns:a16="http://schemas.microsoft.com/office/drawing/2014/main" id="{FBABAF63-61AF-5442-229A-F95325EF3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8" name="Группа 177">
            <a:extLst>
              <a:ext uri="{FF2B5EF4-FFF2-40B4-BE49-F238E27FC236}">
                <a16:creationId xmlns:a16="http://schemas.microsoft.com/office/drawing/2014/main" id="{C99650E0-C87B-0F1D-590C-BEBF62DD60CC}"/>
              </a:ext>
            </a:extLst>
          </p:cNvPr>
          <p:cNvGrpSpPr/>
          <p:nvPr/>
        </p:nvGrpSpPr>
        <p:grpSpPr>
          <a:xfrm>
            <a:off x="4931227" y="4071540"/>
            <a:ext cx="1902534" cy="1650871"/>
            <a:chOff x="4931227" y="4071540"/>
            <a:chExt cx="1902534" cy="1650871"/>
          </a:xfrm>
        </p:grpSpPr>
        <p:sp>
          <p:nvSpPr>
            <p:cNvPr id="137" name="Rectangle 23">
              <a:extLst>
                <a:ext uri="{FF2B5EF4-FFF2-40B4-BE49-F238E27FC236}">
                  <a16:creationId xmlns:a16="http://schemas.microsoft.com/office/drawing/2014/main" id="{ED07FEA2-D699-6335-26A2-4AF432160754}"/>
                </a:ext>
              </a:extLst>
            </p:cNvPr>
            <p:cNvSpPr/>
            <p:nvPr/>
          </p:nvSpPr>
          <p:spPr>
            <a:xfrm>
              <a:off x="4931227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8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09C3FF1-010B-ED79-6CA1-1B68C3731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9" name="Freeform 12">
              <a:extLst>
                <a:ext uri="{FF2B5EF4-FFF2-40B4-BE49-F238E27FC236}">
                  <a16:creationId xmlns:a16="http://schemas.microsoft.com/office/drawing/2014/main" id="{247B6EB1-243F-98B7-3420-9B7E47C17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5503178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0" name="Freeform 13">
              <a:extLst>
                <a:ext uri="{FF2B5EF4-FFF2-40B4-BE49-F238E27FC236}">
                  <a16:creationId xmlns:a16="http://schemas.microsoft.com/office/drawing/2014/main" id="{E1A9EFCB-1E58-4FF0-A5F8-9EC6968E1E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4071540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1" name="Freeform 14">
              <a:extLst>
                <a:ext uri="{FF2B5EF4-FFF2-40B4-BE49-F238E27FC236}">
                  <a16:creationId xmlns:a16="http://schemas.microsoft.com/office/drawing/2014/main" id="{EA221590-F141-E01D-575B-5DE9A0222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9" name="Группа 178">
            <a:extLst>
              <a:ext uri="{FF2B5EF4-FFF2-40B4-BE49-F238E27FC236}">
                <a16:creationId xmlns:a16="http://schemas.microsoft.com/office/drawing/2014/main" id="{6E953091-5929-4FB2-64FD-9599FF6FA641}"/>
              </a:ext>
            </a:extLst>
          </p:cNvPr>
          <p:cNvGrpSpPr/>
          <p:nvPr/>
        </p:nvGrpSpPr>
        <p:grpSpPr>
          <a:xfrm>
            <a:off x="7295974" y="4071540"/>
            <a:ext cx="1959602" cy="1650871"/>
            <a:chOff x="7295974" y="4071540"/>
            <a:chExt cx="1959602" cy="1650871"/>
          </a:xfrm>
        </p:grpSpPr>
        <p:sp>
          <p:nvSpPr>
            <p:cNvPr id="143" name="Rectangle 22">
              <a:extLst>
                <a:ext uri="{FF2B5EF4-FFF2-40B4-BE49-F238E27FC236}">
                  <a16:creationId xmlns:a16="http://schemas.microsoft.com/office/drawing/2014/main" id="{20EFDC4D-8D49-F4A1-63CA-733DC4D66C8D}"/>
                </a:ext>
              </a:extLst>
            </p:cNvPr>
            <p:cNvSpPr/>
            <p:nvPr/>
          </p:nvSpPr>
          <p:spPr>
            <a:xfrm>
              <a:off x="7295974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9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0A68112C-D223-568A-7F32-730CA6D7F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4083807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5" name="Freeform 17">
              <a:extLst>
                <a:ext uri="{FF2B5EF4-FFF2-40B4-BE49-F238E27FC236}">
                  <a16:creationId xmlns:a16="http://schemas.microsoft.com/office/drawing/2014/main" id="{857360FC-21B5-721D-A68B-D195A19CC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5503178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6" name="Freeform 18">
              <a:extLst>
                <a:ext uri="{FF2B5EF4-FFF2-40B4-BE49-F238E27FC236}">
                  <a16:creationId xmlns:a16="http://schemas.microsoft.com/office/drawing/2014/main" id="{A9DA7EF3-C181-CE39-61D6-916C859D4C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4071540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7" name="Freeform 19">
              <a:extLst>
                <a:ext uri="{FF2B5EF4-FFF2-40B4-BE49-F238E27FC236}">
                  <a16:creationId xmlns:a16="http://schemas.microsoft.com/office/drawing/2014/main" id="{6E0744BF-151B-AF62-3BDB-9CB6D9283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4129268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52" name="Freeform 22">
            <a:extLst>
              <a:ext uri="{FF2B5EF4-FFF2-40B4-BE49-F238E27FC236}">
                <a16:creationId xmlns:a16="http://schemas.microsoft.com/office/drawing/2014/main" id="{8E6FD6D1-0690-0E47-11F1-32AEE325EB8F}"/>
              </a:ext>
            </a:extLst>
          </p:cNvPr>
          <p:cNvSpPr>
            <a:spLocks noEditPoints="1"/>
          </p:cNvSpPr>
          <p:nvPr/>
        </p:nvSpPr>
        <p:spPr bwMode="auto">
          <a:xfrm>
            <a:off x="10578442" y="4071540"/>
            <a:ext cx="1014557" cy="1529774"/>
          </a:xfrm>
          <a:custGeom>
            <a:avLst/>
            <a:gdLst>
              <a:gd name="T0" fmla="*/ 197 w 827"/>
              <a:gd name="T1" fmla="*/ 1225 h 1245"/>
              <a:gd name="T2" fmla="*/ 245 w 827"/>
              <a:gd name="T3" fmla="*/ 1244 h 1245"/>
              <a:gd name="T4" fmla="*/ 101 w 827"/>
              <a:gd name="T5" fmla="*/ 1237 h 1245"/>
              <a:gd name="T6" fmla="*/ 160 w 827"/>
              <a:gd name="T7" fmla="*/ 1234 h 1245"/>
              <a:gd name="T8" fmla="*/ 290 w 827"/>
              <a:gd name="T9" fmla="*/ 1219 h 1245"/>
              <a:gd name="T10" fmla="*/ 293 w 827"/>
              <a:gd name="T11" fmla="*/ 1239 h 1245"/>
              <a:gd name="T12" fmla="*/ 8 w 827"/>
              <a:gd name="T13" fmla="*/ 1214 h 1245"/>
              <a:gd name="T14" fmla="*/ 66 w 827"/>
              <a:gd name="T15" fmla="*/ 1220 h 1245"/>
              <a:gd name="T16" fmla="*/ 381 w 827"/>
              <a:gd name="T17" fmla="*/ 1199 h 1245"/>
              <a:gd name="T18" fmla="*/ 386 w 827"/>
              <a:gd name="T19" fmla="*/ 1218 h 1245"/>
              <a:gd name="T20" fmla="*/ 467 w 827"/>
              <a:gd name="T21" fmla="*/ 1165 h 1245"/>
              <a:gd name="T22" fmla="*/ 476 w 827"/>
              <a:gd name="T23" fmla="*/ 1183 h 1245"/>
              <a:gd name="T24" fmla="*/ 548 w 827"/>
              <a:gd name="T25" fmla="*/ 1119 h 1245"/>
              <a:gd name="T26" fmla="*/ 559 w 827"/>
              <a:gd name="T27" fmla="*/ 1135 h 1245"/>
              <a:gd name="T28" fmla="*/ 620 w 827"/>
              <a:gd name="T29" fmla="*/ 1060 h 1245"/>
              <a:gd name="T30" fmla="*/ 633 w 827"/>
              <a:gd name="T31" fmla="*/ 1074 h 1245"/>
              <a:gd name="T32" fmla="*/ 682 w 827"/>
              <a:gd name="T33" fmla="*/ 991 h 1245"/>
              <a:gd name="T34" fmla="*/ 698 w 827"/>
              <a:gd name="T35" fmla="*/ 1003 h 1245"/>
              <a:gd name="T36" fmla="*/ 733 w 827"/>
              <a:gd name="T37" fmla="*/ 913 h 1245"/>
              <a:gd name="T38" fmla="*/ 751 w 827"/>
              <a:gd name="T39" fmla="*/ 923 h 1245"/>
              <a:gd name="T40" fmla="*/ 771 w 827"/>
              <a:gd name="T41" fmla="*/ 828 h 1245"/>
              <a:gd name="T42" fmla="*/ 790 w 827"/>
              <a:gd name="T43" fmla="*/ 835 h 1245"/>
              <a:gd name="T44" fmla="*/ 796 w 827"/>
              <a:gd name="T45" fmla="*/ 739 h 1245"/>
              <a:gd name="T46" fmla="*/ 816 w 827"/>
              <a:gd name="T47" fmla="*/ 743 h 1245"/>
              <a:gd name="T48" fmla="*/ 807 w 827"/>
              <a:gd name="T49" fmla="*/ 647 h 1245"/>
              <a:gd name="T50" fmla="*/ 827 w 827"/>
              <a:gd name="T51" fmla="*/ 599 h 1245"/>
              <a:gd name="T52" fmla="*/ 813 w 827"/>
              <a:gd name="T53" fmla="*/ 562 h 1245"/>
              <a:gd name="T54" fmla="*/ 816 w 827"/>
              <a:gd name="T55" fmla="*/ 504 h 1245"/>
              <a:gd name="T56" fmla="*/ 795 w 827"/>
              <a:gd name="T57" fmla="*/ 470 h 1245"/>
              <a:gd name="T58" fmla="*/ 790 w 827"/>
              <a:gd name="T59" fmla="*/ 411 h 1245"/>
              <a:gd name="T60" fmla="*/ 763 w 827"/>
              <a:gd name="T61" fmla="*/ 381 h 1245"/>
              <a:gd name="T62" fmla="*/ 751 w 827"/>
              <a:gd name="T63" fmla="*/ 324 h 1245"/>
              <a:gd name="T64" fmla="*/ 718 w 827"/>
              <a:gd name="T65" fmla="*/ 298 h 1245"/>
              <a:gd name="T66" fmla="*/ 698 w 827"/>
              <a:gd name="T67" fmla="*/ 243 h 1245"/>
              <a:gd name="T68" fmla="*/ 660 w 827"/>
              <a:gd name="T69" fmla="*/ 223 h 1245"/>
              <a:gd name="T70" fmla="*/ 634 w 827"/>
              <a:gd name="T71" fmla="*/ 172 h 1245"/>
              <a:gd name="T72" fmla="*/ 592 w 827"/>
              <a:gd name="T73" fmla="*/ 158 h 1245"/>
              <a:gd name="T74" fmla="*/ 559 w 827"/>
              <a:gd name="T75" fmla="*/ 111 h 1245"/>
              <a:gd name="T76" fmla="*/ 514 w 827"/>
              <a:gd name="T77" fmla="*/ 104 h 1245"/>
              <a:gd name="T78" fmla="*/ 477 w 827"/>
              <a:gd name="T79" fmla="*/ 63 h 1245"/>
              <a:gd name="T80" fmla="*/ 429 w 827"/>
              <a:gd name="T81" fmla="*/ 63 h 1245"/>
              <a:gd name="T82" fmla="*/ 387 w 827"/>
              <a:gd name="T83" fmla="*/ 28 h 1245"/>
              <a:gd name="T84" fmla="*/ 12 w 827"/>
              <a:gd name="T85" fmla="*/ 51 h 1245"/>
              <a:gd name="T86" fmla="*/ 67 w 827"/>
              <a:gd name="T87" fmla="*/ 26 h 1245"/>
              <a:gd name="T88" fmla="*/ 339 w 827"/>
              <a:gd name="T89" fmla="*/ 35 h 1245"/>
              <a:gd name="T90" fmla="*/ 293 w 827"/>
              <a:gd name="T91" fmla="*/ 7 h 1245"/>
              <a:gd name="T92" fmla="*/ 104 w 827"/>
              <a:gd name="T93" fmla="*/ 29 h 1245"/>
              <a:gd name="T94" fmla="*/ 160 w 827"/>
              <a:gd name="T95" fmla="*/ 12 h 1245"/>
              <a:gd name="T96" fmla="*/ 245 w 827"/>
              <a:gd name="T97" fmla="*/ 22 h 1245"/>
              <a:gd name="T98" fmla="*/ 188 w 827"/>
              <a:gd name="T99" fmla="*/ 11 h 1245"/>
              <a:gd name="T100" fmla="*/ 245 w 827"/>
              <a:gd name="T101" fmla="*/ 22 h 1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27" h="1245">
                <a:moveTo>
                  <a:pt x="205" y="1245"/>
                </a:moveTo>
                <a:cubicBezTo>
                  <a:pt x="202" y="1245"/>
                  <a:pt x="199" y="1245"/>
                  <a:pt x="197" y="1245"/>
                </a:cubicBezTo>
                <a:cubicBezTo>
                  <a:pt x="191" y="1245"/>
                  <a:pt x="187" y="1241"/>
                  <a:pt x="187" y="1235"/>
                </a:cubicBezTo>
                <a:cubicBezTo>
                  <a:pt x="187" y="1230"/>
                  <a:pt x="191" y="1225"/>
                  <a:pt x="197" y="1225"/>
                </a:cubicBezTo>
                <a:cubicBezTo>
                  <a:pt x="197" y="1225"/>
                  <a:pt x="197" y="1225"/>
                  <a:pt x="197" y="1225"/>
                </a:cubicBezTo>
                <a:cubicBezTo>
                  <a:pt x="212" y="1226"/>
                  <a:pt x="228" y="1225"/>
                  <a:pt x="244" y="1224"/>
                </a:cubicBezTo>
                <a:cubicBezTo>
                  <a:pt x="249" y="1224"/>
                  <a:pt x="254" y="1228"/>
                  <a:pt x="254" y="1234"/>
                </a:cubicBezTo>
                <a:cubicBezTo>
                  <a:pt x="255" y="1239"/>
                  <a:pt x="250" y="1244"/>
                  <a:pt x="245" y="1244"/>
                </a:cubicBezTo>
                <a:cubicBezTo>
                  <a:pt x="232" y="1245"/>
                  <a:pt x="218" y="1245"/>
                  <a:pt x="205" y="1245"/>
                </a:cubicBezTo>
                <a:close/>
                <a:moveTo>
                  <a:pt x="150" y="1243"/>
                </a:moveTo>
                <a:cubicBezTo>
                  <a:pt x="149" y="1243"/>
                  <a:pt x="149" y="1243"/>
                  <a:pt x="149" y="1243"/>
                </a:cubicBezTo>
                <a:cubicBezTo>
                  <a:pt x="133" y="1241"/>
                  <a:pt x="117" y="1239"/>
                  <a:pt x="101" y="1237"/>
                </a:cubicBezTo>
                <a:cubicBezTo>
                  <a:pt x="96" y="1236"/>
                  <a:pt x="92" y="1231"/>
                  <a:pt x="93" y="1225"/>
                </a:cubicBezTo>
                <a:cubicBezTo>
                  <a:pt x="94" y="1220"/>
                  <a:pt x="99" y="1216"/>
                  <a:pt x="104" y="1217"/>
                </a:cubicBezTo>
                <a:cubicBezTo>
                  <a:pt x="120" y="1220"/>
                  <a:pt x="135" y="1222"/>
                  <a:pt x="151" y="1223"/>
                </a:cubicBezTo>
                <a:cubicBezTo>
                  <a:pt x="156" y="1223"/>
                  <a:pt x="160" y="1228"/>
                  <a:pt x="160" y="1234"/>
                </a:cubicBezTo>
                <a:cubicBezTo>
                  <a:pt x="159" y="1239"/>
                  <a:pt x="155" y="1243"/>
                  <a:pt x="150" y="1243"/>
                </a:cubicBezTo>
                <a:close/>
                <a:moveTo>
                  <a:pt x="291" y="1239"/>
                </a:moveTo>
                <a:cubicBezTo>
                  <a:pt x="286" y="1239"/>
                  <a:pt x="282" y="1236"/>
                  <a:pt x="281" y="1231"/>
                </a:cubicBezTo>
                <a:cubicBezTo>
                  <a:pt x="281" y="1225"/>
                  <a:pt x="284" y="1220"/>
                  <a:pt x="290" y="1219"/>
                </a:cubicBezTo>
                <a:cubicBezTo>
                  <a:pt x="305" y="1217"/>
                  <a:pt x="321" y="1214"/>
                  <a:pt x="336" y="1211"/>
                </a:cubicBezTo>
                <a:cubicBezTo>
                  <a:pt x="341" y="1210"/>
                  <a:pt x="346" y="1213"/>
                  <a:pt x="348" y="1219"/>
                </a:cubicBezTo>
                <a:cubicBezTo>
                  <a:pt x="349" y="1224"/>
                  <a:pt x="345" y="1229"/>
                  <a:pt x="340" y="1231"/>
                </a:cubicBezTo>
                <a:cubicBezTo>
                  <a:pt x="324" y="1234"/>
                  <a:pt x="308" y="1237"/>
                  <a:pt x="293" y="1239"/>
                </a:cubicBezTo>
                <a:cubicBezTo>
                  <a:pt x="292" y="1239"/>
                  <a:pt x="292" y="1239"/>
                  <a:pt x="291" y="1239"/>
                </a:cubicBezTo>
                <a:close/>
                <a:moveTo>
                  <a:pt x="56" y="1227"/>
                </a:moveTo>
                <a:cubicBezTo>
                  <a:pt x="56" y="1227"/>
                  <a:pt x="55" y="1227"/>
                  <a:pt x="54" y="1227"/>
                </a:cubicBezTo>
                <a:cubicBezTo>
                  <a:pt x="39" y="1223"/>
                  <a:pt x="23" y="1219"/>
                  <a:pt x="8" y="1214"/>
                </a:cubicBezTo>
                <a:cubicBezTo>
                  <a:pt x="3" y="1212"/>
                  <a:pt x="0" y="1206"/>
                  <a:pt x="2" y="1201"/>
                </a:cubicBezTo>
                <a:cubicBezTo>
                  <a:pt x="3" y="1196"/>
                  <a:pt x="9" y="1193"/>
                  <a:pt x="14" y="1195"/>
                </a:cubicBezTo>
                <a:cubicBezTo>
                  <a:pt x="29" y="1199"/>
                  <a:pt x="44" y="1204"/>
                  <a:pt x="59" y="1208"/>
                </a:cubicBezTo>
                <a:cubicBezTo>
                  <a:pt x="64" y="1209"/>
                  <a:pt x="67" y="1214"/>
                  <a:pt x="66" y="1220"/>
                </a:cubicBezTo>
                <a:cubicBezTo>
                  <a:pt x="65" y="1224"/>
                  <a:pt x="61" y="1227"/>
                  <a:pt x="56" y="1227"/>
                </a:cubicBezTo>
                <a:close/>
                <a:moveTo>
                  <a:pt x="384" y="1219"/>
                </a:moveTo>
                <a:cubicBezTo>
                  <a:pt x="379" y="1219"/>
                  <a:pt x="375" y="1216"/>
                  <a:pt x="374" y="1212"/>
                </a:cubicBezTo>
                <a:cubicBezTo>
                  <a:pt x="372" y="1207"/>
                  <a:pt x="375" y="1201"/>
                  <a:pt x="381" y="1199"/>
                </a:cubicBezTo>
                <a:cubicBezTo>
                  <a:pt x="395" y="1195"/>
                  <a:pt x="410" y="1190"/>
                  <a:pt x="425" y="1184"/>
                </a:cubicBezTo>
                <a:cubicBezTo>
                  <a:pt x="430" y="1182"/>
                  <a:pt x="436" y="1185"/>
                  <a:pt x="438" y="1190"/>
                </a:cubicBezTo>
                <a:cubicBezTo>
                  <a:pt x="440" y="1195"/>
                  <a:pt x="437" y="1201"/>
                  <a:pt x="432" y="1203"/>
                </a:cubicBezTo>
                <a:cubicBezTo>
                  <a:pt x="417" y="1209"/>
                  <a:pt x="402" y="1214"/>
                  <a:pt x="386" y="1218"/>
                </a:cubicBezTo>
                <a:cubicBezTo>
                  <a:pt x="385" y="1219"/>
                  <a:pt x="384" y="1219"/>
                  <a:pt x="384" y="1219"/>
                </a:cubicBezTo>
                <a:close/>
                <a:moveTo>
                  <a:pt x="472" y="1184"/>
                </a:moveTo>
                <a:cubicBezTo>
                  <a:pt x="468" y="1184"/>
                  <a:pt x="464" y="1182"/>
                  <a:pt x="463" y="1179"/>
                </a:cubicBezTo>
                <a:cubicBezTo>
                  <a:pt x="460" y="1174"/>
                  <a:pt x="462" y="1168"/>
                  <a:pt x="467" y="1165"/>
                </a:cubicBezTo>
                <a:cubicBezTo>
                  <a:pt x="481" y="1159"/>
                  <a:pt x="495" y="1151"/>
                  <a:pt x="508" y="1144"/>
                </a:cubicBezTo>
                <a:cubicBezTo>
                  <a:pt x="513" y="1141"/>
                  <a:pt x="519" y="1142"/>
                  <a:pt x="522" y="1147"/>
                </a:cubicBezTo>
                <a:cubicBezTo>
                  <a:pt x="525" y="1152"/>
                  <a:pt x="523" y="1158"/>
                  <a:pt x="518" y="1161"/>
                </a:cubicBezTo>
                <a:cubicBezTo>
                  <a:pt x="505" y="1169"/>
                  <a:pt x="490" y="1176"/>
                  <a:pt x="476" y="1183"/>
                </a:cubicBezTo>
                <a:cubicBezTo>
                  <a:pt x="475" y="1184"/>
                  <a:pt x="473" y="1184"/>
                  <a:pt x="472" y="1184"/>
                </a:cubicBezTo>
                <a:close/>
                <a:moveTo>
                  <a:pt x="553" y="1137"/>
                </a:moveTo>
                <a:cubicBezTo>
                  <a:pt x="550" y="1137"/>
                  <a:pt x="547" y="1135"/>
                  <a:pt x="545" y="1132"/>
                </a:cubicBezTo>
                <a:cubicBezTo>
                  <a:pt x="542" y="1128"/>
                  <a:pt x="543" y="1122"/>
                  <a:pt x="548" y="1119"/>
                </a:cubicBezTo>
                <a:cubicBezTo>
                  <a:pt x="560" y="1110"/>
                  <a:pt x="573" y="1100"/>
                  <a:pt x="585" y="1091"/>
                </a:cubicBezTo>
                <a:cubicBezTo>
                  <a:pt x="589" y="1087"/>
                  <a:pt x="595" y="1088"/>
                  <a:pt x="599" y="1092"/>
                </a:cubicBezTo>
                <a:cubicBezTo>
                  <a:pt x="602" y="1096"/>
                  <a:pt x="602" y="1103"/>
                  <a:pt x="597" y="1106"/>
                </a:cubicBezTo>
                <a:cubicBezTo>
                  <a:pt x="585" y="1116"/>
                  <a:pt x="572" y="1126"/>
                  <a:pt x="559" y="1135"/>
                </a:cubicBezTo>
                <a:cubicBezTo>
                  <a:pt x="557" y="1136"/>
                  <a:pt x="555" y="1137"/>
                  <a:pt x="553" y="1137"/>
                </a:cubicBezTo>
                <a:close/>
                <a:moveTo>
                  <a:pt x="627" y="1077"/>
                </a:moveTo>
                <a:cubicBezTo>
                  <a:pt x="624" y="1077"/>
                  <a:pt x="621" y="1076"/>
                  <a:pt x="619" y="1074"/>
                </a:cubicBezTo>
                <a:cubicBezTo>
                  <a:pt x="616" y="1070"/>
                  <a:pt x="616" y="1064"/>
                  <a:pt x="620" y="1060"/>
                </a:cubicBezTo>
                <a:cubicBezTo>
                  <a:pt x="631" y="1049"/>
                  <a:pt x="642" y="1038"/>
                  <a:pt x="652" y="1026"/>
                </a:cubicBezTo>
                <a:cubicBezTo>
                  <a:pt x="656" y="1022"/>
                  <a:pt x="662" y="1022"/>
                  <a:pt x="666" y="1026"/>
                </a:cubicBezTo>
                <a:cubicBezTo>
                  <a:pt x="670" y="1029"/>
                  <a:pt x="671" y="1036"/>
                  <a:pt x="667" y="1040"/>
                </a:cubicBezTo>
                <a:cubicBezTo>
                  <a:pt x="656" y="1052"/>
                  <a:pt x="645" y="1063"/>
                  <a:pt x="633" y="1074"/>
                </a:cubicBezTo>
                <a:cubicBezTo>
                  <a:pt x="632" y="1076"/>
                  <a:pt x="629" y="1077"/>
                  <a:pt x="627" y="1077"/>
                </a:cubicBezTo>
                <a:close/>
                <a:moveTo>
                  <a:pt x="690" y="1007"/>
                </a:moveTo>
                <a:cubicBezTo>
                  <a:pt x="688" y="1007"/>
                  <a:pt x="686" y="1006"/>
                  <a:pt x="684" y="1005"/>
                </a:cubicBezTo>
                <a:cubicBezTo>
                  <a:pt x="679" y="1001"/>
                  <a:pt x="679" y="995"/>
                  <a:pt x="682" y="991"/>
                </a:cubicBezTo>
                <a:cubicBezTo>
                  <a:pt x="691" y="979"/>
                  <a:pt x="701" y="966"/>
                  <a:pt x="709" y="953"/>
                </a:cubicBezTo>
                <a:cubicBezTo>
                  <a:pt x="712" y="948"/>
                  <a:pt x="718" y="947"/>
                  <a:pt x="723" y="950"/>
                </a:cubicBezTo>
                <a:cubicBezTo>
                  <a:pt x="727" y="953"/>
                  <a:pt x="729" y="959"/>
                  <a:pt x="726" y="964"/>
                </a:cubicBezTo>
                <a:cubicBezTo>
                  <a:pt x="717" y="977"/>
                  <a:pt x="708" y="990"/>
                  <a:pt x="698" y="1003"/>
                </a:cubicBezTo>
                <a:cubicBezTo>
                  <a:pt x="696" y="1006"/>
                  <a:pt x="693" y="1007"/>
                  <a:pt x="690" y="1007"/>
                </a:cubicBezTo>
                <a:close/>
                <a:moveTo>
                  <a:pt x="742" y="928"/>
                </a:moveTo>
                <a:cubicBezTo>
                  <a:pt x="740" y="928"/>
                  <a:pt x="738" y="928"/>
                  <a:pt x="737" y="927"/>
                </a:cubicBezTo>
                <a:cubicBezTo>
                  <a:pt x="732" y="924"/>
                  <a:pt x="730" y="918"/>
                  <a:pt x="733" y="913"/>
                </a:cubicBezTo>
                <a:cubicBezTo>
                  <a:pt x="740" y="900"/>
                  <a:pt x="747" y="886"/>
                  <a:pt x="754" y="872"/>
                </a:cubicBezTo>
                <a:cubicBezTo>
                  <a:pt x="756" y="866"/>
                  <a:pt x="762" y="864"/>
                  <a:pt x="767" y="867"/>
                </a:cubicBezTo>
                <a:cubicBezTo>
                  <a:pt x="772" y="869"/>
                  <a:pt x="774" y="875"/>
                  <a:pt x="772" y="880"/>
                </a:cubicBezTo>
                <a:cubicBezTo>
                  <a:pt x="765" y="894"/>
                  <a:pt x="758" y="909"/>
                  <a:pt x="751" y="923"/>
                </a:cubicBezTo>
                <a:cubicBezTo>
                  <a:pt x="749" y="926"/>
                  <a:pt x="745" y="928"/>
                  <a:pt x="742" y="928"/>
                </a:cubicBezTo>
                <a:close/>
                <a:moveTo>
                  <a:pt x="781" y="842"/>
                </a:moveTo>
                <a:cubicBezTo>
                  <a:pt x="780" y="842"/>
                  <a:pt x="778" y="842"/>
                  <a:pt x="777" y="841"/>
                </a:cubicBezTo>
                <a:cubicBezTo>
                  <a:pt x="772" y="839"/>
                  <a:pt x="769" y="834"/>
                  <a:pt x="771" y="828"/>
                </a:cubicBezTo>
                <a:cubicBezTo>
                  <a:pt x="777" y="814"/>
                  <a:pt x="781" y="799"/>
                  <a:pt x="786" y="784"/>
                </a:cubicBezTo>
                <a:cubicBezTo>
                  <a:pt x="787" y="779"/>
                  <a:pt x="793" y="776"/>
                  <a:pt x="798" y="777"/>
                </a:cubicBezTo>
                <a:cubicBezTo>
                  <a:pt x="803" y="779"/>
                  <a:pt x="806" y="784"/>
                  <a:pt x="805" y="790"/>
                </a:cubicBezTo>
                <a:cubicBezTo>
                  <a:pt x="801" y="805"/>
                  <a:pt x="796" y="820"/>
                  <a:pt x="790" y="835"/>
                </a:cubicBezTo>
                <a:cubicBezTo>
                  <a:pt x="789" y="839"/>
                  <a:pt x="785" y="842"/>
                  <a:pt x="781" y="842"/>
                </a:cubicBezTo>
                <a:close/>
                <a:moveTo>
                  <a:pt x="806" y="751"/>
                </a:moveTo>
                <a:cubicBezTo>
                  <a:pt x="805" y="751"/>
                  <a:pt x="805" y="751"/>
                  <a:pt x="804" y="751"/>
                </a:cubicBezTo>
                <a:cubicBezTo>
                  <a:pt x="799" y="750"/>
                  <a:pt x="795" y="744"/>
                  <a:pt x="796" y="739"/>
                </a:cubicBezTo>
                <a:cubicBezTo>
                  <a:pt x="799" y="724"/>
                  <a:pt x="802" y="708"/>
                  <a:pt x="803" y="693"/>
                </a:cubicBezTo>
                <a:cubicBezTo>
                  <a:pt x="804" y="687"/>
                  <a:pt x="809" y="684"/>
                  <a:pt x="814" y="684"/>
                </a:cubicBezTo>
                <a:cubicBezTo>
                  <a:pt x="820" y="685"/>
                  <a:pt x="824" y="690"/>
                  <a:pt x="823" y="695"/>
                </a:cubicBezTo>
                <a:cubicBezTo>
                  <a:pt x="821" y="711"/>
                  <a:pt x="819" y="727"/>
                  <a:pt x="816" y="743"/>
                </a:cubicBezTo>
                <a:cubicBezTo>
                  <a:pt x="815" y="748"/>
                  <a:pt x="811" y="751"/>
                  <a:pt x="806" y="751"/>
                </a:cubicBezTo>
                <a:close/>
                <a:moveTo>
                  <a:pt x="817" y="657"/>
                </a:moveTo>
                <a:cubicBezTo>
                  <a:pt x="817" y="657"/>
                  <a:pt x="817" y="657"/>
                  <a:pt x="817" y="657"/>
                </a:cubicBezTo>
                <a:cubicBezTo>
                  <a:pt x="811" y="657"/>
                  <a:pt x="807" y="652"/>
                  <a:pt x="807" y="647"/>
                </a:cubicBezTo>
                <a:cubicBezTo>
                  <a:pt x="807" y="639"/>
                  <a:pt x="807" y="631"/>
                  <a:pt x="807" y="623"/>
                </a:cubicBezTo>
                <a:cubicBezTo>
                  <a:pt x="807" y="615"/>
                  <a:pt x="807" y="608"/>
                  <a:pt x="807" y="600"/>
                </a:cubicBezTo>
                <a:cubicBezTo>
                  <a:pt x="807" y="594"/>
                  <a:pt x="811" y="590"/>
                  <a:pt x="817" y="590"/>
                </a:cubicBezTo>
                <a:cubicBezTo>
                  <a:pt x="822" y="590"/>
                  <a:pt x="827" y="594"/>
                  <a:pt x="827" y="599"/>
                </a:cubicBezTo>
                <a:cubicBezTo>
                  <a:pt x="827" y="607"/>
                  <a:pt x="827" y="615"/>
                  <a:pt x="827" y="623"/>
                </a:cubicBezTo>
                <a:cubicBezTo>
                  <a:pt x="827" y="631"/>
                  <a:pt x="827" y="639"/>
                  <a:pt x="827" y="647"/>
                </a:cubicBezTo>
                <a:cubicBezTo>
                  <a:pt x="827" y="653"/>
                  <a:pt x="822" y="657"/>
                  <a:pt x="817" y="657"/>
                </a:cubicBezTo>
                <a:close/>
                <a:moveTo>
                  <a:pt x="813" y="562"/>
                </a:moveTo>
                <a:cubicBezTo>
                  <a:pt x="808" y="562"/>
                  <a:pt x="804" y="559"/>
                  <a:pt x="803" y="554"/>
                </a:cubicBezTo>
                <a:cubicBezTo>
                  <a:pt x="802" y="538"/>
                  <a:pt x="799" y="523"/>
                  <a:pt x="796" y="508"/>
                </a:cubicBezTo>
                <a:cubicBezTo>
                  <a:pt x="795" y="502"/>
                  <a:pt x="799" y="497"/>
                  <a:pt x="804" y="496"/>
                </a:cubicBezTo>
                <a:cubicBezTo>
                  <a:pt x="810" y="495"/>
                  <a:pt x="815" y="498"/>
                  <a:pt x="816" y="504"/>
                </a:cubicBezTo>
                <a:cubicBezTo>
                  <a:pt x="819" y="519"/>
                  <a:pt x="821" y="535"/>
                  <a:pt x="823" y="551"/>
                </a:cubicBezTo>
                <a:cubicBezTo>
                  <a:pt x="824" y="557"/>
                  <a:pt x="820" y="562"/>
                  <a:pt x="814" y="562"/>
                </a:cubicBezTo>
                <a:cubicBezTo>
                  <a:pt x="814" y="562"/>
                  <a:pt x="814" y="562"/>
                  <a:pt x="813" y="562"/>
                </a:cubicBezTo>
                <a:close/>
                <a:moveTo>
                  <a:pt x="795" y="470"/>
                </a:moveTo>
                <a:cubicBezTo>
                  <a:pt x="791" y="470"/>
                  <a:pt x="787" y="467"/>
                  <a:pt x="786" y="462"/>
                </a:cubicBezTo>
                <a:cubicBezTo>
                  <a:pt x="782" y="447"/>
                  <a:pt x="777" y="433"/>
                  <a:pt x="772" y="418"/>
                </a:cubicBezTo>
                <a:cubicBezTo>
                  <a:pt x="770" y="413"/>
                  <a:pt x="772" y="407"/>
                  <a:pt x="778" y="405"/>
                </a:cubicBezTo>
                <a:cubicBezTo>
                  <a:pt x="783" y="403"/>
                  <a:pt x="789" y="406"/>
                  <a:pt x="790" y="411"/>
                </a:cubicBezTo>
                <a:cubicBezTo>
                  <a:pt x="796" y="426"/>
                  <a:pt x="801" y="442"/>
                  <a:pt x="805" y="457"/>
                </a:cubicBezTo>
                <a:cubicBezTo>
                  <a:pt x="806" y="462"/>
                  <a:pt x="803" y="468"/>
                  <a:pt x="798" y="469"/>
                </a:cubicBezTo>
                <a:cubicBezTo>
                  <a:pt x="797" y="470"/>
                  <a:pt x="796" y="470"/>
                  <a:pt x="795" y="470"/>
                </a:cubicBezTo>
                <a:close/>
                <a:moveTo>
                  <a:pt x="763" y="381"/>
                </a:moveTo>
                <a:cubicBezTo>
                  <a:pt x="759" y="381"/>
                  <a:pt x="756" y="379"/>
                  <a:pt x="754" y="375"/>
                </a:cubicBezTo>
                <a:cubicBezTo>
                  <a:pt x="748" y="361"/>
                  <a:pt x="741" y="347"/>
                  <a:pt x="733" y="333"/>
                </a:cubicBezTo>
                <a:cubicBezTo>
                  <a:pt x="731" y="328"/>
                  <a:pt x="732" y="322"/>
                  <a:pt x="737" y="320"/>
                </a:cubicBezTo>
                <a:cubicBezTo>
                  <a:pt x="742" y="317"/>
                  <a:pt x="748" y="319"/>
                  <a:pt x="751" y="324"/>
                </a:cubicBezTo>
                <a:cubicBezTo>
                  <a:pt x="759" y="338"/>
                  <a:pt x="766" y="352"/>
                  <a:pt x="772" y="367"/>
                </a:cubicBezTo>
                <a:cubicBezTo>
                  <a:pt x="775" y="372"/>
                  <a:pt x="772" y="378"/>
                  <a:pt x="767" y="380"/>
                </a:cubicBezTo>
                <a:cubicBezTo>
                  <a:pt x="766" y="381"/>
                  <a:pt x="765" y="381"/>
                  <a:pt x="763" y="381"/>
                </a:cubicBezTo>
                <a:close/>
                <a:moveTo>
                  <a:pt x="718" y="298"/>
                </a:moveTo>
                <a:cubicBezTo>
                  <a:pt x="714" y="298"/>
                  <a:pt x="711" y="296"/>
                  <a:pt x="709" y="293"/>
                </a:cubicBezTo>
                <a:cubicBezTo>
                  <a:pt x="701" y="280"/>
                  <a:pt x="692" y="268"/>
                  <a:pt x="682" y="255"/>
                </a:cubicBezTo>
                <a:cubicBezTo>
                  <a:pt x="679" y="251"/>
                  <a:pt x="680" y="245"/>
                  <a:pt x="684" y="241"/>
                </a:cubicBezTo>
                <a:cubicBezTo>
                  <a:pt x="689" y="238"/>
                  <a:pt x="695" y="239"/>
                  <a:pt x="698" y="243"/>
                </a:cubicBezTo>
                <a:cubicBezTo>
                  <a:pt x="708" y="256"/>
                  <a:pt x="717" y="269"/>
                  <a:pt x="726" y="282"/>
                </a:cubicBezTo>
                <a:cubicBezTo>
                  <a:pt x="729" y="287"/>
                  <a:pt x="728" y="293"/>
                  <a:pt x="723" y="296"/>
                </a:cubicBezTo>
                <a:cubicBezTo>
                  <a:pt x="722" y="297"/>
                  <a:pt x="720" y="298"/>
                  <a:pt x="718" y="298"/>
                </a:cubicBezTo>
                <a:close/>
                <a:moveTo>
                  <a:pt x="660" y="223"/>
                </a:moveTo>
                <a:cubicBezTo>
                  <a:pt x="657" y="223"/>
                  <a:pt x="655" y="222"/>
                  <a:pt x="653" y="220"/>
                </a:cubicBezTo>
                <a:cubicBezTo>
                  <a:pt x="642" y="208"/>
                  <a:pt x="631" y="197"/>
                  <a:pt x="620" y="186"/>
                </a:cubicBezTo>
                <a:cubicBezTo>
                  <a:pt x="616" y="183"/>
                  <a:pt x="616" y="176"/>
                  <a:pt x="620" y="172"/>
                </a:cubicBezTo>
                <a:cubicBezTo>
                  <a:pt x="624" y="168"/>
                  <a:pt x="630" y="168"/>
                  <a:pt x="634" y="172"/>
                </a:cubicBezTo>
                <a:cubicBezTo>
                  <a:pt x="645" y="183"/>
                  <a:pt x="657" y="194"/>
                  <a:pt x="667" y="206"/>
                </a:cubicBezTo>
                <a:cubicBezTo>
                  <a:pt x="671" y="210"/>
                  <a:pt x="671" y="217"/>
                  <a:pt x="667" y="220"/>
                </a:cubicBezTo>
                <a:cubicBezTo>
                  <a:pt x="665" y="222"/>
                  <a:pt x="662" y="223"/>
                  <a:pt x="660" y="223"/>
                </a:cubicBezTo>
                <a:close/>
                <a:moveTo>
                  <a:pt x="592" y="158"/>
                </a:moveTo>
                <a:cubicBezTo>
                  <a:pt x="589" y="158"/>
                  <a:pt x="587" y="157"/>
                  <a:pt x="585" y="156"/>
                </a:cubicBezTo>
                <a:cubicBezTo>
                  <a:pt x="573" y="146"/>
                  <a:pt x="561" y="136"/>
                  <a:pt x="548" y="128"/>
                </a:cubicBezTo>
                <a:cubicBezTo>
                  <a:pt x="544" y="124"/>
                  <a:pt x="542" y="118"/>
                  <a:pt x="546" y="114"/>
                </a:cubicBezTo>
                <a:cubicBezTo>
                  <a:pt x="549" y="109"/>
                  <a:pt x="555" y="108"/>
                  <a:pt x="559" y="111"/>
                </a:cubicBezTo>
                <a:cubicBezTo>
                  <a:pt x="573" y="120"/>
                  <a:pt x="585" y="130"/>
                  <a:pt x="598" y="140"/>
                </a:cubicBezTo>
                <a:cubicBezTo>
                  <a:pt x="602" y="144"/>
                  <a:pt x="603" y="150"/>
                  <a:pt x="599" y="154"/>
                </a:cubicBezTo>
                <a:cubicBezTo>
                  <a:pt x="597" y="157"/>
                  <a:pt x="594" y="158"/>
                  <a:pt x="592" y="158"/>
                </a:cubicBezTo>
                <a:close/>
                <a:moveTo>
                  <a:pt x="514" y="104"/>
                </a:moveTo>
                <a:cubicBezTo>
                  <a:pt x="512" y="104"/>
                  <a:pt x="510" y="104"/>
                  <a:pt x="509" y="103"/>
                </a:cubicBezTo>
                <a:cubicBezTo>
                  <a:pt x="496" y="95"/>
                  <a:pt x="482" y="87"/>
                  <a:pt x="468" y="81"/>
                </a:cubicBezTo>
                <a:cubicBezTo>
                  <a:pt x="463" y="78"/>
                  <a:pt x="461" y="72"/>
                  <a:pt x="463" y="67"/>
                </a:cubicBezTo>
                <a:cubicBezTo>
                  <a:pt x="466" y="62"/>
                  <a:pt x="472" y="60"/>
                  <a:pt x="477" y="63"/>
                </a:cubicBezTo>
                <a:cubicBezTo>
                  <a:pt x="491" y="70"/>
                  <a:pt x="505" y="77"/>
                  <a:pt x="519" y="85"/>
                </a:cubicBezTo>
                <a:cubicBezTo>
                  <a:pt x="524" y="88"/>
                  <a:pt x="525" y="94"/>
                  <a:pt x="523" y="99"/>
                </a:cubicBezTo>
                <a:cubicBezTo>
                  <a:pt x="521" y="102"/>
                  <a:pt x="517" y="104"/>
                  <a:pt x="514" y="104"/>
                </a:cubicBezTo>
                <a:close/>
                <a:moveTo>
                  <a:pt x="429" y="63"/>
                </a:moveTo>
                <a:cubicBezTo>
                  <a:pt x="428" y="63"/>
                  <a:pt x="426" y="62"/>
                  <a:pt x="425" y="62"/>
                </a:cubicBezTo>
                <a:cubicBezTo>
                  <a:pt x="411" y="56"/>
                  <a:pt x="396" y="51"/>
                  <a:pt x="381" y="47"/>
                </a:cubicBezTo>
                <a:cubicBezTo>
                  <a:pt x="376" y="45"/>
                  <a:pt x="373" y="39"/>
                  <a:pt x="375" y="34"/>
                </a:cubicBezTo>
                <a:cubicBezTo>
                  <a:pt x="376" y="29"/>
                  <a:pt x="382" y="26"/>
                  <a:pt x="387" y="28"/>
                </a:cubicBezTo>
                <a:cubicBezTo>
                  <a:pt x="402" y="32"/>
                  <a:pt x="418" y="38"/>
                  <a:pt x="433" y="43"/>
                </a:cubicBezTo>
                <a:cubicBezTo>
                  <a:pt x="438" y="45"/>
                  <a:pt x="440" y="51"/>
                  <a:pt x="438" y="56"/>
                </a:cubicBezTo>
                <a:cubicBezTo>
                  <a:pt x="437" y="60"/>
                  <a:pt x="433" y="63"/>
                  <a:pt x="429" y="63"/>
                </a:cubicBezTo>
                <a:close/>
                <a:moveTo>
                  <a:pt x="12" y="51"/>
                </a:moveTo>
                <a:cubicBezTo>
                  <a:pt x="8" y="51"/>
                  <a:pt x="4" y="49"/>
                  <a:pt x="2" y="45"/>
                </a:cubicBezTo>
                <a:cubicBezTo>
                  <a:pt x="1" y="39"/>
                  <a:pt x="3" y="34"/>
                  <a:pt x="9" y="32"/>
                </a:cubicBezTo>
                <a:cubicBezTo>
                  <a:pt x="24" y="27"/>
                  <a:pt x="39" y="22"/>
                  <a:pt x="55" y="19"/>
                </a:cubicBezTo>
                <a:cubicBezTo>
                  <a:pt x="60" y="17"/>
                  <a:pt x="66" y="21"/>
                  <a:pt x="67" y="26"/>
                </a:cubicBezTo>
                <a:cubicBezTo>
                  <a:pt x="68" y="31"/>
                  <a:pt x="65" y="37"/>
                  <a:pt x="60" y="38"/>
                </a:cubicBezTo>
                <a:cubicBezTo>
                  <a:pt x="45" y="42"/>
                  <a:pt x="30" y="46"/>
                  <a:pt x="15" y="51"/>
                </a:cubicBezTo>
                <a:cubicBezTo>
                  <a:pt x="14" y="51"/>
                  <a:pt x="13" y="51"/>
                  <a:pt x="12" y="51"/>
                </a:cubicBezTo>
                <a:close/>
                <a:moveTo>
                  <a:pt x="339" y="35"/>
                </a:moveTo>
                <a:cubicBezTo>
                  <a:pt x="338" y="35"/>
                  <a:pt x="337" y="35"/>
                  <a:pt x="336" y="35"/>
                </a:cubicBezTo>
                <a:cubicBezTo>
                  <a:pt x="321" y="31"/>
                  <a:pt x="306" y="29"/>
                  <a:pt x="291" y="26"/>
                </a:cubicBezTo>
                <a:cubicBezTo>
                  <a:pt x="285" y="26"/>
                  <a:pt x="281" y="21"/>
                  <a:pt x="282" y="15"/>
                </a:cubicBezTo>
                <a:cubicBezTo>
                  <a:pt x="283" y="10"/>
                  <a:pt x="288" y="6"/>
                  <a:pt x="293" y="7"/>
                </a:cubicBezTo>
                <a:cubicBezTo>
                  <a:pt x="309" y="9"/>
                  <a:pt x="325" y="12"/>
                  <a:pt x="341" y="15"/>
                </a:cubicBezTo>
                <a:cubicBezTo>
                  <a:pt x="346" y="16"/>
                  <a:pt x="350" y="22"/>
                  <a:pt x="348" y="27"/>
                </a:cubicBezTo>
                <a:cubicBezTo>
                  <a:pt x="347" y="32"/>
                  <a:pt x="343" y="35"/>
                  <a:pt x="339" y="35"/>
                </a:cubicBezTo>
                <a:close/>
                <a:moveTo>
                  <a:pt x="104" y="29"/>
                </a:moveTo>
                <a:cubicBezTo>
                  <a:pt x="99" y="29"/>
                  <a:pt x="94" y="25"/>
                  <a:pt x="94" y="20"/>
                </a:cubicBezTo>
                <a:cubicBezTo>
                  <a:pt x="93" y="15"/>
                  <a:pt x="96" y="10"/>
                  <a:pt x="102" y="9"/>
                </a:cubicBezTo>
                <a:cubicBezTo>
                  <a:pt x="118" y="6"/>
                  <a:pt x="134" y="4"/>
                  <a:pt x="150" y="3"/>
                </a:cubicBezTo>
                <a:cubicBezTo>
                  <a:pt x="155" y="2"/>
                  <a:pt x="160" y="6"/>
                  <a:pt x="160" y="12"/>
                </a:cubicBezTo>
                <a:cubicBezTo>
                  <a:pt x="161" y="17"/>
                  <a:pt x="157" y="22"/>
                  <a:pt x="151" y="23"/>
                </a:cubicBezTo>
                <a:cubicBezTo>
                  <a:pt x="136" y="24"/>
                  <a:pt x="120" y="26"/>
                  <a:pt x="105" y="29"/>
                </a:cubicBezTo>
                <a:cubicBezTo>
                  <a:pt x="105" y="29"/>
                  <a:pt x="104" y="29"/>
                  <a:pt x="104" y="29"/>
                </a:cubicBezTo>
                <a:close/>
                <a:moveTo>
                  <a:pt x="245" y="22"/>
                </a:moveTo>
                <a:cubicBezTo>
                  <a:pt x="245" y="22"/>
                  <a:pt x="245" y="22"/>
                  <a:pt x="244" y="22"/>
                </a:cubicBezTo>
                <a:cubicBezTo>
                  <a:pt x="229" y="21"/>
                  <a:pt x="213" y="20"/>
                  <a:pt x="198" y="20"/>
                </a:cubicBezTo>
                <a:cubicBezTo>
                  <a:pt x="198" y="20"/>
                  <a:pt x="198" y="20"/>
                  <a:pt x="198" y="20"/>
                </a:cubicBezTo>
                <a:cubicBezTo>
                  <a:pt x="192" y="20"/>
                  <a:pt x="188" y="16"/>
                  <a:pt x="188" y="11"/>
                </a:cubicBezTo>
                <a:cubicBezTo>
                  <a:pt x="188" y="5"/>
                  <a:pt x="192" y="0"/>
                  <a:pt x="198" y="0"/>
                </a:cubicBezTo>
                <a:cubicBezTo>
                  <a:pt x="214" y="0"/>
                  <a:pt x="230" y="1"/>
                  <a:pt x="246" y="2"/>
                </a:cubicBezTo>
                <a:cubicBezTo>
                  <a:pt x="251" y="2"/>
                  <a:pt x="255" y="7"/>
                  <a:pt x="255" y="12"/>
                </a:cubicBezTo>
                <a:cubicBezTo>
                  <a:pt x="255" y="18"/>
                  <a:pt x="250" y="22"/>
                  <a:pt x="245" y="22"/>
                </a:cubicBezTo>
                <a:close/>
              </a:path>
            </a:pathLst>
          </a:custGeom>
          <a:solidFill>
            <a:srgbClr val="C0DC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grpSp>
        <p:nvGrpSpPr>
          <p:cNvPr id="180" name="Группа 179">
            <a:extLst>
              <a:ext uri="{FF2B5EF4-FFF2-40B4-BE49-F238E27FC236}">
                <a16:creationId xmlns:a16="http://schemas.microsoft.com/office/drawing/2014/main" id="{DAADE944-CE47-A44A-8819-0334D685B558}"/>
              </a:ext>
            </a:extLst>
          </p:cNvPr>
          <p:cNvGrpSpPr/>
          <p:nvPr/>
        </p:nvGrpSpPr>
        <p:grpSpPr>
          <a:xfrm>
            <a:off x="9428163" y="4083807"/>
            <a:ext cx="2151847" cy="1638604"/>
            <a:chOff x="9428163" y="4083807"/>
            <a:chExt cx="2151847" cy="1638604"/>
          </a:xfrm>
        </p:grpSpPr>
        <p:sp>
          <p:nvSpPr>
            <p:cNvPr id="149" name="Rectangle 21">
              <a:extLst>
                <a:ext uri="{FF2B5EF4-FFF2-40B4-BE49-F238E27FC236}">
                  <a16:creationId xmlns:a16="http://schemas.microsoft.com/office/drawing/2014/main" id="{36F4E629-27D6-DD4C-4954-61521BB5AA99}"/>
                </a:ext>
              </a:extLst>
            </p:cNvPr>
            <p:cNvSpPr/>
            <p:nvPr/>
          </p:nvSpPr>
          <p:spPr>
            <a:xfrm>
              <a:off x="9428163" y="4152751"/>
              <a:ext cx="1657944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0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0" name="Freeform 20">
              <a:extLst>
                <a:ext uri="{FF2B5EF4-FFF2-40B4-BE49-F238E27FC236}">
                  <a16:creationId xmlns:a16="http://schemas.microsoft.com/office/drawing/2014/main" id="{2480290A-41EC-D483-4B2B-DB80CB1B0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613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1" name="Freeform 21">
              <a:extLst>
                <a:ext uri="{FF2B5EF4-FFF2-40B4-BE49-F238E27FC236}">
                  <a16:creationId xmlns:a16="http://schemas.microsoft.com/office/drawing/2014/main" id="{2B300D93-F99A-70CA-8C32-460D60BC7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3" name="Freeform 23">
              <a:extLst>
                <a:ext uri="{FF2B5EF4-FFF2-40B4-BE49-F238E27FC236}">
                  <a16:creationId xmlns:a16="http://schemas.microsoft.com/office/drawing/2014/main" id="{306C8701-EF10-8814-6311-FE751CCF1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6" name="Группа 175">
            <a:extLst>
              <a:ext uri="{FF2B5EF4-FFF2-40B4-BE49-F238E27FC236}">
                <a16:creationId xmlns:a16="http://schemas.microsoft.com/office/drawing/2014/main" id="{E4D7ED61-36AC-F9C6-3445-7AC2CA08A747}"/>
              </a:ext>
            </a:extLst>
          </p:cNvPr>
          <p:cNvGrpSpPr/>
          <p:nvPr/>
        </p:nvGrpSpPr>
        <p:grpSpPr>
          <a:xfrm>
            <a:off x="224760" y="4071540"/>
            <a:ext cx="1890777" cy="1650871"/>
            <a:chOff x="224760" y="4071540"/>
            <a:chExt cx="1890777" cy="1650871"/>
          </a:xfrm>
        </p:grpSpPr>
        <p:sp>
          <p:nvSpPr>
            <p:cNvPr id="155" name="Rectangle 25">
              <a:extLst>
                <a:ext uri="{FF2B5EF4-FFF2-40B4-BE49-F238E27FC236}">
                  <a16:creationId xmlns:a16="http://schemas.microsoft.com/office/drawing/2014/main" id="{357B8EC3-E7A2-3FD0-5323-9095DE84CB4D}"/>
                </a:ext>
              </a:extLst>
            </p:cNvPr>
            <p:cNvSpPr/>
            <p:nvPr/>
          </p:nvSpPr>
          <p:spPr>
            <a:xfrm>
              <a:off x="224760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6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6" name="Freeform 24">
              <a:extLst>
                <a:ext uri="{FF2B5EF4-FFF2-40B4-BE49-F238E27FC236}">
                  <a16:creationId xmlns:a16="http://schemas.microsoft.com/office/drawing/2014/main" id="{058E620E-8F51-3B75-4F91-7C445F7A6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7" name="Freeform 26">
              <a:extLst>
                <a:ext uri="{FF2B5EF4-FFF2-40B4-BE49-F238E27FC236}">
                  <a16:creationId xmlns:a16="http://schemas.microsoft.com/office/drawing/2014/main" id="{056FA1BB-B0A6-278B-B272-957B3EB05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5503178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8" name="Freeform 27">
              <a:extLst>
                <a:ext uri="{FF2B5EF4-FFF2-40B4-BE49-F238E27FC236}">
                  <a16:creationId xmlns:a16="http://schemas.microsoft.com/office/drawing/2014/main" id="{B371D828-B986-6A13-2F8F-8C2AA9CE76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4071540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59" name="Freeform 28">
              <a:extLst>
                <a:ext uri="{FF2B5EF4-FFF2-40B4-BE49-F238E27FC236}">
                  <a16:creationId xmlns:a16="http://schemas.microsoft.com/office/drawing/2014/main" id="{46FFBFAB-5BA1-161C-28D1-DC9512515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id="{CF73DFC4-F83D-3C5D-93E6-DC53F4B396E4}"/>
              </a:ext>
            </a:extLst>
          </p:cNvPr>
          <p:cNvSpPr txBox="1"/>
          <p:nvPr/>
        </p:nvSpPr>
        <p:spPr>
          <a:xfrm>
            <a:off x="107494" y="3248119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скусствен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нтеллект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4D249C36-FF51-0447-B15B-31D335C9FD3C}"/>
              </a:ext>
            </a:extLst>
          </p:cNvPr>
          <p:cNvSpPr txBox="1"/>
          <p:nvPr/>
        </p:nvSpPr>
        <p:spPr>
          <a:xfrm>
            <a:off x="2766315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иксель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29C65B57-3AA0-D6FE-C94C-E370A4EDD7B9}"/>
              </a:ext>
            </a:extLst>
          </p:cNvPr>
          <p:cNvSpPr txBox="1"/>
          <p:nvPr/>
        </p:nvSpPr>
        <p:spPr>
          <a:xfrm>
            <a:off x="495374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Яркие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цвета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395AFBD5-9B99-F345-FDFD-93A5D5B71B8B}"/>
              </a:ext>
            </a:extLst>
          </p:cNvPr>
          <p:cNvSpPr txBox="1"/>
          <p:nvPr/>
        </p:nvSpPr>
        <p:spPr>
          <a:xfrm>
            <a:off x="743329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Ретр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иль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5313716C-B7B8-C6FF-ACED-F428CB2ACDAA}"/>
              </a:ext>
            </a:extLst>
          </p:cNvPr>
          <p:cNvSpPr txBox="1"/>
          <p:nvPr/>
        </p:nvSpPr>
        <p:spPr>
          <a:xfrm>
            <a:off x="9798659" y="3248119"/>
            <a:ext cx="2284517" cy="352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Минимализм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8570A41B-47BE-1ADC-53D4-B5C4C87BF32A}"/>
              </a:ext>
            </a:extLst>
          </p:cNvPr>
          <p:cNvSpPr txBox="1"/>
          <p:nvPr/>
        </p:nvSpPr>
        <p:spPr>
          <a:xfrm>
            <a:off x="107494" y="5684038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ерегружен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композиция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900F5795-34FF-8E0C-5755-2A87841E1FE5}"/>
              </a:ext>
            </a:extLst>
          </p:cNvPr>
          <p:cNvSpPr txBox="1"/>
          <p:nvPr/>
        </p:nvSpPr>
        <p:spPr>
          <a:xfrm>
            <a:off x="2766315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Нестандарт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ипографика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6DD45F9-5584-5D17-58D5-4194B430A37C}"/>
              </a:ext>
            </a:extLst>
          </p:cNvPr>
          <p:cNvSpPr txBox="1"/>
          <p:nvPr/>
        </p:nvSpPr>
        <p:spPr>
          <a:xfrm>
            <a:off x="495374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Черн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белый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90A2FE5A-C11E-3349-F29A-A3A4CDFD8145}"/>
              </a:ext>
            </a:extLst>
          </p:cNvPr>
          <p:cNvSpPr txBox="1"/>
          <p:nvPr/>
        </p:nvSpPr>
        <p:spPr>
          <a:xfrm>
            <a:off x="743329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екл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2ECDF986-333B-B886-9B05-C45E5BC23EDE}"/>
              </a:ext>
            </a:extLst>
          </p:cNvPr>
          <p:cNvSpPr txBox="1"/>
          <p:nvPr/>
        </p:nvSpPr>
        <p:spPr>
          <a:xfrm>
            <a:off x="9798659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екстуры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 фактуры</a:t>
            </a:r>
          </a:p>
        </p:txBody>
      </p:sp>
      <p:pic>
        <p:nvPicPr>
          <p:cNvPr id="4" name="Picture 2" descr="Golism - Шаблон профиля современной бизнес-компании">
            <a:extLst>
              <a:ext uri="{FF2B5EF4-FFF2-40B4-BE49-F238E27FC236}">
                <a16:creationId xmlns:a16="http://schemas.microsoft.com/office/drawing/2014/main" id="{3A9F5CE7-0C86-A415-9300-771F792330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5467" y="3095624"/>
            <a:ext cx="13664845" cy="9109897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D9AC43AE-0CE2-3BF9-5E28-1809E0554EC7}"/>
              </a:ext>
            </a:extLst>
          </p:cNvPr>
          <p:cNvGrpSpPr/>
          <p:nvPr/>
        </p:nvGrpSpPr>
        <p:grpSpPr>
          <a:xfrm>
            <a:off x="-21342394" y="7414067"/>
            <a:ext cx="20763121" cy="9582907"/>
            <a:chOff x="163842" y="-347809"/>
            <a:chExt cx="20763121" cy="9582907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BF1FBBAF-D80E-F568-6090-615B5CCEB78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/>
            <a:stretch/>
          </p:blipFill>
          <p:spPr>
            <a:xfrm rot="21154645">
              <a:off x="163842" y="3475514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82884068-697C-8D92-6F84-4FE55F28D7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/>
          </p:blipFill>
          <p:spPr>
            <a:xfrm rot="21154645">
              <a:off x="5329320" y="2193963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8C844E4A-9073-A077-B372-85C7D9F2EF9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 rot="21154645">
              <a:off x="571702" y="6520445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B858208F-A1E2-B07D-EA8E-48D3306D374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 rot="21154645">
              <a:off x="5737180" y="5238894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9C6919A6-6BAF-2095-1639-B3CA5830D75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 rot="21154645">
              <a:off x="10465625" y="933742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BD87CEDD-CB2B-8762-E3CC-6CFB8953084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21154645">
              <a:off x="15631103" y="-347809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33B9B8FF-1656-25BE-B6D9-2AF10E5520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/>
            <a:stretch/>
          </p:blipFill>
          <p:spPr>
            <a:xfrm rot="21154645">
              <a:off x="10935436" y="3930880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969EA22F-8494-5B2B-BB6C-F7709796BAE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21154645">
              <a:off x="16100914" y="2649329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5629691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22222E-6 L 0.06576 2.22222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3CCC8006-DC23-82B5-9306-E15D523021AC}"/>
              </a:ext>
            </a:extLst>
          </p:cNvPr>
          <p:cNvGrpSpPr/>
          <p:nvPr/>
        </p:nvGrpSpPr>
        <p:grpSpPr>
          <a:xfrm>
            <a:off x="-6511104" y="-109737"/>
            <a:ext cx="9579648" cy="8070396"/>
            <a:chOff x="7295974" y="1530804"/>
            <a:chExt cx="1959602" cy="1650871"/>
          </a:xfrm>
        </p:grpSpPr>
        <p:sp>
          <p:nvSpPr>
            <p:cNvPr id="91" name="Rectangle 22">
              <a:extLst>
                <a:ext uri="{FF2B5EF4-FFF2-40B4-BE49-F238E27FC236}">
                  <a16:creationId xmlns:a16="http://schemas.microsoft.com/office/drawing/2014/main" id="{AF59DD62-7880-13CC-4138-B454478E64D9}"/>
                </a:ext>
              </a:extLst>
            </p:cNvPr>
            <p:cNvSpPr/>
            <p:nvPr/>
          </p:nvSpPr>
          <p:spPr>
            <a:xfrm>
              <a:off x="7295974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4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B988EB9F-9358-3C35-272D-F6EFF02A7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1543071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0" name="Freeform 17">
              <a:extLst>
                <a:ext uri="{FF2B5EF4-FFF2-40B4-BE49-F238E27FC236}">
                  <a16:creationId xmlns:a16="http://schemas.microsoft.com/office/drawing/2014/main" id="{CE1C1353-7B83-A46C-5D84-EEF7396A6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2962442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1" name="Freeform 18">
              <a:extLst>
                <a:ext uri="{FF2B5EF4-FFF2-40B4-BE49-F238E27FC236}">
                  <a16:creationId xmlns:a16="http://schemas.microsoft.com/office/drawing/2014/main" id="{0D092205-5F45-3E67-E60B-C5468BB8F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1530804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2" name="Freeform 19">
              <a:extLst>
                <a:ext uri="{FF2B5EF4-FFF2-40B4-BE49-F238E27FC236}">
                  <a16:creationId xmlns:a16="http://schemas.microsoft.com/office/drawing/2014/main" id="{62B77E0A-A3CB-4BAD-15B2-38C772EEF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1588532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AA736C3-4C56-5A53-7895-6657B52CE336}"/>
              </a:ext>
            </a:extLst>
          </p:cNvPr>
          <p:cNvSpPr txBox="1"/>
          <p:nvPr/>
        </p:nvSpPr>
        <p:spPr>
          <a:xfrm>
            <a:off x="1043932" y="1195583"/>
            <a:ext cx="9667656" cy="8753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РЕТРО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9A0835B9-3BF1-4B40-9FA4-0F95F7EB6A79}"/>
              </a:ext>
            </a:extLst>
          </p:cNvPr>
          <p:cNvGrpSpPr/>
          <p:nvPr/>
        </p:nvGrpSpPr>
        <p:grpSpPr>
          <a:xfrm>
            <a:off x="163842" y="-347809"/>
            <a:ext cx="20763121" cy="9582907"/>
            <a:chOff x="163842" y="-347809"/>
            <a:chExt cx="20763121" cy="9582907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ABF19422-00E1-B1B1-728F-9CFE5F785C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 rot="21154645">
              <a:off x="163842" y="3475514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FFDAEFC6-004B-4F0B-922F-8AD0EC5D700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/>
            <a:stretch/>
          </p:blipFill>
          <p:spPr>
            <a:xfrm rot="21154645">
              <a:off x="5329320" y="2193963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17C35FD4-8689-FDE6-4ECB-4990285278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/>
          </p:blipFill>
          <p:spPr>
            <a:xfrm rot="21154645">
              <a:off x="571702" y="6520445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43E0526C-9B97-15E3-0CD7-65F1EEA6CB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 rot="21154645">
              <a:off x="5737180" y="5238894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B6D0CEE7-D3B4-C2B2-892E-B55487A98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 rot="21154645">
              <a:off x="10465625" y="933742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1B5F6C7E-2F5E-0A07-74B8-420F6B56019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21154645">
              <a:off x="15631103" y="-347809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20CBC9BB-2EBB-4B44-6EA1-4BD9A91C6D6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 rot="21154645">
              <a:off x="10935436" y="3930880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97FEED5B-FDAA-DEEF-DF56-4716A33A4DE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21154645">
              <a:off x="16100914" y="2649329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5429895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436268" y="451062"/>
            <a:ext cx="8590385" cy="679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36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ТРЕНДЫ В ПРЕЗЕНТАЦИЯХ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35B0E2B-7288-51E5-1236-CF55D862B48D}"/>
              </a:ext>
            </a:extLst>
          </p:cNvPr>
          <p:cNvGrpSpPr/>
          <p:nvPr/>
        </p:nvGrpSpPr>
        <p:grpSpPr>
          <a:xfrm>
            <a:off x="2570693" y="1530804"/>
            <a:ext cx="1904144" cy="1650871"/>
            <a:chOff x="2570693" y="1530804"/>
            <a:chExt cx="1904144" cy="1650871"/>
          </a:xfrm>
        </p:grpSpPr>
        <p:grpSp>
          <p:nvGrpSpPr>
            <p:cNvPr id="163" name="Группа 162">
              <a:extLst>
                <a:ext uri="{FF2B5EF4-FFF2-40B4-BE49-F238E27FC236}">
                  <a16:creationId xmlns:a16="http://schemas.microsoft.com/office/drawing/2014/main" id="{4B8A1FD4-56F7-CF9F-A9B0-1DC5AA30F5E5}"/>
                </a:ext>
              </a:extLst>
            </p:cNvPr>
            <p:cNvGrpSpPr/>
            <p:nvPr/>
          </p:nvGrpSpPr>
          <p:grpSpPr>
            <a:xfrm>
              <a:off x="2570693" y="1543071"/>
              <a:ext cx="1891155" cy="1638604"/>
              <a:chOff x="2570693" y="1543071"/>
              <a:chExt cx="1891155" cy="1638604"/>
            </a:xfrm>
          </p:grpSpPr>
          <p:sp>
            <p:nvSpPr>
              <p:cNvPr id="93" name="Rectangle 24">
                <a:extLst>
                  <a:ext uri="{FF2B5EF4-FFF2-40B4-BE49-F238E27FC236}">
                    <a16:creationId xmlns:a16="http://schemas.microsoft.com/office/drawing/2014/main" id="{56E5413D-BEB3-D6DA-40AC-5C27DF8D4C54}"/>
                  </a:ext>
                </a:extLst>
              </p:cNvPr>
              <p:cNvSpPr/>
              <p:nvPr/>
            </p:nvSpPr>
            <p:spPr>
              <a:xfrm>
                <a:off x="2570693" y="1612015"/>
                <a:ext cx="1337881" cy="15696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9600" dirty="0">
                    <a:solidFill>
                      <a:srgbClr val="620CFD"/>
                    </a:solidFill>
                    <a:latin typeface="Poppins SemiBold" panose="00000700000000000000" pitchFamily="2" charset="0"/>
                    <a:ea typeface="Roboto Bold" panose="02000000000000000000" pitchFamily="2" charset="0"/>
                    <a:cs typeface="Poppins SemiBold" panose="00000700000000000000" pitchFamily="2" charset="0"/>
                  </a:rPr>
                  <a:t>2</a:t>
                </a:r>
                <a:endParaRPr lang="en-US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95" name="Freeform 5">
                <a:extLst>
                  <a:ext uri="{FF2B5EF4-FFF2-40B4-BE49-F238E27FC236}">
                    <a16:creationId xmlns:a16="http://schemas.microsoft.com/office/drawing/2014/main" id="{1217AEF5-802E-A251-3622-85C194DF9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50" y="1543071"/>
                <a:ext cx="1069398" cy="1505240"/>
              </a:xfrm>
              <a:custGeom>
                <a:avLst/>
                <a:gdLst>
                  <a:gd name="T0" fmla="*/ 260 w 872"/>
                  <a:gd name="T1" fmla="*/ 0 h 1225"/>
                  <a:gd name="T2" fmla="*/ 0 w 872"/>
                  <a:gd name="T3" fmla="*/ 58 h 1225"/>
                  <a:gd name="T4" fmla="*/ 0 w 872"/>
                  <a:gd name="T5" fmla="*/ 1168 h 1225"/>
                  <a:gd name="T6" fmla="*/ 260 w 872"/>
                  <a:gd name="T7" fmla="*/ 1225 h 1225"/>
                  <a:gd name="T8" fmla="*/ 872 w 872"/>
                  <a:gd name="T9" fmla="*/ 613 h 1225"/>
                  <a:gd name="T10" fmla="*/ 260 w 872"/>
                  <a:gd name="T11" fmla="*/ 0 h 1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2" h="1225">
                    <a:moveTo>
                      <a:pt x="260" y="0"/>
                    </a:moveTo>
                    <a:cubicBezTo>
                      <a:pt x="167" y="0"/>
                      <a:pt x="79" y="21"/>
                      <a:pt x="0" y="58"/>
                    </a:cubicBezTo>
                    <a:cubicBezTo>
                      <a:pt x="0" y="1168"/>
                      <a:pt x="0" y="1168"/>
                      <a:pt x="0" y="1168"/>
                    </a:cubicBezTo>
                    <a:cubicBezTo>
                      <a:pt x="79" y="1205"/>
                      <a:pt x="167" y="1225"/>
                      <a:pt x="260" y="1225"/>
                    </a:cubicBezTo>
                    <a:cubicBezTo>
                      <a:pt x="598" y="1225"/>
                      <a:pt x="872" y="951"/>
                      <a:pt x="872" y="613"/>
                    </a:cubicBezTo>
                    <a:cubicBezTo>
                      <a:pt x="872" y="275"/>
                      <a:pt x="598" y="0"/>
                      <a:pt x="2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76200" dist="38100" dir="10800000" algn="r" rotWithShape="0">
                  <a:prstClr val="black">
                    <a:alpha val="3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A3572630-598B-5C94-8D3E-3784DF297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id="{DAA99000-EA9A-AE50-74C7-2BA64FDCC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id="{8B3DD752-C6A4-CFD4-19C2-EB2456B2D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3" name="Группа 172">
            <a:extLst>
              <a:ext uri="{FF2B5EF4-FFF2-40B4-BE49-F238E27FC236}">
                <a16:creationId xmlns:a16="http://schemas.microsoft.com/office/drawing/2014/main" id="{EB1D928E-4F1C-D312-593E-162A0FF3104C}"/>
              </a:ext>
            </a:extLst>
          </p:cNvPr>
          <p:cNvGrpSpPr/>
          <p:nvPr/>
        </p:nvGrpSpPr>
        <p:grpSpPr>
          <a:xfrm>
            <a:off x="4931227" y="1530804"/>
            <a:ext cx="1902534" cy="1650871"/>
            <a:chOff x="4931227" y="1530804"/>
            <a:chExt cx="1902534" cy="1650871"/>
          </a:xfrm>
        </p:grpSpPr>
        <p:sp>
          <p:nvSpPr>
            <p:cNvPr id="92" name="Rectangle 23">
              <a:extLst>
                <a:ext uri="{FF2B5EF4-FFF2-40B4-BE49-F238E27FC236}">
                  <a16:creationId xmlns:a16="http://schemas.microsoft.com/office/drawing/2014/main" id="{273617A1-2DC0-5FB9-D7E0-FF6BCB3EB5ED}"/>
                </a:ext>
              </a:extLst>
            </p:cNvPr>
            <p:cNvSpPr/>
            <p:nvPr/>
          </p:nvSpPr>
          <p:spPr>
            <a:xfrm>
              <a:off x="4931227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3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006CAACD-CC97-0283-4433-83EF84659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D7108752-D1B1-31C4-D013-C181BD470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2962442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C6A1B4F2-3F92-F637-BB6F-29F3023B5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1530804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C1360D4A-55EB-272D-6048-902A967F1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3CCC8006-DC23-82B5-9306-E15D523021AC}"/>
              </a:ext>
            </a:extLst>
          </p:cNvPr>
          <p:cNvGrpSpPr/>
          <p:nvPr/>
        </p:nvGrpSpPr>
        <p:grpSpPr>
          <a:xfrm>
            <a:off x="7295974" y="1530804"/>
            <a:ext cx="1959602" cy="1650871"/>
            <a:chOff x="7295974" y="1530804"/>
            <a:chExt cx="1959602" cy="1650871"/>
          </a:xfrm>
        </p:grpSpPr>
        <p:sp>
          <p:nvSpPr>
            <p:cNvPr id="91" name="Rectangle 22">
              <a:extLst>
                <a:ext uri="{FF2B5EF4-FFF2-40B4-BE49-F238E27FC236}">
                  <a16:creationId xmlns:a16="http://schemas.microsoft.com/office/drawing/2014/main" id="{AF59DD62-7880-13CC-4138-B454478E64D9}"/>
                </a:ext>
              </a:extLst>
            </p:cNvPr>
            <p:cNvSpPr/>
            <p:nvPr/>
          </p:nvSpPr>
          <p:spPr>
            <a:xfrm>
              <a:off x="7295974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4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B988EB9F-9358-3C35-272D-F6EFF02A7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1543071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0" name="Freeform 17">
              <a:extLst>
                <a:ext uri="{FF2B5EF4-FFF2-40B4-BE49-F238E27FC236}">
                  <a16:creationId xmlns:a16="http://schemas.microsoft.com/office/drawing/2014/main" id="{CE1C1353-7B83-A46C-5D84-EEF7396A6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2962442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1" name="Freeform 18">
              <a:extLst>
                <a:ext uri="{FF2B5EF4-FFF2-40B4-BE49-F238E27FC236}">
                  <a16:creationId xmlns:a16="http://schemas.microsoft.com/office/drawing/2014/main" id="{0D092205-5F45-3E67-E60B-C5468BB8F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1530804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2" name="Freeform 19">
              <a:extLst>
                <a:ext uri="{FF2B5EF4-FFF2-40B4-BE49-F238E27FC236}">
                  <a16:creationId xmlns:a16="http://schemas.microsoft.com/office/drawing/2014/main" id="{62B77E0A-A3CB-4BAD-15B2-38C772EEF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1588532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5" name="Группа 174">
            <a:extLst>
              <a:ext uri="{FF2B5EF4-FFF2-40B4-BE49-F238E27FC236}">
                <a16:creationId xmlns:a16="http://schemas.microsoft.com/office/drawing/2014/main" id="{0B591BB7-477C-7C35-7106-26B676D5BE13}"/>
              </a:ext>
            </a:extLst>
          </p:cNvPr>
          <p:cNvGrpSpPr/>
          <p:nvPr/>
        </p:nvGrpSpPr>
        <p:grpSpPr>
          <a:xfrm>
            <a:off x="9717808" y="1530804"/>
            <a:ext cx="1902714" cy="1650871"/>
            <a:chOff x="9717808" y="1530804"/>
            <a:chExt cx="1902714" cy="1650871"/>
          </a:xfrm>
        </p:grpSpPr>
        <p:sp>
          <p:nvSpPr>
            <p:cNvPr id="90" name="Rectangle 21">
              <a:extLst>
                <a:ext uri="{FF2B5EF4-FFF2-40B4-BE49-F238E27FC236}">
                  <a16:creationId xmlns:a16="http://schemas.microsoft.com/office/drawing/2014/main" id="{29569A48-EE85-2ED7-8D80-191157BE8C22}"/>
                </a:ext>
              </a:extLst>
            </p:cNvPr>
            <p:cNvSpPr/>
            <p:nvPr/>
          </p:nvSpPr>
          <p:spPr>
            <a:xfrm>
              <a:off x="9717808" y="1612015"/>
              <a:ext cx="1337882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5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3" name="Freeform 20">
              <a:extLst>
                <a:ext uri="{FF2B5EF4-FFF2-40B4-BE49-F238E27FC236}">
                  <a16:creationId xmlns:a16="http://schemas.microsoft.com/office/drawing/2014/main" id="{9EE6F49C-07F6-DB6B-4B0B-1EB921EE5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8136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5" name="Freeform 21">
              <a:extLst>
                <a:ext uri="{FF2B5EF4-FFF2-40B4-BE49-F238E27FC236}">
                  <a16:creationId xmlns:a16="http://schemas.microsoft.com/office/drawing/2014/main" id="{6749EA0B-A536-CDB9-C374-57F4AE4E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6" name="Freeform 22">
              <a:extLst>
                <a:ext uri="{FF2B5EF4-FFF2-40B4-BE49-F238E27FC236}">
                  <a16:creationId xmlns:a16="http://schemas.microsoft.com/office/drawing/2014/main" id="{E4B64482-23A1-4452-2675-AA1B5EFFB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5965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3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59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3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88 w 827"/>
                <a:gd name="T99" fmla="*/ 11 h 1245"/>
                <a:gd name="T100" fmla="*/ 245 w 827"/>
                <a:gd name="T101" fmla="*/ 2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199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8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7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4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3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1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8" y="842"/>
                    <a:pt x="777" y="841"/>
                  </a:cubicBezTo>
                  <a:cubicBezTo>
                    <a:pt x="772" y="839"/>
                    <a:pt x="769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1" y="535"/>
                    <a:pt x="823" y="551"/>
                  </a:cubicBezTo>
                  <a:cubicBezTo>
                    <a:pt x="824" y="557"/>
                    <a:pt x="820" y="562"/>
                    <a:pt x="814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2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4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59" y="111"/>
                  </a:cubicBezTo>
                  <a:cubicBezTo>
                    <a:pt x="573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6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4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29" y="21"/>
                    <a:pt x="213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7" name="Freeform 23">
              <a:extLst>
                <a:ext uri="{FF2B5EF4-FFF2-40B4-BE49-F238E27FC236}">
                  <a16:creationId xmlns:a16="http://schemas.microsoft.com/office/drawing/2014/main" id="{04E21E31-4E2B-6A92-5A7F-D0ED69C0E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2" name="Группа 171">
            <a:extLst>
              <a:ext uri="{FF2B5EF4-FFF2-40B4-BE49-F238E27FC236}">
                <a16:creationId xmlns:a16="http://schemas.microsoft.com/office/drawing/2014/main" id="{70F9F561-E925-CC3F-3FD1-0CF9DB029578}"/>
              </a:ext>
            </a:extLst>
          </p:cNvPr>
          <p:cNvGrpSpPr/>
          <p:nvPr/>
        </p:nvGrpSpPr>
        <p:grpSpPr>
          <a:xfrm>
            <a:off x="224760" y="1530804"/>
            <a:ext cx="1890777" cy="1650871"/>
            <a:chOff x="224760" y="1530804"/>
            <a:chExt cx="1890777" cy="1650871"/>
          </a:xfrm>
        </p:grpSpPr>
        <p:sp>
          <p:nvSpPr>
            <p:cNvPr id="94" name="Rectangle 25">
              <a:extLst>
                <a:ext uri="{FF2B5EF4-FFF2-40B4-BE49-F238E27FC236}">
                  <a16:creationId xmlns:a16="http://schemas.microsoft.com/office/drawing/2014/main" id="{9426B5F4-A4AA-8DEB-EADD-889E43D6ECF0}"/>
                </a:ext>
              </a:extLst>
            </p:cNvPr>
            <p:cNvSpPr/>
            <p:nvPr/>
          </p:nvSpPr>
          <p:spPr>
            <a:xfrm>
              <a:off x="224760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8" name="Freeform 24">
              <a:extLst>
                <a:ext uri="{FF2B5EF4-FFF2-40B4-BE49-F238E27FC236}">
                  <a16:creationId xmlns:a16="http://schemas.microsoft.com/office/drawing/2014/main" id="{8668C76E-DE85-167C-8B9D-C63A038FC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1543071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1" name="Freeform 26">
              <a:extLst>
                <a:ext uri="{FF2B5EF4-FFF2-40B4-BE49-F238E27FC236}">
                  <a16:creationId xmlns:a16="http://schemas.microsoft.com/office/drawing/2014/main" id="{821036B1-A114-9E54-AC89-AFD52FDBD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2962442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2" name="Freeform 27">
              <a:extLst>
                <a:ext uri="{FF2B5EF4-FFF2-40B4-BE49-F238E27FC236}">
                  <a16:creationId xmlns:a16="http://schemas.microsoft.com/office/drawing/2014/main" id="{FADFDA08-A75F-E108-01D3-C17D96AF18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1530804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23" name="Freeform 28">
              <a:extLst>
                <a:ext uri="{FF2B5EF4-FFF2-40B4-BE49-F238E27FC236}">
                  <a16:creationId xmlns:a16="http://schemas.microsoft.com/office/drawing/2014/main" id="{02E78DB1-B4D3-B148-1742-D14CDC023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CEE3B85A-97B9-89F8-C67A-48CF9E943346}"/>
              </a:ext>
            </a:extLst>
          </p:cNvPr>
          <p:cNvGrpSpPr/>
          <p:nvPr/>
        </p:nvGrpSpPr>
        <p:grpSpPr>
          <a:xfrm>
            <a:off x="2570693" y="4071540"/>
            <a:ext cx="1904144" cy="1650871"/>
            <a:chOff x="2570693" y="4071540"/>
            <a:chExt cx="1904144" cy="1650871"/>
          </a:xfrm>
        </p:grpSpPr>
        <p:sp>
          <p:nvSpPr>
            <p:cNvPr id="131" name="Rectangle 24">
              <a:extLst>
                <a:ext uri="{FF2B5EF4-FFF2-40B4-BE49-F238E27FC236}">
                  <a16:creationId xmlns:a16="http://schemas.microsoft.com/office/drawing/2014/main" id="{39A4F353-AB65-8B80-1741-785AC44F9562}"/>
                </a:ext>
              </a:extLst>
            </p:cNvPr>
            <p:cNvSpPr/>
            <p:nvPr/>
          </p:nvSpPr>
          <p:spPr>
            <a:xfrm>
              <a:off x="2570693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7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7B1958A9-DF83-922C-950A-7314D9F26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50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3" name="Freeform 7">
              <a:extLst>
                <a:ext uri="{FF2B5EF4-FFF2-40B4-BE49-F238E27FC236}">
                  <a16:creationId xmlns:a16="http://schemas.microsoft.com/office/drawing/2014/main" id="{564C58DD-3A84-B66A-E8A5-F6FD608DA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4" name="Freeform 8">
              <a:extLst>
                <a:ext uri="{FF2B5EF4-FFF2-40B4-BE49-F238E27FC236}">
                  <a16:creationId xmlns:a16="http://schemas.microsoft.com/office/drawing/2014/main" id="{F098A11B-806D-749D-B8E3-34D6654304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4071540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5" name="Freeform 9">
              <a:extLst>
                <a:ext uri="{FF2B5EF4-FFF2-40B4-BE49-F238E27FC236}">
                  <a16:creationId xmlns:a16="http://schemas.microsoft.com/office/drawing/2014/main" id="{FBABAF63-61AF-5442-229A-F95325EF3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8" name="Группа 177">
            <a:extLst>
              <a:ext uri="{FF2B5EF4-FFF2-40B4-BE49-F238E27FC236}">
                <a16:creationId xmlns:a16="http://schemas.microsoft.com/office/drawing/2014/main" id="{C99650E0-C87B-0F1D-590C-BEBF62DD60CC}"/>
              </a:ext>
            </a:extLst>
          </p:cNvPr>
          <p:cNvGrpSpPr/>
          <p:nvPr/>
        </p:nvGrpSpPr>
        <p:grpSpPr>
          <a:xfrm>
            <a:off x="4931227" y="4071540"/>
            <a:ext cx="1902534" cy="1650871"/>
            <a:chOff x="4931227" y="4071540"/>
            <a:chExt cx="1902534" cy="1650871"/>
          </a:xfrm>
        </p:grpSpPr>
        <p:sp>
          <p:nvSpPr>
            <p:cNvPr id="137" name="Rectangle 23">
              <a:extLst>
                <a:ext uri="{FF2B5EF4-FFF2-40B4-BE49-F238E27FC236}">
                  <a16:creationId xmlns:a16="http://schemas.microsoft.com/office/drawing/2014/main" id="{ED07FEA2-D699-6335-26A2-4AF432160754}"/>
                </a:ext>
              </a:extLst>
            </p:cNvPr>
            <p:cNvSpPr/>
            <p:nvPr/>
          </p:nvSpPr>
          <p:spPr>
            <a:xfrm>
              <a:off x="4931227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8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09C3FF1-010B-ED79-6CA1-1B68C3731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9" name="Freeform 12">
              <a:extLst>
                <a:ext uri="{FF2B5EF4-FFF2-40B4-BE49-F238E27FC236}">
                  <a16:creationId xmlns:a16="http://schemas.microsoft.com/office/drawing/2014/main" id="{247B6EB1-243F-98B7-3420-9B7E47C17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5503178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0" name="Freeform 13">
              <a:extLst>
                <a:ext uri="{FF2B5EF4-FFF2-40B4-BE49-F238E27FC236}">
                  <a16:creationId xmlns:a16="http://schemas.microsoft.com/office/drawing/2014/main" id="{E1A9EFCB-1E58-4FF0-A5F8-9EC6968E1E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4071540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1" name="Freeform 14">
              <a:extLst>
                <a:ext uri="{FF2B5EF4-FFF2-40B4-BE49-F238E27FC236}">
                  <a16:creationId xmlns:a16="http://schemas.microsoft.com/office/drawing/2014/main" id="{EA221590-F141-E01D-575B-5DE9A0222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9" name="Группа 178">
            <a:extLst>
              <a:ext uri="{FF2B5EF4-FFF2-40B4-BE49-F238E27FC236}">
                <a16:creationId xmlns:a16="http://schemas.microsoft.com/office/drawing/2014/main" id="{6E953091-5929-4FB2-64FD-9599FF6FA641}"/>
              </a:ext>
            </a:extLst>
          </p:cNvPr>
          <p:cNvGrpSpPr/>
          <p:nvPr/>
        </p:nvGrpSpPr>
        <p:grpSpPr>
          <a:xfrm>
            <a:off x="7295974" y="4071540"/>
            <a:ext cx="1959602" cy="1650871"/>
            <a:chOff x="7295974" y="4071540"/>
            <a:chExt cx="1959602" cy="1650871"/>
          </a:xfrm>
        </p:grpSpPr>
        <p:sp>
          <p:nvSpPr>
            <p:cNvPr id="143" name="Rectangle 22">
              <a:extLst>
                <a:ext uri="{FF2B5EF4-FFF2-40B4-BE49-F238E27FC236}">
                  <a16:creationId xmlns:a16="http://schemas.microsoft.com/office/drawing/2014/main" id="{20EFDC4D-8D49-F4A1-63CA-733DC4D66C8D}"/>
                </a:ext>
              </a:extLst>
            </p:cNvPr>
            <p:cNvSpPr/>
            <p:nvPr/>
          </p:nvSpPr>
          <p:spPr>
            <a:xfrm>
              <a:off x="7295974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9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0A68112C-D223-568A-7F32-730CA6D7F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4083807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5" name="Freeform 17">
              <a:extLst>
                <a:ext uri="{FF2B5EF4-FFF2-40B4-BE49-F238E27FC236}">
                  <a16:creationId xmlns:a16="http://schemas.microsoft.com/office/drawing/2014/main" id="{857360FC-21B5-721D-A68B-D195A19CC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5503178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6" name="Freeform 18">
              <a:extLst>
                <a:ext uri="{FF2B5EF4-FFF2-40B4-BE49-F238E27FC236}">
                  <a16:creationId xmlns:a16="http://schemas.microsoft.com/office/drawing/2014/main" id="{A9DA7EF3-C181-CE39-61D6-916C859D4C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4071540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7" name="Freeform 19">
              <a:extLst>
                <a:ext uri="{FF2B5EF4-FFF2-40B4-BE49-F238E27FC236}">
                  <a16:creationId xmlns:a16="http://schemas.microsoft.com/office/drawing/2014/main" id="{6E0744BF-151B-AF62-3BDB-9CB6D9283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4129268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52" name="Freeform 22">
            <a:extLst>
              <a:ext uri="{FF2B5EF4-FFF2-40B4-BE49-F238E27FC236}">
                <a16:creationId xmlns:a16="http://schemas.microsoft.com/office/drawing/2014/main" id="{8E6FD6D1-0690-0E47-11F1-32AEE325EB8F}"/>
              </a:ext>
            </a:extLst>
          </p:cNvPr>
          <p:cNvSpPr>
            <a:spLocks noEditPoints="1"/>
          </p:cNvSpPr>
          <p:nvPr/>
        </p:nvSpPr>
        <p:spPr bwMode="auto">
          <a:xfrm>
            <a:off x="10578442" y="4071540"/>
            <a:ext cx="1014557" cy="1529774"/>
          </a:xfrm>
          <a:custGeom>
            <a:avLst/>
            <a:gdLst>
              <a:gd name="T0" fmla="*/ 197 w 827"/>
              <a:gd name="T1" fmla="*/ 1225 h 1245"/>
              <a:gd name="T2" fmla="*/ 245 w 827"/>
              <a:gd name="T3" fmla="*/ 1244 h 1245"/>
              <a:gd name="T4" fmla="*/ 101 w 827"/>
              <a:gd name="T5" fmla="*/ 1237 h 1245"/>
              <a:gd name="T6" fmla="*/ 160 w 827"/>
              <a:gd name="T7" fmla="*/ 1234 h 1245"/>
              <a:gd name="T8" fmla="*/ 290 w 827"/>
              <a:gd name="T9" fmla="*/ 1219 h 1245"/>
              <a:gd name="T10" fmla="*/ 293 w 827"/>
              <a:gd name="T11" fmla="*/ 1239 h 1245"/>
              <a:gd name="T12" fmla="*/ 8 w 827"/>
              <a:gd name="T13" fmla="*/ 1214 h 1245"/>
              <a:gd name="T14" fmla="*/ 66 w 827"/>
              <a:gd name="T15" fmla="*/ 1220 h 1245"/>
              <a:gd name="T16" fmla="*/ 381 w 827"/>
              <a:gd name="T17" fmla="*/ 1199 h 1245"/>
              <a:gd name="T18" fmla="*/ 386 w 827"/>
              <a:gd name="T19" fmla="*/ 1218 h 1245"/>
              <a:gd name="T20" fmla="*/ 467 w 827"/>
              <a:gd name="T21" fmla="*/ 1165 h 1245"/>
              <a:gd name="T22" fmla="*/ 476 w 827"/>
              <a:gd name="T23" fmla="*/ 1183 h 1245"/>
              <a:gd name="T24" fmla="*/ 548 w 827"/>
              <a:gd name="T25" fmla="*/ 1119 h 1245"/>
              <a:gd name="T26" fmla="*/ 559 w 827"/>
              <a:gd name="T27" fmla="*/ 1135 h 1245"/>
              <a:gd name="T28" fmla="*/ 620 w 827"/>
              <a:gd name="T29" fmla="*/ 1060 h 1245"/>
              <a:gd name="T30" fmla="*/ 633 w 827"/>
              <a:gd name="T31" fmla="*/ 1074 h 1245"/>
              <a:gd name="T32" fmla="*/ 682 w 827"/>
              <a:gd name="T33" fmla="*/ 991 h 1245"/>
              <a:gd name="T34" fmla="*/ 698 w 827"/>
              <a:gd name="T35" fmla="*/ 1003 h 1245"/>
              <a:gd name="T36" fmla="*/ 733 w 827"/>
              <a:gd name="T37" fmla="*/ 913 h 1245"/>
              <a:gd name="T38" fmla="*/ 751 w 827"/>
              <a:gd name="T39" fmla="*/ 923 h 1245"/>
              <a:gd name="T40" fmla="*/ 771 w 827"/>
              <a:gd name="T41" fmla="*/ 828 h 1245"/>
              <a:gd name="T42" fmla="*/ 790 w 827"/>
              <a:gd name="T43" fmla="*/ 835 h 1245"/>
              <a:gd name="T44" fmla="*/ 796 w 827"/>
              <a:gd name="T45" fmla="*/ 739 h 1245"/>
              <a:gd name="T46" fmla="*/ 816 w 827"/>
              <a:gd name="T47" fmla="*/ 743 h 1245"/>
              <a:gd name="T48" fmla="*/ 807 w 827"/>
              <a:gd name="T49" fmla="*/ 647 h 1245"/>
              <a:gd name="T50" fmla="*/ 827 w 827"/>
              <a:gd name="T51" fmla="*/ 599 h 1245"/>
              <a:gd name="T52" fmla="*/ 813 w 827"/>
              <a:gd name="T53" fmla="*/ 562 h 1245"/>
              <a:gd name="T54" fmla="*/ 816 w 827"/>
              <a:gd name="T55" fmla="*/ 504 h 1245"/>
              <a:gd name="T56" fmla="*/ 795 w 827"/>
              <a:gd name="T57" fmla="*/ 470 h 1245"/>
              <a:gd name="T58" fmla="*/ 790 w 827"/>
              <a:gd name="T59" fmla="*/ 411 h 1245"/>
              <a:gd name="T60" fmla="*/ 763 w 827"/>
              <a:gd name="T61" fmla="*/ 381 h 1245"/>
              <a:gd name="T62" fmla="*/ 751 w 827"/>
              <a:gd name="T63" fmla="*/ 324 h 1245"/>
              <a:gd name="T64" fmla="*/ 718 w 827"/>
              <a:gd name="T65" fmla="*/ 298 h 1245"/>
              <a:gd name="T66" fmla="*/ 698 w 827"/>
              <a:gd name="T67" fmla="*/ 243 h 1245"/>
              <a:gd name="T68" fmla="*/ 660 w 827"/>
              <a:gd name="T69" fmla="*/ 223 h 1245"/>
              <a:gd name="T70" fmla="*/ 634 w 827"/>
              <a:gd name="T71" fmla="*/ 172 h 1245"/>
              <a:gd name="T72" fmla="*/ 592 w 827"/>
              <a:gd name="T73" fmla="*/ 158 h 1245"/>
              <a:gd name="T74" fmla="*/ 559 w 827"/>
              <a:gd name="T75" fmla="*/ 111 h 1245"/>
              <a:gd name="T76" fmla="*/ 514 w 827"/>
              <a:gd name="T77" fmla="*/ 104 h 1245"/>
              <a:gd name="T78" fmla="*/ 477 w 827"/>
              <a:gd name="T79" fmla="*/ 63 h 1245"/>
              <a:gd name="T80" fmla="*/ 429 w 827"/>
              <a:gd name="T81" fmla="*/ 63 h 1245"/>
              <a:gd name="T82" fmla="*/ 387 w 827"/>
              <a:gd name="T83" fmla="*/ 28 h 1245"/>
              <a:gd name="T84" fmla="*/ 12 w 827"/>
              <a:gd name="T85" fmla="*/ 51 h 1245"/>
              <a:gd name="T86" fmla="*/ 67 w 827"/>
              <a:gd name="T87" fmla="*/ 26 h 1245"/>
              <a:gd name="T88" fmla="*/ 339 w 827"/>
              <a:gd name="T89" fmla="*/ 35 h 1245"/>
              <a:gd name="T90" fmla="*/ 293 w 827"/>
              <a:gd name="T91" fmla="*/ 7 h 1245"/>
              <a:gd name="T92" fmla="*/ 104 w 827"/>
              <a:gd name="T93" fmla="*/ 29 h 1245"/>
              <a:gd name="T94" fmla="*/ 160 w 827"/>
              <a:gd name="T95" fmla="*/ 12 h 1245"/>
              <a:gd name="T96" fmla="*/ 245 w 827"/>
              <a:gd name="T97" fmla="*/ 22 h 1245"/>
              <a:gd name="T98" fmla="*/ 188 w 827"/>
              <a:gd name="T99" fmla="*/ 11 h 1245"/>
              <a:gd name="T100" fmla="*/ 245 w 827"/>
              <a:gd name="T101" fmla="*/ 22 h 1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27" h="1245">
                <a:moveTo>
                  <a:pt x="205" y="1245"/>
                </a:moveTo>
                <a:cubicBezTo>
                  <a:pt x="202" y="1245"/>
                  <a:pt x="199" y="1245"/>
                  <a:pt x="197" y="1245"/>
                </a:cubicBezTo>
                <a:cubicBezTo>
                  <a:pt x="191" y="1245"/>
                  <a:pt x="187" y="1241"/>
                  <a:pt x="187" y="1235"/>
                </a:cubicBezTo>
                <a:cubicBezTo>
                  <a:pt x="187" y="1230"/>
                  <a:pt x="191" y="1225"/>
                  <a:pt x="197" y="1225"/>
                </a:cubicBezTo>
                <a:cubicBezTo>
                  <a:pt x="197" y="1225"/>
                  <a:pt x="197" y="1225"/>
                  <a:pt x="197" y="1225"/>
                </a:cubicBezTo>
                <a:cubicBezTo>
                  <a:pt x="212" y="1226"/>
                  <a:pt x="228" y="1225"/>
                  <a:pt x="244" y="1224"/>
                </a:cubicBezTo>
                <a:cubicBezTo>
                  <a:pt x="249" y="1224"/>
                  <a:pt x="254" y="1228"/>
                  <a:pt x="254" y="1234"/>
                </a:cubicBezTo>
                <a:cubicBezTo>
                  <a:pt x="255" y="1239"/>
                  <a:pt x="250" y="1244"/>
                  <a:pt x="245" y="1244"/>
                </a:cubicBezTo>
                <a:cubicBezTo>
                  <a:pt x="232" y="1245"/>
                  <a:pt x="218" y="1245"/>
                  <a:pt x="205" y="1245"/>
                </a:cubicBezTo>
                <a:close/>
                <a:moveTo>
                  <a:pt x="150" y="1243"/>
                </a:moveTo>
                <a:cubicBezTo>
                  <a:pt x="149" y="1243"/>
                  <a:pt x="149" y="1243"/>
                  <a:pt x="149" y="1243"/>
                </a:cubicBezTo>
                <a:cubicBezTo>
                  <a:pt x="133" y="1241"/>
                  <a:pt x="117" y="1239"/>
                  <a:pt x="101" y="1237"/>
                </a:cubicBezTo>
                <a:cubicBezTo>
                  <a:pt x="96" y="1236"/>
                  <a:pt x="92" y="1231"/>
                  <a:pt x="93" y="1225"/>
                </a:cubicBezTo>
                <a:cubicBezTo>
                  <a:pt x="94" y="1220"/>
                  <a:pt x="99" y="1216"/>
                  <a:pt x="104" y="1217"/>
                </a:cubicBezTo>
                <a:cubicBezTo>
                  <a:pt x="120" y="1220"/>
                  <a:pt x="135" y="1222"/>
                  <a:pt x="151" y="1223"/>
                </a:cubicBezTo>
                <a:cubicBezTo>
                  <a:pt x="156" y="1223"/>
                  <a:pt x="160" y="1228"/>
                  <a:pt x="160" y="1234"/>
                </a:cubicBezTo>
                <a:cubicBezTo>
                  <a:pt x="159" y="1239"/>
                  <a:pt x="155" y="1243"/>
                  <a:pt x="150" y="1243"/>
                </a:cubicBezTo>
                <a:close/>
                <a:moveTo>
                  <a:pt x="291" y="1239"/>
                </a:moveTo>
                <a:cubicBezTo>
                  <a:pt x="286" y="1239"/>
                  <a:pt x="282" y="1236"/>
                  <a:pt x="281" y="1231"/>
                </a:cubicBezTo>
                <a:cubicBezTo>
                  <a:pt x="281" y="1225"/>
                  <a:pt x="284" y="1220"/>
                  <a:pt x="290" y="1219"/>
                </a:cubicBezTo>
                <a:cubicBezTo>
                  <a:pt x="305" y="1217"/>
                  <a:pt x="321" y="1214"/>
                  <a:pt x="336" y="1211"/>
                </a:cubicBezTo>
                <a:cubicBezTo>
                  <a:pt x="341" y="1210"/>
                  <a:pt x="346" y="1213"/>
                  <a:pt x="348" y="1219"/>
                </a:cubicBezTo>
                <a:cubicBezTo>
                  <a:pt x="349" y="1224"/>
                  <a:pt x="345" y="1229"/>
                  <a:pt x="340" y="1231"/>
                </a:cubicBezTo>
                <a:cubicBezTo>
                  <a:pt x="324" y="1234"/>
                  <a:pt x="308" y="1237"/>
                  <a:pt x="293" y="1239"/>
                </a:cubicBezTo>
                <a:cubicBezTo>
                  <a:pt x="292" y="1239"/>
                  <a:pt x="292" y="1239"/>
                  <a:pt x="291" y="1239"/>
                </a:cubicBezTo>
                <a:close/>
                <a:moveTo>
                  <a:pt x="56" y="1227"/>
                </a:moveTo>
                <a:cubicBezTo>
                  <a:pt x="56" y="1227"/>
                  <a:pt x="55" y="1227"/>
                  <a:pt x="54" y="1227"/>
                </a:cubicBezTo>
                <a:cubicBezTo>
                  <a:pt x="39" y="1223"/>
                  <a:pt x="23" y="1219"/>
                  <a:pt x="8" y="1214"/>
                </a:cubicBezTo>
                <a:cubicBezTo>
                  <a:pt x="3" y="1212"/>
                  <a:pt x="0" y="1206"/>
                  <a:pt x="2" y="1201"/>
                </a:cubicBezTo>
                <a:cubicBezTo>
                  <a:pt x="3" y="1196"/>
                  <a:pt x="9" y="1193"/>
                  <a:pt x="14" y="1195"/>
                </a:cubicBezTo>
                <a:cubicBezTo>
                  <a:pt x="29" y="1199"/>
                  <a:pt x="44" y="1204"/>
                  <a:pt x="59" y="1208"/>
                </a:cubicBezTo>
                <a:cubicBezTo>
                  <a:pt x="64" y="1209"/>
                  <a:pt x="67" y="1214"/>
                  <a:pt x="66" y="1220"/>
                </a:cubicBezTo>
                <a:cubicBezTo>
                  <a:pt x="65" y="1224"/>
                  <a:pt x="61" y="1227"/>
                  <a:pt x="56" y="1227"/>
                </a:cubicBezTo>
                <a:close/>
                <a:moveTo>
                  <a:pt x="384" y="1219"/>
                </a:moveTo>
                <a:cubicBezTo>
                  <a:pt x="379" y="1219"/>
                  <a:pt x="375" y="1216"/>
                  <a:pt x="374" y="1212"/>
                </a:cubicBezTo>
                <a:cubicBezTo>
                  <a:pt x="372" y="1207"/>
                  <a:pt x="375" y="1201"/>
                  <a:pt x="381" y="1199"/>
                </a:cubicBezTo>
                <a:cubicBezTo>
                  <a:pt x="395" y="1195"/>
                  <a:pt x="410" y="1190"/>
                  <a:pt x="425" y="1184"/>
                </a:cubicBezTo>
                <a:cubicBezTo>
                  <a:pt x="430" y="1182"/>
                  <a:pt x="436" y="1185"/>
                  <a:pt x="438" y="1190"/>
                </a:cubicBezTo>
                <a:cubicBezTo>
                  <a:pt x="440" y="1195"/>
                  <a:pt x="437" y="1201"/>
                  <a:pt x="432" y="1203"/>
                </a:cubicBezTo>
                <a:cubicBezTo>
                  <a:pt x="417" y="1209"/>
                  <a:pt x="402" y="1214"/>
                  <a:pt x="386" y="1218"/>
                </a:cubicBezTo>
                <a:cubicBezTo>
                  <a:pt x="385" y="1219"/>
                  <a:pt x="384" y="1219"/>
                  <a:pt x="384" y="1219"/>
                </a:cubicBezTo>
                <a:close/>
                <a:moveTo>
                  <a:pt x="472" y="1184"/>
                </a:moveTo>
                <a:cubicBezTo>
                  <a:pt x="468" y="1184"/>
                  <a:pt x="464" y="1182"/>
                  <a:pt x="463" y="1179"/>
                </a:cubicBezTo>
                <a:cubicBezTo>
                  <a:pt x="460" y="1174"/>
                  <a:pt x="462" y="1168"/>
                  <a:pt x="467" y="1165"/>
                </a:cubicBezTo>
                <a:cubicBezTo>
                  <a:pt x="481" y="1159"/>
                  <a:pt x="495" y="1151"/>
                  <a:pt x="508" y="1144"/>
                </a:cubicBezTo>
                <a:cubicBezTo>
                  <a:pt x="513" y="1141"/>
                  <a:pt x="519" y="1142"/>
                  <a:pt x="522" y="1147"/>
                </a:cubicBezTo>
                <a:cubicBezTo>
                  <a:pt x="525" y="1152"/>
                  <a:pt x="523" y="1158"/>
                  <a:pt x="518" y="1161"/>
                </a:cubicBezTo>
                <a:cubicBezTo>
                  <a:pt x="505" y="1169"/>
                  <a:pt x="490" y="1176"/>
                  <a:pt x="476" y="1183"/>
                </a:cubicBezTo>
                <a:cubicBezTo>
                  <a:pt x="475" y="1184"/>
                  <a:pt x="473" y="1184"/>
                  <a:pt x="472" y="1184"/>
                </a:cubicBezTo>
                <a:close/>
                <a:moveTo>
                  <a:pt x="553" y="1137"/>
                </a:moveTo>
                <a:cubicBezTo>
                  <a:pt x="550" y="1137"/>
                  <a:pt x="547" y="1135"/>
                  <a:pt x="545" y="1132"/>
                </a:cubicBezTo>
                <a:cubicBezTo>
                  <a:pt x="542" y="1128"/>
                  <a:pt x="543" y="1122"/>
                  <a:pt x="548" y="1119"/>
                </a:cubicBezTo>
                <a:cubicBezTo>
                  <a:pt x="560" y="1110"/>
                  <a:pt x="573" y="1100"/>
                  <a:pt x="585" y="1091"/>
                </a:cubicBezTo>
                <a:cubicBezTo>
                  <a:pt x="589" y="1087"/>
                  <a:pt x="595" y="1088"/>
                  <a:pt x="599" y="1092"/>
                </a:cubicBezTo>
                <a:cubicBezTo>
                  <a:pt x="602" y="1096"/>
                  <a:pt x="602" y="1103"/>
                  <a:pt x="597" y="1106"/>
                </a:cubicBezTo>
                <a:cubicBezTo>
                  <a:pt x="585" y="1116"/>
                  <a:pt x="572" y="1126"/>
                  <a:pt x="559" y="1135"/>
                </a:cubicBezTo>
                <a:cubicBezTo>
                  <a:pt x="557" y="1136"/>
                  <a:pt x="555" y="1137"/>
                  <a:pt x="553" y="1137"/>
                </a:cubicBezTo>
                <a:close/>
                <a:moveTo>
                  <a:pt x="627" y="1077"/>
                </a:moveTo>
                <a:cubicBezTo>
                  <a:pt x="624" y="1077"/>
                  <a:pt x="621" y="1076"/>
                  <a:pt x="619" y="1074"/>
                </a:cubicBezTo>
                <a:cubicBezTo>
                  <a:pt x="616" y="1070"/>
                  <a:pt x="616" y="1064"/>
                  <a:pt x="620" y="1060"/>
                </a:cubicBezTo>
                <a:cubicBezTo>
                  <a:pt x="631" y="1049"/>
                  <a:pt x="642" y="1038"/>
                  <a:pt x="652" y="1026"/>
                </a:cubicBezTo>
                <a:cubicBezTo>
                  <a:pt x="656" y="1022"/>
                  <a:pt x="662" y="1022"/>
                  <a:pt x="666" y="1026"/>
                </a:cubicBezTo>
                <a:cubicBezTo>
                  <a:pt x="670" y="1029"/>
                  <a:pt x="671" y="1036"/>
                  <a:pt x="667" y="1040"/>
                </a:cubicBezTo>
                <a:cubicBezTo>
                  <a:pt x="656" y="1052"/>
                  <a:pt x="645" y="1063"/>
                  <a:pt x="633" y="1074"/>
                </a:cubicBezTo>
                <a:cubicBezTo>
                  <a:pt x="632" y="1076"/>
                  <a:pt x="629" y="1077"/>
                  <a:pt x="627" y="1077"/>
                </a:cubicBezTo>
                <a:close/>
                <a:moveTo>
                  <a:pt x="690" y="1007"/>
                </a:moveTo>
                <a:cubicBezTo>
                  <a:pt x="688" y="1007"/>
                  <a:pt x="686" y="1006"/>
                  <a:pt x="684" y="1005"/>
                </a:cubicBezTo>
                <a:cubicBezTo>
                  <a:pt x="679" y="1001"/>
                  <a:pt x="679" y="995"/>
                  <a:pt x="682" y="991"/>
                </a:cubicBezTo>
                <a:cubicBezTo>
                  <a:pt x="691" y="979"/>
                  <a:pt x="701" y="966"/>
                  <a:pt x="709" y="953"/>
                </a:cubicBezTo>
                <a:cubicBezTo>
                  <a:pt x="712" y="948"/>
                  <a:pt x="718" y="947"/>
                  <a:pt x="723" y="950"/>
                </a:cubicBezTo>
                <a:cubicBezTo>
                  <a:pt x="727" y="953"/>
                  <a:pt x="729" y="959"/>
                  <a:pt x="726" y="964"/>
                </a:cubicBezTo>
                <a:cubicBezTo>
                  <a:pt x="717" y="977"/>
                  <a:pt x="708" y="990"/>
                  <a:pt x="698" y="1003"/>
                </a:cubicBezTo>
                <a:cubicBezTo>
                  <a:pt x="696" y="1006"/>
                  <a:pt x="693" y="1007"/>
                  <a:pt x="690" y="1007"/>
                </a:cubicBezTo>
                <a:close/>
                <a:moveTo>
                  <a:pt x="742" y="928"/>
                </a:moveTo>
                <a:cubicBezTo>
                  <a:pt x="740" y="928"/>
                  <a:pt x="738" y="928"/>
                  <a:pt x="737" y="927"/>
                </a:cubicBezTo>
                <a:cubicBezTo>
                  <a:pt x="732" y="924"/>
                  <a:pt x="730" y="918"/>
                  <a:pt x="733" y="913"/>
                </a:cubicBezTo>
                <a:cubicBezTo>
                  <a:pt x="740" y="900"/>
                  <a:pt x="747" y="886"/>
                  <a:pt x="754" y="872"/>
                </a:cubicBezTo>
                <a:cubicBezTo>
                  <a:pt x="756" y="866"/>
                  <a:pt x="762" y="864"/>
                  <a:pt x="767" y="867"/>
                </a:cubicBezTo>
                <a:cubicBezTo>
                  <a:pt x="772" y="869"/>
                  <a:pt x="774" y="875"/>
                  <a:pt x="772" y="880"/>
                </a:cubicBezTo>
                <a:cubicBezTo>
                  <a:pt x="765" y="894"/>
                  <a:pt x="758" y="909"/>
                  <a:pt x="751" y="923"/>
                </a:cubicBezTo>
                <a:cubicBezTo>
                  <a:pt x="749" y="926"/>
                  <a:pt x="745" y="928"/>
                  <a:pt x="742" y="928"/>
                </a:cubicBezTo>
                <a:close/>
                <a:moveTo>
                  <a:pt x="781" y="842"/>
                </a:moveTo>
                <a:cubicBezTo>
                  <a:pt x="780" y="842"/>
                  <a:pt x="778" y="842"/>
                  <a:pt x="777" y="841"/>
                </a:cubicBezTo>
                <a:cubicBezTo>
                  <a:pt x="772" y="839"/>
                  <a:pt x="769" y="834"/>
                  <a:pt x="771" y="828"/>
                </a:cubicBezTo>
                <a:cubicBezTo>
                  <a:pt x="777" y="814"/>
                  <a:pt x="781" y="799"/>
                  <a:pt x="786" y="784"/>
                </a:cubicBezTo>
                <a:cubicBezTo>
                  <a:pt x="787" y="779"/>
                  <a:pt x="793" y="776"/>
                  <a:pt x="798" y="777"/>
                </a:cubicBezTo>
                <a:cubicBezTo>
                  <a:pt x="803" y="779"/>
                  <a:pt x="806" y="784"/>
                  <a:pt x="805" y="790"/>
                </a:cubicBezTo>
                <a:cubicBezTo>
                  <a:pt x="801" y="805"/>
                  <a:pt x="796" y="820"/>
                  <a:pt x="790" y="835"/>
                </a:cubicBezTo>
                <a:cubicBezTo>
                  <a:pt x="789" y="839"/>
                  <a:pt x="785" y="842"/>
                  <a:pt x="781" y="842"/>
                </a:cubicBezTo>
                <a:close/>
                <a:moveTo>
                  <a:pt x="806" y="751"/>
                </a:moveTo>
                <a:cubicBezTo>
                  <a:pt x="805" y="751"/>
                  <a:pt x="805" y="751"/>
                  <a:pt x="804" y="751"/>
                </a:cubicBezTo>
                <a:cubicBezTo>
                  <a:pt x="799" y="750"/>
                  <a:pt x="795" y="744"/>
                  <a:pt x="796" y="739"/>
                </a:cubicBezTo>
                <a:cubicBezTo>
                  <a:pt x="799" y="724"/>
                  <a:pt x="802" y="708"/>
                  <a:pt x="803" y="693"/>
                </a:cubicBezTo>
                <a:cubicBezTo>
                  <a:pt x="804" y="687"/>
                  <a:pt x="809" y="684"/>
                  <a:pt x="814" y="684"/>
                </a:cubicBezTo>
                <a:cubicBezTo>
                  <a:pt x="820" y="685"/>
                  <a:pt x="824" y="690"/>
                  <a:pt x="823" y="695"/>
                </a:cubicBezTo>
                <a:cubicBezTo>
                  <a:pt x="821" y="711"/>
                  <a:pt x="819" y="727"/>
                  <a:pt x="816" y="743"/>
                </a:cubicBezTo>
                <a:cubicBezTo>
                  <a:pt x="815" y="748"/>
                  <a:pt x="811" y="751"/>
                  <a:pt x="806" y="751"/>
                </a:cubicBezTo>
                <a:close/>
                <a:moveTo>
                  <a:pt x="817" y="657"/>
                </a:moveTo>
                <a:cubicBezTo>
                  <a:pt x="817" y="657"/>
                  <a:pt x="817" y="657"/>
                  <a:pt x="817" y="657"/>
                </a:cubicBezTo>
                <a:cubicBezTo>
                  <a:pt x="811" y="657"/>
                  <a:pt x="807" y="652"/>
                  <a:pt x="807" y="647"/>
                </a:cubicBezTo>
                <a:cubicBezTo>
                  <a:pt x="807" y="639"/>
                  <a:pt x="807" y="631"/>
                  <a:pt x="807" y="623"/>
                </a:cubicBezTo>
                <a:cubicBezTo>
                  <a:pt x="807" y="615"/>
                  <a:pt x="807" y="608"/>
                  <a:pt x="807" y="600"/>
                </a:cubicBezTo>
                <a:cubicBezTo>
                  <a:pt x="807" y="594"/>
                  <a:pt x="811" y="590"/>
                  <a:pt x="817" y="590"/>
                </a:cubicBezTo>
                <a:cubicBezTo>
                  <a:pt x="822" y="590"/>
                  <a:pt x="827" y="594"/>
                  <a:pt x="827" y="599"/>
                </a:cubicBezTo>
                <a:cubicBezTo>
                  <a:pt x="827" y="607"/>
                  <a:pt x="827" y="615"/>
                  <a:pt x="827" y="623"/>
                </a:cubicBezTo>
                <a:cubicBezTo>
                  <a:pt x="827" y="631"/>
                  <a:pt x="827" y="639"/>
                  <a:pt x="827" y="647"/>
                </a:cubicBezTo>
                <a:cubicBezTo>
                  <a:pt x="827" y="653"/>
                  <a:pt x="822" y="657"/>
                  <a:pt x="817" y="657"/>
                </a:cubicBezTo>
                <a:close/>
                <a:moveTo>
                  <a:pt x="813" y="562"/>
                </a:moveTo>
                <a:cubicBezTo>
                  <a:pt x="808" y="562"/>
                  <a:pt x="804" y="559"/>
                  <a:pt x="803" y="554"/>
                </a:cubicBezTo>
                <a:cubicBezTo>
                  <a:pt x="802" y="538"/>
                  <a:pt x="799" y="523"/>
                  <a:pt x="796" y="508"/>
                </a:cubicBezTo>
                <a:cubicBezTo>
                  <a:pt x="795" y="502"/>
                  <a:pt x="799" y="497"/>
                  <a:pt x="804" y="496"/>
                </a:cubicBezTo>
                <a:cubicBezTo>
                  <a:pt x="810" y="495"/>
                  <a:pt x="815" y="498"/>
                  <a:pt x="816" y="504"/>
                </a:cubicBezTo>
                <a:cubicBezTo>
                  <a:pt x="819" y="519"/>
                  <a:pt x="821" y="535"/>
                  <a:pt x="823" y="551"/>
                </a:cubicBezTo>
                <a:cubicBezTo>
                  <a:pt x="824" y="557"/>
                  <a:pt x="820" y="562"/>
                  <a:pt x="814" y="562"/>
                </a:cubicBezTo>
                <a:cubicBezTo>
                  <a:pt x="814" y="562"/>
                  <a:pt x="814" y="562"/>
                  <a:pt x="813" y="562"/>
                </a:cubicBezTo>
                <a:close/>
                <a:moveTo>
                  <a:pt x="795" y="470"/>
                </a:moveTo>
                <a:cubicBezTo>
                  <a:pt x="791" y="470"/>
                  <a:pt x="787" y="467"/>
                  <a:pt x="786" y="462"/>
                </a:cubicBezTo>
                <a:cubicBezTo>
                  <a:pt x="782" y="447"/>
                  <a:pt x="777" y="433"/>
                  <a:pt x="772" y="418"/>
                </a:cubicBezTo>
                <a:cubicBezTo>
                  <a:pt x="770" y="413"/>
                  <a:pt x="772" y="407"/>
                  <a:pt x="778" y="405"/>
                </a:cubicBezTo>
                <a:cubicBezTo>
                  <a:pt x="783" y="403"/>
                  <a:pt x="789" y="406"/>
                  <a:pt x="790" y="411"/>
                </a:cubicBezTo>
                <a:cubicBezTo>
                  <a:pt x="796" y="426"/>
                  <a:pt x="801" y="442"/>
                  <a:pt x="805" y="457"/>
                </a:cubicBezTo>
                <a:cubicBezTo>
                  <a:pt x="806" y="462"/>
                  <a:pt x="803" y="468"/>
                  <a:pt x="798" y="469"/>
                </a:cubicBezTo>
                <a:cubicBezTo>
                  <a:pt x="797" y="470"/>
                  <a:pt x="796" y="470"/>
                  <a:pt x="795" y="470"/>
                </a:cubicBezTo>
                <a:close/>
                <a:moveTo>
                  <a:pt x="763" y="381"/>
                </a:moveTo>
                <a:cubicBezTo>
                  <a:pt x="759" y="381"/>
                  <a:pt x="756" y="379"/>
                  <a:pt x="754" y="375"/>
                </a:cubicBezTo>
                <a:cubicBezTo>
                  <a:pt x="748" y="361"/>
                  <a:pt x="741" y="347"/>
                  <a:pt x="733" y="333"/>
                </a:cubicBezTo>
                <a:cubicBezTo>
                  <a:pt x="731" y="328"/>
                  <a:pt x="732" y="322"/>
                  <a:pt x="737" y="320"/>
                </a:cubicBezTo>
                <a:cubicBezTo>
                  <a:pt x="742" y="317"/>
                  <a:pt x="748" y="319"/>
                  <a:pt x="751" y="324"/>
                </a:cubicBezTo>
                <a:cubicBezTo>
                  <a:pt x="759" y="338"/>
                  <a:pt x="766" y="352"/>
                  <a:pt x="772" y="367"/>
                </a:cubicBezTo>
                <a:cubicBezTo>
                  <a:pt x="775" y="372"/>
                  <a:pt x="772" y="378"/>
                  <a:pt x="767" y="380"/>
                </a:cubicBezTo>
                <a:cubicBezTo>
                  <a:pt x="766" y="381"/>
                  <a:pt x="765" y="381"/>
                  <a:pt x="763" y="381"/>
                </a:cubicBezTo>
                <a:close/>
                <a:moveTo>
                  <a:pt x="718" y="298"/>
                </a:moveTo>
                <a:cubicBezTo>
                  <a:pt x="714" y="298"/>
                  <a:pt x="711" y="296"/>
                  <a:pt x="709" y="293"/>
                </a:cubicBezTo>
                <a:cubicBezTo>
                  <a:pt x="701" y="280"/>
                  <a:pt x="692" y="268"/>
                  <a:pt x="682" y="255"/>
                </a:cubicBezTo>
                <a:cubicBezTo>
                  <a:pt x="679" y="251"/>
                  <a:pt x="680" y="245"/>
                  <a:pt x="684" y="241"/>
                </a:cubicBezTo>
                <a:cubicBezTo>
                  <a:pt x="689" y="238"/>
                  <a:pt x="695" y="239"/>
                  <a:pt x="698" y="243"/>
                </a:cubicBezTo>
                <a:cubicBezTo>
                  <a:pt x="708" y="256"/>
                  <a:pt x="717" y="269"/>
                  <a:pt x="726" y="282"/>
                </a:cubicBezTo>
                <a:cubicBezTo>
                  <a:pt x="729" y="287"/>
                  <a:pt x="728" y="293"/>
                  <a:pt x="723" y="296"/>
                </a:cubicBezTo>
                <a:cubicBezTo>
                  <a:pt x="722" y="297"/>
                  <a:pt x="720" y="298"/>
                  <a:pt x="718" y="298"/>
                </a:cubicBezTo>
                <a:close/>
                <a:moveTo>
                  <a:pt x="660" y="223"/>
                </a:moveTo>
                <a:cubicBezTo>
                  <a:pt x="657" y="223"/>
                  <a:pt x="655" y="222"/>
                  <a:pt x="653" y="220"/>
                </a:cubicBezTo>
                <a:cubicBezTo>
                  <a:pt x="642" y="208"/>
                  <a:pt x="631" y="197"/>
                  <a:pt x="620" y="186"/>
                </a:cubicBezTo>
                <a:cubicBezTo>
                  <a:pt x="616" y="183"/>
                  <a:pt x="616" y="176"/>
                  <a:pt x="620" y="172"/>
                </a:cubicBezTo>
                <a:cubicBezTo>
                  <a:pt x="624" y="168"/>
                  <a:pt x="630" y="168"/>
                  <a:pt x="634" y="172"/>
                </a:cubicBezTo>
                <a:cubicBezTo>
                  <a:pt x="645" y="183"/>
                  <a:pt x="657" y="194"/>
                  <a:pt x="667" y="206"/>
                </a:cubicBezTo>
                <a:cubicBezTo>
                  <a:pt x="671" y="210"/>
                  <a:pt x="671" y="217"/>
                  <a:pt x="667" y="220"/>
                </a:cubicBezTo>
                <a:cubicBezTo>
                  <a:pt x="665" y="222"/>
                  <a:pt x="662" y="223"/>
                  <a:pt x="660" y="223"/>
                </a:cubicBezTo>
                <a:close/>
                <a:moveTo>
                  <a:pt x="592" y="158"/>
                </a:moveTo>
                <a:cubicBezTo>
                  <a:pt x="589" y="158"/>
                  <a:pt x="587" y="157"/>
                  <a:pt x="585" y="156"/>
                </a:cubicBezTo>
                <a:cubicBezTo>
                  <a:pt x="573" y="146"/>
                  <a:pt x="561" y="136"/>
                  <a:pt x="548" y="128"/>
                </a:cubicBezTo>
                <a:cubicBezTo>
                  <a:pt x="544" y="124"/>
                  <a:pt x="542" y="118"/>
                  <a:pt x="546" y="114"/>
                </a:cubicBezTo>
                <a:cubicBezTo>
                  <a:pt x="549" y="109"/>
                  <a:pt x="555" y="108"/>
                  <a:pt x="559" y="111"/>
                </a:cubicBezTo>
                <a:cubicBezTo>
                  <a:pt x="573" y="120"/>
                  <a:pt x="585" y="130"/>
                  <a:pt x="598" y="140"/>
                </a:cubicBezTo>
                <a:cubicBezTo>
                  <a:pt x="602" y="144"/>
                  <a:pt x="603" y="150"/>
                  <a:pt x="599" y="154"/>
                </a:cubicBezTo>
                <a:cubicBezTo>
                  <a:pt x="597" y="157"/>
                  <a:pt x="594" y="158"/>
                  <a:pt x="592" y="158"/>
                </a:cubicBezTo>
                <a:close/>
                <a:moveTo>
                  <a:pt x="514" y="104"/>
                </a:moveTo>
                <a:cubicBezTo>
                  <a:pt x="512" y="104"/>
                  <a:pt x="510" y="104"/>
                  <a:pt x="509" y="103"/>
                </a:cubicBezTo>
                <a:cubicBezTo>
                  <a:pt x="496" y="95"/>
                  <a:pt x="482" y="87"/>
                  <a:pt x="468" y="81"/>
                </a:cubicBezTo>
                <a:cubicBezTo>
                  <a:pt x="463" y="78"/>
                  <a:pt x="461" y="72"/>
                  <a:pt x="463" y="67"/>
                </a:cubicBezTo>
                <a:cubicBezTo>
                  <a:pt x="466" y="62"/>
                  <a:pt x="472" y="60"/>
                  <a:pt x="477" y="63"/>
                </a:cubicBezTo>
                <a:cubicBezTo>
                  <a:pt x="491" y="70"/>
                  <a:pt x="505" y="77"/>
                  <a:pt x="519" y="85"/>
                </a:cubicBezTo>
                <a:cubicBezTo>
                  <a:pt x="524" y="88"/>
                  <a:pt x="525" y="94"/>
                  <a:pt x="523" y="99"/>
                </a:cubicBezTo>
                <a:cubicBezTo>
                  <a:pt x="521" y="102"/>
                  <a:pt x="517" y="104"/>
                  <a:pt x="514" y="104"/>
                </a:cubicBezTo>
                <a:close/>
                <a:moveTo>
                  <a:pt x="429" y="63"/>
                </a:moveTo>
                <a:cubicBezTo>
                  <a:pt x="428" y="63"/>
                  <a:pt x="426" y="62"/>
                  <a:pt x="425" y="62"/>
                </a:cubicBezTo>
                <a:cubicBezTo>
                  <a:pt x="411" y="56"/>
                  <a:pt x="396" y="51"/>
                  <a:pt x="381" y="47"/>
                </a:cubicBezTo>
                <a:cubicBezTo>
                  <a:pt x="376" y="45"/>
                  <a:pt x="373" y="39"/>
                  <a:pt x="375" y="34"/>
                </a:cubicBezTo>
                <a:cubicBezTo>
                  <a:pt x="376" y="29"/>
                  <a:pt x="382" y="26"/>
                  <a:pt x="387" y="28"/>
                </a:cubicBezTo>
                <a:cubicBezTo>
                  <a:pt x="402" y="32"/>
                  <a:pt x="418" y="38"/>
                  <a:pt x="433" y="43"/>
                </a:cubicBezTo>
                <a:cubicBezTo>
                  <a:pt x="438" y="45"/>
                  <a:pt x="440" y="51"/>
                  <a:pt x="438" y="56"/>
                </a:cubicBezTo>
                <a:cubicBezTo>
                  <a:pt x="437" y="60"/>
                  <a:pt x="433" y="63"/>
                  <a:pt x="429" y="63"/>
                </a:cubicBezTo>
                <a:close/>
                <a:moveTo>
                  <a:pt x="12" y="51"/>
                </a:moveTo>
                <a:cubicBezTo>
                  <a:pt x="8" y="51"/>
                  <a:pt x="4" y="49"/>
                  <a:pt x="2" y="45"/>
                </a:cubicBezTo>
                <a:cubicBezTo>
                  <a:pt x="1" y="39"/>
                  <a:pt x="3" y="34"/>
                  <a:pt x="9" y="32"/>
                </a:cubicBezTo>
                <a:cubicBezTo>
                  <a:pt x="24" y="27"/>
                  <a:pt x="39" y="22"/>
                  <a:pt x="55" y="19"/>
                </a:cubicBezTo>
                <a:cubicBezTo>
                  <a:pt x="60" y="17"/>
                  <a:pt x="66" y="21"/>
                  <a:pt x="67" y="26"/>
                </a:cubicBezTo>
                <a:cubicBezTo>
                  <a:pt x="68" y="31"/>
                  <a:pt x="65" y="37"/>
                  <a:pt x="60" y="38"/>
                </a:cubicBezTo>
                <a:cubicBezTo>
                  <a:pt x="45" y="42"/>
                  <a:pt x="30" y="46"/>
                  <a:pt x="15" y="51"/>
                </a:cubicBezTo>
                <a:cubicBezTo>
                  <a:pt x="14" y="51"/>
                  <a:pt x="13" y="51"/>
                  <a:pt x="12" y="51"/>
                </a:cubicBezTo>
                <a:close/>
                <a:moveTo>
                  <a:pt x="339" y="35"/>
                </a:moveTo>
                <a:cubicBezTo>
                  <a:pt x="338" y="35"/>
                  <a:pt x="337" y="35"/>
                  <a:pt x="336" y="35"/>
                </a:cubicBezTo>
                <a:cubicBezTo>
                  <a:pt x="321" y="31"/>
                  <a:pt x="306" y="29"/>
                  <a:pt x="291" y="26"/>
                </a:cubicBezTo>
                <a:cubicBezTo>
                  <a:pt x="285" y="26"/>
                  <a:pt x="281" y="21"/>
                  <a:pt x="282" y="15"/>
                </a:cubicBezTo>
                <a:cubicBezTo>
                  <a:pt x="283" y="10"/>
                  <a:pt x="288" y="6"/>
                  <a:pt x="293" y="7"/>
                </a:cubicBezTo>
                <a:cubicBezTo>
                  <a:pt x="309" y="9"/>
                  <a:pt x="325" y="12"/>
                  <a:pt x="341" y="15"/>
                </a:cubicBezTo>
                <a:cubicBezTo>
                  <a:pt x="346" y="16"/>
                  <a:pt x="350" y="22"/>
                  <a:pt x="348" y="27"/>
                </a:cubicBezTo>
                <a:cubicBezTo>
                  <a:pt x="347" y="32"/>
                  <a:pt x="343" y="35"/>
                  <a:pt x="339" y="35"/>
                </a:cubicBezTo>
                <a:close/>
                <a:moveTo>
                  <a:pt x="104" y="29"/>
                </a:moveTo>
                <a:cubicBezTo>
                  <a:pt x="99" y="29"/>
                  <a:pt x="94" y="25"/>
                  <a:pt x="94" y="20"/>
                </a:cubicBezTo>
                <a:cubicBezTo>
                  <a:pt x="93" y="15"/>
                  <a:pt x="96" y="10"/>
                  <a:pt x="102" y="9"/>
                </a:cubicBezTo>
                <a:cubicBezTo>
                  <a:pt x="118" y="6"/>
                  <a:pt x="134" y="4"/>
                  <a:pt x="150" y="3"/>
                </a:cubicBezTo>
                <a:cubicBezTo>
                  <a:pt x="155" y="2"/>
                  <a:pt x="160" y="6"/>
                  <a:pt x="160" y="12"/>
                </a:cubicBezTo>
                <a:cubicBezTo>
                  <a:pt x="161" y="17"/>
                  <a:pt x="157" y="22"/>
                  <a:pt x="151" y="23"/>
                </a:cubicBezTo>
                <a:cubicBezTo>
                  <a:pt x="136" y="24"/>
                  <a:pt x="120" y="26"/>
                  <a:pt x="105" y="29"/>
                </a:cubicBezTo>
                <a:cubicBezTo>
                  <a:pt x="105" y="29"/>
                  <a:pt x="104" y="29"/>
                  <a:pt x="104" y="29"/>
                </a:cubicBezTo>
                <a:close/>
                <a:moveTo>
                  <a:pt x="245" y="22"/>
                </a:moveTo>
                <a:cubicBezTo>
                  <a:pt x="245" y="22"/>
                  <a:pt x="245" y="22"/>
                  <a:pt x="244" y="22"/>
                </a:cubicBezTo>
                <a:cubicBezTo>
                  <a:pt x="229" y="21"/>
                  <a:pt x="213" y="20"/>
                  <a:pt x="198" y="20"/>
                </a:cubicBezTo>
                <a:cubicBezTo>
                  <a:pt x="198" y="20"/>
                  <a:pt x="198" y="20"/>
                  <a:pt x="198" y="20"/>
                </a:cubicBezTo>
                <a:cubicBezTo>
                  <a:pt x="192" y="20"/>
                  <a:pt x="188" y="16"/>
                  <a:pt x="188" y="11"/>
                </a:cubicBezTo>
                <a:cubicBezTo>
                  <a:pt x="188" y="5"/>
                  <a:pt x="192" y="0"/>
                  <a:pt x="198" y="0"/>
                </a:cubicBezTo>
                <a:cubicBezTo>
                  <a:pt x="214" y="0"/>
                  <a:pt x="230" y="1"/>
                  <a:pt x="246" y="2"/>
                </a:cubicBezTo>
                <a:cubicBezTo>
                  <a:pt x="251" y="2"/>
                  <a:pt x="255" y="7"/>
                  <a:pt x="255" y="12"/>
                </a:cubicBezTo>
                <a:cubicBezTo>
                  <a:pt x="255" y="18"/>
                  <a:pt x="250" y="22"/>
                  <a:pt x="245" y="22"/>
                </a:cubicBezTo>
                <a:close/>
              </a:path>
            </a:pathLst>
          </a:custGeom>
          <a:solidFill>
            <a:srgbClr val="C0DC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grpSp>
        <p:nvGrpSpPr>
          <p:cNvPr id="180" name="Группа 179">
            <a:extLst>
              <a:ext uri="{FF2B5EF4-FFF2-40B4-BE49-F238E27FC236}">
                <a16:creationId xmlns:a16="http://schemas.microsoft.com/office/drawing/2014/main" id="{DAADE944-CE47-A44A-8819-0334D685B558}"/>
              </a:ext>
            </a:extLst>
          </p:cNvPr>
          <p:cNvGrpSpPr/>
          <p:nvPr/>
        </p:nvGrpSpPr>
        <p:grpSpPr>
          <a:xfrm>
            <a:off x="9428163" y="4083807"/>
            <a:ext cx="2151847" cy="1638604"/>
            <a:chOff x="9428163" y="4083807"/>
            <a:chExt cx="2151847" cy="1638604"/>
          </a:xfrm>
        </p:grpSpPr>
        <p:sp>
          <p:nvSpPr>
            <p:cNvPr id="149" name="Rectangle 21">
              <a:extLst>
                <a:ext uri="{FF2B5EF4-FFF2-40B4-BE49-F238E27FC236}">
                  <a16:creationId xmlns:a16="http://schemas.microsoft.com/office/drawing/2014/main" id="{36F4E629-27D6-DD4C-4954-61521BB5AA99}"/>
                </a:ext>
              </a:extLst>
            </p:cNvPr>
            <p:cNvSpPr/>
            <p:nvPr/>
          </p:nvSpPr>
          <p:spPr>
            <a:xfrm>
              <a:off x="9428163" y="4152751"/>
              <a:ext cx="1657944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0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0" name="Freeform 20">
              <a:extLst>
                <a:ext uri="{FF2B5EF4-FFF2-40B4-BE49-F238E27FC236}">
                  <a16:creationId xmlns:a16="http://schemas.microsoft.com/office/drawing/2014/main" id="{2480290A-41EC-D483-4B2B-DB80CB1B0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613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1" name="Freeform 21">
              <a:extLst>
                <a:ext uri="{FF2B5EF4-FFF2-40B4-BE49-F238E27FC236}">
                  <a16:creationId xmlns:a16="http://schemas.microsoft.com/office/drawing/2014/main" id="{2B300D93-F99A-70CA-8C32-460D60BC7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3" name="Freeform 23">
              <a:extLst>
                <a:ext uri="{FF2B5EF4-FFF2-40B4-BE49-F238E27FC236}">
                  <a16:creationId xmlns:a16="http://schemas.microsoft.com/office/drawing/2014/main" id="{306C8701-EF10-8814-6311-FE751CCF1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6" name="Группа 175">
            <a:extLst>
              <a:ext uri="{FF2B5EF4-FFF2-40B4-BE49-F238E27FC236}">
                <a16:creationId xmlns:a16="http://schemas.microsoft.com/office/drawing/2014/main" id="{E4D7ED61-36AC-F9C6-3445-7AC2CA08A747}"/>
              </a:ext>
            </a:extLst>
          </p:cNvPr>
          <p:cNvGrpSpPr/>
          <p:nvPr/>
        </p:nvGrpSpPr>
        <p:grpSpPr>
          <a:xfrm>
            <a:off x="224760" y="4071540"/>
            <a:ext cx="1890777" cy="1650871"/>
            <a:chOff x="224760" y="4071540"/>
            <a:chExt cx="1890777" cy="1650871"/>
          </a:xfrm>
        </p:grpSpPr>
        <p:sp>
          <p:nvSpPr>
            <p:cNvPr id="155" name="Rectangle 25">
              <a:extLst>
                <a:ext uri="{FF2B5EF4-FFF2-40B4-BE49-F238E27FC236}">
                  <a16:creationId xmlns:a16="http://schemas.microsoft.com/office/drawing/2014/main" id="{357B8EC3-E7A2-3FD0-5323-9095DE84CB4D}"/>
                </a:ext>
              </a:extLst>
            </p:cNvPr>
            <p:cNvSpPr/>
            <p:nvPr/>
          </p:nvSpPr>
          <p:spPr>
            <a:xfrm>
              <a:off x="224760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6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6" name="Freeform 24">
              <a:extLst>
                <a:ext uri="{FF2B5EF4-FFF2-40B4-BE49-F238E27FC236}">
                  <a16:creationId xmlns:a16="http://schemas.microsoft.com/office/drawing/2014/main" id="{058E620E-8F51-3B75-4F91-7C445F7A6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7" name="Freeform 26">
              <a:extLst>
                <a:ext uri="{FF2B5EF4-FFF2-40B4-BE49-F238E27FC236}">
                  <a16:creationId xmlns:a16="http://schemas.microsoft.com/office/drawing/2014/main" id="{056FA1BB-B0A6-278B-B272-957B3EB05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5503178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8" name="Freeform 27">
              <a:extLst>
                <a:ext uri="{FF2B5EF4-FFF2-40B4-BE49-F238E27FC236}">
                  <a16:creationId xmlns:a16="http://schemas.microsoft.com/office/drawing/2014/main" id="{B371D828-B986-6A13-2F8F-8C2AA9CE76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4071540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59" name="Freeform 28">
              <a:extLst>
                <a:ext uri="{FF2B5EF4-FFF2-40B4-BE49-F238E27FC236}">
                  <a16:creationId xmlns:a16="http://schemas.microsoft.com/office/drawing/2014/main" id="{46FFBFAB-5BA1-161C-28D1-DC9512515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id="{CF73DFC4-F83D-3C5D-93E6-DC53F4B396E4}"/>
              </a:ext>
            </a:extLst>
          </p:cNvPr>
          <p:cNvSpPr txBox="1"/>
          <p:nvPr/>
        </p:nvSpPr>
        <p:spPr>
          <a:xfrm>
            <a:off x="107494" y="3248119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скусствен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нтеллект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4D249C36-FF51-0447-B15B-31D335C9FD3C}"/>
              </a:ext>
            </a:extLst>
          </p:cNvPr>
          <p:cNvSpPr txBox="1"/>
          <p:nvPr/>
        </p:nvSpPr>
        <p:spPr>
          <a:xfrm>
            <a:off x="2766315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иксель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29C65B57-3AA0-D6FE-C94C-E370A4EDD7B9}"/>
              </a:ext>
            </a:extLst>
          </p:cNvPr>
          <p:cNvSpPr txBox="1"/>
          <p:nvPr/>
        </p:nvSpPr>
        <p:spPr>
          <a:xfrm>
            <a:off x="495374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Яркие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цвета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395AFBD5-9B99-F345-FDFD-93A5D5B71B8B}"/>
              </a:ext>
            </a:extLst>
          </p:cNvPr>
          <p:cNvSpPr txBox="1"/>
          <p:nvPr/>
        </p:nvSpPr>
        <p:spPr>
          <a:xfrm>
            <a:off x="743329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Ретр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иль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5313716C-B7B8-C6FF-ACED-F428CB2ACDAA}"/>
              </a:ext>
            </a:extLst>
          </p:cNvPr>
          <p:cNvSpPr txBox="1"/>
          <p:nvPr/>
        </p:nvSpPr>
        <p:spPr>
          <a:xfrm>
            <a:off x="9798659" y="3248119"/>
            <a:ext cx="2284517" cy="352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Минимализм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8570A41B-47BE-1ADC-53D4-B5C4C87BF32A}"/>
              </a:ext>
            </a:extLst>
          </p:cNvPr>
          <p:cNvSpPr txBox="1"/>
          <p:nvPr/>
        </p:nvSpPr>
        <p:spPr>
          <a:xfrm>
            <a:off x="107494" y="5684038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ерегружен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композиция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900F5795-34FF-8E0C-5755-2A87841E1FE5}"/>
              </a:ext>
            </a:extLst>
          </p:cNvPr>
          <p:cNvSpPr txBox="1"/>
          <p:nvPr/>
        </p:nvSpPr>
        <p:spPr>
          <a:xfrm>
            <a:off x="2766315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Нестандарт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ипографика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6DD45F9-5584-5D17-58D5-4194B430A37C}"/>
              </a:ext>
            </a:extLst>
          </p:cNvPr>
          <p:cNvSpPr txBox="1"/>
          <p:nvPr/>
        </p:nvSpPr>
        <p:spPr>
          <a:xfrm>
            <a:off x="495374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Черн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белый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90A2FE5A-C11E-3349-F29A-A3A4CDFD8145}"/>
              </a:ext>
            </a:extLst>
          </p:cNvPr>
          <p:cNvSpPr txBox="1"/>
          <p:nvPr/>
        </p:nvSpPr>
        <p:spPr>
          <a:xfrm>
            <a:off x="743329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екл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2ECDF986-333B-B886-9B05-C45E5BC23EDE}"/>
              </a:ext>
            </a:extLst>
          </p:cNvPr>
          <p:cNvSpPr txBox="1"/>
          <p:nvPr/>
        </p:nvSpPr>
        <p:spPr>
          <a:xfrm>
            <a:off x="9798659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екстуры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 фактуры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0C422392-BD09-32B0-94DC-88B9C4E9C091}"/>
              </a:ext>
            </a:extLst>
          </p:cNvPr>
          <p:cNvGrpSpPr/>
          <p:nvPr/>
        </p:nvGrpSpPr>
        <p:grpSpPr>
          <a:xfrm>
            <a:off x="15782246" y="-6766560"/>
            <a:ext cx="10675017" cy="4926894"/>
            <a:chOff x="163842" y="-347809"/>
            <a:chExt cx="20763121" cy="9582907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0F1114B7-9380-BC0C-9F7F-06DDFAC863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 rot="21154645">
              <a:off x="163842" y="3475514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88914E2C-40BE-7463-E384-2078482BCF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/>
            <a:stretch/>
          </p:blipFill>
          <p:spPr>
            <a:xfrm rot="21154645">
              <a:off x="5329320" y="2193963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A0ED81DE-E2AE-7CDE-D8B7-0BB0A8DBCA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/>
          </p:blipFill>
          <p:spPr>
            <a:xfrm rot="21154645">
              <a:off x="571702" y="6520445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07B32D29-8832-2A33-6FCA-0008EDF4E18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 rot="21154645">
              <a:off x="5737180" y="5238894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33FA2728-75DE-D59F-5D8D-8C09E4B518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 rot="21154645">
              <a:off x="10465625" y="933742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586D98E2-F085-FD9B-E016-D7BE21CE3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21154645">
              <a:off x="15631103" y="-347809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132BD0E9-1A00-CB21-81CB-FFD79C0677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 rot="21154645">
              <a:off x="10935436" y="3930880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A608B41A-B003-B4A5-CC70-5BBD21D9B9C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21154645">
              <a:off x="16100914" y="2649329"/>
              <a:ext cx="4826049" cy="2714653"/>
            </a:xfrm>
            <a:prstGeom prst="roundRect">
              <a:avLst>
                <a:gd name="adj" fmla="val 5939"/>
              </a:avLst>
            </a:prstGeom>
            <a:ln>
              <a:solidFill>
                <a:schemeClr val="tx1"/>
              </a:solidFill>
            </a:ln>
          </p:spPr>
        </p:pic>
      </p:grpSp>
      <p:pic>
        <p:nvPicPr>
          <p:cNvPr id="14" name="Picture 2" descr="Craftion - Деловое предложение Powerpoint">
            <a:extLst>
              <a:ext uri="{FF2B5EF4-FFF2-40B4-BE49-F238E27FC236}">
                <a16:creationId xmlns:a16="http://schemas.microsoft.com/office/drawing/2014/main" id="{F93DD33B-8100-76C7-9739-DD4EED81FC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3060" y="2182897"/>
            <a:ext cx="6240763" cy="4160509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Craftion - Деловое предложение Powerpoint">
            <a:extLst>
              <a:ext uri="{FF2B5EF4-FFF2-40B4-BE49-F238E27FC236}">
                <a16:creationId xmlns:a16="http://schemas.microsoft.com/office/drawing/2014/main" id="{642779BA-5F60-E32F-5C42-236022E79C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73321" y="2188411"/>
            <a:ext cx="6232494" cy="4154996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40379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22222E-6 L 0.06576 2.22222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!!1">
            <a:extLst>
              <a:ext uri="{FF2B5EF4-FFF2-40B4-BE49-F238E27FC236}">
                <a16:creationId xmlns:a16="http://schemas.microsoft.com/office/drawing/2014/main" id="{75C220D2-C4B2-F076-6C06-E48E9413FAB4}"/>
              </a:ext>
            </a:extLst>
          </p:cNvPr>
          <p:cNvGrpSpPr/>
          <p:nvPr/>
        </p:nvGrpSpPr>
        <p:grpSpPr>
          <a:xfrm>
            <a:off x="753202" y="3429000"/>
            <a:ext cx="16369553" cy="2754715"/>
            <a:chOff x="-978299" y="3429000"/>
            <a:chExt cx="16369553" cy="2754715"/>
          </a:xfrm>
        </p:grpSpPr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D71102D8-225B-FB16-CDBE-EEB2403E0D33}"/>
                </a:ext>
              </a:extLst>
            </p:cNvPr>
            <p:cNvSpPr/>
            <p:nvPr/>
          </p:nvSpPr>
          <p:spPr>
            <a:xfrm>
              <a:off x="1953955" y="3429000"/>
              <a:ext cx="3322536" cy="697484"/>
            </a:xfrm>
            <a:custGeom>
              <a:avLst/>
              <a:gdLst>
                <a:gd name="connsiteX0" fmla="*/ 2618174 w 5360120"/>
                <a:gd name="connsiteY0" fmla="*/ 0 h 1115727"/>
                <a:gd name="connsiteX1" fmla="*/ 2679502 w 5360120"/>
                <a:gd name="connsiteY1" fmla="*/ 0 h 1115727"/>
                <a:gd name="connsiteX2" fmla="*/ 2740830 w 5360120"/>
                <a:gd name="connsiteY2" fmla="*/ 0 h 1115727"/>
                <a:gd name="connsiteX3" fmla="*/ 2803273 w 5360120"/>
                <a:gd name="connsiteY3" fmla="*/ 3340 h 1115727"/>
                <a:gd name="connsiteX4" fmla="*/ 2864601 w 5360120"/>
                <a:gd name="connsiteY4" fmla="*/ 7793 h 1115727"/>
                <a:gd name="connsiteX5" fmla="*/ 2923699 w 5360120"/>
                <a:gd name="connsiteY5" fmla="*/ 14473 h 1115727"/>
                <a:gd name="connsiteX6" fmla="*/ 2985027 w 5360120"/>
                <a:gd name="connsiteY6" fmla="*/ 23379 h 1115727"/>
                <a:gd name="connsiteX7" fmla="*/ 3043010 w 5360120"/>
                <a:gd name="connsiteY7" fmla="*/ 33399 h 1115727"/>
                <a:gd name="connsiteX8" fmla="*/ 3102109 w 5360120"/>
                <a:gd name="connsiteY8" fmla="*/ 46758 h 1115727"/>
                <a:gd name="connsiteX9" fmla="*/ 3160091 w 5360120"/>
                <a:gd name="connsiteY9" fmla="*/ 61231 h 1115727"/>
                <a:gd name="connsiteX10" fmla="*/ 3215843 w 5360120"/>
                <a:gd name="connsiteY10" fmla="*/ 77930 h 1115727"/>
                <a:gd name="connsiteX11" fmla="*/ 3270481 w 5360120"/>
                <a:gd name="connsiteY11" fmla="*/ 95743 h 1115727"/>
                <a:gd name="connsiteX12" fmla="*/ 3325119 w 5360120"/>
                <a:gd name="connsiteY12" fmla="*/ 116895 h 1115727"/>
                <a:gd name="connsiteX13" fmla="*/ 3376411 w 5360120"/>
                <a:gd name="connsiteY13" fmla="*/ 139161 h 1115727"/>
                <a:gd name="connsiteX14" fmla="*/ 3427704 w 5360120"/>
                <a:gd name="connsiteY14" fmla="*/ 163653 h 1115727"/>
                <a:gd name="connsiteX15" fmla="*/ 3477881 w 5360120"/>
                <a:gd name="connsiteY15" fmla="*/ 189259 h 1115727"/>
                <a:gd name="connsiteX16" fmla="*/ 3524713 w 5360120"/>
                <a:gd name="connsiteY16" fmla="*/ 215978 h 1115727"/>
                <a:gd name="connsiteX17" fmla="*/ 3569315 w 5360120"/>
                <a:gd name="connsiteY17" fmla="*/ 247150 h 1115727"/>
                <a:gd name="connsiteX18" fmla="*/ 3570430 w 5360120"/>
                <a:gd name="connsiteY18" fmla="*/ 248263 h 1115727"/>
                <a:gd name="connsiteX19" fmla="*/ 3581581 w 5360120"/>
                <a:gd name="connsiteY19" fmla="*/ 256056 h 1115727"/>
                <a:gd name="connsiteX20" fmla="*/ 3612802 w 5360120"/>
                <a:gd name="connsiteY20" fmla="*/ 277209 h 1115727"/>
                <a:gd name="connsiteX21" fmla="*/ 3671900 w 5360120"/>
                <a:gd name="connsiteY21" fmla="*/ 318401 h 1115727"/>
                <a:gd name="connsiteX22" fmla="*/ 3767795 w 5360120"/>
                <a:gd name="connsiteY22" fmla="*/ 386311 h 1115727"/>
                <a:gd name="connsiteX23" fmla="*/ 3912752 w 5360120"/>
                <a:gd name="connsiteY23" fmla="*/ 487620 h 1115727"/>
                <a:gd name="connsiteX24" fmla="*/ 4114577 w 5360120"/>
                <a:gd name="connsiteY24" fmla="*/ 627895 h 1115727"/>
                <a:gd name="connsiteX25" fmla="*/ 4383305 w 5360120"/>
                <a:gd name="connsiteY25" fmla="*/ 817154 h 1115727"/>
                <a:gd name="connsiteX26" fmla="*/ 4434597 w 5360120"/>
                <a:gd name="connsiteY26" fmla="*/ 851666 h 1115727"/>
                <a:gd name="connsiteX27" fmla="*/ 4490350 w 5360120"/>
                <a:gd name="connsiteY27" fmla="*/ 885065 h 1115727"/>
                <a:gd name="connsiteX28" fmla="*/ 4548333 w 5360120"/>
                <a:gd name="connsiteY28" fmla="*/ 915123 h 1115727"/>
                <a:gd name="connsiteX29" fmla="*/ 4608546 w 5360120"/>
                <a:gd name="connsiteY29" fmla="*/ 944069 h 1115727"/>
                <a:gd name="connsiteX30" fmla="*/ 4670989 w 5360120"/>
                <a:gd name="connsiteY30" fmla="*/ 971901 h 1115727"/>
                <a:gd name="connsiteX31" fmla="*/ 4736777 w 5360120"/>
                <a:gd name="connsiteY31" fmla="*/ 995280 h 1115727"/>
                <a:gd name="connsiteX32" fmla="*/ 4802565 w 5360120"/>
                <a:gd name="connsiteY32" fmla="*/ 1017546 h 1115727"/>
                <a:gd name="connsiteX33" fmla="*/ 4871699 w 5360120"/>
                <a:gd name="connsiteY33" fmla="*/ 1038698 h 1115727"/>
                <a:gd name="connsiteX34" fmla="*/ 4940832 w 5360120"/>
                <a:gd name="connsiteY34" fmla="*/ 1056511 h 1115727"/>
                <a:gd name="connsiteX35" fmla="*/ 5012195 w 5360120"/>
                <a:gd name="connsiteY35" fmla="*/ 1072097 h 1115727"/>
                <a:gd name="connsiteX36" fmla="*/ 5086904 w 5360120"/>
                <a:gd name="connsiteY36" fmla="*/ 1086570 h 1115727"/>
                <a:gd name="connsiteX37" fmla="*/ 5160497 w 5360120"/>
                <a:gd name="connsiteY37" fmla="*/ 1097703 h 1115727"/>
                <a:gd name="connsiteX38" fmla="*/ 5236321 w 5360120"/>
                <a:gd name="connsiteY38" fmla="*/ 1106609 h 1115727"/>
                <a:gd name="connsiteX39" fmla="*/ 5311030 w 5360120"/>
                <a:gd name="connsiteY39" fmla="*/ 1112176 h 1115727"/>
                <a:gd name="connsiteX40" fmla="*/ 5360120 w 5360120"/>
                <a:gd name="connsiteY40" fmla="*/ 1115727 h 1115727"/>
                <a:gd name="connsiteX41" fmla="*/ 0 w 5360120"/>
                <a:gd name="connsiteY41" fmla="*/ 1115727 h 1115727"/>
                <a:gd name="connsiteX42" fmla="*/ 49090 w 5360120"/>
                <a:gd name="connsiteY42" fmla="*/ 1112176 h 1115727"/>
                <a:gd name="connsiteX43" fmla="*/ 124914 w 5360120"/>
                <a:gd name="connsiteY43" fmla="*/ 1106609 h 1115727"/>
                <a:gd name="connsiteX44" fmla="*/ 200738 w 5360120"/>
                <a:gd name="connsiteY44" fmla="*/ 1097703 h 1115727"/>
                <a:gd name="connsiteX45" fmla="*/ 275446 w 5360120"/>
                <a:gd name="connsiteY45" fmla="*/ 1086570 h 1115727"/>
                <a:gd name="connsiteX46" fmla="*/ 347925 w 5360120"/>
                <a:gd name="connsiteY46" fmla="*/ 1072097 h 1115727"/>
                <a:gd name="connsiteX47" fmla="*/ 420403 w 5360120"/>
                <a:gd name="connsiteY47" fmla="*/ 1056511 h 1115727"/>
                <a:gd name="connsiteX48" fmla="*/ 489537 w 5360120"/>
                <a:gd name="connsiteY48" fmla="*/ 1038698 h 1115727"/>
                <a:gd name="connsiteX49" fmla="*/ 558670 w 5360120"/>
                <a:gd name="connsiteY49" fmla="*/ 1017546 h 1115727"/>
                <a:gd name="connsiteX50" fmla="*/ 624458 w 5360120"/>
                <a:gd name="connsiteY50" fmla="*/ 995280 h 1115727"/>
                <a:gd name="connsiteX51" fmla="*/ 690246 w 5360120"/>
                <a:gd name="connsiteY51" fmla="*/ 971901 h 1115727"/>
                <a:gd name="connsiteX52" fmla="*/ 751574 w 5360120"/>
                <a:gd name="connsiteY52" fmla="*/ 944069 h 1115727"/>
                <a:gd name="connsiteX53" fmla="*/ 811787 w 5360120"/>
                <a:gd name="connsiteY53" fmla="*/ 915123 h 1115727"/>
                <a:gd name="connsiteX54" fmla="*/ 869770 w 5360120"/>
                <a:gd name="connsiteY54" fmla="*/ 885065 h 1115727"/>
                <a:gd name="connsiteX55" fmla="*/ 924408 w 5360120"/>
                <a:gd name="connsiteY55" fmla="*/ 851666 h 1115727"/>
                <a:gd name="connsiteX56" fmla="*/ 977930 w 5360120"/>
                <a:gd name="connsiteY56" fmla="*/ 817154 h 1115727"/>
                <a:gd name="connsiteX57" fmla="*/ 979045 w 5360120"/>
                <a:gd name="connsiteY57" fmla="*/ 816041 h 1115727"/>
                <a:gd name="connsiteX58" fmla="*/ 990196 w 5360120"/>
                <a:gd name="connsiteY58" fmla="*/ 808248 h 1115727"/>
                <a:gd name="connsiteX59" fmla="*/ 1021417 w 5360120"/>
                <a:gd name="connsiteY59" fmla="*/ 787095 h 1115727"/>
                <a:gd name="connsiteX60" fmla="*/ 1078285 w 5360120"/>
                <a:gd name="connsiteY60" fmla="*/ 745904 h 1115727"/>
                <a:gd name="connsiteX61" fmla="*/ 1176410 w 5360120"/>
                <a:gd name="connsiteY61" fmla="*/ 677993 h 1115727"/>
                <a:gd name="connsiteX62" fmla="*/ 1321367 w 5360120"/>
                <a:gd name="connsiteY62" fmla="*/ 576684 h 1115727"/>
                <a:gd name="connsiteX63" fmla="*/ 1522076 w 5360120"/>
                <a:gd name="connsiteY63" fmla="*/ 434183 h 1115727"/>
                <a:gd name="connsiteX64" fmla="*/ 1789689 w 5360120"/>
                <a:gd name="connsiteY64" fmla="*/ 247150 h 1115727"/>
                <a:gd name="connsiteX65" fmla="*/ 1836522 w 5360120"/>
                <a:gd name="connsiteY65" fmla="*/ 215978 h 1115727"/>
                <a:gd name="connsiteX66" fmla="*/ 1883354 w 5360120"/>
                <a:gd name="connsiteY66" fmla="*/ 189259 h 1115727"/>
                <a:gd name="connsiteX67" fmla="*/ 1931301 w 5360120"/>
                <a:gd name="connsiteY67" fmla="*/ 163653 h 1115727"/>
                <a:gd name="connsiteX68" fmla="*/ 1982594 w 5360120"/>
                <a:gd name="connsiteY68" fmla="*/ 139161 h 1115727"/>
                <a:gd name="connsiteX69" fmla="*/ 2036116 w 5360120"/>
                <a:gd name="connsiteY69" fmla="*/ 116895 h 1115727"/>
                <a:gd name="connsiteX70" fmla="*/ 2088524 w 5360120"/>
                <a:gd name="connsiteY70" fmla="*/ 95743 h 1115727"/>
                <a:gd name="connsiteX71" fmla="*/ 2145392 w 5360120"/>
                <a:gd name="connsiteY71" fmla="*/ 77930 h 1115727"/>
                <a:gd name="connsiteX72" fmla="*/ 2201144 w 5360120"/>
                <a:gd name="connsiteY72" fmla="*/ 61231 h 1115727"/>
                <a:gd name="connsiteX73" fmla="*/ 2259127 w 5360120"/>
                <a:gd name="connsiteY73" fmla="*/ 46758 h 1115727"/>
                <a:gd name="connsiteX74" fmla="*/ 2317110 w 5360120"/>
                <a:gd name="connsiteY74" fmla="*/ 33399 h 1115727"/>
                <a:gd name="connsiteX75" fmla="*/ 2376208 w 5360120"/>
                <a:gd name="connsiteY75" fmla="*/ 23379 h 1115727"/>
                <a:gd name="connsiteX76" fmla="*/ 2435305 w 5360120"/>
                <a:gd name="connsiteY76" fmla="*/ 14473 h 1115727"/>
                <a:gd name="connsiteX77" fmla="*/ 2496633 w 5360120"/>
                <a:gd name="connsiteY77" fmla="*/ 7793 h 1115727"/>
                <a:gd name="connsiteX78" fmla="*/ 2557961 w 5360120"/>
                <a:gd name="connsiteY78" fmla="*/ 3340 h 11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60120" h="1115727">
                  <a:moveTo>
                    <a:pt x="2618174" y="0"/>
                  </a:moveTo>
                  <a:lnTo>
                    <a:pt x="2679502" y="0"/>
                  </a:lnTo>
                  <a:lnTo>
                    <a:pt x="2740830" y="0"/>
                  </a:lnTo>
                  <a:lnTo>
                    <a:pt x="2803273" y="3340"/>
                  </a:lnTo>
                  <a:lnTo>
                    <a:pt x="2864601" y="7793"/>
                  </a:lnTo>
                  <a:lnTo>
                    <a:pt x="2923699" y="14473"/>
                  </a:lnTo>
                  <a:lnTo>
                    <a:pt x="2985027" y="23379"/>
                  </a:lnTo>
                  <a:lnTo>
                    <a:pt x="3043010" y="33399"/>
                  </a:lnTo>
                  <a:lnTo>
                    <a:pt x="3102109" y="46758"/>
                  </a:lnTo>
                  <a:lnTo>
                    <a:pt x="3160091" y="61231"/>
                  </a:lnTo>
                  <a:lnTo>
                    <a:pt x="3215843" y="77930"/>
                  </a:lnTo>
                  <a:lnTo>
                    <a:pt x="3270481" y="95743"/>
                  </a:lnTo>
                  <a:lnTo>
                    <a:pt x="3325119" y="116895"/>
                  </a:lnTo>
                  <a:lnTo>
                    <a:pt x="3376411" y="139161"/>
                  </a:lnTo>
                  <a:lnTo>
                    <a:pt x="3427704" y="163653"/>
                  </a:lnTo>
                  <a:lnTo>
                    <a:pt x="3477881" y="189259"/>
                  </a:lnTo>
                  <a:lnTo>
                    <a:pt x="3524713" y="215978"/>
                  </a:lnTo>
                  <a:lnTo>
                    <a:pt x="3569315" y="247150"/>
                  </a:lnTo>
                  <a:lnTo>
                    <a:pt x="3570430" y="248263"/>
                  </a:lnTo>
                  <a:lnTo>
                    <a:pt x="3581581" y="256056"/>
                  </a:lnTo>
                  <a:lnTo>
                    <a:pt x="3612802" y="277209"/>
                  </a:lnTo>
                  <a:lnTo>
                    <a:pt x="3671900" y="318401"/>
                  </a:lnTo>
                  <a:lnTo>
                    <a:pt x="3767795" y="386311"/>
                  </a:lnTo>
                  <a:lnTo>
                    <a:pt x="3912752" y="487620"/>
                  </a:lnTo>
                  <a:lnTo>
                    <a:pt x="4114577" y="627895"/>
                  </a:lnTo>
                  <a:lnTo>
                    <a:pt x="4383305" y="817154"/>
                  </a:lnTo>
                  <a:lnTo>
                    <a:pt x="4434597" y="851666"/>
                  </a:lnTo>
                  <a:lnTo>
                    <a:pt x="4490350" y="885065"/>
                  </a:lnTo>
                  <a:lnTo>
                    <a:pt x="4548333" y="915123"/>
                  </a:lnTo>
                  <a:lnTo>
                    <a:pt x="4608546" y="944069"/>
                  </a:lnTo>
                  <a:lnTo>
                    <a:pt x="4670989" y="971901"/>
                  </a:lnTo>
                  <a:lnTo>
                    <a:pt x="4736777" y="995280"/>
                  </a:lnTo>
                  <a:lnTo>
                    <a:pt x="4802565" y="1017546"/>
                  </a:lnTo>
                  <a:lnTo>
                    <a:pt x="4871699" y="1038698"/>
                  </a:lnTo>
                  <a:lnTo>
                    <a:pt x="4940832" y="1056511"/>
                  </a:lnTo>
                  <a:lnTo>
                    <a:pt x="5012195" y="1072097"/>
                  </a:lnTo>
                  <a:lnTo>
                    <a:pt x="5086904" y="1086570"/>
                  </a:lnTo>
                  <a:lnTo>
                    <a:pt x="5160497" y="1097703"/>
                  </a:lnTo>
                  <a:lnTo>
                    <a:pt x="5236321" y="1106609"/>
                  </a:lnTo>
                  <a:lnTo>
                    <a:pt x="5311030" y="1112176"/>
                  </a:lnTo>
                  <a:lnTo>
                    <a:pt x="5360120" y="1115727"/>
                  </a:lnTo>
                  <a:lnTo>
                    <a:pt x="0" y="1115727"/>
                  </a:lnTo>
                  <a:lnTo>
                    <a:pt x="49090" y="1112176"/>
                  </a:lnTo>
                  <a:lnTo>
                    <a:pt x="124914" y="1106609"/>
                  </a:lnTo>
                  <a:lnTo>
                    <a:pt x="200738" y="1097703"/>
                  </a:lnTo>
                  <a:lnTo>
                    <a:pt x="275446" y="1086570"/>
                  </a:lnTo>
                  <a:lnTo>
                    <a:pt x="347925" y="1072097"/>
                  </a:lnTo>
                  <a:lnTo>
                    <a:pt x="420403" y="1056511"/>
                  </a:lnTo>
                  <a:lnTo>
                    <a:pt x="489537" y="1038698"/>
                  </a:lnTo>
                  <a:lnTo>
                    <a:pt x="558670" y="1017546"/>
                  </a:lnTo>
                  <a:lnTo>
                    <a:pt x="624458" y="995280"/>
                  </a:lnTo>
                  <a:lnTo>
                    <a:pt x="690246" y="971901"/>
                  </a:lnTo>
                  <a:lnTo>
                    <a:pt x="751574" y="944069"/>
                  </a:lnTo>
                  <a:lnTo>
                    <a:pt x="811787" y="915123"/>
                  </a:lnTo>
                  <a:lnTo>
                    <a:pt x="869770" y="885065"/>
                  </a:lnTo>
                  <a:lnTo>
                    <a:pt x="924408" y="851666"/>
                  </a:lnTo>
                  <a:lnTo>
                    <a:pt x="977930" y="817154"/>
                  </a:lnTo>
                  <a:lnTo>
                    <a:pt x="979045" y="816041"/>
                  </a:lnTo>
                  <a:lnTo>
                    <a:pt x="990196" y="808248"/>
                  </a:lnTo>
                  <a:lnTo>
                    <a:pt x="1021417" y="787095"/>
                  </a:lnTo>
                  <a:lnTo>
                    <a:pt x="1078285" y="745904"/>
                  </a:lnTo>
                  <a:lnTo>
                    <a:pt x="1176410" y="677993"/>
                  </a:lnTo>
                  <a:lnTo>
                    <a:pt x="1321367" y="576684"/>
                  </a:lnTo>
                  <a:lnTo>
                    <a:pt x="1522076" y="434183"/>
                  </a:lnTo>
                  <a:lnTo>
                    <a:pt x="1789689" y="247150"/>
                  </a:lnTo>
                  <a:lnTo>
                    <a:pt x="1836522" y="215978"/>
                  </a:lnTo>
                  <a:lnTo>
                    <a:pt x="1883354" y="189259"/>
                  </a:lnTo>
                  <a:lnTo>
                    <a:pt x="1931301" y="163653"/>
                  </a:lnTo>
                  <a:lnTo>
                    <a:pt x="1982594" y="139161"/>
                  </a:lnTo>
                  <a:lnTo>
                    <a:pt x="2036116" y="116895"/>
                  </a:lnTo>
                  <a:lnTo>
                    <a:pt x="2088524" y="95743"/>
                  </a:lnTo>
                  <a:lnTo>
                    <a:pt x="2145392" y="77930"/>
                  </a:lnTo>
                  <a:lnTo>
                    <a:pt x="2201144" y="61231"/>
                  </a:lnTo>
                  <a:lnTo>
                    <a:pt x="2259127" y="46758"/>
                  </a:lnTo>
                  <a:lnTo>
                    <a:pt x="2317110" y="33399"/>
                  </a:lnTo>
                  <a:lnTo>
                    <a:pt x="2376208" y="23379"/>
                  </a:lnTo>
                  <a:lnTo>
                    <a:pt x="2435305" y="14473"/>
                  </a:lnTo>
                  <a:lnTo>
                    <a:pt x="2496633" y="7793"/>
                  </a:lnTo>
                  <a:lnTo>
                    <a:pt x="2557961" y="334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CA6F2DFE-E665-419F-0204-124A93BF82A0}"/>
                </a:ext>
              </a:extLst>
            </p:cNvPr>
            <p:cNvSpPr/>
            <p:nvPr/>
          </p:nvSpPr>
          <p:spPr>
            <a:xfrm>
              <a:off x="-978299" y="4107544"/>
              <a:ext cx="16369553" cy="2076171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  <p:sp>
          <p:nvSpPr>
            <p:cNvPr id="11" name="Полилиния 10">
              <a:extLst>
                <a:ext uri="{FF2B5EF4-FFF2-40B4-BE49-F238E27FC236}">
                  <a16:creationId xmlns:a16="http://schemas.microsoft.com/office/drawing/2014/main" id="{09AE8868-9D14-8C86-9618-450235E77B24}"/>
                </a:ext>
              </a:extLst>
            </p:cNvPr>
            <p:cNvSpPr/>
            <p:nvPr/>
          </p:nvSpPr>
          <p:spPr>
            <a:xfrm>
              <a:off x="2882469" y="3674312"/>
              <a:ext cx="2063749" cy="433233"/>
            </a:xfrm>
            <a:custGeom>
              <a:avLst/>
              <a:gdLst>
                <a:gd name="connsiteX0" fmla="*/ 2618174 w 5360120"/>
                <a:gd name="connsiteY0" fmla="*/ 0 h 1115727"/>
                <a:gd name="connsiteX1" fmla="*/ 2679502 w 5360120"/>
                <a:gd name="connsiteY1" fmla="*/ 0 h 1115727"/>
                <a:gd name="connsiteX2" fmla="*/ 2740830 w 5360120"/>
                <a:gd name="connsiteY2" fmla="*/ 0 h 1115727"/>
                <a:gd name="connsiteX3" fmla="*/ 2803273 w 5360120"/>
                <a:gd name="connsiteY3" fmla="*/ 3340 h 1115727"/>
                <a:gd name="connsiteX4" fmla="*/ 2864601 w 5360120"/>
                <a:gd name="connsiteY4" fmla="*/ 7793 h 1115727"/>
                <a:gd name="connsiteX5" fmla="*/ 2923699 w 5360120"/>
                <a:gd name="connsiteY5" fmla="*/ 14473 h 1115727"/>
                <a:gd name="connsiteX6" fmla="*/ 2985027 w 5360120"/>
                <a:gd name="connsiteY6" fmla="*/ 23379 h 1115727"/>
                <a:gd name="connsiteX7" fmla="*/ 3043010 w 5360120"/>
                <a:gd name="connsiteY7" fmla="*/ 33399 h 1115727"/>
                <a:gd name="connsiteX8" fmla="*/ 3102109 w 5360120"/>
                <a:gd name="connsiteY8" fmla="*/ 46758 h 1115727"/>
                <a:gd name="connsiteX9" fmla="*/ 3160091 w 5360120"/>
                <a:gd name="connsiteY9" fmla="*/ 61231 h 1115727"/>
                <a:gd name="connsiteX10" fmla="*/ 3215843 w 5360120"/>
                <a:gd name="connsiteY10" fmla="*/ 77930 h 1115727"/>
                <a:gd name="connsiteX11" fmla="*/ 3270481 w 5360120"/>
                <a:gd name="connsiteY11" fmla="*/ 95743 h 1115727"/>
                <a:gd name="connsiteX12" fmla="*/ 3325119 w 5360120"/>
                <a:gd name="connsiteY12" fmla="*/ 116895 h 1115727"/>
                <a:gd name="connsiteX13" fmla="*/ 3376411 w 5360120"/>
                <a:gd name="connsiteY13" fmla="*/ 139161 h 1115727"/>
                <a:gd name="connsiteX14" fmla="*/ 3427704 w 5360120"/>
                <a:gd name="connsiteY14" fmla="*/ 163653 h 1115727"/>
                <a:gd name="connsiteX15" fmla="*/ 3477881 w 5360120"/>
                <a:gd name="connsiteY15" fmla="*/ 189259 h 1115727"/>
                <a:gd name="connsiteX16" fmla="*/ 3524713 w 5360120"/>
                <a:gd name="connsiteY16" fmla="*/ 215978 h 1115727"/>
                <a:gd name="connsiteX17" fmla="*/ 3569315 w 5360120"/>
                <a:gd name="connsiteY17" fmla="*/ 247150 h 1115727"/>
                <a:gd name="connsiteX18" fmla="*/ 3570430 w 5360120"/>
                <a:gd name="connsiteY18" fmla="*/ 248263 h 1115727"/>
                <a:gd name="connsiteX19" fmla="*/ 3581581 w 5360120"/>
                <a:gd name="connsiteY19" fmla="*/ 256056 h 1115727"/>
                <a:gd name="connsiteX20" fmla="*/ 3612802 w 5360120"/>
                <a:gd name="connsiteY20" fmla="*/ 277209 h 1115727"/>
                <a:gd name="connsiteX21" fmla="*/ 3671900 w 5360120"/>
                <a:gd name="connsiteY21" fmla="*/ 318401 h 1115727"/>
                <a:gd name="connsiteX22" fmla="*/ 3767795 w 5360120"/>
                <a:gd name="connsiteY22" fmla="*/ 386311 h 1115727"/>
                <a:gd name="connsiteX23" fmla="*/ 3912752 w 5360120"/>
                <a:gd name="connsiteY23" fmla="*/ 487620 h 1115727"/>
                <a:gd name="connsiteX24" fmla="*/ 4114577 w 5360120"/>
                <a:gd name="connsiteY24" fmla="*/ 627895 h 1115727"/>
                <a:gd name="connsiteX25" fmla="*/ 4383305 w 5360120"/>
                <a:gd name="connsiteY25" fmla="*/ 817154 h 1115727"/>
                <a:gd name="connsiteX26" fmla="*/ 4434597 w 5360120"/>
                <a:gd name="connsiteY26" fmla="*/ 851666 h 1115727"/>
                <a:gd name="connsiteX27" fmla="*/ 4490350 w 5360120"/>
                <a:gd name="connsiteY27" fmla="*/ 885065 h 1115727"/>
                <a:gd name="connsiteX28" fmla="*/ 4548333 w 5360120"/>
                <a:gd name="connsiteY28" fmla="*/ 915123 h 1115727"/>
                <a:gd name="connsiteX29" fmla="*/ 4608546 w 5360120"/>
                <a:gd name="connsiteY29" fmla="*/ 944069 h 1115727"/>
                <a:gd name="connsiteX30" fmla="*/ 4670989 w 5360120"/>
                <a:gd name="connsiteY30" fmla="*/ 971901 h 1115727"/>
                <a:gd name="connsiteX31" fmla="*/ 4736777 w 5360120"/>
                <a:gd name="connsiteY31" fmla="*/ 995280 h 1115727"/>
                <a:gd name="connsiteX32" fmla="*/ 4802565 w 5360120"/>
                <a:gd name="connsiteY32" fmla="*/ 1017546 h 1115727"/>
                <a:gd name="connsiteX33" fmla="*/ 4871699 w 5360120"/>
                <a:gd name="connsiteY33" fmla="*/ 1038698 h 1115727"/>
                <a:gd name="connsiteX34" fmla="*/ 4940832 w 5360120"/>
                <a:gd name="connsiteY34" fmla="*/ 1056511 h 1115727"/>
                <a:gd name="connsiteX35" fmla="*/ 5012195 w 5360120"/>
                <a:gd name="connsiteY35" fmla="*/ 1072097 h 1115727"/>
                <a:gd name="connsiteX36" fmla="*/ 5086904 w 5360120"/>
                <a:gd name="connsiteY36" fmla="*/ 1086570 h 1115727"/>
                <a:gd name="connsiteX37" fmla="*/ 5160497 w 5360120"/>
                <a:gd name="connsiteY37" fmla="*/ 1097703 h 1115727"/>
                <a:gd name="connsiteX38" fmla="*/ 5236321 w 5360120"/>
                <a:gd name="connsiteY38" fmla="*/ 1106609 h 1115727"/>
                <a:gd name="connsiteX39" fmla="*/ 5311030 w 5360120"/>
                <a:gd name="connsiteY39" fmla="*/ 1112176 h 1115727"/>
                <a:gd name="connsiteX40" fmla="*/ 5360120 w 5360120"/>
                <a:gd name="connsiteY40" fmla="*/ 1115727 h 1115727"/>
                <a:gd name="connsiteX41" fmla="*/ 0 w 5360120"/>
                <a:gd name="connsiteY41" fmla="*/ 1115727 h 1115727"/>
                <a:gd name="connsiteX42" fmla="*/ 49090 w 5360120"/>
                <a:gd name="connsiteY42" fmla="*/ 1112176 h 1115727"/>
                <a:gd name="connsiteX43" fmla="*/ 124914 w 5360120"/>
                <a:gd name="connsiteY43" fmla="*/ 1106609 h 1115727"/>
                <a:gd name="connsiteX44" fmla="*/ 200738 w 5360120"/>
                <a:gd name="connsiteY44" fmla="*/ 1097703 h 1115727"/>
                <a:gd name="connsiteX45" fmla="*/ 275446 w 5360120"/>
                <a:gd name="connsiteY45" fmla="*/ 1086570 h 1115727"/>
                <a:gd name="connsiteX46" fmla="*/ 347925 w 5360120"/>
                <a:gd name="connsiteY46" fmla="*/ 1072097 h 1115727"/>
                <a:gd name="connsiteX47" fmla="*/ 420403 w 5360120"/>
                <a:gd name="connsiteY47" fmla="*/ 1056511 h 1115727"/>
                <a:gd name="connsiteX48" fmla="*/ 489537 w 5360120"/>
                <a:gd name="connsiteY48" fmla="*/ 1038698 h 1115727"/>
                <a:gd name="connsiteX49" fmla="*/ 558670 w 5360120"/>
                <a:gd name="connsiteY49" fmla="*/ 1017546 h 1115727"/>
                <a:gd name="connsiteX50" fmla="*/ 624458 w 5360120"/>
                <a:gd name="connsiteY50" fmla="*/ 995280 h 1115727"/>
                <a:gd name="connsiteX51" fmla="*/ 690246 w 5360120"/>
                <a:gd name="connsiteY51" fmla="*/ 971901 h 1115727"/>
                <a:gd name="connsiteX52" fmla="*/ 751574 w 5360120"/>
                <a:gd name="connsiteY52" fmla="*/ 944069 h 1115727"/>
                <a:gd name="connsiteX53" fmla="*/ 811787 w 5360120"/>
                <a:gd name="connsiteY53" fmla="*/ 915123 h 1115727"/>
                <a:gd name="connsiteX54" fmla="*/ 869770 w 5360120"/>
                <a:gd name="connsiteY54" fmla="*/ 885065 h 1115727"/>
                <a:gd name="connsiteX55" fmla="*/ 924408 w 5360120"/>
                <a:gd name="connsiteY55" fmla="*/ 851666 h 1115727"/>
                <a:gd name="connsiteX56" fmla="*/ 977930 w 5360120"/>
                <a:gd name="connsiteY56" fmla="*/ 817154 h 1115727"/>
                <a:gd name="connsiteX57" fmla="*/ 979045 w 5360120"/>
                <a:gd name="connsiteY57" fmla="*/ 816041 h 1115727"/>
                <a:gd name="connsiteX58" fmla="*/ 990196 w 5360120"/>
                <a:gd name="connsiteY58" fmla="*/ 808248 h 1115727"/>
                <a:gd name="connsiteX59" fmla="*/ 1021417 w 5360120"/>
                <a:gd name="connsiteY59" fmla="*/ 787095 h 1115727"/>
                <a:gd name="connsiteX60" fmla="*/ 1078285 w 5360120"/>
                <a:gd name="connsiteY60" fmla="*/ 745904 h 1115727"/>
                <a:gd name="connsiteX61" fmla="*/ 1176410 w 5360120"/>
                <a:gd name="connsiteY61" fmla="*/ 677993 h 1115727"/>
                <a:gd name="connsiteX62" fmla="*/ 1321367 w 5360120"/>
                <a:gd name="connsiteY62" fmla="*/ 576684 h 1115727"/>
                <a:gd name="connsiteX63" fmla="*/ 1522076 w 5360120"/>
                <a:gd name="connsiteY63" fmla="*/ 434183 h 1115727"/>
                <a:gd name="connsiteX64" fmla="*/ 1789689 w 5360120"/>
                <a:gd name="connsiteY64" fmla="*/ 247150 h 1115727"/>
                <a:gd name="connsiteX65" fmla="*/ 1836522 w 5360120"/>
                <a:gd name="connsiteY65" fmla="*/ 215978 h 1115727"/>
                <a:gd name="connsiteX66" fmla="*/ 1883354 w 5360120"/>
                <a:gd name="connsiteY66" fmla="*/ 189259 h 1115727"/>
                <a:gd name="connsiteX67" fmla="*/ 1931301 w 5360120"/>
                <a:gd name="connsiteY67" fmla="*/ 163653 h 1115727"/>
                <a:gd name="connsiteX68" fmla="*/ 1982594 w 5360120"/>
                <a:gd name="connsiteY68" fmla="*/ 139161 h 1115727"/>
                <a:gd name="connsiteX69" fmla="*/ 2036116 w 5360120"/>
                <a:gd name="connsiteY69" fmla="*/ 116895 h 1115727"/>
                <a:gd name="connsiteX70" fmla="*/ 2088524 w 5360120"/>
                <a:gd name="connsiteY70" fmla="*/ 95743 h 1115727"/>
                <a:gd name="connsiteX71" fmla="*/ 2145392 w 5360120"/>
                <a:gd name="connsiteY71" fmla="*/ 77930 h 1115727"/>
                <a:gd name="connsiteX72" fmla="*/ 2201144 w 5360120"/>
                <a:gd name="connsiteY72" fmla="*/ 61231 h 1115727"/>
                <a:gd name="connsiteX73" fmla="*/ 2259127 w 5360120"/>
                <a:gd name="connsiteY73" fmla="*/ 46758 h 1115727"/>
                <a:gd name="connsiteX74" fmla="*/ 2317110 w 5360120"/>
                <a:gd name="connsiteY74" fmla="*/ 33399 h 1115727"/>
                <a:gd name="connsiteX75" fmla="*/ 2376208 w 5360120"/>
                <a:gd name="connsiteY75" fmla="*/ 23379 h 1115727"/>
                <a:gd name="connsiteX76" fmla="*/ 2435305 w 5360120"/>
                <a:gd name="connsiteY76" fmla="*/ 14473 h 1115727"/>
                <a:gd name="connsiteX77" fmla="*/ 2496633 w 5360120"/>
                <a:gd name="connsiteY77" fmla="*/ 7793 h 1115727"/>
                <a:gd name="connsiteX78" fmla="*/ 2557961 w 5360120"/>
                <a:gd name="connsiteY78" fmla="*/ 3340 h 11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60120" h="1115727">
                  <a:moveTo>
                    <a:pt x="2618174" y="0"/>
                  </a:moveTo>
                  <a:lnTo>
                    <a:pt x="2679502" y="0"/>
                  </a:lnTo>
                  <a:lnTo>
                    <a:pt x="2740830" y="0"/>
                  </a:lnTo>
                  <a:lnTo>
                    <a:pt x="2803273" y="3340"/>
                  </a:lnTo>
                  <a:lnTo>
                    <a:pt x="2864601" y="7793"/>
                  </a:lnTo>
                  <a:lnTo>
                    <a:pt x="2923699" y="14473"/>
                  </a:lnTo>
                  <a:lnTo>
                    <a:pt x="2985027" y="23379"/>
                  </a:lnTo>
                  <a:lnTo>
                    <a:pt x="3043010" y="33399"/>
                  </a:lnTo>
                  <a:lnTo>
                    <a:pt x="3102109" y="46758"/>
                  </a:lnTo>
                  <a:lnTo>
                    <a:pt x="3160091" y="61231"/>
                  </a:lnTo>
                  <a:lnTo>
                    <a:pt x="3215843" y="77930"/>
                  </a:lnTo>
                  <a:lnTo>
                    <a:pt x="3270481" y="95743"/>
                  </a:lnTo>
                  <a:lnTo>
                    <a:pt x="3325119" y="116895"/>
                  </a:lnTo>
                  <a:lnTo>
                    <a:pt x="3376411" y="139161"/>
                  </a:lnTo>
                  <a:lnTo>
                    <a:pt x="3427704" y="163653"/>
                  </a:lnTo>
                  <a:lnTo>
                    <a:pt x="3477881" y="189259"/>
                  </a:lnTo>
                  <a:lnTo>
                    <a:pt x="3524713" y="215978"/>
                  </a:lnTo>
                  <a:lnTo>
                    <a:pt x="3569315" y="247150"/>
                  </a:lnTo>
                  <a:lnTo>
                    <a:pt x="3570430" y="248263"/>
                  </a:lnTo>
                  <a:lnTo>
                    <a:pt x="3581581" y="256056"/>
                  </a:lnTo>
                  <a:lnTo>
                    <a:pt x="3612802" y="277209"/>
                  </a:lnTo>
                  <a:lnTo>
                    <a:pt x="3671900" y="318401"/>
                  </a:lnTo>
                  <a:lnTo>
                    <a:pt x="3767795" y="386311"/>
                  </a:lnTo>
                  <a:lnTo>
                    <a:pt x="3912752" y="487620"/>
                  </a:lnTo>
                  <a:lnTo>
                    <a:pt x="4114577" y="627895"/>
                  </a:lnTo>
                  <a:lnTo>
                    <a:pt x="4383305" y="817154"/>
                  </a:lnTo>
                  <a:lnTo>
                    <a:pt x="4434597" y="851666"/>
                  </a:lnTo>
                  <a:lnTo>
                    <a:pt x="4490350" y="885065"/>
                  </a:lnTo>
                  <a:lnTo>
                    <a:pt x="4548333" y="915123"/>
                  </a:lnTo>
                  <a:lnTo>
                    <a:pt x="4608546" y="944069"/>
                  </a:lnTo>
                  <a:lnTo>
                    <a:pt x="4670989" y="971901"/>
                  </a:lnTo>
                  <a:lnTo>
                    <a:pt x="4736777" y="995280"/>
                  </a:lnTo>
                  <a:lnTo>
                    <a:pt x="4802565" y="1017546"/>
                  </a:lnTo>
                  <a:lnTo>
                    <a:pt x="4871699" y="1038698"/>
                  </a:lnTo>
                  <a:lnTo>
                    <a:pt x="4940832" y="1056511"/>
                  </a:lnTo>
                  <a:lnTo>
                    <a:pt x="5012195" y="1072097"/>
                  </a:lnTo>
                  <a:lnTo>
                    <a:pt x="5086904" y="1086570"/>
                  </a:lnTo>
                  <a:lnTo>
                    <a:pt x="5160497" y="1097703"/>
                  </a:lnTo>
                  <a:lnTo>
                    <a:pt x="5236321" y="1106609"/>
                  </a:lnTo>
                  <a:lnTo>
                    <a:pt x="5311030" y="1112176"/>
                  </a:lnTo>
                  <a:lnTo>
                    <a:pt x="5360120" y="1115727"/>
                  </a:lnTo>
                  <a:lnTo>
                    <a:pt x="0" y="1115727"/>
                  </a:lnTo>
                  <a:lnTo>
                    <a:pt x="49090" y="1112176"/>
                  </a:lnTo>
                  <a:lnTo>
                    <a:pt x="124914" y="1106609"/>
                  </a:lnTo>
                  <a:lnTo>
                    <a:pt x="200738" y="1097703"/>
                  </a:lnTo>
                  <a:lnTo>
                    <a:pt x="275446" y="1086570"/>
                  </a:lnTo>
                  <a:lnTo>
                    <a:pt x="347925" y="1072097"/>
                  </a:lnTo>
                  <a:lnTo>
                    <a:pt x="420403" y="1056511"/>
                  </a:lnTo>
                  <a:lnTo>
                    <a:pt x="489537" y="1038698"/>
                  </a:lnTo>
                  <a:lnTo>
                    <a:pt x="558670" y="1017546"/>
                  </a:lnTo>
                  <a:lnTo>
                    <a:pt x="624458" y="995280"/>
                  </a:lnTo>
                  <a:lnTo>
                    <a:pt x="690246" y="971901"/>
                  </a:lnTo>
                  <a:lnTo>
                    <a:pt x="751574" y="944069"/>
                  </a:lnTo>
                  <a:lnTo>
                    <a:pt x="811787" y="915123"/>
                  </a:lnTo>
                  <a:lnTo>
                    <a:pt x="869770" y="885065"/>
                  </a:lnTo>
                  <a:lnTo>
                    <a:pt x="924408" y="851666"/>
                  </a:lnTo>
                  <a:lnTo>
                    <a:pt x="977930" y="817154"/>
                  </a:lnTo>
                  <a:lnTo>
                    <a:pt x="979045" y="816041"/>
                  </a:lnTo>
                  <a:lnTo>
                    <a:pt x="990196" y="808248"/>
                  </a:lnTo>
                  <a:lnTo>
                    <a:pt x="1021417" y="787095"/>
                  </a:lnTo>
                  <a:lnTo>
                    <a:pt x="1078285" y="745904"/>
                  </a:lnTo>
                  <a:lnTo>
                    <a:pt x="1176410" y="677993"/>
                  </a:lnTo>
                  <a:lnTo>
                    <a:pt x="1321367" y="576684"/>
                  </a:lnTo>
                  <a:lnTo>
                    <a:pt x="1522076" y="434183"/>
                  </a:lnTo>
                  <a:lnTo>
                    <a:pt x="1789689" y="247150"/>
                  </a:lnTo>
                  <a:lnTo>
                    <a:pt x="1836522" y="215978"/>
                  </a:lnTo>
                  <a:lnTo>
                    <a:pt x="1883354" y="189259"/>
                  </a:lnTo>
                  <a:lnTo>
                    <a:pt x="1931301" y="163653"/>
                  </a:lnTo>
                  <a:lnTo>
                    <a:pt x="1982594" y="139161"/>
                  </a:lnTo>
                  <a:lnTo>
                    <a:pt x="2036116" y="116895"/>
                  </a:lnTo>
                  <a:lnTo>
                    <a:pt x="2088524" y="95743"/>
                  </a:lnTo>
                  <a:lnTo>
                    <a:pt x="2145392" y="77930"/>
                  </a:lnTo>
                  <a:lnTo>
                    <a:pt x="2201144" y="61231"/>
                  </a:lnTo>
                  <a:lnTo>
                    <a:pt x="2259127" y="46758"/>
                  </a:lnTo>
                  <a:lnTo>
                    <a:pt x="2317110" y="33399"/>
                  </a:lnTo>
                  <a:lnTo>
                    <a:pt x="2376208" y="23379"/>
                  </a:lnTo>
                  <a:lnTo>
                    <a:pt x="2435305" y="14473"/>
                  </a:lnTo>
                  <a:lnTo>
                    <a:pt x="2496633" y="7793"/>
                  </a:lnTo>
                  <a:lnTo>
                    <a:pt x="2557961" y="3340"/>
                  </a:ln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</p:grp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27059130-641E-7247-9B2B-0602940EE081}"/>
              </a:ext>
            </a:extLst>
          </p:cNvPr>
          <p:cNvSpPr txBox="1"/>
          <p:nvPr/>
        </p:nvSpPr>
        <p:spPr>
          <a:xfrm>
            <a:off x="513614" y="1220703"/>
            <a:ext cx="11389623" cy="22082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5500"/>
              </a:lnSpc>
            </a:pP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БИЗНЕС </a:t>
            </a:r>
            <a:b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</a:b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СТРОИТСЯ </a:t>
            </a:r>
            <a:b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</a:b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НА КОММУНИКАЦИЯХ</a:t>
            </a:r>
          </a:p>
        </p:txBody>
      </p: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0" name="Овал 9">
            <a:extLst>
              <a:ext uri="{FF2B5EF4-FFF2-40B4-BE49-F238E27FC236}">
                <a16:creationId xmlns:a16="http://schemas.microsoft.com/office/drawing/2014/main" id="{A81C2DB6-A998-6597-E1F1-2A3CD37395C3}"/>
              </a:ext>
            </a:extLst>
          </p:cNvPr>
          <p:cNvSpPr/>
          <p:nvPr/>
        </p:nvSpPr>
        <p:spPr>
          <a:xfrm rot="5400000">
            <a:off x="6404103" y="-99293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C1EC4CF1-79D8-4A01-3854-D85FF539982E}"/>
              </a:ext>
            </a:extLst>
          </p:cNvPr>
          <p:cNvSpPr/>
          <p:nvPr/>
        </p:nvSpPr>
        <p:spPr>
          <a:xfrm rot="5732377">
            <a:off x="9932721" y="0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043FB44F-0804-1010-B971-6339147A5F13}"/>
              </a:ext>
            </a:extLst>
          </p:cNvPr>
          <p:cNvSpPr/>
          <p:nvPr/>
        </p:nvSpPr>
        <p:spPr>
          <a:xfrm rot="11095245">
            <a:off x="4796846" y="-62609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FCCF162F-9745-F382-66CD-C0B273DE6C18}"/>
              </a:ext>
            </a:extLst>
          </p:cNvPr>
          <p:cNvSpPr/>
          <p:nvPr/>
        </p:nvSpPr>
        <p:spPr>
          <a:xfrm rot="17731941">
            <a:off x="10889004" y="1164763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4E2BA5-30A2-3DE9-18E6-AF722143FFB5}"/>
              </a:ext>
            </a:extLst>
          </p:cNvPr>
          <p:cNvSpPr txBox="1"/>
          <p:nvPr/>
        </p:nvSpPr>
        <p:spPr>
          <a:xfrm>
            <a:off x="5450110" y="4743625"/>
            <a:ext cx="6796863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4500"/>
              </a:lnSpc>
            </a:pPr>
            <a:r>
              <a:rPr lang="ru-RU" sz="4000" dirty="0">
                <a:solidFill>
                  <a:schemeClr val="bg1"/>
                </a:solidFill>
                <a:effectLst/>
                <a:latin typeface="Unbounded" panose="020B0305040102020103" pitchFamily="34" charset="0"/>
              </a:rPr>
              <a:t>Переговоры</a:t>
            </a:r>
            <a:br>
              <a:rPr lang="ru-RU" sz="4000" dirty="0">
                <a:solidFill>
                  <a:schemeClr val="bg1"/>
                </a:solidFill>
                <a:effectLst/>
                <a:latin typeface="Unbounded" panose="020B0305040102020103" pitchFamily="34" charset="0"/>
              </a:rPr>
            </a:br>
            <a:r>
              <a:rPr lang="ru-RU" sz="4000" dirty="0">
                <a:solidFill>
                  <a:schemeClr val="bg1"/>
                </a:solidFill>
                <a:effectLst/>
                <a:latin typeface="Unbounded" panose="020B0305040102020103" pitchFamily="34" charset="0"/>
              </a:rPr>
              <a:t>вживую</a:t>
            </a:r>
            <a:endParaRPr lang="ru-RU" sz="3600" dirty="0">
              <a:solidFill>
                <a:schemeClr val="bg1"/>
              </a:solidFill>
              <a:effectLst/>
              <a:latin typeface="Unbounde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88CA7D26-B124-D8D1-C5B0-AB01A2A8F34E}"/>
              </a:ext>
            </a:extLst>
          </p:cNvPr>
          <p:cNvGrpSpPr/>
          <p:nvPr/>
        </p:nvGrpSpPr>
        <p:grpSpPr>
          <a:xfrm>
            <a:off x="5259689" y="3863300"/>
            <a:ext cx="750136" cy="750136"/>
            <a:chOff x="7871724" y="7154806"/>
            <a:chExt cx="2600444" cy="2600444"/>
          </a:xfrm>
        </p:grpSpPr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178E7632-122A-36D4-00F5-2952667E03E8}"/>
                </a:ext>
              </a:extLst>
            </p:cNvPr>
            <p:cNvSpPr/>
            <p:nvPr/>
          </p:nvSpPr>
          <p:spPr>
            <a:xfrm>
              <a:off x="7871724" y="7154806"/>
              <a:ext cx="2600444" cy="2600444"/>
            </a:xfrm>
            <a:prstGeom prst="ellipse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 dirty="0"/>
            </a:p>
          </p:txBody>
        </p:sp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715A8028-47C3-65B8-B6C4-6E0B9E06645D}"/>
                </a:ext>
              </a:extLst>
            </p:cNvPr>
            <p:cNvSpPr/>
            <p:nvPr/>
          </p:nvSpPr>
          <p:spPr>
            <a:xfrm>
              <a:off x="8097382" y="7606122"/>
              <a:ext cx="2149128" cy="2149128"/>
            </a:xfrm>
            <a:prstGeom prst="ellipse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 dirty="0"/>
            </a:p>
          </p:txBody>
        </p:sp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9D28CC9F-C874-D0B0-0BF6-29B3060416D2}"/>
                </a:ext>
              </a:extLst>
            </p:cNvPr>
            <p:cNvSpPr/>
            <p:nvPr/>
          </p:nvSpPr>
          <p:spPr>
            <a:xfrm>
              <a:off x="8364611" y="8140579"/>
              <a:ext cx="1614671" cy="1614671"/>
            </a:xfrm>
            <a:prstGeom prst="ellipse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Unbounded" panose="020B0305040102020103" pitchFamily="34" charset="0"/>
                </a:rPr>
                <a:t>4</a:t>
              </a:r>
            </a:p>
          </p:txBody>
        </p:sp>
      </p:grp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498F78CC-23B6-F39F-8487-6B60E9D7CE1A}"/>
              </a:ext>
            </a:extLst>
          </p:cNvPr>
          <p:cNvSpPr/>
          <p:nvPr/>
        </p:nvSpPr>
        <p:spPr>
          <a:xfrm>
            <a:off x="-4218695" y="4107544"/>
            <a:ext cx="4971897" cy="2076171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2428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1.11111E-6 L 0.06576 1.11111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8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3000" fill="hold"/>
                                        <p:tgtEl>
                                          <p:spTgt spid="1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8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5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3000" fill="hold"/>
                                        <p:tgtEl>
                                          <p:spTgt spid="1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0" dur="8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5000" fill="hold"/>
                                        <p:tgtEl>
                                          <p:spTgt spid="1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  <p:bldP spid="10" grpId="0" animBg="1"/>
      <p:bldP spid="10" grpId="1" animBg="1"/>
      <p:bldP spid="12" grpId="0" animBg="1"/>
      <p:bldP spid="12" grpId="1" animBg="1"/>
      <p:bldP spid="14" grpId="0" animBg="1"/>
      <p:bldP spid="14" grpId="1" animBg="1"/>
      <p:bldP spid="15" grpId="0" animBg="1"/>
      <p:bldP spid="15" grpId="1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75" name="Группа 174">
            <a:extLst>
              <a:ext uri="{FF2B5EF4-FFF2-40B4-BE49-F238E27FC236}">
                <a16:creationId xmlns:a16="http://schemas.microsoft.com/office/drawing/2014/main" id="{0B591BB7-477C-7C35-7106-26B676D5BE13}"/>
              </a:ext>
            </a:extLst>
          </p:cNvPr>
          <p:cNvGrpSpPr/>
          <p:nvPr/>
        </p:nvGrpSpPr>
        <p:grpSpPr>
          <a:xfrm>
            <a:off x="-6255150" y="-539402"/>
            <a:ext cx="9147575" cy="7936803"/>
            <a:chOff x="9717808" y="1530804"/>
            <a:chExt cx="1902714" cy="1650871"/>
          </a:xfrm>
        </p:grpSpPr>
        <p:sp>
          <p:nvSpPr>
            <p:cNvPr id="90" name="Rectangle 21">
              <a:extLst>
                <a:ext uri="{FF2B5EF4-FFF2-40B4-BE49-F238E27FC236}">
                  <a16:creationId xmlns:a16="http://schemas.microsoft.com/office/drawing/2014/main" id="{29569A48-EE85-2ED7-8D80-191157BE8C22}"/>
                </a:ext>
              </a:extLst>
            </p:cNvPr>
            <p:cNvSpPr/>
            <p:nvPr/>
          </p:nvSpPr>
          <p:spPr>
            <a:xfrm>
              <a:off x="9717808" y="1612015"/>
              <a:ext cx="1337882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5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3" name="Freeform 20">
              <a:extLst>
                <a:ext uri="{FF2B5EF4-FFF2-40B4-BE49-F238E27FC236}">
                  <a16:creationId xmlns:a16="http://schemas.microsoft.com/office/drawing/2014/main" id="{9EE6F49C-07F6-DB6B-4B0B-1EB921EE5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8136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5" name="Freeform 21">
              <a:extLst>
                <a:ext uri="{FF2B5EF4-FFF2-40B4-BE49-F238E27FC236}">
                  <a16:creationId xmlns:a16="http://schemas.microsoft.com/office/drawing/2014/main" id="{6749EA0B-A536-CDB9-C374-57F4AE4E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6" name="Freeform 22">
              <a:extLst>
                <a:ext uri="{FF2B5EF4-FFF2-40B4-BE49-F238E27FC236}">
                  <a16:creationId xmlns:a16="http://schemas.microsoft.com/office/drawing/2014/main" id="{E4B64482-23A1-4452-2675-AA1B5EFFB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5965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3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59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3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88 w 827"/>
                <a:gd name="T99" fmla="*/ 11 h 1245"/>
                <a:gd name="T100" fmla="*/ 245 w 827"/>
                <a:gd name="T101" fmla="*/ 2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199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8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7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4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3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1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8" y="842"/>
                    <a:pt x="777" y="841"/>
                  </a:cubicBezTo>
                  <a:cubicBezTo>
                    <a:pt x="772" y="839"/>
                    <a:pt x="769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1" y="535"/>
                    <a:pt x="823" y="551"/>
                  </a:cubicBezTo>
                  <a:cubicBezTo>
                    <a:pt x="824" y="557"/>
                    <a:pt x="820" y="562"/>
                    <a:pt x="814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2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4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59" y="111"/>
                  </a:cubicBezTo>
                  <a:cubicBezTo>
                    <a:pt x="573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6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4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29" y="21"/>
                    <a:pt x="213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7" name="Freeform 23">
              <a:extLst>
                <a:ext uri="{FF2B5EF4-FFF2-40B4-BE49-F238E27FC236}">
                  <a16:creationId xmlns:a16="http://schemas.microsoft.com/office/drawing/2014/main" id="{04E21E31-4E2B-6A92-5A7F-D0ED69C0E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1388E31-1C79-5B00-2907-ABA427D23538}"/>
              </a:ext>
            </a:extLst>
          </p:cNvPr>
          <p:cNvSpPr txBox="1"/>
          <p:nvPr/>
        </p:nvSpPr>
        <p:spPr>
          <a:xfrm>
            <a:off x="1043932" y="1195583"/>
            <a:ext cx="9667656" cy="8753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МИНИМАЛИЗМ</a:t>
            </a:r>
          </a:p>
        </p:txBody>
      </p:sp>
      <p:pic>
        <p:nvPicPr>
          <p:cNvPr id="8194" name="Picture 2" descr="Craftion - Деловое предложение Powerpoint">
            <a:extLst>
              <a:ext uri="{FF2B5EF4-FFF2-40B4-BE49-F238E27FC236}">
                <a16:creationId xmlns:a16="http://schemas.microsoft.com/office/drawing/2014/main" id="{EFEAB2FE-50F6-C8D7-0F0E-CB98482B90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800" y="2182897"/>
            <a:ext cx="6240763" cy="4160509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Craftion - Деловое предложение Powerpoint">
            <a:extLst>
              <a:ext uri="{FF2B5EF4-FFF2-40B4-BE49-F238E27FC236}">
                <a16:creationId xmlns:a16="http://schemas.microsoft.com/office/drawing/2014/main" id="{5F84E8F7-AE01-8FF4-93F3-C152D22758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061" y="2188411"/>
            <a:ext cx="6232494" cy="4154996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11995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436268" y="451062"/>
            <a:ext cx="8590385" cy="679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36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ТРЕНДЫ В ПРЕЗЕНТАЦИЯХ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35B0E2B-7288-51E5-1236-CF55D862B48D}"/>
              </a:ext>
            </a:extLst>
          </p:cNvPr>
          <p:cNvGrpSpPr/>
          <p:nvPr/>
        </p:nvGrpSpPr>
        <p:grpSpPr>
          <a:xfrm>
            <a:off x="2570693" y="1530804"/>
            <a:ext cx="1904144" cy="1650871"/>
            <a:chOff x="2570693" y="1530804"/>
            <a:chExt cx="1904144" cy="1650871"/>
          </a:xfrm>
        </p:grpSpPr>
        <p:grpSp>
          <p:nvGrpSpPr>
            <p:cNvPr id="163" name="Группа 162">
              <a:extLst>
                <a:ext uri="{FF2B5EF4-FFF2-40B4-BE49-F238E27FC236}">
                  <a16:creationId xmlns:a16="http://schemas.microsoft.com/office/drawing/2014/main" id="{4B8A1FD4-56F7-CF9F-A9B0-1DC5AA30F5E5}"/>
                </a:ext>
              </a:extLst>
            </p:cNvPr>
            <p:cNvGrpSpPr/>
            <p:nvPr/>
          </p:nvGrpSpPr>
          <p:grpSpPr>
            <a:xfrm>
              <a:off x="2570693" y="1543071"/>
              <a:ext cx="1891155" cy="1638604"/>
              <a:chOff x="2570693" y="1543071"/>
              <a:chExt cx="1891155" cy="1638604"/>
            </a:xfrm>
          </p:grpSpPr>
          <p:sp>
            <p:nvSpPr>
              <p:cNvPr id="93" name="Rectangle 24">
                <a:extLst>
                  <a:ext uri="{FF2B5EF4-FFF2-40B4-BE49-F238E27FC236}">
                    <a16:creationId xmlns:a16="http://schemas.microsoft.com/office/drawing/2014/main" id="{56E5413D-BEB3-D6DA-40AC-5C27DF8D4C54}"/>
                  </a:ext>
                </a:extLst>
              </p:cNvPr>
              <p:cNvSpPr/>
              <p:nvPr/>
            </p:nvSpPr>
            <p:spPr>
              <a:xfrm>
                <a:off x="2570693" y="1612015"/>
                <a:ext cx="1337881" cy="15696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9600" dirty="0">
                    <a:solidFill>
                      <a:srgbClr val="620CFD"/>
                    </a:solidFill>
                    <a:latin typeface="Poppins SemiBold" panose="00000700000000000000" pitchFamily="2" charset="0"/>
                    <a:ea typeface="Roboto Bold" panose="02000000000000000000" pitchFamily="2" charset="0"/>
                    <a:cs typeface="Poppins SemiBold" panose="00000700000000000000" pitchFamily="2" charset="0"/>
                  </a:rPr>
                  <a:t>2</a:t>
                </a:r>
                <a:endParaRPr lang="en-US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95" name="Freeform 5">
                <a:extLst>
                  <a:ext uri="{FF2B5EF4-FFF2-40B4-BE49-F238E27FC236}">
                    <a16:creationId xmlns:a16="http://schemas.microsoft.com/office/drawing/2014/main" id="{1217AEF5-802E-A251-3622-85C194DF9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50" y="1543071"/>
                <a:ext cx="1069398" cy="1505240"/>
              </a:xfrm>
              <a:custGeom>
                <a:avLst/>
                <a:gdLst>
                  <a:gd name="T0" fmla="*/ 260 w 872"/>
                  <a:gd name="T1" fmla="*/ 0 h 1225"/>
                  <a:gd name="T2" fmla="*/ 0 w 872"/>
                  <a:gd name="T3" fmla="*/ 58 h 1225"/>
                  <a:gd name="T4" fmla="*/ 0 w 872"/>
                  <a:gd name="T5" fmla="*/ 1168 h 1225"/>
                  <a:gd name="T6" fmla="*/ 260 w 872"/>
                  <a:gd name="T7" fmla="*/ 1225 h 1225"/>
                  <a:gd name="T8" fmla="*/ 872 w 872"/>
                  <a:gd name="T9" fmla="*/ 613 h 1225"/>
                  <a:gd name="T10" fmla="*/ 260 w 872"/>
                  <a:gd name="T11" fmla="*/ 0 h 1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2" h="1225">
                    <a:moveTo>
                      <a:pt x="260" y="0"/>
                    </a:moveTo>
                    <a:cubicBezTo>
                      <a:pt x="167" y="0"/>
                      <a:pt x="79" y="21"/>
                      <a:pt x="0" y="58"/>
                    </a:cubicBezTo>
                    <a:cubicBezTo>
                      <a:pt x="0" y="1168"/>
                      <a:pt x="0" y="1168"/>
                      <a:pt x="0" y="1168"/>
                    </a:cubicBezTo>
                    <a:cubicBezTo>
                      <a:pt x="79" y="1205"/>
                      <a:pt x="167" y="1225"/>
                      <a:pt x="260" y="1225"/>
                    </a:cubicBezTo>
                    <a:cubicBezTo>
                      <a:pt x="598" y="1225"/>
                      <a:pt x="872" y="951"/>
                      <a:pt x="872" y="613"/>
                    </a:cubicBezTo>
                    <a:cubicBezTo>
                      <a:pt x="872" y="275"/>
                      <a:pt x="598" y="0"/>
                      <a:pt x="2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76200" dist="38100" dir="10800000" algn="r" rotWithShape="0">
                  <a:prstClr val="black">
                    <a:alpha val="3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A3572630-598B-5C94-8D3E-3784DF297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id="{DAA99000-EA9A-AE50-74C7-2BA64FDCC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id="{8B3DD752-C6A4-CFD4-19C2-EB2456B2D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3" name="Группа 172">
            <a:extLst>
              <a:ext uri="{FF2B5EF4-FFF2-40B4-BE49-F238E27FC236}">
                <a16:creationId xmlns:a16="http://schemas.microsoft.com/office/drawing/2014/main" id="{EB1D928E-4F1C-D312-593E-162A0FF3104C}"/>
              </a:ext>
            </a:extLst>
          </p:cNvPr>
          <p:cNvGrpSpPr/>
          <p:nvPr/>
        </p:nvGrpSpPr>
        <p:grpSpPr>
          <a:xfrm>
            <a:off x="4931227" y="1530804"/>
            <a:ext cx="1902534" cy="1650871"/>
            <a:chOff x="4931227" y="1530804"/>
            <a:chExt cx="1902534" cy="1650871"/>
          </a:xfrm>
        </p:grpSpPr>
        <p:sp>
          <p:nvSpPr>
            <p:cNvPr id="92" name="Rectangle 23">
              <a:extLst>
                <a:ext uri="{FF2B5EF4-FFF2-40B4-BE49-F238E27FC236}">
                  <a16:creationId xmlns:a16="http://schemas.microsoft.com/office/drawing/2014/main" id="{273617A1-2DC0-5FB9-D7E0-FF6BCB3EB5ED}"/>
                </a:ext>
              </a:extLst>
            </p:cNvPr>
            <p:cNvSpPr/>
            <p:nvPr/>
          </p:nvSpPr>
          <p:spPr>
            <a:xfrm>
              <a:off x="4931227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3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006CAACD-CC97-0283-4433-83EF84659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D7108752-D1B1-31C4-D013-C181BD470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2962442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C6A1B4F2-3F92-F637-BB6F-29F3023B5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1530804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C1360D4A-55EB-272D-6048-902A967F1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3CCC8006-DC23-82B5-9306-E15D523021AC}"/>
              </a:ext>
            </a:extLst>
          </p:cNvPr>
          <p:cNvGrpSpPr/>
          <p:nvPr/>
        </p:nvGrpSpPr>
        <p:grpSpPr>
          <a:xfrm>
            <a:off x="7295974" y="1530804"/>
            <a:ext cx="1959602" cy="1650871"/>
            <a:chOff x="7295974" y="1530804"/>
            <a:chExt cx="1959602" cy="1650871"/>
          </a:xfrm>
        </p:grpSpPr>
        <p:sp>
          <p:nvSpPr>
            <p:cNvPr id="91" name="Rectangle 22">
              <a:extLst>
                <a:ext uri="{FF2B5EF4-FFF2-40B4-BE49-F238E27FC236}">
                  <a16:creationId xmlns:a16="http://schemas.microsoft.com/office/drawing/2014/main" id="{AF59DD62-7880-13CC-4138-B454478E64D9}"/>
                </a:ext>
              </a:extLst>
            </p:cNvPr>
            <p:cNvSpPr/>
            <p:nvPr/>
          </p:nvSpPr>
          <p:spPr>
            <a:xfrm>
              <a:off x="7295974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4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B988EB9F-9358-3C35-272D-F6EFF02A7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1543071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0" name="Freeform 17">
              <a:extLst>
                <a:ext uri="{FF2B5EF4-FFF2-40B4-BE49-F238E27FC236}">
                  <a16:creationId xmlns:a16="http://schemas.microsoft.com/office/drawing/2014/main" id="{CE1C1353-7B83-A46C-5D84-EEF7396A6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2962442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1" name="Freeform 18">
              <a:extLst>
                <a:ext uri="{FF2B5EF4-FFF2-40B4-BE49-F238E27FC236}">
                  <a16:creationId xmlns:a16="http://schemas.microsoft.com/office/drawing/2014/main" id="{0D092205-5F45-3E67-E60B-C5468BB8F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1530804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2" name="Freeform 19">
              <a:extLst>
                <a:ext uri="{FF2B5EF4-FFF2-40B4-BE49-F238E27FC236}">
                  <a16:creationId xmlns:a16="http://schemas.microsoft.com/office/drawing/2014/main" id="{62B77E0A-A3CB-4BAD-15B2-38C772EEF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1588532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5" name="Группа 174">
            <a:extLst>
              <a:ext uri="{FF2B5EF4-FFF2-40B4-BE49-F238E27FC236}">
                <a16:creationId xmlns:a16="http://schemas.microsoft.com/office/drawing/2014/main" id="{0B591BB7-477C-7C35-7106-26B676D5BE13}"/>
              </a:ext>
            </a:extLst>
          </p:cNvPr>
          <p:cNvGrpSpPr/>
          <p:nvPr/>
        </p:nvGrpSpPr>
        <p:grpSpPr>
          <a:xfrm>
            <a:off x="9717808" y="1530804"/>
            <a:ext cx="1902714" cy="1650871"/>
            <a:chOff x="9717808" y="1530804"/>
            <a:chExt cx="1902714" cy="1650871"/>
          </a:xfrm>
        </p:grpSpPr>
        <p:sp>
          <p:nvSpPr>
            <p:cNvPr id="90" name="Rectangle 21">
              <a:extLst>
                <a:ext uri="{FF2B5EF4-FFF2-40B4-BE49-F238E27FC236}">
                  <a16:creationId xmlns:a16="http://schemas.microsoft.com/office/drawing/2014/main" id="{29569A48-EE85-2ED7-8D80-191157BE8C22}"/>
                </a:ext>
              </a:extLst>
            </p:cNvPr>
            <p:cNvSpPr/>
            <p:nvPr/>
          </p:nvSpPr>
          <p:spPr>
            <a:xfrm>
              <a:off x="9717808" y="1612015"/>
              <a:ext cx="1337882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5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3" name="Freeform 20">
              <a:extLst>
                <a:ext uri="{FF2B5EF4-FFF2-40B4-BE49-F238E27FC236}">
                  <a16:creationId xmlns:a16="http://schemas.microsoft.com/office/drawing/2014/main" id="{9EE6F49C-07F6-DB6B-4B0B-1EB921EE5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8136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5" name="Freeform 21">
              <a:extLst>
                <a:ext uri="{FF2B5EF4-FFF2-40B4-BE49-F238E27FC236}">
                  <a16:creationId xmlns:a16="http://schemas.microsoft.com/office/drawing/2014/main" id="{6749EA0B-A536-CDB9-C374-57F4AE4E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6" name="Freeform 22">
              <a:extLst>
                <a:ext uri="{FF2B5EF4-FFF2-40B4-BE49-F238E27FC236}">
                  <a16:creationId xmlns:a16="http://schemas.microsoft.com/office/drawing/2014/main" id="{E4B64482-23A1-4452-2675-AA1B5EFFB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5965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3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59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3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88 w 827"/>
                <a:gd name="T99" fmla="*/ 11 h 1245"/>
                <a:gd name="T100" fmla="*/ 245 w 827"/>
                <a:gd name="T101" fmla="*/ 2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199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8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7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4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3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1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8" y="842"/>
                    <a:pt x="777" y="841"/>
                  </a:cubicBezTo>
                  <a:cubicBezTo>
                    <a:pt x="772" y="839"/>
                    <a:pt x="769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1" y="535"/>
                    <a:pt x="823" y="551"/>
                  </a:cubicBezTo>
                  <a:cubicBezTo>
                    <a:pt x="824" y="557"/>
                    <a:pt x="820" y="562"/>
                    <a:pt x="814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2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4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59" y="111"/>
                  </a:cubicBezTo>
                  <a:cubicBezTo>
                    <a:pt x="573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6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4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29" y="21"/>
                    <a:pt x="213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7" name="Freeform 23">
              <a:extLst>
                <a:ext uri="{FF2B5EF4-FFF2-40B4-BE49-F238E27FC236}">
                  <a16:creationId xmlns:a16="http://schemas.microsoft.com/office/drawing/2014/main" id="{04E21E31-4E2B-6A92-5A7F-D0ED69C0E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2" name="Группа 171">
            <a:extLst>
              <a:ext uri="{FF2B5EF4-FFF2-40B4-BE49-F238E27FC236}">
                <a16:creationId xmlns:a16="http://schemas.microsoft.com/office/drawing/2014/main" id="{70F9F561-E925-CC3F-3FD1-0CF9DB029578}"/>
              </a:ext>
            </a:extLst>
          </p:cNvPr>
          <p:cNvGrpSpPr/>
          <p:nvPr/>
        </p:nvGrpSpPr>
        <p:grpSpPr>
          <a:xfrm>
            <a:off x="224760" y="1530804"/>
            <a:ext cx="1890777" cy="1650871"/>
            <a:chOff x="224760" y="1530804"/>
            <a:chExt cx="1890777" cy="1650871"/>
          </a:xfrm>
        </p:grpSpPr>
        <p:sp>
          <p:nvSpPr>
            <p:cNvPr id="94" name="Rectangle 25">
              <a:extLst>
                <a:ext uri="{FF2B5EF4-FFF2-40B4-BE49-F238E27FC236}">
                  <a16:creationId xmlns:a16="http://schemas.microsoft.com/office/drawing/2014/main" id="{9426B5F4-A4AA-8DEB-EADD-889E43D6ECF0}"/>
                </a:ext>
              </a:extLst>
            </p:cNvPr>
            <p:cNvSpPr/>
            <p:nvPr/>
          </p:nvSpPr>
          <p:spPr>
            <a:xfrm>
              <a:off x="224760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8" name="Freeform 24">
              <a:extLst>
                <a:ext uri="{FF2B5EF4-FFF2-40B4-BE49-F238E27FC236}">
                  <a16:creationId xmlns:a16="http://schemas.microsoft.com/office/drawing/2014/main" id="{8668C76E-DE85-167C-8B9D-C63A038FC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1543071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1" name="Freeform 26">
              <a:extLst>
                <a:ext uri="{FF2B5EF4-FFF2-40B4-BE49-F238E27FC236}">
                  <a16:creationId xmlns:a16="http://schemas.microsoft.com/office/drawing/2014/main" id="{821036B1-A114-9E54-AC89-AFD52FDBD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2962442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2" name="Freeform 27">
              <a:extLst>
                <a:ext uri="{FF2B5EF4-FFF2-40B4-BE49-F238E27FC236}">
                  <a16:creationId xmlns:a16="http://schemas.microsoft.com/office/drawing/2014/main" id="{FADFDA08-A75F-E108-01D3-C17D96AF18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1530804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23" name="Freeform 28">
              <a:extLst>
                <a:ext uri="{FF2B5EF4-FFF2-40B4-BE49-F238E27FC236}">
                  <a16:creationId xmlns:a16="http://schemas.microsoft.com/office/drawing/2014/main" id="{02E78DB1-B4D3-B148-1742-D14CDC023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CEE3B85A-97B9-89F8-C67A-48CF9E943346}"/>
              </a:ext>
            </a:extLst>
          </p:cNvPr>
          <p:cNvGrpSpPr/>
          <p:nvPr/>
        </p:nvGrpSpPr>
        <p:grpSpPr>
          <a:xfrm>
            <a:off x="2570693" y="4071540"/>
            <a:ext cx="1904144" cy="1650871"/>
            <a:chOff x="2570693" y="4071540"/>
            <a:chExt cx="1904144" cy="1650871"/>
          </a:xfrm>
        </p:grpSpPr>
        <p:sp>
          <p:nvSpPr>
            <p:cNvPr id="131" name="Rectangle 24">
              <a:extLst>
                <a:ext uri="{FF2B5EF4-FFF2-40B4-BE49-F238E27FC236}">
                  <a16:creationId xmlns:a16="http://schemas.microsoft.com/office/drawing/2014/main" id="{39A4F353-AB65-8B80-1741-785AC44F9562}"/>
                </a:ext>
              </a:extLst>
            </p:cNvPr>
            <p:cNvSpPr/>
            <p:nvPr/>
          </p:nvSpPr>
          <p:spPr>
            <a:xfrm>
              <a:off x="2570693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7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7B1958A9-DF83-922C-950A-7314D9F26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50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3" name="Freeform 7">
              <a:extLst>
                <a:ext uri="{FF2B5EF4-FFF2-40B4-BE49-F238E27FC236}">
                  <a16:creationId xmlns:a16="http://schemas.microsoft.com/office/drawing/2014/main" id="{564C58DD-3A84-B66A-E8A5-F6FD608DA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4" name="Freeform 8">
              <a:extLst>
                <a:ext uri="{FF2B5EF4-FFF2-40B4-BE49-F238E27FC236}">
                  <a16:creationId xmlns:a16="http://schemas.microsoft.com/office/drawing/2014/main" id="{F098A11B-806D-749D-B8E3-34D6654304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4071540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5" name="Freeform 9">
              <a:extLst>
                <a:ext uri="{FF2B5EF4-FFF2-40B4-BE49-F238E27FC236}">
                  <a16:creationId xmlns:a16="http://schemas.microsoft.com/office/drawing/2014/main" id="{FBABAF63-61AF-5442-229A-F95325EF3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8" name="Группа 177">
            <a:extLst>
              <a:ext uri="{FF2B5EF4-FFF2-40B4-BE49-F238E27FC236}">
                <a16:creationId xmlns:a16="http://schemas.microsoft.com/office/drawing/2014/main" id="{C99650E0-C87B-0F1D-590C-BEBF62DD60CC}"/>
              </a:ext>
            </a:extLst>
          </p:cNvPr>
          <p:cNvGrpSpPr/>
          <p:nvPr/>
        </p:nvGrpSpPr>
        <p:grpSpPr>
          <a:xfrm>
            <a:off x="4931227" y="4071540"/>
            <a:ext cx="1902534" cy="1650871"/>
            <a:chOff x="4931227" y="4071540"/>
            <a:chExt cx="1902534" cy="1650871"/>
          </a:xfrm>
        </p:grpSpPr>
        <p:sp>
          <p:nvSpPr>
            <p:cNvPr id="137" name="Rectangle 23">
              <a:extLst>
                <a:ext uri="{FF2B5EF4-FFF2-40B4-BE49-F238E27FC236}">
                  <a16:creationId xmlns:a16="http://schemas.microsoft.com/office/drawing/2014/main" id="{ED07FEA2-D699-6335-26A2-4AF432160754}"/>
                </a:ext>
              </a:extLst>
            </p:cNvPr>
            <p:cNvSpPr/>
            <p:nvPr/>
          </p:nvSpPr>
          <p:spPr>
            <a:xfrm>
              <a:off x="4931227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8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09C3FF1-010B-ED79-6CA1-1B68C3731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9" name="Freeform 12">
              <a:extLst>
                <a:ext uri="{FF2B5EF4-FFF2-40B4-BE49-F238E27FC236}">
                  <a16:creationId xmlns:a16="http://schemas.microsoft.com/office/drawing/2014/main" id="{247B6EB1-243F-98B7-3420-9B7E47C17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5503178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0" name="Freeform 13">
              <a:extLst>
                <a:ext uri="{FF2B5EF4-FFF2-40B4-BE49-F238E27FC236}">
                  <a16:creationId xmlns:a16="http://schemas.microsoft.com/office/drawing/2014/main" id="{E1A9EFCB-1E58-4FF0-A5F8-9EC6968E1E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4071540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1" name="Freeform 14">
              <a:extLst>
                <a:ext uri="{FF2B5EF4-FFF2-40B4-BE49-F238E27FC236}">
                  <a16:creationId xmlns:a16="http://schemas.microsoft.com/office/drawing/2014/main" id="{EA221590-F141-E01D-575B-5DE9A0222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9" name="Группа 178">
            <a:extLst>
              <a:ext uri="{FF2B5EF4-FFF2-40B4-BE49-F238E27FC236}">
                <a16:creationId xmlns:a16="http://schemas.microsoft.com/office/drawing/2014/main" id="{6E953091-5929-4FB2-64FD-9599FF6FA641}"/>
              </a:ext>
            </a:extLst>
          </p:cNvPr>
          <p:cNvGrpSpPr/>
          <p:nvPr/>
        </p:nvGrpSpPr>
        <p:grpSpPr>
          <a:xfrm>
            <a:off x="7295974" y="4071540"/>
            <a:ext cx="1959602" cy="1650871"/>
            <a:chOff x="7295974" y="4071540"/>
            <a:chExt cx="1959602" cy="1650871"/>
          </a:xfrm>
        </p:grpSpPr>
        <p:sp>
          <p:nvSpPr>
            <p:cNvPr id="143" name="Rectangle 22">
              <a:extLst>
                <a:ext uri="{FF2B5EF4-FFF2-40B4-BE49-F238E27FC236}">
                  <a16:creationId xmlns:a16="http://schemas.microsoft.com/office/drawing/2014/main" id="{20EFDC4D-8D49-F4A1-63CA-733DC4D66C8D}"/>
                </a:ext>
              </a:extLst>
            </p:cNvPr>
            <p:cNvSpPr/>
            <p:nvPr/>
          </p:nvSpPr>
          <p:spPr>
            <a:xfrm>
              <a:off x="7295974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9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0A68112C-D223-568A-7F32-730CA6D7F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4083807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5" name="Freeform 17">
              <a:extLst>
                <a:ext uri="{FF2B5EF4-FFF2-40B4-BE49-F238E27FC236}">
                  <a16:creationId xmlns:a16="http://schemas.microsoft.com/office/drawing/2014/main" id="{857360FC-21B5-721D-A68B-D195A19CC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5503178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6" name="Freeform 18">
              <a:extLst>
                <a:ext uri="{FF2B5EF4-FFF2-40B4-BE49-F238E27FC236}">
                  <a16:creationId xmlns:a16="http://schemas.microsoft.com/office/drawing/2014/main" id="{A9DA7EF3-C181-CE39-61D6-916C859D4C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4071540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7" name="Freeform 19">
              <a:extLst>
                <a:ext uri="{FF2B5EF4-FFF2-40B4-BE49-F238E27FC236}">
                  <a16:creationId xmlns:a16="http://schemas.microsoft.com/office/drawing/2014/main" id="{6E0744BF-151B-AF62-3BDB-9CB6D9283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4129268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52" name="Freeform 22">
            <a:extLst>
              <a:ext uri="{FF2B5EF4-FFF2-40B4-BE49-F238E27FC236}">
                <a16:creationId xmlns:a16="http://schemas.microsoft.com/office/drawing/2014/main" id="{8E6FD6D1-0690-0E47-11F1-32AEE325EB8F}"/>
              </a:ext>
            </a:extLst>
          </p:cNvPr>
          <p:cNvSpPr>
            <a:spLocks noEditPoints="1"/>
          </p:cNvSpPr>
          <p:nvPr/>
        </p:nvSpPr>
        <p:spPr bwMode="auto">
          <a:xfrm>
            <a:off x="10578442" y="4071540"/>
            <a:ext cx="1014557" cy="1529774"/>
          </a:xfrm>
          <a:custGeom>
            <a:avLst/>
            <a:gdLst>
              <a:gd name="T0" fmla="*/ 197 w 827"/>
              <a:gd name="T1" fmla="*/ 1225 h 1245"/>
              <a:gd name="T2" fmla="*/ 245 w 827"/>
              <a:gd name="T3" fmla="*/ 1244 h 1245"/>
              <a:gd name="T4" fmla="*/ 101 w 827"/>
              <a:gd name="T5" fmla="*/ 1237 h 1245"/>
              <a:gd name="T6" fmla="*/ 160 w 827"/>
              <a:gd name="T7" fmla="*/ 1234 h 1245"/>
              <a:gd name="T8" fmla="*/ 290 w 827"/>
              <a:gd name="T9" fmla="*/ 1219 h 1245"/>
              <a:gd name="T10" fmla="*/ 293 w 827"/>
              <a:gd name="T11" fmla="*/ 1239 h 1245"/>
              <a:gd name="T12" fmla="*/ 8 w 827"/>
              <a:gd name="T13" fmla="*/ 1214 h 1245"/>
              <a:gd name="T14" fmla="*/ 66 w 827"/>
              <a:gd name="T15" fmla="*/ 1220 h 1245"/>
              <a:gd name="T16" fmla="*/ 381 w 827"/>
              <a:gd name="T17" fmla="*/ 1199 h 1245"/>
              <a:gd name="T18" fmla="*/ 386 w 827"/>
              <a:gd name="T19" fmla="*/ 1218 h 1245"/>
              <a:gd name="T20" fmla="*/ 467 w 827"/>
              <a:gd name="T21" fmla="*/ 1165 h 1245"/>
              <a:gd name="T22" fmla="*/ 476 w 827"/>
              <a:gd name="T23" fmla="*/ 1183 h 1245"/>
              <a:gd name="T24" fmla="*/ 548 w 827"/>
              <a:gd name="T25" fmla="*/ 1119 h 1245"/>
              <a:gd name="T26" fmla="*/ 559 w 827"/>
              <a:gd name="T27" fmla="*/ 1135 h 1245"/>
              <a:gd name="T28" fmla="*/ 620 w 827"/>
              <a:gd name="T29" fmla="*/ 1060 h 1245"/>
              <a:gd name="T30" fmla="*/ 633 w 827"/>
              <a:gd name="T31" fmla="*/ 1074 h 1245"/>
              <a:gd name="T32" fmla="*/ 682 w 827"/>
              <a:gd name="T33" fmla="*/ 991 h 1245"/>
              <a:gd name="T34" fmla="*/ 698 w 827"/>
              <a:gd name="T35" fmla="*/ 1003 h 1245"/>
              <a:gd name="T36" fmla="*/ 733 w 827"/>
              <a:gd name="T37" fmla="*/ 913 h 1245"/>
              <a:gd name="T38" fmla="*/ 751 w 827"/>
              <a:gd name="T39" fmla="*/ 923 h 1245"/>
              <a:gd name="T40" fmla="*/ 771 w 827"/>
              <a:gd name="T41" fmla="*/ 828 h 1245"/>
              <a:gd name="T42" fmla="*/ 790 w 827"/>
              <a:gd name="T43" fmla="*/ 835 h 1245"/>
              <a:gd name="T44" fmla="*/ 796 w 827"/>
              <a:gd name="T45" fmla="*/ 739 h 1245"/>
              <a:gd name="T46" fmla="*/ 816 w 827"/>
              <a:gd name="T47" fmla="*/ 743 h 1245"/>
              <a:gd name="T48" fmla="*/ 807 w 827"/>
              <a:gd name="T49" fmla="*/ 647 h 1245"/>
              <a:gd name="T50" fmla="*/ 827 w 827"/>
              <a:gd name="T51" fmla="*/ 599 h 1245"/>
              <a:gd name="T52" fmla="*/ 813 w 827"/>
              <a:gd name="T53" fmla="*/ 562 h 1245"/>
              <a:gd name="T54" fmla="*/ 816 w 827"/>
              <a:gd name="T55" fmla="*/ 504 h 1245"/>
              <a:gd name="T56" fmla="*/ 795 w 827"/>
              <a:gd name="T57" fmla="*/ 470 h 1245"/>
              <a:gd name="T58" fmla="*/ 790 w 827"/>
              <a:gd name="T59" fmla="*/ 411 h 1245"/>
              <a:gd name="T60" fmla="*/ 763 w 827"/>
              <a:gd name="T61" fmla="*/ 381 h 1245"/>
              <a:gd name="T62" fmla="*/ 751 w 827"/>
              <a:gd name="T63" fmla="*/ 324 h 1245"/>
              <a:gd name="T64" fmla="*/ 718 w 827"/>
              <a:gd name="T65" fmla="*/ 298 h 1245"/>
              <a:gd name="T66" fmla="*/ 698 w 827"/>
              <a:gd name="T67" fmla="*/ 243 h 1245"/>
              <a:gd name="T68" fmla="*/ 660 w 827"/>
              <a:gd name="T69" fmla="*/ 223 h 1245"/>
              <a:gd name="T70" fmla="*/ 634 w 827"/>
              <a:gd name="T71" fmla="*/ 172 h 1245"/>
              <a:gd name="T72" fmla="*/ 592 w 827"/>
              <a:gd name="T73" fmla="*/ 158 h 1245"/>
              <a:gd name="T74" fmla="*/ 559 w 827"/>
              <a:gd name="T75" fmla="*/ 111 h 1245"/>
              <a:gd name="T76" fmla="*/ 514 w 827"/>
              <a:gd name="T77" fmla="*/ 104 h 1245"/>
              <a:gd name="T78" fmla="*/ 477 w 827"/>
              <a:gd name="T79" fmla="*/ 63 h 1245"/>
              <a:gd name="T80" fmla="*/ 429 w 827"/>
              <a:gd name="T81" fmla="*/ 63 h 1245"/>
              <a:gd name="T82" fmla="*/ 387 w 827"/>
              <a:gd name="T83" fmla="*/ 28 h 1245"/>
              <a:gd name="T84" fmla="*/ 12 w 827"/>
              <a:gd name="T85" fmla="*/ 51 h 1245"/>
              <a:gd name="T86" fmla="*/ 67 w 827"/>
              <a:gd name="T87" fmla="*/ 26 h 1245"/>
              <a:gd name="T88" fmla="*/ 339 w 827"/>
              <a:gd name="T89" fmla="*/ 35 h 1245"/>
              <a:gd name="T90" fmla="*/ 293 w 827"/>
              <a:gd name="T91" fmla="*/ 7 h 1245"/>
              <a:gd name="T92" fmla="*/ 104 w 827"/>
              <a:gd name="T93" fmla="*/ 29 h 1245"/>
              <a:gd name="T94" fmla="*/ 160 w 827"/>
              <a:gd name="T95" fmla="*/ 12 h 1245"/>
              <a:gd name="T96" fmla="*/ 245 w 827"/>
              <a:gd name="T97" fmla="*/ 22 h 1245"/>
              <a:gd name="T98" fmla="*/ 188 w 827"/>
              <a:gd name="T99" fmla="*/ 11 h 1245"/>
              <a:gd name="T100" fmla="*/ 245 w 827"/>
              <a:gd name="T101" fmla="*/ 22 h 1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27" h="1245">
                <a:moveTo>
                  <a:pt x="205" y="1245"/>
                </a:moveTo>
                <a:cubicBezTo>
                  <a:pt x="202" y="1245"/>
                  <a:pt x="199" y="1245"/>
                  <a:pt x="197" y="1245"/>
                </a:cubicBezTo>
                <a:cubicBezTo>
                  <a:pt x="191" y="1245"/>
                  <a:pt x="187" y="1241"/>
                  <a:pt x="187" y="1235"/>
                </a:cubicBezTo>
                <a:cubicBezTo>
                  <a:pt x="187" y="1230"/>
                  <a:pt x="191" y="1225"/>
                  <a:pt x="197" y="1225"/>
                </a:cubicBezTo>
                <a:cubicBezTo>
                  <a:pt x="197" y="1225"/>
                  <a:pt x="197" y="1225"/>
                  <a:pt x="197" y="1225"/>
                </a:cubicBezTo>
                <a:cubicBezTo>
                  <a:pt x="212" y="1226"/>
                  <a:pt x="228" y="1225"/>
                  <a:pt x="244" y="1224"/>
                </a:cubicBezTo>
                <a:cubicBezTo>
                  <a:pt x="249" y="1224"/>
                  <a:pt x="254" y="1228"/>
                  <a:pt x="254" y="1234"/>
                </a:cubicBezTo>
                <a:cubicBezTo>
                  <a:pt x="255" y="1239"/>
                  <a:pt x="250" y="1244"/>
                  <a:pt x="245" y="1244"/>
                </a:cubicBezTo>
                <a:cubicBezTo>
                  <a:pt x="232" y="1245"/>
                  <a:pt x="218" y="1245"/>
                  <a:pt x="205" y="1245"/>
                </a:cubicBezTo>
                <a:close/>
                <a:moveTo>
                  <a:pt x="150" y="1243"/>
                </a:moveTo>
                <a:cubicBezTo>
                  <a:pt x="149" y="1243"/>
                  <a:pt x="149" y="1243"/>
                  <a:pt x="149" y="1243"/>
                </a:cubicBezTo>
                <a:cubicBezTo>
                  <a:pt x="133" y="1241"/>
                  <a:pt x="117" y="1239"/>
                  <a:pt x="101" y="1237"/>
                </a:cubicBezTo>
                <a:cubicBezTo>
                  <a:pt x="96" y="1236"/>
                  <a:pt x="92" y="1231"/>
                  <a:pt x="93" y="1225"/>
                </a:cubicBezTo>
                <a:cubicBezTo>
                  <a:pt x="94" y="1220"/>
                  <a:pt x="99" y="1216"/>
                  <a:pt x="104" y="1217"/>
                </a:cubicBezTo>
                <a:cubicBezTo>
                  <a:pt x="120" y="1220"/>
                  <a:pt x="135" y="1222"/>
                  <a:pt x="151" y="1223"/>
                </a:cubicBezTo>
                <a:cubicBezTo>
                  <a:pt x="156" y="1223"/>
                  <a:pt x="160" y="1228"/>
                  <a:pt x="160" y="1234"/>
                </a:cubicBezTo>
                <a:cubicBezTo>
                  <a:pt x="159" y="1239"/>
                  <a:pt x="155" y="1243"/>
                  <a:pt x="150" y="1243"/>
                </a:cubicBezTo>
                <a:close/>
                <a:moveTo>
                  <a:pt x="291" y="1239"/>
                </a:moveTo>
                <a:cubicBezTo>
                  <a:pt x="286" y="1239"/>
                  <a:pt x="282" y="1236"/>
                  <a:pt x="281" y="1231"/>
                </a:cubicBezTo>
                <a:cubicBezTo>
                  <a:pt x="281" y="1225"/>
                  <a:pt x="284" y="1220"/>
                  <a:pt x="290" y="1219"/>
                </a:cubicBezTo>
                <a:cubicBezTo>
                  <a:pt x="305" y="1217"/>
                  <a:pt x="321" y="1214"/>
                  <a:pt x="336" y="1211"/>
                </a:cubicBezTo>
                <a:cubicBezTo>
                  <a:pt x="341" y="1210"/>
                  <a:pt x="346" y="1213"/>
                  <a:pt x="348" y="1219"/>
                </a:cubicBezTo>
                <a:cubicBezTo>
                  <a:pt x="349" y="1224"/>
                  <a:pt x="345" y="1229"/>
                  <a:pt x="340" y="1231"/>
                </a:cubicBezTo>
                <a:cubicBezTo>
                  <a:pt x="324" y="1234"/>
                  <a:pt x="308" y="1237"/>
                  <a:pt x="293" y="1239"/>
                </a:cubicBezTo>
                <a:cubicBezTo>
                  <a:pt x="292" y="1239"/>
                  <a:pt x="292" y="1239"/>
                  <a:pt x="291" y="1239"/>
                </a:cubicBezTo>
                <a:close/>
                <a:moveTo>
                  <a:pt x="56" y="1227"/>
                </a:moveTo>
                <a:cubicBezTo>
                  <a:pt x="56" y="1227"/>
                  <a:pt x="55" y="1227"/>
                  <a:pt x="54" y="1227"/>
                </a:cubicBezTo>
                <a:cubicBezTo>
                  <a:pt x="39" y="1223"/>
                  <a:pt x="23" y="1219"/>
                  <a:pt x="8" y="1214"/>
                </a:cubicBezTo>
                <a:cubicBezTo>
                  <a:pt x="3" y="1212"/>
                  <a:pt x="0" y="1206"/>
                  <a:pt x="2" y="1201"/>
                </a:cubicBezTo>
                <a:cubicBezTo>
                  <a:pt x="3" y="1196"/>
                  <a:pt x="9" y="1193"/>
                  <a:pt x="14" y="1195"/>
                </a:cubicBezTo>
                <a:cubicBezTo>
                  <a:pt x="29" y="1199"/>
                  <a:pt x="44" y="1204"/>
                  <a:pt x="59" y="1208"/>
                </a:cubicBezTo>
                <a:cubicBezTo>
                  <a:pt x="64" y="1209"/>
                  <a:pt x="67" y="1214"/>
                  <a:pt x="66" y="1220"/>
                </a:cubicBezTo>
                <a:cubicBezTo>
                  <a:pt x="65" y="1224"/>
                  <a:pt x="61" y="1227"/>
                  <a:pt x="56" y="1227"/>
                </a:cubicBezTo>
                <a:close/>
                <a:moveTo>
                  <a:pt x="384" y="1219"/>
                </a:moveTo>
                <a:cubicBezTo>
                  <a:pt x="379" y="1219"/>
                  <a:pt x="375" y="1216"/>
                  <a:pt x="374" y="1212"/>
                </a:cubicBezTo>
                <a:cubicBezTo>
                  <a:pt x="372" y="1207"/>
                  <a:pt x="375" y="1201"/>
                  <a:pt x="381" y="1199"/>
                </a:cubicBezTo>
                <a:cubicBezTo>
                  <a:pt x="395" y="1195"/>
                  <a:pt x="410" y="1190"/>
                  <a:pt x="425" y="1184"/>
                </a:cubicBezTo>
                <a:cubicBezTo>
                  <a:pt x="430" y="1182"/>
                  <a:pt x="436" y="1185"/>
                  <a:pt x="438" y="1190"/>
                </a:cubicBezTo>
                <a:cubicBezTo>
                  <a:pt x="440" y="1195"/>
                  <a:pt x="437" y="1201"/>
                  <a:pt x="432" y="1203"/>
                </a:cubicBezTo>
                <a:cubicBezTo>
                  <a:pt x="417" y="1209"/>
                  <a:pt x="402" y="1214"/>
                  <a:pt x="386" y="1218"/>
                </a:cubicBezTo>
                <a:cubicBezTo>
                  <a:pt x="385" y="1219"/>
                  <a:pt x="384" y="1219"/>
                  <a:pt x="384" y="1219"/>
                </a:cubicBezTo>
                <a:close/>
                <a:moveTo>
                  <a:pt x="472" y="1184"/>
                </a:moveTo>
                <a:cubicBezTo>
                  <a:pt x="468" y="1184"/>
                  <a:pt x="464" y="1182"/>
                  <a:pt x="463" y="1179"/>
                </a:cubicBezTo>
                <a:cubicBezTo>
                  <a:pt x="460" y="1174"/>
                  <a:pt x="462" y="1168"/>
                  <a:pt x="467" y="1165"/>
                </a:cubicBezTo>
                <a:cubicBezTo>
                  <a:pt x="481" y="1159"/>
                  <a:pt x="495" y="1151"/>
                  <a:pt x="508" y="1144"/>
                </a:cubicBezTo>
                <a:cubicBezTo>
                  <a:pt x="513" y="1141"/>
                  <a:pt x="519" y="1142"/>
                  <a:pt x="522" y="1147"/>
                </a:cubicBezTo>
                <a:cubicBezTo>
                  <a:pt x="525" y="1152"/>
                  <a:pt x="523" y="1158"/>
                  <a:pt x="518" y="1161"/>
                </a:cubicBezTo>
                <a:cubicBezTo>
                  <a:pt x="505" y="1169"/>
                  <a:pt x="490" y="1176"/>
                  <a:pt x="476" y="1183"/>
                </a:cubicBezTo>
                <a:cubicBezTo>
                  <a:pt x="475" y="1184"/>
                  <a:pt x="473" y="1184"/>
                  <a:pt x="472" y="1184"/>
                </a:cubicBezTo>
                <a:close/>
                <a:moveTo>
                  <a:pt x="553" y="1137"/>
                </a:moveTo>
                <a:cubicBezTo>
                  <a:pt x="550" y="1137"/>
                  <a:pt x="547" y="1135"/>
                  <a:pt x="545" y="1132"/>
                </a:cubicBezTo>
                <a:cubicBezTo>
                  <a:pt x="542" y="1128"/>
                  <a:pt x="543" y="1122"/>
                  <a:pt x="548" y="1119"/>
                </a:cubicBezTo>
                <a:cubicBezTo>
                  <a:pt x="560" y="1110"/>
                  <a:pt x="573" y="1100"/>
                  <a:pt x="585" y="1091"/>
                </a:cubicBezTo>
                <a:cubicBezTo>
                  <a:pt x="589" y="1087"/>
                  <a:pt x="595" y="1088"/>
                  <a:pt x="599" y="1092"/>
                </a:cubicBezTo>
                <a:cubicBezTo>
                  <a:pt x="602" y="1096"/>
                  <a:pt x="602" y="1103"/>
                  <a:pt x="597" y="1106"/>
                </a:cubicBezTo>
                <a:cubicBezTo>
                  <a:pt x="585" y="1116"/>
                  <a:pt x="572" y="1126"/>
                  <a:pt x="559" y="1135"/>
                </a:cubicBezTo>
                <a:cubicBezTo>
                  <a:pt x="557" y="1136"/>
                  <a:pt x="555" y="1137"/>
                  <a:pt x="553" y="1137"/>
                </a:cubicBezTo>
                <a:close/>
                <a:moveTo>
                  <a:pt x="627" y="1077"/>
                </a:moveTo>
                <a:cubicBezTo>
                  <a:pt x="624" y="1077"/>
                  <a:pt x="621" y="1076"/>
                  <a:pt x="619" y="1074"/>
                </a:cubicBezTo>
                <a:cubicBezTo>
                  <a:pt x="616" y="1070"/>
                  <a:pt x="616" y="1064"/>
                  <a:pt x="620" y="1060"/>
                </a:cubicBezTo>
                <a:cubicBezTo>
                  <a:pt x="631" y="1049"/>
                  <a:pt x="642" y="1038"/>
                  <a:pt x="652" y="1026"/>
                </a:cubicBezTo>
                <a:cubicBezTo>
                  <a:pt x="656" y="1022"/>
                  <a:pt x="662" y="1022"/>
                  <a:pt x="666" y="1026"/>
                </a:cubicBezTo>
                <a:cubicBezTo>
                  <a:pt x="670" y="1029"/>
                  <a:pt x="671" y="1036"/>
                  <a:pt x="667" y="1040"/>
                </a:cubicBezTo>
                <a:cubicBezTo>
                  <a:pt x="656" y="1052"/>
                  <a:pt x="645" y="1063"/>
                  <a:pt x="633" y="1074"/>
                </a:cubicBezTo>
                <a:cubicBezTo>
                  <a:pt x="632" y="1076"/>
                  <a:pt x="629" y="1077"/>
                  <a:pt x="627" y="1077"/>
                </a:cubicBezTo>
                <a:close/>
                <a:moveTo>
                  <a:pt x="690" y="1007"/>
                </a:moveTo>
                <a:cubicBezTo>
                  <a:pt x="688" y="1007"/>
                  <a:pt x="686" y="1006"/>
                  <a:pt x="684" y="1005"/>
                </a:cubicBezTo>
                <a:cubicBezTo>
                  <a:pt x="679" y="1001"/>
                  <a:pt x="679" y="995"/>
                  <a:pt x="682" y="991"/>
                </a:cubicBezTo>
                <a:cubicBezTo>
                  <a:pt x="691" y="979"/>
                  <a:pt x="701" y="966"/>
                  <a:pt x="709" y="953"/>
                </a:cubicBezTo>
                <a:cubicBezTo>
                  <a:pt x="712" y="948"/>
                  <a:pt x="718" y="947"/>
                  <a:pt x="723" y="950"/>
                </a:cubicBezTo>
                <a:cubicBezTo>
                  <a:pt x="727" y="953"/>
                  <a:pt x="729" y="959"/>
                  <a:pt x="726" y="964"/>
                </a:cubicBezTo>
                <a:cubicBezTo>
                  <a:pt x="717" y="977"/>
                  <a:pt x="708" y="990"/>
                  <a:pt x="698" y="1003"/>
                </a:cubicBezTo>
                <a:cubicBezTo>
                  <a:pt x="696" y="1006"/>
                  <a:pt x="693" y="1007"/>
                  <a:pt x="690" y="1007"/>
                </a:cubicBezTo>
                <a:close/>
                <a:moveTo>
                  <a:pt x="742" y="928"/>
                </a:moveTo>
                <a:cubicBezTo>
                  <a:pt x="740" y="928"/>
                  <a:pt x="738" y="928"/>
                  <a:pt x="737" y="927"/>
                </a:cubicBezTo>
                <a:cubicBezTo>
                  <a:pt x="732" y="924"/>
                  <a:pt x="730" y="918"/>
                  <a:pt x="733" y="913"/>
                </a:cubicBezTo>
                <a:cubicBezTo>
                  <a:pt x="740" y="900"/>
                  <a:pt x="747" y="886"/>
                  <a:pt x="754" y="872"/>
                </a:cubicBezTo>
                <a:cubicBezTo>
                  <a:pt x="756" y="866"/>
                  <a:pt x="762" y="864"/>
                  <a:pt x="767" y="867"/>
                </a:cubicBezTo>
                <a:cubicBezTo>
                  <a:pt x="772" y="869"/>
                  <a:pt x="774" y="875"/>
                  <a:pt x="772" y="880"/>
                </a:cubicBezTo>
                <a:cubicBezTo>
                  <a:pt x="765" y="894"/>
                  <a:pt x="758" y="909"/>
                  <a:pt x="751" y="923"/>
                </a:cubicBezTo>
                <a:cubicBezTo>
                  <a:pt x="749" y="926"/>
                  <a:pt x="745" y="928"/>
                  <a:pt x="742" y="928"/>
                </a:cubicBezTo>
                <a:close/>
                <a:moveTo>
                  <a:pt x="781" y="842"/>
                </a:moveTo>
                <a:cubicBezTo>
                  <a:pt x="780" y="842"/>
                  <a:pt x="778" y="842"/>
                  <a:pt x="777" y="841"/>
                </a:cubicBezTo>
                <a:cubicBezTo>
                  <a:pt x="772" y="839"/>
                  <a:pt x="769" y="834"/>
                  <a:pt x="771" y="828"/>
                </a:cubicBezTo>
                <a:cubicBezTo>
                  <a:pt x="777" y="814"/>
                  <a:pt x="781" y="799"/>
                  <a:pt x="786" y="784"/>
                </a:cubicBezTo>
                <a:cubicBezTo>
                  <a:pt x="787" y="779"/>
                  <a:pt x="793" y="776"/>
                  <a:pt x="798" y="777"/>
                </a:cubicBezTo>
                <a:cubicBezTo>
                  <a:pt x="803" y="779"/>
                  <a:pt x="806" y="784"/>
                  <a:pt x="805" y="790"/>
                </a:cubicBezTo>
                <a:cubicBezTo>
                  <a:pt x="801" y="805"/>
                  <a:pt x="796" y="820"/>
                  <a:pt x="790" y="835"/>
                </a:cubicBezTo>
                <a:cubicBezTo>
                  <a:pt x="789" y="839"/>
                  <a:pt x="785" y="842"/>
                  <a:pt x="781" y="842"/>
                </a:cubicBezTo>
                <a:close/>
                <a:moveTo>
                  <a:pt x="806" y="751"/>
                </a:moveTo>
                <a:cubicBezTo>
                  <a:pt x="805" y="751"/>
                  <a:pt x="805" y="751"/>
                  <a:pt x="804" y="751"/>
                </a:cubicBezTo>
                <a:cubicBezTo>
                  <a:pt x="799" y="750"/>
                  <a:pt x="795" y="744"/>
                  <a:pt x="796" y="739"/>
                </a:cubicBezTo>
                <a:cubicBezTo>
                  <a:pt x="799" y="724"/>
                  <a:pt x="802" y="708"/>
                  <a:pt x="803" y="693"/>
                </a:cubicBezTo>
                <a:cubicBezTo>
                  <a:pt x="804" y="687"/>
                  <a:pt x="809" y="684"/>
                  <a:pt x="814" y="684"/>
                </a:cubicBezTo>
                <a:cubicBezTo>
                  <a:pt x="820" y="685"/>
                  <a:pt x="824" y="690"/>
                  <a:pt x="823" y="695"/>
                </a:cubicBezTo>
                <a:cubicBezTo>
                  <a:pt x="821" y="711"/>
                  <a:pt x="819" y="727"/>
                  <a:pt x="816" y="743"/>
                </a:cubicBezTo>
                <a:cubicBezTo>
                  <a:pt x="815" y="748"/>
                  <a:pt x="811" y="751"/>
                  <a:pt x="806" y="751"/>
                </a:cubicBezTo>
                <a:close/>
                <a:moveTo>
                  <a:pt x="817" y="657"/>
                </a:moveTo>
                <a:cubicBezTo>
                  <a:pt x="817" y="657"/>
                  <a:pt x="817" y="657"/>
                  <a:pt x="817" y="657"/>
                </a:cubicBezTo>
                <a:cubicBezTo>
                  <a:pt x="811" y="657"/>
                  <a:pt x="807" y="652"/>
                  <a:pt x="807" y="647"/>
                </a:cubicBezTo>
                <a:cubicBezTo>
                  <a:pt x="807" y="639"/>
                  <a:pt x="807" y="631"/>
                  <a:pt x="807" y="623"/>
                </a:cubicBezTo>
                <a:cubicBezTo>
                  <a:pt x="807" y="615"/>
                  <a:pt x="807" y="608"/>
                  <a:pt x="807" y="600"/>
                </a:cubicBezTo>
                <a:cubicBezTo>
                  <a:pt x="807" y="594"/>
                  <a:pt x="811" y="590"/>
                  <a:pt x="817" y="590"/>
                </a:cubicBezTo>
                <a:cubicBezTo>
                  <a:pt x="822" y="590"/>
                  <a:pt x="827" y="594"/>
                  <a:pt x="827" y="599"/>
                </a:cubicBezTo>
                <a:cubicBezTo>
                  <a:pt x="827" y="607"/>
                  <a:pt x="827" y="615"/>
                  <a:pt x="827" y="623"/>
                </a:cubicBezTo>
                <a:cubicBezTo>
                  <a:pt x="827" y="631"/>
                  <a:pt x="827" y="639"/>
                  <a:pt x="827" y="647"/>
                </a:cubicBezTo>
                <a:cubicBezTo>
                  <a:pt x="827" y="653"/>
                  <a:pt x="822" y="657"/>
                  <a:pt x="817" y="657"/>
                </a:cubicBezTo>
                <a:close/>
                <a:moveTo>
                  <a:pt x="813" y="562"/>
                </a:moveTo>
                <a:cubicBezTo>
                  <a:pt x="808" y="562"/>
                  <a:pt x="804" y="559"/>
                  <a:pt x="803" y="554"/>
                </a:cubicBezTo>
                <a:cubicBezTo>
                  <a:pt x="802" y="538"/>
                  <a:pt x="799" y="523"/>
                  <a:pt x="796" y="508"/>
                </a:cubicBezTo>
                <a:cubicBezTo>
                  <a:pt x="795" y="502"/>
                  <a:pt x="799" y="497"/>
                  <a:pt x="804" y="496"/>
                </a:cubicBezTo>
                <a:cubicBezTo>
                  <a:pt x="810" y="495"/>
                  <a:pt x="815" y="498"/>
                  <a:pt x="816" y="504"/>
                </a:cubicBezTo>
                <a:cubicBezTo>
                  <a:pt x="819" y="519"/>
                  <a:pt x="821" y="535"/>
                  <a:pt x="823" y="551"/>
                </a:cubicBezTo>
                <a:cubicBezTo>
                  <a:pt x="824" y="557"/>
                  <a:pt x="820" y="562"/>
                  <a:pt x="814" y="562"/>
                </a:cubicBezTo>
                <a:cubicBezTo>
                  <a:pt x="814" y="562"/>
                  <a:pt x="814" y="562"/>
                  <a:pt x="813" y="562"/>
                </a:cubicBezTo>
                <a:close/>
                <a:moveTo>
                  <a:pt x="795" y="470"/>
                </a:moveTo>
                <a:cubicBezTo>
                  <a:pt x="791" y="470"/>
                  <a:pt x="787" y="467"/>
                  <a:pt x="786" y="462"/>
                </a:cubicBezTo>
                <a:cubicBezTo>
                  <a:pt x="782" y="447"/>
                  <a:pt x="777" y="433"/>
                  <a:pt x="772" y="418"/>
                </a:cubicBezTo>
                <a:cubicBezTo>
                  <a:pt x="770" y="413"/>
                  <a:pt x="772" y="407"/>
                  <a:pt x="778" y="405"/>
                </a:cubicBezTo>
                <a:cubicBezTo>
                  <a:pt x="783" y="403"/>
                  <a:pt x="789" y="406"/>
                  <a:pt x="790" y="411"/>
                </a:cubicBezTo>
                <a:cubicBezTo>
                  <a:pt x="796" y="426"/>
                  <a:pt x="801" y="442"/>
                  <a:pt x="805" y="457"/>
                </a:cubicBezTo>
                <a:cubicBezTo>
                  <a:pt x="806" y="462"/>
                  <a:pt x="803" y="468"/>
                  <a:pt x="798" y="469"/>
                </a:cubicBezTo>
                <a:cubicBezTo>
                  <a:pt x="797" y="470"/>
                  <a:pt x="796" y="470"/>
                  <a:pt x="795" y="470"/>
                </a:cubicBezTo>
                <a:close/>
                <a:moveTo>
                  <a:pt x="763" y="381"/>
                </a:moveTo>
                <a:cubicBezTo>
                  <a:pt x="759" y="381"/>
                  <a:pt x="756" y="379"/>
                  <a:pt x="754" y="375"/>
                </a:cubicBezTo>
                <a:cubicBezTo>
                  <a:pt x="748" y="361"/>
                  <a:pt x="741" y="347"/>
                  <a:pt x="733" y="333"/>
                </a:cubicBezTo>
                <a:cubicBezTo>
                  <a:pt x="731" y="328"/>
                  <a:pt x="732" y="322"/>
                  <a:pt x="737" y="320"/>
                </a:cubicBezTo>
                <a:cubicBezTo>
                  <a:pt x="742" y="317"/>
                  <a:pt x="748" y="319"/>
                  <a:pt x="751" y="324"/>
                </a:cubicBezTo>
                <a:cubicBezTo>
                  <a:pt x="759" y="338"/>
                  <a:pt x="766" y="352"/>
                  <a:pt x="772" y="367"/>
                </a:cubicBezTo>
                <a:cubicBezTo>
                  <a:pt x="775" y="372"/>
                  <a:pt x="772" y="378"/>
                  <a:pt x="767" y="380"/>
                </a:cubicBezTo>
                <a:cubicBezTo>
                  <a:pt x="766" y="381"/>
                  <a:pt x="765" y="381"/>
                  <a:pt x="763" y="381"/>
                </a:cubicBezTo>
                <a:close/>
                <a:moveTo>
                  <a:pt x="718" y="298"/>
                </a:moveTo>
                <a:cubicBezTo>
                  <a:pt x="714" y="298"/>
                  <a:pt x="711" y="296"/>
                  <a:pt x="709" y="293"/>
                </a:cubicBezTo>
                <a:cubicBezTo>
                  <a:pt x="701" y="280"/>
                  <a:pt x="692" y="268"/>
                  <a:pt x="682" y="255"/>
                </a:cubicBezTo>
                <a:cubicBezTo>
                  <a:pt x="679" y="251"/>
                  <a:pt x="680" y="245"/>
                  <a:pt x="684" y="241"/>
                </a:cubicBezTo>
                <a:cubicBezTo>
                  <a:pt x="689" y="238"/>
                  <a:pt x="695" y="239"/>
                  <a:pt x="698" y="243"/>
                </a:cubicBezTo>
                <a:cubicBezTo>
                  <a:pt x="708" y="256"/>
                  <a:pt x="717" y="269"/>
                  <a:pt x="726" y="282"/>
                </a:cubicBezTo>
                <a:cubicBezTo>
                  <a:pt x="729" y="287"/>
                  <a:pt x="728" y="293"/>
                  <a:pt x="723" y="296"/>
                </a:cubicBezTo>
                <a:cubicBezTo>
                  <a:pt x="722" y="297"/>
                  <a:pt x="720" y="298"/>
                  <a:pt x="718" y="298"/>
                </a:cubicBezTo>
                <a:close/>
                <a:moveTo>
                  <a:pt x="660" y="223"/>
                </a:moveTo>
                <a:cubicBezTo>
                  <a:pt x="657" y="223"/>
                  <a:pt x="655" y="222"/>
                  <a:pt x="653" y="220"/>
                </a:cubicBezTo>
                <a:cubicBezTo>
                  <a:pt x="642" y="208"/>
                  <a:pt x="631" y="197"/>
                  <a:pt x="620" y="186"/>
                </a:cubicBezTo>
                <a:cubicBezTo>
                  <a:pt x="616" y="183"/>
                  <a:pt x="616" y="176"/>
                  <a:pt x="620" y="172"/>
                </a:cubicBezTo>
                <a:cubicBezTo>
                  <a:pt x="624" y="168"/>
                  <a:pt x="630" y="168"/>
                  <a:pt x="634" y="172"/>
                </a:cubicBezTo>
                <a:cubicBezTo>
                  <a:pt x="645" y="183"/>
                  <a:pt x="657" y="194"/>
                  <a:pt x="667" y="206"/>
                </a:cubicBezTo>
                <a:cubicBezTo>
                  <a:pt x="671" y="210"/>
                  <a:pt x="671" y="217"/>
                  <a:pt x="667" y="220"/>
                </a:cubicBezTo>
                <a:cubicBezTo>
                  <a:pt x="665" y="222"/>
                  <a:pt x="662" y="223"/>
                  <a:pt x="660" y="223"/>
                </a:cubicBezTo>
                <a:close/>
                <a:moveTo>
                  <a:pt x="592" y="158"/>
                </a:moveTo>
                <a:cubicBezTo>
                  <a:pt x="589" y="158"/>
                  <a:pt x="587" y="157"/>
                  <a:pt x="585" y="156"/>
                </a:cubicBezTo>
                <a:cubicBezTo>
                  <a:pt x="573" y="146"/>
                  <a:pt x="561" y="136"/>
                  <a:pt x="548" y="128"/>
                </a:cubicBezTo>
                <a:cubicBezTo>
                  <a:pt x="544" y="124"/>
                  <a:pt x="542" y="118"/>
                  <a:pt x="546" y="114"/>
                </a:cubicBezTo>
                <a:cubicBezTo>
                  <a:pt x="549" y="109"/>
                  <a:pt x="555" y="108"/>
                  <a:pt x="559" y="111"/>
                </a:cubicBezTo>
                <a:cubicBezTo>
                  <a:pt x="573" y="120"/>
                  <a:pt x="585" y="130"/>
                  <a:pt x="598" y="140"/>
                </a:cubicBezTo>
                <a:cubicBezTo>
                  <a:pt x="602" y="144"/>
                  <a:pt x="603" y="150"/>
                  <a:pt x="599" y="154"/>
                </a:cubicBezTo>
                <a:cubicBezTo>
                  <a:pt x="597" y="157"/>
                  <a:pt x="594" y="158"/>
                  <a:pt x="592" y="158"/>
                </a:cubicBezTo>
                <a:close/>
                <a:moveTo>
                  <a:pt x="514" y="104"/>
                </a:moveTo>
                <a:cubicBezTo>
                  <a:pt x="512" y="104"/>
                  <a:pt x="510" y="104"/>
                  <a:pt x="509" y="103"/>
                </a:cubicBezTo>
                <a:cubicBezTo>
                  <a:pt x="496" y="95"/>
                  <a:pt x="482" y="87"/>
                  <a:pt x="468" y="81"/>
                </a:cubicBezTo>
                <a:cubicBezTo>
                  <a:pt x="463" y="78"/>
                  <a:pt x="461" y="72"/>
                  <a:pt x="463" y="67"/>
                </a:cubicBezTo>
                <a:cubicBezTo>
                  <a:pt x="466" y="62"/>
                  <a:pt x="472" y="60"/>
                  <a:pt x="477" y="63"/>
                </a:cubicBezTo>
                <a:cubicBezTo>
                  <a:pt x="491" y="70"/>
                  <a:pt x="505" y="77"/>
                  <a:pt x="519" y="85"/>
                </a:cubicBezTo>
                <a:cubicBezTo>
                  <a:pt x="524" y="88"/>
                  <a:pt x="525" y="94"/>
                  <a:pt x="523" y="99"/>
                </a:cubicBezTo>
                <a:cubicBezTo>
                  <a:pt x="521" y="102"/>
                  <a:pt x="517" y="104"/>
                  <a:pt x="514" y="104"/>
                </a:cubicBezTo>
                <a:close/>
                <a:moveTo>
                  <a:pt x="429" y="63"/>
                </a:moveTo>
                <a:cubicBezTo>
                  <a:pt x="428" y="63"/>
                  <a:pt x="426" y="62"/>
                  <a:pt x="425" y="62"/>
                </a:cubicBezTo>
                <a:cubicBezTo>
                  <a:pt x="411" y="56"/>
                  <a:pt x="396" y="51"/>
                  <a:pt x="381" y="47"/>
                </a:cubicBezTo>
                <a:cubicBezTo>
                  <a:pt x="376" y="45"/>
                  <a:pt x="373" y="39"/>
                  <a:pt x="375" y="34"/>
                </a:cubicBezTo>
                <a:cubicBezTo>
                  <a:pt x="376" y="29"/>
                  <a:pt x="382" y="26"/>
                  <a:pt x="387" y="28"/>
                </a:cubicBezTo>
                <a:cubicBezTo>
                  <a:pt x="402" y="32"/>
                  <a:pt x="418" y="38"/>
                  <a:pt x="433" y="43"/>
                </a:cubicBezTo>
                <a:cubicBezTo>
                  <a:pt x="438" y="45"/>
                  <a:pt x="440" y="51"/>
                  <a:pt x="438" y="56"/>
                </a:cubicBezTo>
                <a:cubicBezTo>
                  <a:pt x="437" y="60"/>
                  <a:pt x="433" y="63"/>
                  <a:pt x="429" y="63"/>
                </a:cubicBezTo>
                <a:close/>
                <a:moveTo>
                  <a:pt x="12" y="51"/>
                </a:moveTo>
                <a:cubicBezTo>
                  <a:pt x="8" y="51"/>
                  <a:pt x="4" y="49"/>
                  <a:pt x="2" y="45"/>
                </a:cubicBezTo>
                <a:cubicBezTo>
                  <a:pt x="1" y="39"/>
                  <a:pt x="3" y="34"/>
                  <a:pt x="9" y="32"/>
                </a:cubicBezTo>
                <a:cubicBezTo>
                  <a:pt x="24" y="27"/>
                  <a:pt x="39" y="22"/>
                  <a:pt x="55" y="19"/>
                </a:cubicBezTo>
                <a:cubicBezTo>
                  <a:pt x="60" y="17"/>
                  <a:pt x="66" y="21"/>
                  <a:pt x="67" y="26"/>
                </a:cubicBezTo>
                <a:cubicBezTo>
                  <a:pt x="68" y="31"/>
                  <a:pt x="65" y="37"/>
                  <a:pt x="60" y="38"/>
                </a:cubicBezTo>
                <a:cubicBezTo>
                  <a:pt x="45" y="42"/>
                  <a:pt x="30" y="46"/>
                  <a:pt x="15" y="51"/>
                </a:cubicBezTo>
                <a:cubicBezTo>
                  <a:pt x="14" y="51"/>
                  <a:pt x="13" y="51"/>
                  <a:pt x="12" y="51"/>
                </a:cubicBezTo>
                <a:close/>
                <a:moveTo>
                  <a:pt x="339" y="35"/>
                </a:moveTo>
                <a:cubicBezTo>
                  <a:pt x="338" y="35"/>
                  <a:pt x="337" y="35"/>
                  <a:pt x="336" y="35"/>
                </a:cubicBezTo>
                <a:cubicBezTo>
                  <a:pt x="321" y="31"/>
                  <a:pt x="306" y="29"/>
                  <a:pt x="291" y="26"/>
                </a:cubicBezTo>
                <a:cubicBezTo>
                  <a:pt x="285" y="26"/>
                  <a:pt x="281" y="21"/>
                  <a:pt x="282" y="15"/>
                </a:cubicBezTo>
                <a:cubicBezTo>
                  <a:pt x="283" y="10"/>
                  <a:pt x="288" y="6"/>
                  <a:pt x="293" y="7"/>
                </a:cubicBezTo>
                <a:cubicBezTo>
                  <a:pt x="309" y="9"/>
                  <a:pt x="325" y="12"/>
                  <a:pt x="341" y="15"/>
                </a:cubicBezTo>
                <a:cubicBezTo>
                  <a:pt x="346" y="16"/>
                  <a:pt x="350" y="22"/>
                  <a:pt x="348" y="27"/>
                </a:cubicBezTo>
                <a:cubicBezTo>
                  <a:pt x="347" y="32"/>
                  <a:pt x="343" y="35"/>
                  <a:pt x="339" y="35"/>
                </a:cubicBezTo>
                <a:close/>
                <a:moveTo>
                  <a:pt x="104" y="29"/>
                </a:moveTo>
                <a:cubicBezTo>
                  <a:pt x="99" y="29"/>
                  <a:pt x="94" y="25"/>
                  <a:pt x="94" y="20"/>
                </a:cubicBezTo>
                <a:cubicBezTo>
                  <a:pt x="93" y="15"/>
                  <a:pt x="96" y="10"/>
                  <a:pt x="102" y="9"/>
                </a:cubicBezTo>
                <a:cubicBezTo>
                  <a:pt x="118" y="6"/>
                  <a:pt x="134" y="4"/>
                  <a:pt x="150" y="3"/>
                </a:cubicBezTo>
                <a:cubicBezTo>
                  <a:pt x="155" y="2"/>
                  <a:pt x="160" y="6"/>
                  <a:pt x="160" y="12"/>
                </a:cubicBezTo>
                <a:cubicBezTo>
                  <a:pt x="161" y="17"/>
                  <a:pt x="157" y="22"/>
                  <a:pt x="151" y="23"/>
                </a:cubicBezTo>
                <a:cubicBezTo>
                  <a:pt x="136" y="24"/>
                  <a:pt x="120" y="26"/>
                  <a:pt x="105" y="29"/>
                </a:cubicBezTo>
                <a:cubicBezTo>
                  <a:pt x="105" y="29"/>
                  <a:pt x="104" y="29"/>
                  <a:pt x="104" y="29"/>
                </a:cubicBezTo>
                <a:close/>
                <a:moveTo>
                  <a:pt x="245" y="22"/>
                </a:moveTo>
                <a:cubicBezTo>
                  <a:pt x="245" y="22"/>
                  <a:pt x="245" y="22"/>
                  <a:pt x="244" y="22"/>
                </a:cubicBezTo>
                <a:cubicBezTo>
                  <a:pt x="229" y="21"/>
                  <a:pt x="213" y="20"/>
                  <a:pt x="198" y="20"/>
                </a:cubicBezTo>
                <a:cubicBezTo>
                  <a:pt x="198" y="20"/>
                  <a:pt x="198" y="20"/>
                  <a:pt x="198" y="20"/>
                </a:cubicBezTo>
                <a:cubicBezTo>
                  <a:pt x="192" y="20"/>
                  <a:pt x="188" y="16"/>
                  <a:pt x="188" y="11"/>
                </a:cubicBezTo>
                <a:cubicBezTo>
                  <a:pt x="188" y="5"/>
                  <a:pt x="192" y="0"/>
                  <a:pt x="198" y="0"/>
                </a:cubicBezTo>
                <a:cubicBezTo>
                  <a:pt x="214" y="0"/>
                  <a:pt x="230" y="1"/>
                  <a:pt x="246" y="2"/>
                </a:cubicBezTo>
                <a:cubicBezTo>
                  <a:pt x="251" y="2"/>
                  <a:pt x="255" y="7"/>
                  <a:pt x="255" y="12"/>
                </a:cubicBezTo>
                <a:cubicBezTo>
                  <a:pt x="255" y="18"/>
                  <a:pt x="250" y="22"/>
                  <a:pt x="245" y="22"/>
                </a:cubicBezTo>
                <a:close/>
              </a:path>
            </a:pathLst>
          </a:custGeom>
          <a:solidFill>
            <a:srgbClr val="C0DC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grpSp>
        <p:nvGrpSpPr>
          <p:cNvPr id="180" name="Группа 179">
            <a:extLst>
              <a:ext uri="{FF2B5EF4-FFF2-40B4-BE49-F238E27FC236}">
                <a16:creationId xmlns:a16="http://schemas.microsoft.com/office/drawing/2014/main" id="{DAADE944-CE47-A44A-8819-0334D685B558}"/>
              </a:ext>
            </a:extLst>
          </p:cNvPr>
          <p:cNvGrpSpPr/>
          <p:nvPr/>
        </p:nvGrpSpPr>
        <p:grpSpPr>
          <a:xfrm>
            <a:off x="9428163" y="4083807"/>
            <a:ext cx="2151847" cy="1638604"/>
            <a:chOff x="9428163" y="4083807"/>
            <a:chExt cx="2151847" cy="1638604"/>
          </a:xfrm>
        </p:grpSpPr>
        <p:sp>
          <p:nvSpPr>
            <p:cNvPr id="149" name="Rectangle 21">
              <a:extLst>
                <a:ext uri="{FF2B5EF4-FFF2-40B4-BE49-F238E27FC236}">
                  <a16:creationId xmlns:a16="http://schemas.microsoft.com/office/drawing/2014/main" id="{36F4E629-27D6-DD4C-4954-61521BB5AA99}"/>
                </a:ext>
              </a:extLst>
            </p:cNvPr>
            <p:cNvSpPr/>
            <p:nvPr/>
          </p:nvSpPr>
          <p:spPr>
            <a:xfrm>
              <a:off x="9428163" y="4152751"/>
              <a:ext cx="1657944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0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0" name="Freeform 20">
              <a:extLst>
                <a:ext uri="{FF2B5EF4-FFF2-40B4-BE49-F238E27FC236}">
                  <a16:creationId xmlns:a16="http://schemas.microsoft.com/office/drawing/2014/main" id="{2480290A-41EC-D483-4B2B-DB80CB1B0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613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1" name="Freeform 21">
              <a:extLst>
                <a:ext uri="{FF2B5EF4-FFF2-40B4-BE49-F238E27FC236}">
                  <a16:creationId xmlns:a16="http://schemas.microsoft.com/office/drawing/2014/main" id="{2B300D93-F99A-70CA-8C32-460D60BC7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3" name="Freeform 23">
              <a:extLst>
                <a:ext uri="{FF2B5EF4-FFF2-40B4-BE49-F238E27FC236}">
                  <a16:creationId xmlns:a16="http://schemas.microsoft.com/office/drawing/2014/main" id="{306C8701-EF10-8814-6311-FE751CCF1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6" name="Группа 175">
            <a:extLst>
              <a:ext uri="{FF2B5EF4-FFF2-40B4-BE49-F238E27FC236}">
                <a16:creationId xmlns:a16="http://schemas.microsoft.com/office/drawing/2014/main" id="{E4D7ED61-36AC-F9C6-3445-7AC2CA08A747}"/>
              </a:ext>
            </a:extLst>
          </p:cNvPr>
          <p:cNvGrpSpPr/>
          <p:nvPr/>
        </p:nvGrpSpPr>
        <p:grpSpPr>
          <a:xfrm>
            <a:off x="224760" y="4071540"/>
            <a:ext cx="1890777" cy="1650871"/>
            <a:chOff x="224760" y="4071540"/>
            <a:chExt cx="1890777" cy="1650871"/>
          </a:xfrm>
        </p:grpSpPr>
        <p:sp>
          <p:nvSpPr>
            <p:cNvPr id="155" name="Rectangle 25">
              <a:extLst>
                <a:ext uri="{FF2B5EF4-FFF2-40B4-BE49-F238E27FC236}">
                  <a16:creationId xmlns:a16="http://schemas.microsoft.com/office/drawing/2014/main" id="{357B8EC3-E7A2-3FD0-5323-9095DE84CB4D}"/>
                </a:ext>
              </a:extLst>
            </p:cNvPr>
            <p:cNvSpPr/>
            <p:nvPr/>
          </p:nvSpPr>
          <p:spPr>
            <a:xfrm>
              <a:off x="224760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6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6" name="Freeform 24">
              <a:extLst>
                <a:ext uri="{FF2B5EF4-FFF2-40B4-BE49-F238E27FC236}">
                  <a16:creationId xmlns:a16="http://schemas.microsoft.com/office/drawing/2014/main" id="{058E620E-8F51-3B75-4F91-7C445F7A6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7" name="Freeform 26">
              <a:extLst>
                <a:ext uri="{FF2B5EF4-FFF2-40B4-BE49-F238E27FC236}">
                  <a16:creationId xmlns:a16="http://schemas.microsoft.com/office/drawing/2014/main" id="{056FA1BB-B0A6-278B-B272-957B3EB05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5503178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8" name="Freeform 27">
              <a:extLst>
                <a:ext uri="{FF2B5EF4-FFF2-40B4-BE49-F238E27FC236}">
                  <a16:creationId xmlns:a16="http://schemas.microsoft.com/office/drawing/2014/main" id="{B371D828-B986-6A13-2F8F-8C2AA9CE76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4071540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59" name="Freeform 28">
              <a:extLst>
                <a:ext uri="{FF2B5EF4-FFF2-40B4-BE49-F238E27FC236}">
                  <a16:creationId xmlns:a16="http://schemas.microsoft.com/office/drawing/2014/main" id="{46FFBFAB-5BA1-161C-28D1-DC9512515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id="{CF73DFC4-F83D-3C5D-93E6-DC53F4B396E4}"/>
              </a:ext>
            </a:extLst>
          </p:cNvPr>
          <p:cNvSpPr txBox="1"/>
          <p:nvPr/>
        </p:nvSpPr>
        <p:spPr>
          <a:xfrm>
            <a:off x="107494" y="3248119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скусствен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нтеллект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4D249C36-FF51-0447-B15B-31D335C9FD3C}"/>
              </a:ext>
            </a:extLst>
          </p:cNvPr>
          <p:cNvSpPr txBox="1"/>
          <p:nvPr/>
        </p:nvSpPr>
        <p:spPr>
          <a:xfrm>
            <a:off x="2766315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иксель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29C65B57-3AA0-D6FE-C94C-E370A4EDD7B9}"/>
              </a:ext>
            </a:extLst>
          </p:cNvPr>
          <p:cNvSpPr txBox="1"/>
          <p:nvPr/>
        </p:nvSpPr>
        <p:spPr>
          <a:xfrm>
            <a:off x="495374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Яркие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цвета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395AFBD5-9B99-F345-FDFD-93A5D5B71B8B}"/>
              </a:ext>
            </a:extLst>
          </p:cNvPr>
          <p:cNvSpPr txBox="1"/>
          <p:nvPr/>
        </p:nvSpPr>
        <p:spPr>
          <a:xfrm>
            <a:off x="743329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Ретр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иль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5313716C-B7B8-C6FF-ACED-F428CB2ACDAA}"/>
              </a:ext>
            </a:extLst>
          </p:cNvPr>
          <p:cNvSpPr txBox="1"/>
          <p:nvPr/>
        </p:nvSpPr>
        <p:spPr>
          <a:xfrm>
            <a:off x="9798659" y="3248119"/>
            <a:ext cx="2284517" cy="352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Минимализм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8570A41B-47BE-1ADC-53D4-B5C4C87BF32A}"/>
              </a:ext>
            </a:extLst>
          </p:cNvPr>
          <p:cNvSpPr txBox="1"/>
          <p:nvPr/>
        </p:nvSpPr>
        <p:spPr>
          <a:xfrm>
            <a:off x="107494" y="5684038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ерегружен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композиция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900F5795-34FF-8E0C-5755-2A87841E1FE5}"/>
              </a:ext>
            </a:extLst>
          </p:cNvPr>
          <p:cNvSpPr txBox="1"/>
          <p:nvPr/>
        </p:nvSpPr>
        <p:spPr>
          <a:xfrm>
            <a:off x="2766315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Нестандарт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ипографика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6DD45F9-5584-5D17-58D5-4194B430A37C}"/>
              </a:ext>
            </a:extLst>
          </p:cNvPr>
          <p:cNvSpPr txBox="1"/>
          <p:nvPr/>
        </p:nvSpPr>
        <p:spPr>
          <a:xfrm>
            <a:off x="495374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Черн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белый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90A2FE5A-C11E-3349-F29A-A3A4CDFD8145}"/>
              </a:ext>
            </a:extLst>
          </p:cNvPr>
          <p:cNvSpPr txBox="1"/>
          <p:nvPr/>
        </p:nvSpPr>
        <p:spPr>
          <a:xfrm>
            <a:off x="743329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екл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2ECDF986-333B-B886-9B05-C45E5BC23EDE}"/>
              </a:ext>
            </a:extLst>
          </p:cNvPr>
          <p:cNvSpPr txBox="1"/>
          <p:nvPr/>
        </p:nvSpPr>
        <p:spPr>
          <a:xfrm>
            <a:off x="9798659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екстуры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 фактуры</a:t>
            </a:r>
          </a:p>
        </p:txBody>
      </p:sp>
      <p:pic>
        <p:nvPicPr>
          <p:cNvPr id="4" name="Picture 2" descr="Craftion - Деловое предложение Powerpoint">
            <a:extLst>
              <a:ext uri="{FF2B5EF4-FFF2-40B4-BE49-F238E27FC236}">
                <a16:creationId xmlns:a16="http://schemas.microsoft.com/office/drawing/2014/main" id="{BDE68D3C-73F1-0794-68DA-3D58D79D35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715415" y="2182897"/>
            <a:ext cx="6240763" cy="4160509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Craftion - Деловое предложение Powerpoint">
            <a:extLst>
              <a:ext uri="{FF2B5EF4-FFF2-40B4-BE49-F238E27FC236}">
                <a16:creationId xmlns:a16="http://schemas.microsoft.com/office/drawing/2014/main" id="{52FCBA4A-D178-A48D-42F7-151B82B6FE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195154" y="2188411"/>
            <a:ext cx="6232494" cy="4154996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 descr="NorthBank Modern Fintech Powerpoint">
            <a:extLst>
              <a:ext uri="{FF2B5EF4-FFF2-40B4-BE49-F238E27FC236}">
                <a16:creationId xmlns:a16="http://schemas.microsoft.com/office/drawing/2014/main" id="{F934ECAD-961D-BD14-F7F3-B908FB0B77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79847" y="8290996"/>
            <a:ext cx="4870847" cy="3247231"/>
          </a:xfrm>
          <a:custGeom>
            <a:avLst/>
            <a:gdLst>
              <a:gd name="connsiteX0" fmla="*/ 8495729 w 12175351"/>
              <a:gd name="connsiteY0" fmla="*/ 0 h 8116900"/>
              <a:gd name="connsiteX1" fmla="*/ 11693288 w 12175351"/>
              <a:gd name="connsiteY1" fmla="*/ 0 h 8116900"/>
              <a:gd name="connsiteX2" fmla="*/ 12175351 w 12175351"/>
              <a:gd name="connsiteY2" fmla="*/ 482063 h 8116900"/>
              <a:gd name="connsiteX3" fmla="*/ 12175351 w 12175351"/>
              <a:gd name="connsiteY3" fmla="*/ 5825800 h 8116900"/>
              <a:gd name="connsiteX4" fmla="*/ 3898543 w 12175351"/>
              <a:gd name="connsiteY4" fmla="*/ 8116900 h 8116900"/>
              <a:gd name="connsiteX5" fmla="*/ 482063 w 12175351"/>
              <a:gd name="connsiteY5" fmla="*/ 8116900 h 8116900"/>
              <a:gd name="connsiteX6" fmla="*/ 0 w 12175351"/>
              <a:gd name="connsiteY6" fmla="*/ 7634837 h 8116900"/>
              <a:gd name="connsiteX7" fmla="*/ 0 w 12175351"/>
              <a:gd name="connsiteY7" fmla="*/ 2364609 h 8116900"/>
              <a:gd name="connsiteX8" fmla="*/ 8499048 w 12175351"/>
              <a:gd name="connsiteY8" fmla="*/ 11990 h 811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75351" h="8116900">
                <a:moveTo>
                  <a:pt x="8495729" y="0"/>
                </a:moveTo>
                <a:lnTo>
                  <a:pt x="11693288" y="0"/>
                </a:lnTo>
                <a:cubicBezTo>
                  <a:pt x="11959524" y="0"/>
                  <a:pt x="12175351" y="215826"/>
                  <a:pt x="12175351" y="482063"/>
                </a:cubicBezTo>
                <a:lnTo>
                  <a:pt x="12175351" y="5825800"/>
                </a:lnTo>
                <a:lnTo>
                  <a:pt x="3898543" y="8116900"/>
                </a:lnTo>
                <a:lnTo>
                  <a:pt x="482063" y="8116900"/>
                </a:lnTo>
                <a:cubicBezTo>
                  <a:pt x="215827" y="8116900"/>
                  <a:pt x="0" y="7901073"/>
                  <a:pt x="0" y="7634837"/>
                </a:cubicBezTo>
                <a:lnTo>
                  <a:pt x="0" y="2364609"/>
                </a:lnTo>
                <a:lnTo>
                  <a:pt x="8499048" y="11990"/>
                </a:lnTo>
                <a:close/>
              </a:path>
            </a:pathLst>
          </a:cu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8794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22222E-6 L 0.06576 2.22222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76" name="Группа 175">
            <a:extLst>
              <a:ext uri="{FF2B5EF4-FFF2-40B4-BE49-F238E27FC236}">
                <a16:creationId xmlns:a16="http://schemas.microsoft.com/office/drawing/2014/main" id="{E4D7ED61-36AC-F9C6-3445-7AC2CA08A747}"/>
              </a:ext>
            </a:extLst>
          </p:cNvPr>
          <p:cNvGrpSpPr/>
          <p:nvPr/>
        </p:nvGrpSpPr>
        <p:grpSpPr>
          <a:xfrm>
            <a:off x="-5932586" y="0"/>
            <a:ext cx="8825011" cy="7705275"/>
            <a:chOff x="224760" y="4071540"/>
            <a:chExt cx="1890777" cy="1650871"/>
          </a:xfrm>
        </p:grpSpPr>
        <p:sp>
          <p:nvSpPr>
            <p:cNvPr id="155" name="Rectangle 25">
              <a:extLst>
                <a:ext uri="{FF2B5EF4-FFF2-40B4-BE49-F238E27FC236}">
                  <a16:creationId xmlns:a16="http://schemas.microsoft.com/office/drawing/2014/main" id="{357B8EC3-E7A2-3FD0-5323-9095DE84CB4D}"/>
                </a:ext>
              </a:extLst>
            </p:cNvPr>
            <p:cNvSpPr/>
            <p:nvPr/>
          </p:nvSpPr>
          <p:spPr>
            <a:xfrm>
              <a:off x="224760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6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6" name="Freeform 24">
              <a:extLst>
                <a:ext uri="{FF2B5EF4-FFF2-40B4-BE49-F238E27FC236}">
                  <a16:creationId xmlns:a16="http://schemas.microsoft.com/office/drawing/2014/main" id="{058E620E-8F51-3B75-4F91-7C445F7A6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7" name="Freeform 26">
              <a:extLst>
                <a:ext uri="{FF2B5EF4-FFF2-40B4-BE49-F238E27FC236}">
                  <a16:creationId xmlns:a16="http://schemas.microsoft.com/office/drawing/2014/main" id="{056FA1BB-B0A6-278B-B272-957B3EB05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5503178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8" name="Freeform 27">
              <a:extLst>
                <a:ext uri="{FF2B5EF4-FFF2-40B4-BE49-F238E27FC236}">
                  <a16:creationId xmlns:a16="http://schemas.microsoft.com/office/drawing/2014/main" id="{B371D828-B986-6A13-2F8F-8C2AA9CE76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4071540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59" name="Freeform 28">
              <a:extLst>
                <a:ext uri="{FF2B5EF4-FFF2-40B4-BE49-F238E27FC236}">
                  <a16:creationId xmlns:a16="http://schemas.microsoft.com/office/drawing/2014/main" id="{46FFBFAB-5BA1-161C-28D1-DC9512515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6CA5A1E-17A2-057B-FF4B-CC84AD73E097}"/>
              </a:ext>
            </a:extLst>
          </p:cNvPr>
          <p:cNvSpPr txBox="1"/>
          <p:nvPr/>
        </p:nvSpPr>
        <p:spPr>
          <a:xfrm>
            <a:off x="1043932" y="1195583"/>
            <a:ext cx="9667656" cy="17259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КОМПОЗИЦИОННАЯ ПЕРЕГРУЖЕННОСТЬ</a:t>
            </a:r>
          </a:p>
        </p:txBody>
      </p:sp>
      <p:pic>
        <p:nvPicPr>
          <p:cNvPr id="8" name="Рисунок 7" descr="NorthBank Modern Fintech Powerpoint">
            <a:extLst>
              <a:ext uri="{FF2B5EF4-FFF2-40B4-BE49-F238E27FC236}">
                <a16:creationId xmlns:a16="http://schemas.microsoft.com/office/drawing/2014/main" id="{0B3315F0-79DC-D4EA-4E15-7642FE05FB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79847" y="3329870"/>
            <a:ext cx="12312539" cy="8208358"/>
          </a:xfrm>
          <a:custGeom>
            <a:avLst/>
            <a:gdLst>
              <a:gd name="connsiteX0" fmla="*/ 8495729 w 12175351"/>
              <a:gd name="connsiteY0" fmla="*/ 0 h 8116900"/>
              <a:gd name="connsiteX1" fmla="*/ 11693288 w 12175351"/>
              <a:gd name="connsiteY1" fmla="*/ 0 h 8116900"/>
              <a:gd name="connsiteX2" fmla="*/ 12175351 w 12175351"/>
              <a:gd name="connsiteY2" fmla="*/ 482063 h 8116900"/>
              <a:gd name="connsiteX3" fmla="*/ 12175351 w 12175351"/>
              <a:gd name="connsiteY3" fmla="*/ 5825800 h 8116900"/>
              <a:gd name="connsiteX4" fmla="*/ 3898543 w 12175351"/>
              <a:gd name="connsiteY4" fmla="*/ 8116900 h 8116900"/>
              <a:gd name="connsiteX5" fmla="*/ 482063 w 12175351"/>
              <a:gd name="connsiteY5" fmla="*/ 8116900 h 8116900"/>
              <a:gd name="connsiteX6" fmla="*/ 0 w 12175351"/>
              <a:gd name="connsiteY6" fmla="*/ 7634837 h 8116900"/>
              <a:gd name="connsiteX7" fmla="*/ 0 w 12175351"/>
              <a:gd name="connsiteY7" fmla="*/ 2364609 h 8116900"/>
              <a:gd name="connsiteX8" fmla="*/ 8499048 w 12175351"/>
              <a:gd name="connsiteY8" fmla="*/ 11990 h 811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75351" h="8116900">
                <a:moveTo>
                  <a:pt x="8495729" y="0"/>
                </a:moveTo>
                <a:lnTo>
                  <a:pt x="11693288" y="0"/>
                </a:lnTo>
                <a:cubicBezTo>
                  <a:pt x="11959524" y="0"/>
                  <a:pt x="12175351" y="215826"/>
                  <a:pt x="12175351" y="482063"/>
                </a:cubicBezTo>
                <a:lnTo>
                  <a:pt x="12175351" y="5825800"/>
                </a:lnTo>
                <a:lnTo>
                  <a:pt x="3898543" y="8116900"/>
                </a:lnTo>
                <a:lnTo>
                  <a:pt x="482063" y="8116900"/>
                </a:lnTo>
                <a:cubicBezTo>
                  <a:pt x="215827" y="8116900"/>
                  <a:pt x="0" y="7901073"/>
                  <a:pt x="0" y="7634837"/>
                </a:cubicBezTo>
                <a:lnTo>
                  <a:pt x="0" y="2364609"/>
                </a:lnTo>
                <a:lnTo>
                  <a:pt x="8499048" y="11990"/>
                </a:lnTo>
                <a:close/>
              </a:path>
            </a:pathLst>
          </a:cu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74731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436268" y="451062"/>
            <a:ext cx="8590385" cy="679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36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ТРЕНДЫ В ПРЕЗЕНТАЦИЯХ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35B0E2B-7288-51E5-1236-CF55D862B48D}"/>
              </a:ext>
            </a:extLst>
          </p:cNvPr>
          <p:cNvGrpSpPr/>
          <p:nvPr/>
        </p:nvGrpSpPr>
        <p:grpSpPr>
          <a:xfrm>
            <a:off x="2570693" y="1530804"/>
            <a:ext cx="1904144" cy="1650871"/>
            <a:chOff x="2570693" y="1530804"/>
            <a:chExt cx="1904144" cy="1650871"/>
          </a:xfrm>
        </p:grpSpPr>
        <p:grpSp>
          <p:nvGrpSpPr>
            <p:cNvPr id="163" name="Группа 162">
              <a:extLst>
                <a:ext uri="{FF2B5EF4-FFF2-40B4-BE49-F238E27FC236}">
                  <a16:creationId xmlns:a16="http://schemas.microsoft.com/office/drawing/2014/main" id="{4B8A1FD4-56F7-CF9F-A9B0-1DC5AA30F5E5}"/>
                </a:ext>
              </a:extLst>
            </p:cNvPr>
            <p:cNvGrpSpPr/>
            <p:nvPr/>
          </p:nvGrpSpPr>
          <p:grpSpPr>
            <a:xfrm>
              <a:off x="2570693" y="1543071"/>
              <a:ext cx="1891155" cy="1638604"/>
              <a:chOff x="2570693" y="1543071"/>
              <a:chExt cx="1891155" cy="1638604"/>
            </a:xfrm>
          </p:grpSpPr>
          <p:sp>
            <p:nvSpPr>
              <p:cNvPr id="93" name="Rectangle 24">
                <a:extLst>
                  <a:ext uri="{FF2B5EF4-FFF2-40B4-BE49-F238E27FC236}">
                    <a16:creationId xmlns:a16="http://schemas.microsoft.com/office/drawing/2014/main" id="{56E5413D-BEB3-D6DA-40AC-5C27DF8D4C54}"/>
                  </a:ext>
                </a:extLst>
              </p:cNvPr>
              <p:cNvSpPr/>
              <p:nvPr/>
            </p:nvSpPr>
            <p:spPr>
              <a:xfrm>
                <a:off x="2570693" y="1612015"/>
                <a:ext cx="1337881" cy="15696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9600" dirty="0">
                    <a:solidFill>
                      <a:srgbClr val="620CFD"/>
                    </a:solidFill>
                    <a:latin typeface="Poppins SemiBold" panose="00000700000000000000" pitchFamily="2" charset="0"/>
                    <a:ea typeface="Roboto Bold" panose="02000000000000000000" pitchFamily="2" charset="0"/>
                    <a:cs typeface="Poppins SemiBold" panose="00000700000000000000" pitchFamily="2" charset="0"/>
                  </a:rPr>
                  <a:t>2</a:t>
                </a:r>
                <a:endParaRPr lang="en-US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95" name="Freeform 5">
                <a:extLst>
                  <a:ext uri="{FF2B5EF4-FFF2-40B4-BE49-F238E27FC236}">
                    <a16:creationId xmlns:a16="http://schemas.microsoft.com/office/drawing/2014/main" id="{1217AEF5-802E-A251-3622-85C194DF9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50" y="1543071"/>
                <a:ext cx="1069398" cy="1505240"/>
              </a:xfrm>
              <a:custGeom>
                <a:avLst/>
                <a:gdLst>
                  <a:gd name="T0" fmla="*/ 260 w 872"/>
                  <a:gd name="T1" fmla="*/ 0 h 1225"/>
                  <a:gd name="T2" fmla="*/ 0 w 872"/>
                  <a:gd name="T3" fmla="*/ 58 h 1225"/>
                  <a:gd name="T4" fmla="*/ 0 w 872"/>
                  <a:gd name="T5" fmla="*/ 1168 h 1225"/>
                  <a:gd name="T6" fmla="*/ 260 w 872"/>
                  <a:gd name="T7" fmla="*/ 1225 h 1225"/>
                  <a:gd name="T8" fmla="*/ 872 w 872"/>
                  <a:gd name="T9" fmla="*/ 613 h 1225"/>
                  <a:gd name="T10" fmla="*/ 260 w 872"/>
                  <a:gd name="T11" fmla="*/ 0 h 1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2" h="1225">
                    <a:moveTo>
                      <a:pt x="260" y="0"/>
                    </a:moveTo>
                    <a:cubicBezTo>
                      <a:pt x="167" y="0"/>
                      <a:pt x="79" y="21"/>
                      <a:pt x="0" y="58"/>
                    </a:cubicBezTo>
                    <a:cubicBezTo>
                      <a:pt x="0" y="1168"/>
                      <a:pt x="0" y="1168"/>
                      <a:pt x="0" y="1168"/>
                    </a:cubicBezTo>
                    <a:cubicBezTo>
                      <a:pt x="79" y="1205"/>
                      <a:pt x="167" y="1225"/>
                      <a:pt x="260" y="1225"/>
                    </a:cubicBezTo>
                    <a:cubicBezTo>
                      <a:pt x="598" y="1225"/>
                      <a:pt x="872" y="951"/>
                      <a:pt x="872" y="613"/>
                    </a:cubicBezTo>
                    <a:cubicBezTo>
                      <a:pt x="872" y="275"/>
                      <a:pt x="598" y="0"/>
                      <a:pt x="2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76200" dist="38100" dir="10800000" algn="r" rotWithShape="0">
                  <a:prstClr val="black">
                    <a:alpha val="3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A3572630-598B-5C94-8D3E-3784DF297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id="{DAA99000-EA9A-AE50-74C7-2BA64FDCC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id="{8B3DD752-C6A4-CFD4-19C2-EB2456B2D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3" name="Группа 172">
            <a:extLst>
              <a:ext uri="{FF2B5EF4-FFF2-40B4-BE49-F238E27FC236}">
                <a16:creationId xmlns:a16="http://schemas.microsoft.com/office/drawing/2014/main" id="{EB1D928E-4F1C-D312-593E-162A0FF3104C}"/>
              </a:ext>
            </a:extLst>
          </p:cNvPr>
          <p:cNvGrpSpPr/>
          <p:nvPr/>
        </p:nvGrpSpPr>
        <p:grpSpPr>
          <a:xfrm>
            <a:off x="4931227" y="1530804"/>
            <a:ext cx="1902534" cy="1650871"/>
            <a:chOff x="4931227" y="1530804"/>
            <a:chExt cx="1902534" cy="1650871"/>
          </a:xfrm>
        </p:grpSpPr>
        <p:sp>
          <p:nvSpPr>
            <p:cNvPr id="92" name="Rectangle 23">
              <a:extLst>
                <a:ext uri="{FF2B5EF4-FFF2-40B4-BE49-F238E27FC236}">
                  <a16:creationId xmlns:a16="http://schemas.microsoft.com/office/drawing/2014/main" id="{273617A1-2DC0-5FB9-D7E0-FF6BCB3EB5ED}"/>
                </a:ext>
              </a:extLst>
            </p:cNvPr>
            <p:cNvSpPr/>
            <p:nvPr/>
          </p:nvSpPr>
          <p:spPr>
            <a:xfrm>
              <a:off x="4931227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3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006CAACD-CC97-0283-4433-83EF84659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D7108752-D1B1-31C4-D013-C181BD470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2962442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C6A1B4F2-3F92-F637-BB6F-29F3023B5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1530804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C1360D4A-55EB-272D-6048-902A967F1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3CCC8006-DC23-82B5-9306-E15D523021AC}"/>
              </a:ext>
            </a:extLst>
          </p:cNvPr>
          <p:cNvGrpSpPr/>
          <p:nvPr/>
        </p:nvGrpSpPr>
        <p:grpSpPr>
          <a:xfrm>
            <a:off x="7295974" y="1530804"/>
            <a:ext cx="1959602" cy="1650871"/>
            <a:chOff x="7295974" y="1530804"/>
            <a:chExt cx="1959602" cy="1650871"/>
          </a:xfrm>
        </p:grpSpPr>
        <p:sp>
          <p:nvSpPr>
            <p:cNvPr id="91" name="Rectangle 22">
              <a:extLst>
                <a:ext uri="{FF2B5EF4-FFF2-40B4-BE49-F238E27FC236}">
                  <a16:creationId xmlns:a16="http://schemas.microsoft.com/office/drawing/2014/main" id="{AF59DD62-7880-13CC-4138-B454478E64D9}"/>
                </a:ext>
              </a:extLst>
            </p:cNvPr>
            <p:cNvSpPr/>
            <p:nvPr/>
          </p:nvSpPr>
          <p:spPr>
            <a:xfrm>
              <a:off x="7295974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4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B988EB9F-9358-3C35-272D-F6EFF02A7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1543071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0" name="Freeform 17">
              <a:extLst>
                <a:ext uri="{FF2B5EF4-FFF2-40B4-BE49-F238E27FC236}">
                  <a16:creationId xmlns:a16="http://schemas.microsoft.com/office/drawing/2014/main" id="{CE1C1353-7B83-A46C-5D84-EEF7396A6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2962442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1" name="Freeform 18">
              <a:extLst>
                <a:ext uri="{FF2B5EF4-FFF2-40B4-BE49-F238E27FC236}">
                  <a16:creationId xmlns:a16="http://schemas.microsoft.com/office/drawing/2014/main" id="{0D092205-5F45-3E67-E60B-C5468BB8F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1530804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2" name="Freeform 19">
              <a:extLst>
                <a:ext uri="{FF2B5EF4-FFF2-40B4-BE49-F238E27FC236}">
                  <a16:creationId xmlns:a16="http://schemas.microsoft.com/office/drawing/2014/main" id="{62B77E0A-A3CB-4BAD-15B2-38C772EEF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1588532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5" name="Группа 174">
            <a:extLst>
              <a:ext uri="{FF2B5EF4-FFF2-40B4-BE49-F238E27FC236}">
                <a16:creationId xmlns:a16="http://schemas.microsoft.com/office/drawing/2014/main" id="{0B591BB7-477C-7C35-7106-26B676D5BE13}"/>
              </a:ext>
            </a:extLst>
          </p:cNvPr>
          <p:cNvGrpSpPr/>
          <p:nvPr/>
        </p:nvGrpSpPr>
        <p:grpSpPr>
          <a:xfrm>
            <a:off x="9717808" y="1530804"/>
            <a:ext cx="1902714" cy="1650871"/>
            <a:chOff x="9717808" y="1530804"/>
            <a:chExt cx="1902714" cy="1650871"/>
          </a:xfrm>
        </p:grpSpPr>
        <p:sp>
          <p:nvSpPr>
            <p:cNvPr id="90" name="Rectangle 21">
              <a:extLst>
                <a:ext uri="{FF2B5EF4-FFF2-40B4-BE49-F238E27FC236}">
                  <a16:creationId xmlns:a16="http://schemas.microsoft.com/office/drawing/2014/main" id="{29569A48-EE85-2ED7-8D80-191157BE8C22}"/>
                </a:ext>
              </a:extLst>
            </p:cNvPr>
            <p:cNvSpPr/>
            <p:nvPr/>
          </p:nvSpPr>
          <p:spPr>
            <a:xfrm>
              <a:off x="9717808" y="1612015"/>
              <a:ext cx="1337882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5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3" name="Freeform 20">
              <a:extLst>
                <a:ext uri="{FF2B5EF4-FFF2-40B4-BE49-F238E27FC236}">
                  <a16:creationId xmlns:a16="http://schemas.microsoft.com/office/drawing/2014/main" id="{9EE6F49C-07F6-DB6B-4B0B-1EB921EE5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8136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5" name="Freeform 21">
              <a:extLst>
                <a:ext uri="{FF2B5EF4-FFF2-40B4-BE49-F238E27FC236}">
                  <a16:creationId xmlns:a16="http://schemas.microsoft.com/office/drawing/2014/main" id="{6749EA0B-A536-CDB9-C374-57F4AE4E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6" name="Freeform 22">
              <a:extLst>
                <a:ext uri="{FF2B5EF4-FFF2-40B4-BE49-F238E27FC236}">
                  <a16:creationId xmlns:a16="http://schemas.microsoft.com/office/drawing/2014/main" id="{E4B64482-23A1-4452-2675-AA1B5EFFB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5965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3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59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3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88 w 827"/>
                <a:gd name="T99" fmla="*/ 11 h 1245"/>
                <a:gd name="T100" fmla="*/ 245 w 827"/>
                <a:gd name="T101" fmla="*/ 2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199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8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7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4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3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1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8" y="842"/>
                    <a:pt x="777" y="841"/>
                  </a:cubicBezTo>
                  <a:cubicBezTo>
                    <a:pt x="772" y="839"/>
                    <a:pt x="769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1" y="535"/>
                    <a:pt x="823" y="551"/>
                  </a:cubicBezTo>
                  <a:cubicBezTo>
                    <a:pt x="824" y="557"/>
                    <a:pt x="820" y="562"/>
                    <a:pt x="814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2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4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59" y="111"/>
                  </a:cubicBezTo>
                  <a:cubicBezTo>
                    <a:pt x="573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6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4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29" y="21"/>
                    <a:pt x="213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7" name="Freeform 23">
              <a:extLst>
                <a:ext uri="{FF2B5EF4-FFF2-40B4-BE49-F238E27FC236}">
                  <a16:creationId xmlns:a16="http://schemas.microsoft.com/office/drawing/2014/main" id="{04E21E31-4E2B-6A92-5A7F-D0ED69C0E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2" name="Группа 171">
            <a:extLst>
              <a:ext uri="{FF2B5EF4-FFF2-40B4-BE49-F238E27FC236}">
                <a16:creationId xmlns:a16="http://schemas.microsoft.com/office/drawing/2014/main" id="{70F9F561-E925-CC3F-3FD1-0CF9DB029578}"/>
              </a:ext>
            </a:extLst>
          </p:cNvPr>
          <p:cNvGrpSpPr/>
          <p:nvPr/>
        </p:nvGrpSpPr>
        <p:grpSpPr>
          <a:xfrm>
            <a:off x="224760" y="1530804"/>
            <a:ext cx="1890777" cy="1650871"/>
            <a:chOff x="224760" y="1530804"/>
            <a:chExt cx="1890777" cy="1650871"/>
          </a:xfrm>
        </p:grpSpPr>
        <p:sp>
          <p:nvSpPr>
            <p:cNvPr id="94" name="Rectangle 25">
              <a:extLst>
                <a:ext uri="{FF2B5EF4-FFF2-40B4-BE49-F238E27FC236}">
                  <a16:creationId xmlns:a16="http://schemas.microsoft.com/office/drawing/2014/main" id="{9426B5F4-A4AA-8DEB-EADD-889E43D6ECF0}"/>
                </a:ext>
              </a:extLst>
            </p:cNvPr>
            <p:cNvSpPr/>
            <p:nvPr/>
          </p:nvSpPr>
          <p:spPr>
            <a:xfrm>
              <a:off x="224760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8" name="Freeform 24">
              <a:extLst>
                <a:ext uri="{FF2B5EF4-FFF2-40B4-BE49-F238E27FC236}">
                  <a16:creationId xmlns:a16="http://schemas.microsoft.com/office/drawing/2014/main" id="{8668C76E-DE85-167C-8B9D-C63A038FC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1543071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1" name="Freeform 26">
              <a:extLst>
                <a:ext uri="{FF2B5EF4-FFF2-40B4-BE49-F238E27FC236}">
                  <a16:creationId xmlns:a16="http://schemas.microsoft.com/office/drawing/2014/main" id="{821036B1-A114-9E54-AC89-AFD52FDBD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2962442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2" name="Freeform 27">
              <a:extLst>
                <a:ext uri="{FF2B5EF4-FFF2-40B4-BE49-F238E27FC236}">
                  <a16:creationId xmlns:a16="http://schemas.microsoft.com/office/drawing/2014/main" id="{FADFDA08-A75F-E108-01D3-C17D96AF18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1530804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23" name="Freeform 28">
              <a:extLst>
                <a:ext uri="{FF2B5EF4-FFF2-40B4-BE49-F238E27FC236}">
                  <a16:creationId xmlns:a16="http://schemas.microsoft.com/office/drawing/2014/main" id="{02E78DB1-B4D3-B148-1742-D14CDC023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CEE3B85A-97B9-89F8-C67A-48CF9E943346}"/>
              </a:ext>
            </a:extLst>
          </p:cNvPr>
          <p:cNvGrpSpPr/>
          <p:nvPr/>
        </p:nvGrpSpPr>
        <p:grpSpPr>
          <a:xfrm>
            <a:off x="2570693" y="4071540"/>
            <a:ext cx="1904144" cy="1650871"/>
            <a:chOff x="2570693" y="4071540"/>
            <a:chExt cx="1904144" cy="1650871"/>
          </a:xfrm>
        </p:grpSpPr>
        <p:sp>
          <p:nvSpPr>
            <p:cNvPr id="131" name="Rectangle 24">
              <a:extLst>
                <a:ext uri="{FF2B5EF4-FFF2-40B4-BE49-F238E27FC236}">
                  <a16:creationId xmlns:a16="http://schemas.microsoft.com/office/drawing/2014/main" id="{39A4F353-AB65-8B80-1741-785AC44F9562}"/>
                </a:ext>
              </a:extLst>
            </p:cNvPr>
            <p:cNvSpPr/>
            <p:nvPr/>
          </p:nvSpPr>
          <p:spPr>
            <a:xfrm>
              <a:off x="2570693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7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7B1958A9-DF83-922C-950A-7314D9F26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50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3" name="Freeform 7">
              <a:extLst>
                <a:ext uri="{FF2B5EF4-FFF2-40B4-BE49-F238E27FC236}">
                  <a16:creationId xmlns:a16="http://schemas.microsoft.com/office/drawing/2014/main" id="{564C58DD-3A84-B66A-E8A5-F6FD608DA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4" name="Freeform 8">
              <a:extLst>
                <a:ext uri="{FF2B5EF4-FFF2-40B4-BE49-F238E27FC236}">
                  <a16:creationId xmlns:a16="http://schemas.microsoft.com/office/drawing/2014/main" id="{F098A11B-806D-749D-B8E3-34D6654304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4071540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5" name="Freeform 9">
              <a:extLst>
                <a:ext uri="{FF2B5EF4-FFF2-40B4-BE49-F238E27FC236}">
                  <a16:creationId xmlns:a16="http://schemas.microsoft.com/office/drawing/2014/main" id="{FBABAF63-61AF-5442-229A-F95325EF3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8" name="Группа 177">
            <a:extLst>
              <a:ext uri="{FF2B5EF4-FFF2-40B4-BE49-F238E27FC236}">
                <a16:creationId xmlns:a16="http://schemas.microsoft.com/office/drawing/2014/main" id="{C99650E0-C87B-0F1D-590C-BEBF62DD60CC}"/>
              </a:ext>
            </a:extLst>
          </p:cNvPr>
          <p:cNvGrpSpPr/>
          <p:nvPr/>
        </p:nvGrpSpPr>
        <p:grpSpPr>
          <a:xfrm>
            <a:off x="4931227" y="4071540"/>
            <a:ext cx="1902534" cy="1650871"/>
            <a:chOff x="4931227" y="4071540"/>
            <a:chExt cx="1902534" cy="1650871"/>
          </a:xfrm>
        </p:grpSpPr>
        <p:sp>
          <p:nvSpPr>
            <p:cNvPr id="137" name="Rectangle 23">
              <a:extLst>
                <a:ext uri="{FF2B5EF4-FFF2-40B4-BE49-F238E27FC236}">
                  <a16:creationId xmlns:a16="http://schemas.microsoft.com/office/drawing/2014/main" id="{ED07FEA2-D699-6335-26A2-4AF432160754}"/>
                </a:ext>
              </a:extLst>
            </p:cNvPr>
            <p:cNvSpPr/>
            <p:nvPr/>
          </p:nvSpPr>
          <p:spPr>
            <a:xfrm>
              <a:off x="4931227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8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09C3FF1-010B-ED79-6CA1-1B68C3731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9" name="Freeform 12">
              <a:extLst>
                <a:ext uri="{FF2B5EF4-FFF2-40B4-BE49-F238E27FC236}">
                  <a16:creationId xmlns:a16="http://schemas.microsoft.com/office/drawing/2014/main" id="{247B6EB1-243F-98B7-3420-9B7E47C17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5503178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0" name="Freeform 13">
              <a:extLst>
                <a:ext uri="{FF2B5EF4-FFF2-40B4-BE49-F238E27FC236}">
                  <a16:creationId xmlns:a16="http://schemas.microsoft.com/office/drawing/2014/main" id="{E1A9EFCB-1E58-4FF0-A5F8-9EC6968E1E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4071540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1" name="Freeform 14">
              <a:extLst>
                <a:ext uri="{FF2B5EF4-FFF2-40B4-BE49-F238E27FC236}">
                  <a16:creationId xmlns:a16="http://schemas.microsoft.com/office/drawing/2014/main" id="{EA221590-F141-E01D-575B-5DE9A0222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9" name="Группа 178">
            <a:extLst>
              <a:ext uri="{FF2B5EF4-FFF2-40B4-BE49-F238E27FC236}">
                <a16:creationId xmlns:a16="http://schemas.microsoft.com/office/drawing/2014/main" id="{6E953091-5929-4FB2-64FD-9599FF6FA641}"/>
              </a:ext>
            </a:extLst>
          </p:cNvPr>
          <p:cNvGrpSpPr/>
          <p:nvPr/>
        </p:nvGrpSpPr>
        <p:grpSpPr>
          <a:xfrm>
            <a:off x="7295974" y="4071540"/>
            <a:ext cx="1959602" cy="1650871"/>
            <a:chOff x="7295974" y="4071540"/>
            <a:chExt cx="1959602" cy="1650871"/>
          </a:xfrm>
        </p:grpSpPr>
        <p:sp>
          <p:nvSpPr>
            <p:cNvPr id="143" name="Rectangle 22">
              <a:extLst>
                <a:ext uri="{FF2B5EF4-FFF2-40B4-BE49-F238E27FC236}">
                  <a16:creationId xmlns:a16="http://schemas.microsoft.com/office/drawing/2014/main" id="{20EFDC4D-8D49-F4A1-63CA-733DC4D66C8D}"/>
                </a:ext>
              </a:extLst>
            </p:cNvPr>
            <p:cNvSpPr/>
            <p:nvPr/>
          </p:nvSpPr>
          <p:spPr>
            <a:xfrm>
              <a:off x="7295974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9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0A68112C-D223-568A-7F32-730CA6D7F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4083807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5" name="Freeform 17">
              <a:extLst>
                <a:ext uri="{FF2B5EF4-FFF2-40B4-BE49-F238E27FC236}">
                  <a16:creationId xmlns:a16="http://schemas.microsoft.com/office/drawing/2014/main" id="{857360FC-21B5-721D-A68B-D195A19CC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5503178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6" name="Freeform 18">
              <a:extLst>
                <a:ext uri="{FF2B5EF4-FFF2-40B4-BE49-F238E27FC236}">
                  <a16:creationId xmlns:a16="http://schemas.microsoft.com/office/drawing/2014/main" id="{A9DA7EF3-C181-CE39-61D6-916C859D4C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4071540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7" name="Freeform 19">
              <a:extLst>
                <a:ext uri="{FF2B5EF4-FFF2-40B4-BE49-F238E27FC236}">
                  <a16:creationId xmlns:a16="http://schemas.microsoft.com/office/drawing/2014/main" id="{6E0744BF-151B-AF62-3BDB-9CB6D9283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4129268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52" name="Freeform 22">
            <a:extLst>
              <a:ext uri="{FF2B5EF4-FFF2-40B4-BE49-F238E27FC236}">
                <a16:creationId xmlns:a16="http://schemas.microsoft.com/office/drawing/2014/main" id="{8E6FD6D1-0690-0E47-11F1-32AEE325EB8F}"/>
              </a:ext>
            </a:extLst>
          </p:cNvPr>
          <p:cNvSpPr>
            <a:spLocks noEditPoints="1"/>
          </p:cNvSpPr>
          <p:nvPr/>
        </p:nvSpPr>
        <p:spPr bwMode="auto">
          <a:xfrm>
            <a:off x="10578442" y="4071540"/>
            <a:ext cx="1014557" cy="1529774"/>
          </a:xfrm>
          <a:custGeom>
            <a:avLst/>
            <a:gdLst>
              <a:gd name="T0" fmla="*/ 197 w 827"/>
              <a:gd name="T1" fmla="*/ 1225 h 1245"/>
              <a:gd name="T2" fmla="*/ 245 w 827"/>
              <a:gd name="T3" fmla="*/ 1244 h 1245"/>
              <a:gd name="T4" fmla="*/ 101 w 827"/>
              <a:gd name="T5" fmla="*/ 1237 h 1245"/>
              <a:gd name="T6" fmla="*/ 160 w 827"/>
              <a:gd name="T7" fmla="*/ 1234 h 1245"/>
              <a:gd name="T8" fmla="*/ 290 w 827"/>
              <a:gd name="T9" fmla="*/ 1219 h 1245"/>
              <a:gd name="T10" fmla="*/ 293 w 827"/>
              <a:gd name="T11" fmla="*/ 1239 h 1245"/>
              <a:gd name="T12" fmla="*/ 8 w 827"/>
              <a:gd name="T13" fmla="*/ 1214 h 1245"/>
              <a:gd name="T14" fmla="*/ 66 w 827"/>
              <a:gd name="T15" fmla="*/ 1220 h 1245"/>
              <a:gd name="T16" fmla="*/ 381 w 827"/>
              <a:gd name="T17" fmla="*/ 1199 h 1245"/>
              <a:gd name="T18" fmla="*/ 386 w 827"/>
              <a:gd name="T19" fmla="*/ 1218 h 1245"/>
              <a:gd name="T20" fmla="*/ 467 w 827"/>
              <a:gd name="T21" fmla="*/ 1165 h 1245"/>
              <a:gd name="T22" fmla="*/ 476 w 827"/>
              <a:gd name="T23" fmla="*/ 1183 h 1245"/>
              <a:gd name="T24" fmla="*/ 548 w 827"/>
              <a:gd name="T25" fmla="*/ 1119 h 1245"/>
              <a:gd name="T26" fmla="*/ 559 w 827"/>
              <a:gd name="T27" fmla="*/ 1135 h 1245"/>
              <a:gd name="T28" fmla="*/ 620 w 827"/>
              <a:gd name="T29" fmla="*/ 1060 h 1245"/>
              <a:gd name="T30" fmla="*/ 633 w 827"/>
              <a:gd name="T31" fmla="*/ 1074 h 1245"/>
              <a:gd name="T32" fmla="*/ 682 w 827"/>
              <a:gd name="T33" fmla="*/ 991 h 1245"/>
              <a:gd name="T34" fmla="*/ 698 w 827"/>
              <a:gd name="T35" fmla="*/ 1003 h 1245"/>
              <a:gd name="T36" fmla="*/ 733 w 827"/>
              <a:gd name="T37" fmla="*/ 913 h 1245"/>
              <a:gd name="T38" fmla="*/ 751 w 827"/>
              <a:gd name="T39" fmla="*/ 923 h 1245"/>
              <a:gd name="T40" fmla="*/ 771 w 827"/>
              <a:gd name="T41" fmla="*/ 828 h 1245"/>
              <a:gd name="T42" fmla="*/ 790 w 827"/>
              <a:gd name="T43" fmla="*/ 835 h 1245"/>
              <a:gd name="T44" fmla="*/ 796 w 827"/>
              <a:gd name="T45" fmla="*/ 739 h 1245"/>
              <a:gd name="T46" fmla="*/ 816 w 827"/>
              <a:gd name="T47" fmla="*/ 743 h 1245"/>
              <a:gd name="T48" fmla="*/ 807 w 827"/>
              <a:gd name="T49" fmla="*/ 647 h 1245"/>
              <a:gd name="T50" fmla="*/ 827 w 827"/>
              <a:gd name="T51" fmla="*/ 599 h 1245"/>
              <a:gd name="T52" fmla="*/ 813 w 827"/>
              <a:gd name="T53" fmla="*/ 562 h 1245"/>
              <a:gd name="T54" fmla="*/ 816 w 827"/>
              <a:gd name="T55" fmla="*/ 504 h 1245"/>
              <a:gd name="T56" fmla="*/ 795 w 827"/>
              <a:gd name="T57" fmla="*/ 470 h 1245"/>
              <a:gd name="T58" fmla="*/ 790 w 827"/>
              <a:gd name="T59" fmla="*/ 411 h 1245"/>
              <a:gd name="T60" fmla="*/ 763 w 827"/>
              <a:gd name="T61" fmla="*/ 381 h 1245"/>
              <a:gd name="T62" fmla="*/ 751 w 827"/>
              <a:gd name="T63" fmla="*/ 324 h 1245"/>
              <a:gd name="T64" fmla="*/ 718 w 827"/>
              <a:gd name="T65" fmla="*/ 298 h 1245"/>
              <a:gd name="T66" fmla="*/ 698 w 827"/>
              <a:gd name="T67" fmla="*/ 243 h 1245"/>
              <a:gd name="T68" fmla="*/ 660 w 827"/>
              <a:gd name="T69" fmla="*/ 223 h 1245"/>
              <a:gd name="T70" fmla="*/ 634 w 827"/>
              <a:gd name="T71" fmla="*/ 172 h 1245"/>
              <a:gd name="T72" fmla="*/ 592 w 827"/>
              <a:gd name="T73" fmla="*/ 158 h 1245"/>
              <a:gd name="T74" fmla="*/ 559 w 827"/>
              <a:gd name="T75" fmla="*/ 111 h 1245"/>
              <a:gd name="T76" fmla="*/ 514 w 827"/>
              <a:gd name="T77" fmla="*/ 104 h 1245"/>
              <a:gd name="T78" fmla="*/ 477 w 827"/>
              <a:gd name="T79" fmla="*/ 63 h 1245"/>
              <a:gd name="T80" fmla="*/ 429 w 827"/>
              <a:gd name="T81" fmla="*/ 63 h 1245"/>
              <a:gd name="T82" fmla="*/ 387 w 827"/>
              <a:gd name="T83" fmla="*/ 28 h 1245"/>
              <a:gd name="T84" fmla="*/ 12 w 827"/>
              <a:gd name="T85" fmla="*/ 51 h 1245"/>
              <a:gd name="T86" fmla="*/ 67 w 827"/>
              <a:gd name="T87" fmla="*/ 26 h 1245"/>
              <a:gd name="T88" fmla="*/ 339 w 827"/>
              <a:gd name="T89" fmla="*/ 35 h 1245"/>
              <a:gd name="T90" fmla="*/ 293 w 827"/>
              <a:gd name="T91" fmla="*/ 7 h 1245"/>
              <a:gd name="T92" fmla="*/ 104 w 827"/>
              <a:gd name="T93" fmla="*/ 29 h 1245"/>
              <a:gd name="T94" fmla="*/ 160 w 827"/>
              <a:gd name="T95" fmla="*/ 12 h 1245"/>
              <a:gd name="T96" fmla="*/ 245 w 827"/>
              <a:gd name="T97" fmla="*/ 22 h 1245"/>
              <a:gd name="T98" fmla="*/ 188 w 827"/>
              <a:gd name="T99" fmla="*/ 11 h 1245"/>
              <a:gd name="T100" fmla="*/ 245 w 827"/>
              <a:gd name="T101" fmla="*/ 22 h 1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27" h="1245">
                <a:moveTo>
                  <a:pt x="205" y="1245"/>
                </a:moveTo>
                <a:cubicBezTo>
                  <a:pt x="202" y="1245"/>
                  <a:pt x="199" y="1245"/>
                  <a:pt x="197" y="1245"/>
                </a:cubicBezTo>
                <a:cubicBezTo>
                  <a:pt x="191" y="1245"/>
                  <a:pt x="187" y="1241"/>
                  <a:pt x="187" y="1235"/>
                </a:cubicBezTo>
                <a:cubicBezTo>
                  <a:pt x="187" y="1230"/>
                  <a:pt x="191" y="1225"/>
                  <a:pt x="197" y="1225"/>
                </a:cubicBezTo>
                <a:cubicBezTo>
                  <a:pt x="197" y="1225"/>
                  <a:pt x="197" y="1225"/>
                  <a:pt x="197" y="1225"/>
                </a:cubicBezTo>
                <a:cubicBezTo>
                  <a:pt x="212" y="1226"/>
                  <a:pt x="228" y="1225"/>
                  <a:pt x="244" y="1224"/>
                </a:cubicBezTo>
                <a:cubicBezTo>
                  <a:pt x="249" y="1224"/>
                  <a:pt x="254" y="1228"/>
                  <a:pt x="254" y="1234"/>
                </a:cubicBezTo>
                <a:cubicBezTo>
                  <a:pt x="255" y="1239"/>
                  <a:pt x="250" y="1244"/>
                  <a:pt x="245" y="1244"/>
                </a:cubicBezTo>
                <a:cubicBezTo>
                  <a:pt x="232" y="1245"/>
                  <a:pt x="218" y="1245"/>
                  <a:pt x="205" y="1245"/>
                </a:cubicBezTo>
                <a:close/>
                <a:moveTo>
                  <a:pt x="150" y="1243"/>
                </a:moveTo>
                <a:cubicBezTo>
                  <a:pt x="149" y="1243"/>
                  <a:pt x="149" y="1243"/>
                  <a:pt x="149" y="1243"/>
                </a:cubicBezTo>
                <a:cubicBezTo>
                  <a:pt x="133" y="1241"/>
                  <a:pt x="117" y="1239"/>
                  <a:pt x="101" y="1237"/>
                </a:cubicBezTo>
                <a:cubicBezTo>
                  <a:pt x="96" y="1236"/>
                  <a:pt x="92" y="1231"/>
                  <a:pt x="93" y="1225"/>
                </a:cubicBezTo>
                <a:cubicBezTo>
                  <a:pt x="94" y="1220"/>
                  <a:pt x="99" y="1216"/>
                  <a:pt x="104" y="1217"/>
                </a:cubicBezTo>
                <a:cubicBezTo>
                  <a:pt x="120" y="1220"/>
                  <a:pt x="135" y="1222"/>
                  <a:pt x="151" y="1223"/>
                </a:cubicBezTo>
                <a:cubicBezTo>
                  <a:pt x="156" y="1223"/>
                  <a:pt x="160" y="1228"/>
                  <a:pt x="160" y="1234"/>
                </a:cubicBezTo>
                <a:cubicBezTo>
                  <a:pt x="159" y="1239"/>
                  <a:pt x="155" y="1243"/>
                  <a:pt x="150" y="1243"/>
                </a:cubicBezTo>
                <a:close/>
                <a:moveTo>
                  <a:pt x="291" y="1239"/>
                </a:moveTo>
                <a:cubicBezTo>
                  <a:pt x="286" y="1239"/>
                  <a:pt x="282" y="1236"/>
                  <a:pt x="281" y="1231"/>
                </a:cubicBezTo>
                <a:cubicBezTo>
                  <a:pt x="281" y="1225"/>
                  <a:pt x="284" y="1220"/>
                  <a:pt x="290" y="1219"/>
                </a:cubicBezTo>
                <a:cubicBezTo>
                  <a:pt x="305" y="1217"/>
                  <a:pt x="321" y="1214"/>
                  <a:pt x="336" y="1211"/>
                </a:cubicBezTo>
                <a:cubicBezTo>
                  <a:pt x="341" y="1210"/>
                  <a:pt x="346" y="1213"/>
                  <a:pt x="348" y="1219"/>
                </a:cubicBezTo>
                <a:cubicBezTo>
                  <a:pt x="349" y="1224"/>
                  <a:pt x="345" y="1229"/>
                  <a:pt x="340" y="1231"/>
                </a:cubicBezTo>
                <a:cubicBezTo>
                  <a:pt x="324" y="1234"/>
                  <a:pt x="308" y="1237"/>
                  <a:pt x="293" y="1239"/>
                </a:cubicBezTo>
                <a:cubicBezTo>
                  <a:pt x="292" y="1239"/>
                  <a:pt x="292" y="1239"/>
                  <a:pt x="291" y="1239"/>
                </a:cubicBezTo>
                <a:close/>
                <a:moveTo>
                  <a:pt x="56" y="1227"/>
                </a:moveTo>
                <a:cubicBezTo>
                  <a:pt x="56" y="1227"/>
                  <a:pt x="55" y="1227"/>
                  <a:pt x="54" y="1227"/>
                </a:cubicBezTo>
                <a:cubicBezTo>
                  <a:pt x="39" y="1223"/>
                  <a:pt x="23" y="1219"/>
                  <a:pt x="8" y="1214"/>
                </a:cubicBezTo>
                <a:cubicBezTo>
                  <a:pt x="3" y="1212"/>
                  <a:pt x="0" y="1206"/>
                  <a:pt x="2" y="1201"/>
                </a:cubicBezTo>
                <a:cubicBezTo>
                  <a:pt x="3" y="1196"/>
                  <a:pt x="9" y="1193"/>
                  <a:pt x="14" y="1195"/>
                </a:cubicBezTo>
                <a:cubicBezTo>
                  <a:pt x="29" y="1199"/>
                  <a:pt x="44" y="1204"/>
                  <a:pt x="59" y="1208"/>
                </a:cubicBezTo>
                <a:cubicBezTo>
                  <a:pt x="64" y="1209"/>
                  <a:pt x="67" y="1214"/>
                  <a:pt x="66" y="1220"/>
                </a:cubicBezTo>
                <a:cubicBezTo>
                  <a:pt x="65" y="1224"/>
                  <a:pt x="61" y="1227"/>
                  <a:pt x="56" y="1227"/>
                </a:cubicBezTo>
                <a:close/>
                <a:moveTo>
                  <a:pt x="384" y="1219"/>
                </a:moveTo>
                <a:cubicBezTo>
                  <a:pt x="379" y="1219"/>
                  <a:pt x="375" y="1216"/>
                  <a:pt x="374" y="1212"/>
                </a:cubicBezTo>
                <a:cubicBezTo>
                  <a:pt x="372" y="1207"/>
                  <a:pt x="375" y="1201"/>
                  <a:pt x="381" y="1199"/>
                </a:cubicBezTo>
                <a:cubicBezTo>
                  <a:pt x="395" y="1195"/>
                  <a:pt x="410" y="1190"/>
                  <a:pt x="425" y="1184"/>
                </a:cubicBezTo>
                <a:cubicBezTo>
                  <a:pt x="430" y="1182"/>
                  <a:pt x="436" y="1185"/>
                  <a:pt x="438" y="1190"/>
                </a:cubicBezTo>
                <a:cubicBezTo>
                  <a:pt x="440" y="1195"/>
                  <a:pt x="437" y="1201"/>
                  <a:pt x="432" y="1203"/>
                </a:cubicBezTo>
                <a:cubicBezTo>
                  <a:pt x="417" y="1209"/>
                  <a:pt x="402" y="1214"/>
                  <a:pt x="386" y="1218"/>
                </a:cubicBezTo>
                <a:cubicBezTo>
                  <a:pt x="385" y="1219"/>
                  <a:pt x="384" y="1219"/>
                  <a:pt x="384" y="1219"/>
                </a:cubicBezTo>
                <a:close/>
                <a:moveTo>
                  <a:pt x="472" y="1184"/>
                </a:moveTo>
                <a:cubicBezTo>
                  <a:pt x="468" y="1184"/>
                  <a:pt x="464" y="1182"/>
                  <a:pt x="463" y="1179"/>
                </a:cubicBezTo>
                <a:cubicBezTo>
                  <a:pt x="460" y="1174"/>
                  <a:pt x="462" y="1168"/>
                  <a:pt x="467" y="1165"/>
                </a:cubicBezTo>
                <a:cubicBezTo>
                  <a:pt x="481" y="1159"/>
                  <a:pt x="495" y="1151"/>
                  <a:pt x="508" y="1144"/>
                </a:cubicBezTo>
                <a:cubicBezTo>
                  <a:pt x="513" y="1141"/>
                  <a:pt x="519" y="1142"/>
                  <a:pt x="522" y="1147"/>
                </a:cubicBezTo>
                <a:cubicBezTo>
                  <a:pt x="525" y="1152"/>
                  <a:pt x="523" y="1158"/>
                  <a:pt x="518" y="1161"/>
                </a:cubicBezTo>
                <a:cubicBezTo>
                  <a:pt x="505" y="1169"/>
                  <a:pt x="490" y="1176"/>
                  <a:pt x="476" y="1183"/>
                </a:cubicBezTo>
                <a:cubicBezTo>
                  <a:pt x="475" y="1184"/>
                  <a:pt x="473" y="1184"/>
                  <a:pt x="472" y="1184"/>
                </a:cubicBezTo>
                <a:close/>
                <a:moveTo>
                  <a:pt x="553" y="1137"/>
                </a:moveTo>
                <a:cubicBezTo>
                  <a:pt x="550" y="1137"/>
                  <a:pt x="547" y="1135"/>
                  <a:pt x="545" y="1132"/>
                </a:cubicBezTo>
                <a:cubicBezTo>
                  <a:pt x="542" y="1128"/>
                  <a:pt x="543" y="1122"/>
                  <a:pt x="548" y="1119"/>
                </a:cubicBezTo>
                <a:cubicBezTo>
                  <a:pt x="560" y="1110"/>
                  <a:pt x="573" y="1100"/>
                  <a:pt x="585" y="1091"/>
                </a:cubicBezTo>
                <a:cubicBezTo>
                  <a:pt x="589" y="1087"/>
                  <a:pt x="595" y="1088"/>
                  <a:pt x="599" y="1092"/>
                </a:cubicBezTo>
                <a:cubicBezTo>
                  <a:pt x="602" y="1096"/>
                  <a:pt x="602" y="1103"/>
                  <a:pt x="597" y="1106"/>
                </a:cubicBezTo>
                <a:cubicBezTo>
                  <a:pt x="585" y="1116"/>
                  <a:pt x="572" y="1126"/>
                  <a:pt x="559" y="1135"/>
                </a:cubicBezTo>
                <a:cubicBezTo>
                  <a:pt x="557" y="1136"/>
                  <a:pt x="555" y="1137"/>
                  <a:pt x="553" y="1137"/>
                </a:cubicBezTo>
                <a:close/>
                <a:moveTo>
                  <a:pt x="627" y="1077"/>
                </a:moveTo>
                <a:cubicBezTo>
                  <a:pt x="624" y="1077"/>
                  <a:pt x="621" y="1076"/>
                  <a:pt x="619" y="1074"/>
                </a:cubicBezTo>
                <a:cubicBezTo>
                  <a:pt x="616" y="1070"/>
                  <a:pt x="616" y="1064"/>
                  <a:pt x="620" y="1060"/>
                </a:cubicBezTo>
                <a:cubicBezTo>
                  <a:pt x="631" y="1049"/>
                  <a:pt x="642" y="1038"/>
                  <a:pt x="652" y="1026"/>
                </a:cubicBezTo>
                <a:cubicBezTo>
                  <a:pt x="656" y="1022"/>
                  <a:pt x="662" y="1022"/>
                  <a:pt x="666" y="1026"/>
                </a:cubicBezTo>
                <a:cubicBezTo>
                  <a:pt x="670" y="1029"/>
                  <a:pt x="671" y="1036"/>
                  <a:pt x="667" y="1040"/>
                </a:cubicBezTo>
                <a:cubicBezTo>
                  <a:pt x="656" y="1052"/>
                  <a:pt x="645" y="1063"/>
                  <a:pt x="633" y="1074"/>
                </a:cubicBezTo>
                <a:cubicBezTo>
                  <a:pt x="632" y="1076"/>
                  <a:pt x="629" y="1077"/>
                  <a:pt x="627" y="1077"/>
                </a:cubicBezTo>
                <a:close/>
                <a:moveTo>
                  <a:pt x="690" y="1007"/>
                </a:moveTo>
                <a:cubicBezTo>
                  <a:pt x="688" y="1007"/>
                  <a:pt x="686" y="1006"/>
                  <a:pt x="684" y="1005"/>
                </a:cubicBezTo>
                <a:cubicBezTo>
                  <a:pt x="679" y="1001"/>
                  <a:pt x="679" y="995"/>
                  <a:pt x="682" y="991"/>
                </a:cubicBezTo>
                <a:cubicBezTo>
                  <a:pt x="691" y="979"/>
                  <a:pt x="701" y="966"/>
                  <a:pt x="709" y="953"/>
                </a:cubicBezTo>
                <a:cubicBezTo>
                  <a:pt x="712" y="948"/>
                  <a:pt x="718" y="947"/>
                  <a:pt x="723" y="950"/>
                </a:cubicBezTo>
                <a:cubicBezTo>
                  <a:pt x="727" y="953"/>
                  <a:pt x="729" y="959"/>
                  <a:pt x="726" y="964"/>
                </a:cubicBezTo>
                <a:cubicBezTo>
                  <a:pt x="717" y="977"/>
                  <a:pt x="708" y="990"/>
                  <a:pt x="698" y="1003"/>
                </a:cubicBezTo>
                <a:cubicBezTo>
                  <a:pt x="696" y="1006"/>
                  <a:pt x="693" y="1007"/>
                  <a:pt x="690" y="1007"/>
                </a:cubicBezTo>
                <a:close/>
                <a:moveTo>
                  <a:pt x="742" y="928"/>
                </a:moveTo>
                <a:cubicBezTo>
                  <a:pt x="740" y="928"/>
                  <a:pt x="738" y="928"/>
                  <a:pt x="737" y="927"/>
                </a:cubicBezTo>
                <a:cubicBezTo>
                  <a:pt x="732" y="924"/>
                  <a:pt x="730" y="918"/>
                  <a:pt x="733" y="913"/>
                </a:cubicBezTo>
                <a:cubicBezTo>
                  <a:pt x="740" y="900"/>
                  <a:pt x="747" y="886"/>
                  <a:pt x="754" y="872"/>
                </a:cubicBezTo>
                <a:cubicBezTo>
                  <a:pt x="756" y="866"/>
                  <a:pt x="762" y="864"/>
                  <a:pt x="767" y="867"/>
                </a:cubicBezTo>
                <a:cubicBezTo>
                  <a:pt x="772" y="869"/>
                  <a:pt x="774" y="875"/>
                  <a:pt x="772" y="880"/>
                </a:cubicBezTo>
                <a:cubicBezTo>
                  <a:pt x="765" y="894"/>
                  <a:pt x="758" y="909"/>
                  <a:pt x="751" y="923"/>
                </a:cubicBezTo>
                <a:cubicBezTo>
                  <a:pt x="749" y="926"/>
                  <a:pt x="745" y="928"/>
                  <a:pt x="742" y="928"/>
                </a:cubicBezTo>
                <a:close/>
                <a:moveTo>
                  <a:pt x="781" y="842"/>
                </a:moveTo>
                <a:cubicBezTo>
                  <a:pt x="780" y="842"/>
                  <a:pt x="778" y="842"/>
                  <a:pt x="777" y="841"/>
                </a:cubicBezTo>
                <a:cubicBezTo>
                  <a:pt x="772" y="839"/>
                  <a:pt x="769" y="834"/>
                  <a:pt x="771" y="828"/>
                </a:cubicBezTo>
                <a:cubicBezTo>
                  <a:pt x="777" y="814"/>
                  <a:pt x="781" y="799"/>
                  <a:pt x="786" y="784"/>
                </a:cubicBezTo>
                <a:cubicBezTo>
                  <a:pt x="787" y="779"/>
                  <a:pt x="793" y="776"/>
                  <a:pt x="798" y="777"/>
                </a:cubicBezTo>
                <a:cubicBezTo>
                  <a:pt x="803" y="779"/>
                  <a:pt x="806" y="784"/>
                  <a:pt x="805" y="790"/>
                </a:cubicBezTo>
                <a:cubicBezTo>
                  <a:pt x="801" y="805"/>
                  <a:pt x="796" y="820"/>
                  <a:pt x="790" y="835"/>
                </a:cubicBezTo>
                <a:cubicBezTo>
                  <a:pt x="789" y="839"/>
                  <a:pt x="785" y="842"/>
                  <a:pt x="781" y="842"/>
                </a:cubicBezTo>
                <a:close/>
                <a:moveTo>
                  <a:pt x="806" y="751"/>
                </a:moveTo>
                <a:cubicBezTo>
                  <a:pt x="805" y="751"/>
                  <a:pt x="805" y="751"/>
                  <a:pt x="804" y="751"/>
                </a:cubicBezTo>
                <a:cubicBezTo>
                  <a:pt x="799" y="750"/>
                  <a:pt x="795" y="744"/>
                  <a:pt x="796" y="739"/>
                </a:cubicBezTo>
                <a:cubicBezTo>
                  <a:pt x="799" y="724"/>
                  <a:pt x="802" y="708"/>
                  <a:pt x="803" y="693"/>
                </a:cubicBezTo>
                <a:cubicBezTo>
                  <a:pt x="804" y="687"/>
                  <a:pt x="809" y="684"/>
                  <a:pt x="814" y="684"/>
                </a:cubicBezTo>
                <a:cubicBezTo>
                  <a:pt x="820" y="685"/>
                  <a:pt x="824" y="690"/>
                  <a:pt x="823" y="695"/>
                </a:cubicBezTo>
                <a:cubicBezTo>
                  <a:pt x="821" y="711"/>
                  <a:pt x="819" y="727"/>
                  <a:pt x="816" y="743"/>
                </a:cubicBezTo>
                <a:cubicBezTo>
                  <a:pt x="815" y="748"/>
                  <a:pt x="811" y="751"/>
                  <a:pt x="806" y="751"/>
                </a:cubicBezTo>
                <a:close/>
                <a:moveTo>
                  <a:pt x="817" y="657"/>
                </a:moveTo>
                <a:cubicBezTo>
                  <a:pt x="817" y="657"/>
                  <a:pt x="817" y="657"/>
                  <a:pt x="817" y="657"/>
                </a:cubicBezTo>
                <a:cubicBezTo>
                  <a:pt x="811" y="657"/>
                  <a:pt x="807" y="652"/>
                  <a:pt x="807" y="647"/>
                </a:cubicBezTo>
                <a:cubicBezTo>
                  <a:pt x="807" y="639"/>
                  <a:pt x="807" y="631"/>
                  <a:pt x="807" y="623"/>
                </a:cubicBezTo>
                <a:cubicBezTo>
                  <a:pt x="807" y="615"/>
                  <a:pt x="807" y="608"/>
                  <a:pt x="807" y="600"/>
                </a:cubicBezTo>
                <a:cubicBezTo>
                  <a:pt x="807" y="594"/>
                  <a:pt x="811" y="590"/>
                  <a:pt x="817" y="590"/>
                </a:cubicBezTo>
                <a:cubicBezTo>
                  <a:pt x="822" y="590"/>
                  <a:pt x="827" y="594"/>
                  <a:pt x="827" y="599"/>
                </a:cubicBezTo>
                <a:cubicBezTo>
                  <a:pt x="827" y="607"/>
                  <a:pt x="827" y="615"/>
                  <a:pt x="827" y="623"/>
                </a:cubicBezTo>
                <a:cubicBezTo>
                  <a:pt x="827" y="631"/>
                  <a:pt x="827" y="639"/>
                  <a:pt x="827" y="647"/>
                </a:cubicBezTo>
                <a:cubicBezTo>
                  <a:pt x="827" y="653"/>
                  <a:pt x="822" y="657"/>
                  <a:pt x="817" y="657"/>
                </a:cubicBezTo>
                <a:close/>
                <a:moveTo>
                  <a:pt x="813" y="562"/>
                </a:moveTo>
                <a:cubicBezTo>
                  <a:pt x="808" y="562"/>
                  <a:pt x="804" y="559"/>
                  <a:pt x="803" y="554"/>
                </a:cubicBezTo>
                <a:cubicBezTo>
                  <a:pt x="802" y="538"/>
                  <a:pt x="799" y="523"/>
                  <a:pt x="796" y="508"/>
                </a:cubicBezTo>
                <a:cubicBezTo>
                  <a:pt x="795" y="502"/>
                  <a:pt x="799" y="497"/>
                  <a:pt x="804" y="496"/>
                </a:cubicBezTo>
                <a:cubicBezTo>
                  <a:pt x="810" y="495"/>
                  <a:pt x="815" y="498"/>
                  <a:pt x="816" y="504"/>
                </a:cubicBezTo>
                <a:cubicBezTo>
                  <a:pt x="819" y="519"/>
                  <a:pt x="821" y="535"/>
                  <a:pt x="823" y="551"/>
                </a:cubicBezTo>
                <a:cubicBezTo>
                  <a:pt x="824" y="557"/>
                  <a:pt x="820" y="562"/>
                  <a:pt x="814" y="562"/>
                </a:cubicBezTo>
                <a:cubicBezTo>
                  <a:pt x="814" y="562"/>
                  <a:pt x="814" y="562"/>
                  <a:pt x="813" y="562"/>
                </a:cubicBezTo>
                <a:close/>
                <a:moveTo>
                  <a:pt x="795" y="470"/>
                </a:moveTo>
                <a:cubicBezTo>
                  <a:pt x="791" y="470"/>
                  <a:pt x="787" y="467"/>
                  <a:pt x="786" y="462"/>
                </a:cubicBezTo>
                <a:cubicBezTo>
                  <a:pt x="782" y="447"/>
                  <a:pt x="777" y="433"/>
                  <a:pt x="772" y="418"/>
                </a:cubicBezTo>
                <a:cubicBezTo>
                  <a:pt x="770" y="413"/>
                  <a:pt x="772" y="407"/>
                  <a:pt x="778" y="405"/>
                </a:cubicBezTo>
                <a:cubicBezTo>
                  <a:pt x="783" y="403"/>
                  <a:pt x="789" y="406"/>
                  <a:pt x="790" y="411"/>
                </a:cubicBezTo>
                <a:cubicBezTo>
                  <a:pt x="796" y="426"/>
                  <a:pt x="801" y="442"/>
                  <a:pt x="805" y="457"/>
                </a:cubicBezTo>
                <a:cubicBezTo>
                  <a:pt x="806" y="462"/>
                  <a:pt x="803" y="468"/>
                  <a:pt x="798" y="469"/>
                </a:cubicBezTo>
                <a:cubicBezTo>
                  <a:pt x="797" y="470"/>
                  <a:pt x="796" y="470"/>
                  <a:pt x="795" y="470"/>
                </a:cubicBezTo>
                <a:close/>
                <a:moveTo>
                  <a:pt x="763" y="381"/>
                </a:moveTo>
                <a:cubicBezTo>
                  <a:pt x="759" y="381"/>
                  <a:pt x="756" y="379"/>
                  <a:pt x="754" y="375"/>
                </a:cubicBezTo>
                <a:cubicBezTo>
                  <a:pt x="748" y="361"/>
                  <a:pt x="741" y="347"/>
                  <a:pt x="733" y="333"/>
                </a:cubicBezTo>
                <a:cubicBezTo>
                  <a:pt x="731" y="328"/>
                  <a:pt x="732" y="322"/>
                  <a:pt x="737" y="320"/>
                </a:cubicBezTo>
                <a:cubicBezTo>
                  <a:pt x="742" y="317"/>
                  <a:pt x="748" y="319"/>
                  <a:pt x="751" y="324"/>
                </a:cubicBezTo>
                <a:cubicBezTo>
                  <a:pt x="759" y="338"/>
                  <a:pt x="766" y="352"/>
                  <a:pt x="772" y="367"/>
                </a:cubicBezTo>
                <a:cubicBezTo>
                  <a:pt x="775" y="372"/>
                  <a:pt x="772" y="378"/>
                  <a:pt x="767" y="380"/>
                </a:cubicBezTo>
                <a:cubicBezTo>
                  <a:pt x="766" y="381"/>
                  <a:pt x="765" y="381"/>
                  <a:pt x="763" y="381"/>
                </a:cubicBezTo>
                <a:close/>
                <a:moveTo>
                  <a:pt x="718" y="298"/>
                </a:moveTo>
                <a:cubicBezTo>
                  <a:pt x="714" y="298"/>
                  <a:pt x="711" y="296"/>
                  <a:pt x="709" y="293"/>
                </a:cubicBezTo>
                <a:cubicBezTo>
                  <a:pt x="701" y="280"/>
                  <a:pt x="692" y="268"/>
                  <a:pt x="682" y="255"/>
                </a:cubicBezTo>
                <a:cubicBezTo>
                  <a:pt x="679" y="251"/>
                  <a:pt x="680" y="245"/>
                  <a:pt x="684" y="241"/>
                </a:cubicBezTo>
                <a:cubicBezTo>
                  <a:pt x="689" y="238"/>
                  <a:pt x="695" y="239"/>
                  <a:pt x="698" y="243"/>
                </a:cubicBezTo>
                <a:cubicBezTo>
                  <a:pt x="708" y="256"/>
                  <a:pt x="717" y="269"/>
                  <a:pt x="726" y="282"/>
                </a:cubicBezTo>
                <a:cubicBezTo>
                  <a:pt x="729" y="287"/>
                  <a:pt x="728" y="293"/>
                  <a:pt x="723" y="296"/>
                </a:cubicBezTo>
                <a:cubicBezTo>
                  <a:pt x="722" y="297"/>
                  <a:pt x="720" y="298"/>
                  <a:pt x="718" y="298"/>
                </a:cubicBezTo>
                <a:close/>
                <a:moveTo>
                  <a:pt x="660" y="223"/>
                </a:moveTo>
                <a:cubicBezTo>
                  <a:pt x="657" y="223"/>
                  <a:pt x="655" y="222"/>
                  <a:pt x="653" y="220"/>
                </a:cubicBezTo>
                <a:cubicBezTo>
                  <a:pt x="642" y="208"/>
                  <a:pt x="631" y="197"/>
                  <a:pt x="620" y="186"/>
                </a:cubicBezTo>
                <a:cubicBezTo>
                  <a:pt x="616" y="183"/>
                  <a:pt x="616" y="176"/>
                  <a:pt x="620" y="172"/>
                </a:cubicBezTo>
                <a:cubicBezTo>
                  <a:pt x="624" y="168"/>
                  <a:pt x="630" y="168"/>
                  <a:pt x="634" y="172"/>
                </a:cubicBezTo>
                <a:cubicBezTo>
                  <a:pt x="645" y="183"/>
                  <a:pt x="657" y="194"/>
                  <a:pt x="667" y="206"/>
                </a:cubicBezTo>
                <a:cubicBezTo>
                  <a:pt x="671" y="210"/>
                  <a:pt x="671" y="217"/>
                  <a:pt x="667" y="220"/>
                </a:cubicBezTo>
                <a:cubicBezTo>
                  <a:pt x="665" y="222"/>
                  <a:pt x="662" y="223"/>
                  <a:pt x="660" y="223"/>
                </a:cubicBezTo>
                <a:close/>
                <a:moveTo>
                  <a:pt x="592" y="158"/>
                </a:moveTo>
                <a:cubicBezTo>
                  <a:pt x="589" y="158"/>
                  <a:pt x="587" y="157"/>
                  <a:pt x="585" y="156"/>
                </a:cubicBezTo>
                <a:cubicBezTo>
                  <a:pt x="573" y="146"/>
                  <a:pt x="561" y="136"/>
                  <a:pt x="548" y="128"/>
                </a:cubicBezTo>
                <a:cubicBezTo>
                  <a:pt x="544" y="124"/>
                  <a:pt x="542" y="118"/>
                  <a:pt x="546" y="114"/>
                </a:cubicBezTo>
                <a:cubicBezTo>
                  <a:pt x="549" y="109"/>
                  <a:pt x="555" y="108"/>
                  <a:pt x="559" y="111"/>
                </a:cubicBezTo>
                <a:cubicBezTo>
                  <a:pt x="573" y="120"/>
                  <a:pt x="585" y="130"/>
                  <a:pt x="598" y="140"/>
                </a:cubicBezTo>
                <a:cubicBezTo>
                  <a:pt x="602" y="144"/>
                  <a:pt x="603" y="150"/>
                  <a:pt x="599" y="154"/>
                </a:cubicBezTo>
                <a:cubicBezTo>
                  <a:pt x="597" y="157"/>
                  <a:pt x="594" y="158"/>
                  <a:pt x="592" y="158"/>
                </a:cubicBezTo>
                <a:close/>
                <a:moveTo>
                  <a:pt x="514" y="104"/>
                </a:moveTo>
                <a:cubicBezTo>
                  <a:pt x="512" y="104"/>
                  <a:pt x="510" y="104"/>
                  <a:pt x="509" y="103"/>
                </a:cubicBezTo>
                <a:cubicBezTo>
                  <a:pt x="496" y="95"/>
                  <a:pt x="482" y="87"/>
                  <a:pt x="468" y="81"/>
                </a:cubicBezTo>
                <a:cubicBezTo>
                  <a:pt x="463" y="78"/>
                  <a:pt x="461" y="72"/>
                  <a:pt x="463" y="67"/>
                </a:cubicBezTo>
                <a:cubicBezTo>
                  <a:pt x="466" y="62"/>
                  <a:pt x="472" y="60"/>
                  <a:pt x="477" y="63"/>
                </a:cubicBezTo>
                <a:cubicBezTo>
                  <a:pt x="491" y="70"/>
                  <a:pt x="505" y="77"/>
                  <a:pt x="519" y="85"/>
                </a:cubicBezTo>
                <a:cubicBezTo>
                  <a:pt x="524" y="88"/>
                  <a:pt x="525" y="94"/>
                  <a:pt x="523" y="99"/>
                </a:cubicBezTo>
                <a:cubicBezTo>
                  <a:pt x="521" y="102"/>
                  <a:pt x="517" y="104"/>
                  <a:pt x="514" y="104"/>
                </a:cubicBezTo>
                <a:close/>
                <a:moveTo>
                  <a:pt x="429" y="63"/>
                </a:moveTo>
                <a:cubicBezTo>
                  <a:pt x="428" y="63"/>
                  <a:pt x="426" y="62"/>
                  <a:pt x="425" y="62"/>
                </a:cubicBezTo>
                <a:cubicBezTo>
                  <a:pt x="411" y="56"/>
                  <a:pt x="396" y="51"/>
                  <a:pt x="381" y="47"/>
                </a:cubicBezTo>
                <a:cubicBezTo>
                  <a:pt x="376" y="45"/>
                  <a:pt x="373" y="39"/>
                  <a:pt x="375" y="34"/>
                </a:cubicBezTo>
                <a:cubicBezTo>
                  <a:pt x="376" y="29"/>
                  <a:pt x="382" y="26"/>
                  <a:pt x="387" y="28"/>
                </a:cubicBezTo>
                <a:cubicBezTo>
                  <a:pt x="402" y="32"/>
                  <a:pt x="418" y="38"/>
                  <a:pt x="433" y="43"/>
                </a:cubicBezTo>
                <a:cubicBezTo>
                  <a:pt x="438" y="45"/>
                  <a:pt x="440" y="51"/>
                  <a:pt x="438" y="56"/>
                </a:cubicBezTo>
                <a:cubicBezTo>
                  <a:pt x="437" y="60"/>
                  <a:pt x="433" y="63"/>
                  <a:pt x="429" y="63"/>
                </a:cubicBezTo>
                <a:close/>
                <a:moveTo>
                  <a:pt x="12" y="51"/>
                </a:moveTo>
                <a:cubicBezTo>
                  <a:pt x="8" y="51"/>
                  <a:pt x="4" y="49"/>
                  <a:pt x="2" y="45"/>
                </a:cubicBezTo>
                <a:cubicBezTo>
                  <a:pt x="1" y="39"/>
                  <a:pt x="3" y="34"/>
                  <a:pt x="9" y="32"/>
                </a:cubicBezTo>
                <a:cubicBezTo>
                  <a:pt x="24" y="27"/>
                  <a:pt x="39" y="22"/>
                  <a:pt x="55" y="19"/>
                </a:cubicBezTo>
                <a:cubicBezTo>
                  <a:pt x="60" y="17"/>
                  <a:pt x="66" y="21"/>
                  <a:pt x="67" y="26"/>
                </a:cubicBezTo>
                <a:cubicBezTo>
                  <a:pt x="68" y="31"/>
                  <a:pt x="65" y="37"/>
                  <a:pt x="60" y="38"/>
                </a:cubicBezTo>
                <a:cubicBezTo>
                  <a:pt x="45" y="42"/>
                  <a:pt x="30" y="46"/>
                  <a:pt x="15" y="51"/>
                </a:cubicBezTo>
                <a:cubicBezTo>
                  <a:pt x="14" y="51"/>
                  <a:pt x="13" y="51"/>
                  <a:pt x="12" y="51"/>
                </a:cubicBezTo>
                <a:close/>
                <a:moveTo>
                  <a:pt x="339" y="35"/>
                </a:moveTo>
                <a:cubicBezTo>
                  <a:pt x="338" y="35"/>
                  <a:pt x="337" y="35"/>
                  <a:pt x="336" y="35"/>
                </a:cubicBezTo>
                <a:cubicBezTo>
                  <a:pt x="321" y="31"/>
                  <a:pt x="306" y="29"/>
                  <a:pt x="291" y="26"/>
                </a:cubicBezTo>
                <a:cubicBezTo>
                  <a:pt x="285" y="26"/>
                  <a:pt x="281" y="21"/>
                  <a:pt x="282" y="15"/>
                </a:cubicBezTo>
                <a:cubicBezTo>
                  <a:pt x="283" y="10"/>
                  <a:pt x="288" y="6"/>
                  <a:pt x="293" y="7"/>
                </a:cubicBezTo>
                <a:cubicBezTo>
                  <a:pt x="309" y="9"/>
                  <a:pt x="325" y="12"/>
                  <a:pt x="341" y="15"/>
                </a:cubicBezTo>
                <a:cubicBezTo>
                  <a:pt x="346" y="16"/>
                  <a:pt x="350" y="22"/>
                  <a:pt x="348" y="27"/>
                </a:cubicBezTo>
                <a:cubicBezTo>
                  <a:pt x="347" y="32"/>
                  <a:pt x="343" y="35"/>
                  <a:pt x="339" y="35"/>
                </a:cubicBezTo>
                <a:close/>
                <a:moveTo>
                  <a:pt x="104" y="29"/>
                </a:moveTo>
                <a:cubicBezTo>
                  <a:pt x="99" y="29"/>
                  <a:pt x="94" y="25"/>
                  <a:pt x="94" y="20"/>
                </a:cubicBezTo>
                <a:cubicBezTo>
                  <a:pt x="93" y="15"/>
                  <a:pt x="96" y="10"/>
                  <a:pt x="102" y="9"/>
                </a:cubicBezTo>
                <a:cubicBezTo>
                  <a:pt x="118" y="6"/>
                  <a:pt x="134" y="4"/>
                  <a:pt x="150" y="3"/>
                </a:cubicBezTo>
                <a:cubicBezTo>
                  <a:pt x="155" y="2"/>
                  <a:pt x="160" y="6"/>
                  <a:pt x="160" y="12"/>
                </a:cubicBezTo>
                <a:cubicBezTo>
                  <a:pt x="161" y="17"/>
                  <a:pt x="157" y="22"/>
                  <a:pt x="151" y="23"/>
                </a:cubicBezTo>
                <a:cubicBezTo>
                  <a:pt x="136" y="24"/>
                  <a:pt x="120" y="26"/>
                  <a:pt x="105" y="29"/>
                </a:cubicBezTo>
                <a:cubicBezTo>
                  <a:pt x="105" y="29"/>
                  <a:pt x="104" y="29"/>
                  <a:pt x="104" y="29"/>
                </a:cubicBezTo>
                <a:close/>
                <a:moveTo>
                  <a:pt x="245" y="22"/>
                </a:moveTo>
                <a:cubicBezTo>
                  <a:pt x="245" y="22"/>
                  <a:pt x="245" y="22"/>
                  <a:pt x="244" y="22"/>
                </a:cubicBezTo>
                <a:cubicBezTo>
                  <a:pt x="229" y="21"/>
                  <a:pt x="213" y="20"/>
                  <a:pt x="198" y="20"/>
                </a:cubicBezTo>
                <a:cubicBezTo>
                  <a:pt x="198" y="20"/>
                  <a:pt x="198" y="20"/>
                  <a:pt x="198" y="20"/>
                </a:cubicBezTo>
                <a:cubicBezTo>
                  <a:pt x="192" y="20"/>
                  <a:pt x="188" y="16"/>
                  <a:pt x="188" y="11"/>
                </a:cubicBezTo>
                <a:cubicBezTo>
                  <a:pt x="188" y="5"/>
                  <a:pt x="192" y="0"/>
                  <a:pt x="198" y="0"/>
                </a:cubicBezTo>
                <a:cubicBezTo>
                  <a:pt x="214" y="0"/>
                  <a:pt x="230" y="1"/>
                  <a:pt x="246" y="2"/>
                </a:cubicBezTo>
                <a:cubicBezTo>
                  <a:pt x="251" y="2"/>
                  <a:pt x="255" y="7"/>
                  <a:pt x="255" y="12"/>
                </a:cubicBezTo>
                <a:cubicBezTo>
                  <a:pt x="255" y="18"/>
                  <a:pt x="250" y="22"/>
                  <a:pt x="245" y="22"/>
                </a:cubicBezTo>
                <a:close/>
              </a:path>
            </a:pathLst>
          </a:custGeom>
          <a:solidFill>
            <a:srgbClr val="C0DC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grpSp>
        <p:nvGrpSpPr>
          <p:cNvPr id="180" name="Группа 179">
            <a:extLst>
              <a:ext uri="{FF2B5EF4-FFF2-40B4-BE49-F238E27FC236}">
                <a16:creationId xmlns:a16="http://schemas.microsoft.com/office/drawing/2014/main" id="{DAADE944-CE47-A44A-8819-0334D685B558}"/>
              </a:ext>
            </a:extLst>
          </p:cNvPr>
          <p:cNvGrpSpPr/>
          <p:nvPr/>
        </p:nvGrpSpPr>
        <p:grpSpPr>
          <a:xfrm>
            <a:off x="9428163" y="4083807"/>
            <a:ext cx="2151847" cy="1638604"/>
            <a:chOff x="9428163" y="4083807"/>
            <a:chExt cx="2151847" cy="1638604"/>
          </a:xfrm>
        </p:grpSpPr>
        <p:sp>
          <p:nvSpPr>
            <p:cNvPr id="149" name="Rectangle 21">
              <a:extLst>
                <a:ext uri="{FF2B5EF4-FFF2-40B4-BE49-F238E27FC236}">
                  <a16:creationId xmlns:a16="http://schemas.microsoft.com/office/drawing/2014/main" id="{36F4E629-27D6-DD4C-4954-61521BB5AA99}"/>
                </a:ext>
              </a:extLst>
            </p:cNvPr>
            <p:cNvSpPr/>
            <p:nvPr/>
          </p:nvSpPr>
          <p:spPr>
            <a:xfrm>
              <a:off x="9428163" y="4152751"/>
              <a:ext cx="1657944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0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0" name="Freeform 20">
              <a:extLst>
                <a:ext uri="{FF2B5EF4-FFF2-40B4-BE49-F238E27FC236}">
                  <a16:creationId xmlns:a16="http://schemas.microsoft.com/office/drawing/2014/main" id="{2480290A-41EC-D483-4B2B-DB80CB1B0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613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1" name="Freeform 21">
              <a:extLst>
                <a:ext uri="{FF2B5EF4-FFF2-40B4-BE49-F238E27FC236}">
                  <a16:creationId xmlns:a16="http://schemas.microsoft.com/office/drawing/2014/main" id="{2B300D93-F99A-70CA-8C32-460D60BC7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3" name="Freeform 23">
              <a:extLst>
                <a:ext uri="{FF2B5EF4-FFF2-40B4-BE49-F238E27FC236}">
                  <a16:creationId xmlns:a16="http://schemas.microsoft.com/office/drawing/2014/main" id="{306C8701-EF10-8814-6311-FE751CCF1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6" name="Группа 175">
            <a:extLst>
              <a:ext uri="{FF2B5EF4-FFF2-40B4-BE49-F238E27FC236}">
                <a16:creationId xmlns:a16="http://schemas.microsoft.com/office/drawing/2014/main" id="{E4D7ED61-36AC-F9C6-3445-7AC2CA08A747}"/>
              </a:ext>
            </a:extLst>
          </p:cNvPr>
          <p:cNvGrpSpPr/>
          <p:nvPr/>
        </p:nvGrpSpPr>
        <p:grpSpPr>
          <a:xfrm>
            <a:off x="224760" y="4071540"/>
            <a:ext cx="1890777" cy="1650871"/>
            <a:chOff x="224760" y="4071540"/>
            <a:chExt cx="1890777" cy="1650871"/>
          </a:xfrm>
        </p:grpSpPr>
        <p:sp>
          <p:nvSpPr>
            <p:cNvPr id="155" name="Rectangle 25">
              <a:extLst>
                <a:ext uri="{FF2B5EF4-FFF2-40B4-BE49-F238E27FC236}">
                  <a16:creationId xmlns:a16="http://schemas.microsoft.com/office/drawing/2014/main" id="{357B8EC3-E7A2-3FD0-5323-9095DE84CB4D}"/>
                </a:ext>
              </a:extLst>
            </p:cNvPr>
            <p:cNvSpPr/>
            <p:nvPr/>
          </p:nvSpPr>
          <p:spPr>
            <a:xfrm>
              <a:off x="224760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6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6" name="Freeform 24">
              <a:extLst>
                <a:ext uri="{FF2B5EF4-FFF2-40B4-BE49-F238E27FC236}">
                  <a16:creationId xmlns:a16="http://schemas.microsoft.com/office/drawing/2014/main" id="{058E620E-8F51-3B75-4F91-7C445F7A6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7" name="Freeform 26">
              <a:extLst>
                <a:ext uri="{FF2B5EF4-FFF2-40B4-BE49-F238E27FC236}">
                  <a16:creationId xmlns:a16="http://schemas.microsoft.com/office/drawing/2014/main" id="{056FA1BB-B0A6-278B-B272-957B3EB05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5503178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8" name="Freeform 27">
              <a:extLst>
                <a:ext uri="{FF2B5EF4-FFF2-40B4-BE49-F238E27FC236}">
                  <a16:creationId xmlns:a16="http://schemas.microsoft.com/office/drawing/2014/main" id="{B371D828-B986-6A13-2F8F-8C2AA9CE76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4071540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59" name="Freeform 28">
              <a:extLst>
                <a:ext uri="{FF2B5EF4-FFF2-40B4-BE49-F238E27FC236}">
                  <a16:creationId xmlns:a16="http://schemas.microsoft.com/office/drawing/2014/main" id="{46FFBFAB-5BA1-161C-28D1-DC9512515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id="{CF73DFC4-F83D-3C5D-93E6-DC53F4B396E4}"/>
              </a:ext>
            </a:extLst>
          </p:cNvPr>
          <p:cNvSpPr txBox="1"/>
          <p:nvPr/>
        </p:nvSpPr>
        <p:spPr>
          <a:xfrm>
            <a:off x="107494" y="3248119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скусствен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нтеллект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4D249C36-FF51-0447-B15B-31D335C9FD3C}"/>
              </a:ext>
            </a:extLst>
          </p:cNvPr>
          <p:cNvSpPr txBox="1"/>
          <p:nvPr/>
        </p:nvSpPr>
        <p:spPr>
          <a:xfrm>
            <a:off x="2766315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иксель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29C65B57-3AA0-D6FE-C94C-E370A4EDD7B9}"/>
              </a:ext>
            </a:extLst>
          </p:cNvPr>
          <p:cNvSpPr txBox="1"/>
          <p:nvPr/>
        </p:nvSpPr>
        <p:spPr>
          <a:xfrm>
            <a:off x="495374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Яркие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цвета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395AFBD5-9B99-F345-FDFD-93A5D5B71B8B}"/>
              </a:ext>
            </a:extLst>
          </p:cNvPr>
          <p:cNvSpPr txBox="1"/>
          <p:nvPr/>
        </p:nvSpPr>
        <p:spPr>
          <a:xfrm>
            <a:off x="743329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Ретр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иль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5313716C-B7B8-C6FF-ACED-F428CB2ACDAA}"/>
              </a:ext>
            </a:extLst>
          </p:cNvPr>
          <p:cNvSpPr txBox="1"/>
          <p:nvPr/>
        </p:nvSpPr>
        <p:spPr>
          <a:xfrm>
            <a:off x="9798659" y="3248119"/>
            <a:ext cx="2284517" cy="352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Минимализм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8570A41B-47BE-1ADC-53D4-B5C4C87BF32A}"/>
              </a:ext>
            </a:extLst>
          </p:cNvPr>
          <p:cNvSpPr txBox="1"/>
          <p:nvPr/>
        </p:nvSpPr>
        <p:spPr>
          <a:xfrm>
            <a:off x="107494" y="5684038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ерегружен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композиция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900F5795-34FF-8E0C-5755-2A87841E1FE5}"/>
              </a:ext>
            </a:extLst>
          </p:cNvPr>
          <p:cNvSpPr txBox="1"/>
          <p:nvPr/>
        </p:nvSpPr>
        <p:spPr>
          <a:xfrm>
            <a:off x="2766315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Нестандарт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ипографика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6DD45F9-5584-5D17-58D5-4194B430A37C}"/>
              </a:ext>
            </a:extLst>
          </p:cNvPr>
          <p:cNvSpPr txBox="1"/>
          <p:nvPr/>
        </p:nvSpPr>
        <p:spPr>
          <a:xfrm>
            <a:off x="495374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Черн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белый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90A2FE5A-C11E-3349-F29A-A3A4CDFD8145}"/>
              </a:ext>
            </a:extLst>
          </p:cNvPr>
          <p:cNvSpPr txBox="1"/>
          <p:nvPr/>
        </p:nvSpPr>
        <p:spPr>
          <a:xfrm>
            <a:off x="743329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екл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2ECDF986-333B-B886-9B05-C45E5BC23EDE}"/>
              </a:ext>
            </a:extLst>
          </p:cNvPr>
          <p:cNvSpPr txBox="1"/>
          <p:nvPr/>
        </p:nvSpPr>
        <p:spPr>
          <a:xfrm>
            <a:off x="9798659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екстуры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 фактуры</a:t>
            </a:r>
          </a:p>
        </p:txBody>
      </p:sp>
      <p:pic>
        <p:nvPicPr>
          <p:cNvPr id="4" name="Рисунок 3" descr="NorthBank Modern Fintech Powerpoint">
            <a:extLst>
              <a:ext uri="{FF2B5EF4-FFF2-40B4-BE49-F238E27FC236}">
                <a16:creationId xmlns:a16="http://schemas.microsoft.com/office/drawing/2014/main" id="{68125B40-208F-0393-B062-CF9B1111C3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2111" y="7684508"/>
            <a:ext cx="5780581" cy="3853720"/>
          </a:xfrm>
          <a:custGeom>
            <a:avLst/>
            <a:gdLst>
              <a:gd name="connsiteX0" fmla="*/ 8495729 w 12175351"/>
              <a:gd name="connsiteY0" fmla="*/ 0 h 8116900"/>
              <a:gd name="connsiteX1" fmla="*/ 11693288 w 12175351"/>
              <a:gd name="connsiteY1" fmla="*/ 0 h 8116900"/>
              <a:gd name="connsiteX2" fmla="*/ 12175351 w 12175351"/>
              <a:gd name="connsiteY2" fmla="*/ 482063 h 8116900"/>
              <a:gd name="connsiteX3" fmla="*/ 12175351 w 12175351"/>
              <a:gd name="connsiteY3" fmla="*/ 5825800 h 8116900"/>
              <a:gd name="connsiteX4" fmla="*/ 3898543 w 12175351"/>
              <a:gd name="connsiteY4" fmla="*/ 8116900 h 8116900"/>
              <a:gd name="connsiteX5" fmla="*/ 482063 w 12175351"/>
              <a:gd name="connsiteY5" fmla="*/ 8116900 h 8116900"/>
              <a:gd name="connsiteX6" fmla="*/ 0 w 12175351"/>
              <a:gd name="connsiteY6" fmla="*/ 7634837 h 8116900"/>
              <a:gd name="connsiteX7" fmla="*/ 0 w 12175351"/>
              <a:gd name="connsiteY7" fmla="*/ 2364609 h 8116900"/>
              <a:gd name="connsiteX8" fmla="*/ 8499048 w 12175351"/>
              <a:gd name="connsiteY8" fmla="*/ 11990 h 811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75351" h="8116900">
                <a:moveTo>
                  <a:pt x="8495729" y="0"/>
                </a:moveTo>
                <a:lnTo>
                  <a:pt x="11693288" y="0"/>
                </a:lnTo>
                <a:cubicBezTo>
                  <a:pt x="11959524" y="0"/>
                  <a:pt x="12175351" y="215826"/>
                  <a:pt x="12175351" y="482063"/>
                </a:cubicBezTo>
                <a:lnTo>
                  <a:pt x="12175351" y="5825800"/>
                </a:lnTo>
                <a:lnTo>
                  <a:pt x="3898543" y="8116900"/>
                </a:lnTo>
                <a:lnTo>
                  <a:pt x="482063" y="8116900"/>
                </a:lnTo>
                <a:cubicBezTo>
                  <a:pt x="215827" y="8116900"/>
                  <a:pt x="0" y="7901073"/>
                  <a:pt x="0" y="7634837"/>
                </a:cubicBezTo>
                <a:lnTo>
                  <a:pt x="0" y="2364609"/>
                </a:lnTo>
                <a:lnTo>
                  <a:pt x="8499048" y="11990"/>
                </a:lnTo>
                <a:close/>
              </a:path>
            </a:pathLst>
          </a:cu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lient Questionnaire  PowerPoint Presentation">
            <a:extLst>
              <a:ext uri="{FF2B5EF4-FFF2-40B4-BE49-F238E27FC236}">
                <a16:creationId xmlns:a16="http://schemas.microsoft.com/office/drawing/2014/main" id="{7C0D9DFA-0440-6BE8-276B-AC551263B2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78902" y="3227937"/>
            <a:ext cx="6378815" cy="4252543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Client Questionnaire  PowerPoint Presentation">
            <a:extLst>
              <a:ext uri="{FF2B5EF4-FFF2-40B4-BE49-F238E27FC236}">
                <a16:creationId xmlns:a16="http://schemas.microsoft.com/office/drawing/2014/main" id="{2F79DE39-A5C6-AB0A-62F1-7F307E5D50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41762" y="3248229"/>
            <a:ext cx="6378815" cy="4252543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51303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22222E-6 L 0.06576 2.22222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CEE3B85A-97B9-89F8-C67A-48CF9E943346}"/>
              </a:ext>
            </a:extLst>
          </p:cNvPr>
          <p:cNvGrpSpPr/>
          <p:nvPr/>
        </p:nvGrpSpPr>
        <p:grpSpPr>
          <a:xfrm>
            <a:off x="-6948328" y="-457200"/>
            <a:ext cx="9840753" cy="8531820"/>
            <a:chOff x="2570693" y="4071540"/>
            <a:chExt cx="1904144" cy="1650871"/>
          </a:xfrm>
        </p:grpSpPr>
        <p:sp>
          <p:nvSpPr>
            <p:cNvPr id="131" name="Rectangle 24">
              <a:extLst>
                <a:ext uri="{FF2B5EF4-FFF2-40B4-BE49-F238E27FC236}">
                  <a16:creationId xmlns:a16="http://schemas.microsoft.com/office/drawing/2014/main" id="{39A4F353-AB65-8B80-1741-785AC44F9562}"/>
                </a:ext>
              </a:extLst>
            </p:cNvPr>
            <p:cNvSpPr/>
            <p:nvPr/>
          </p:nvSpPr>
          <p:spPr>
            <a:xfrm>
              <a:off x="2570693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7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7B1958A9-DF83-922C-950A-7314D9F26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50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3" name="Freeform 7">
              <a:extLst>
                <a:ext uri="{FF2B5EF4-FFF2-40B4-BE49-F238E27FC236}">
                  <a16:creationId xmlns:a16="http://schemas.microsoft.com/office/drawing/2014/main" id="{564C58DD-3A84-B66A-E8A5-F6FD608DA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4" name="Freeform 8">
              <a:extLst>
                <a:ext uri="{FF2B5EF4-FFF2-40B4-BE49-F238E27FC236}">
                  <a16:creationId xmlns:a16="http://schemas.microsoft.com/office/drawing/2014/main" id="{F098A11B-806D-749D-B8E3-34D6654304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4071540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5" name="Freeform 9">
              <a:extLst>
                <a:ext uri="{FF2B5EF4-FFF2-40B4-BE49-F238E27FC236}">
                  <a16:creationId xmlns:a16="http://schemas.microsoft.com/office/drawing/2014/main" id="{FBABAF63-61AF-5442-229A-F95325EF3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CF6392AB-6386-5D16-191F-DD02E6D54072}"/>
              </a:ext>
            </a:extLst>
          </p:cNvPr>
          <p:cNvSpPr txBox="1"/>
          <p:nvPr/>
        </p:nvSpPr>
        <p:spPr>
          <a:xfrm>
            <a:off x="1043932" y="1195583"/>
            <a:ext cx="9667656" cy="1724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НЕСТАНДАРТНАЯ ТИПОГРАФИКА</a:t>
            </a:r>
          </a:p>
        </p:txBody>
      </p:sp>
      <p:pic>
        <p:nvPicPr>
          <p:cNvPr id="12290" name="Picture 2" descr="Client Questionnaire  PowerPoint Presentation">
            <a:extLst>
              <a:ext uri="{FF2B5EF4-FFF2-40B4-BE49-F238E27FC236}">
                <a16:creationId xmlns:a16="http://schemas.microsoft.com/office/drawing/2014/main" id="{DBEDBCC6-A9CD-BC59-CF3F-5F4354E5F0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932" y="3227937"/>
            <a:ext cx="6378815" cy="4252543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Client Questionnaire  PowerPoint Presentation">
            <a:extLst>
              <a:ext uri="{FF2B5EF4-FFF2-40B4-BE49-F238E27FC236}">
                <a16:creationId xmlns:a16="http://schemas.microsoft.com/office/drawing/2014/main" id="{ECA4EB6A-74AC-FE7B-97FB-4199CA380E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6792" y="3248229"/>
            <a:ext cx="6378815" cy="4252543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34895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436268" y="451062"/>
            <a:ext cx="8590385" cy="679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36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ТРЕНДЫ В ПРЕЗЕНТАЦИЯХ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35B0E2B-7288-51E5-1236-CF55D862B48D}"/>
              </a:ext>
            </a:extLst>
          </p:cNvPr>
          <p:cNvGrpSpPr/>
          <p:nvPr/>
        </p:nvGrpSpPr>
        <p:grpSpPr>
          <a:xfrm>
            <a:off x="2570693" y="1530804"/>
            <a:ext cx="1904144" cy="1650871"/>
            <a:chOff x="2570693" y="1530804"/>
            <a:chExt cx="1904144" cy="1650871"/>
          </a:xfrm>
        </p:grpSpPr>
        <p:grpSp>
          <p:nvGrpSpPr>
            <p:cNvPr id="163" name="Группа 162">
              <a:extLst>
                <a:ext uri="{FF2B5EF4-FFF2-40B4-BE49-F238E27FC236}">
                  <a16:creationId xmlns:a16="http://schemas.microsoft.com/office/drawing/2014/main" id="{4B8A1FD4-56F7-CF9F-A9B0-1DC5AA30F5E5}"/>
                </a:ext>
              </a:extLst>
            </p:cNvPr>
            <p:cNvGrpSpPr/>
            <p:nvPr/>
          </p:nvGrpSpPr>
          <p:grpSpPr>
            <a:xfrm>
              <a:off x="2570693" y="1543071"/>
              <a:ext cx="1891155" cy="1638604"/>
              <a:chOff x="2570693" y="1543071"/>
              <a:chExt cx="1891155" cy="1638604"/>
            </a:xfrm>
          </p:grpSpPr>
          <p:sp>
            <p:nvSpPr>
              <p:cNvPr id="93" name="Rectangle 24">
                <a:extLst>
                  <a:ext uri="{FF2B5EF4-FFF2-40B4-BE49-F238E27FC236}">
                    <a16:creationId xmlns:a16="http://schemas.microsoft.com/office/drawing/2014/main" id="{56E5413D-BEB3-D6DA-40AC-5C27DF8D4C54}"/>
                  </a:ext>
                </a:extLst>
              </p:cNvPr>
              <p:cNvSpPr/>
              <p:nvPr/>
            </p:nvSpPr>
            <p:spPr>
              <a:xfrm>
                <a:off x="2570693" y="1612015"/>
                <a:ext cx="1337881" cy="15696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9600" dirty="0">
                    <a:solidFill>
                      <a:srgbClr val="620CFD"/>
                    </a:solidFill>
                    <a:latin typeface="Poppins SemiBold" panose="00000700000000000000" pitchFamily="2" charset="0"/>
                    <a:ea typeface="Roboto Bold" panose="02000000000000000000" pitchFamily="2" charset="0"/>
                    <a:cs typeface="Poppins SemiBold" panose="00000700000000000000" pitchFamily="2" charset="0"/>
                  </a:rPr>
                  <a:t>2</a:t>
                </a:r>
                <a:endParaRPr lang="en-US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95" name="Freeform 5">
                <a:extLst>
                  <a:ext uri="{FF2B5EF4-FFF2-40B4-BE49-F238E27FC236}">
                    <a16:creationId xmlns:a16="http://schemas.microsoft.com/office/drawing/2014/main" id="{1217AEF5-802E-A251-3622-85C194DF9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50" y="1543071"/>
                <a:ext cx="1069398" cy="1505240"/>
              </a:xfrm>
              <a:custGeom>
                <a:avLst/>
                <a:gdLst>
                  <a:gd name="T0" fmla="*/ 260 w 872"/>
                  <a:gd name="T1" fmla="*/ 0 h 1225"/>
                  <a:gd name="T2" fmla="*/ 0 w 872"/>
                  <a:gd name="T3" fmla="*/ 58 h 1225"/>
                  <a:gd name="T4" fmla="*/ 0 w 872"/>
                  <a:gd name="T5" fmla="*/ 1168 h 1225"/>
                  <a:gd name="T6" fmla="*/ 260 w 872"/>
                  <a:gd name="T7" fmla="*/ 1225 h 1225"/>
                  <a:gd name="T8" fmla="*/ 872 w 872"/>
                  <a:gd name="T9" fmla="*/ 613 h 1225"/>
                  <a:gd name="T10" fmla="*/ 260 w 872"/>
                  <a:gd name="T11" fmla="*/ 0 h 1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2" h="1225">
                    <a:moveTo>
                      <a:pt x="260" y="0"/>
                    </a:moveTo>
                    <a:cubicBezTo>
                      <a:pt x="167" y="0"/>
                      <a:pt x="79" y="21"/>
                      <a:pt x="0" y="58"/>
                    </a:cubicBezTo>
                    <a:cubicBezTo>
                      <a:pt x="0" y="1168"/>
                      <a:pt x="0" y="1168"/>
                      <a:pt x="0" y="1168"/>
                    </a:cubicBezTo>
                    <a:cubicBezTo>
                      <a:pt x="79" y="1205"/>
                      <a:pt x="167" y="1225"/>
                      <a:pt x="260" y="1225"/>
                    </a:cubicBezTo>
                    <a:cubicBezTo>
                      <a:pt x="598" y="1225"/>
                      <a:pt x="872" y="951"/>
                      <a:pt x="872" y="613"/>
                    </a:cubicBezTo>
                    <a:cubicBezTo>
                      <a:pt x="872" y="275"/>
                      <a:pt x="598" y="0"/>
                      <a:pt x="2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76200" dist="38100" dir="10800000" algn="r" rotWithShape="0">
                  <a:prstClr val="black">
                    <a:alpha val="3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A3572630-598B-5C94-8D3E-3784DF297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id="{DAA99000-EA9A-AE50-74C7-2BA64FDCC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id="{8B3DD752-C6A4-CFD4-19C2-EB2456B2D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3" name="Группа 172">
            <a:extLst>
              <a:ext uri="{FF2B5EF4-FFF2-40B4-BE49-F238E27FC236}">
                <a16:creationId xmlns:a16="http://schemas.microsoft.com/office/drawing/2014/main" id="{EB1D928E-4F1C-D312-593E-162A0FF3104C}"/>
              </a:ext>
            </a:extLst>
          </p:cNvPr>
          <p:cNvGrpSpPr/>
          <p:nvPr/>
        </p:nvGrpSpPr>
        <p:grpSpPr>
          <a:xfrm>
            <a:off x="4931227" y="1530804"/>
            <a:ext cx="1902534" cy="1650871"/>
            <a:chOff x="4931227" y="1530804"/>
            <a:chExt cx="1902534" cy="1650871"/>
          </a:xfrm>
        </p:grpSpPr>
        <p:sp>
          <p:nvSpPr>
            <p:cNvPr id="92" name="Rectangle 23">
              <a:extLst>
                <a:ext uri="{FF2B5EF4-FFF2-40B4-BE49-F238E27FC236}">
                  <a16:creationId xmlns:a16="http://schemas.microsoft.com/office/drawing/2014/main" id="{273617A1-2DC0-5FB9-D7E0-FF6BCB3EB5ED}"/>
                </a:ext>
              </a:extLst>
            </p:cNvPr>
            <p:cNvSpPr/>
            <p:nvPr/>
          </p:nvSpPr>
          <p:spPr>
            <a:xfrm>
              <a:off x="4931227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3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006CAACD-CC97-0283-4433-83EF84659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D7108752-D1B1-31C4-D013-C181BD470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2962442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C6A1B4F2-3F92-F637-BB6F-29F3023B5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1530804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C1360D4A-55EB-272D-6048-902A967F1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3CCC8006-DC23-82B5-9306-E15D523021AC}"/>
              </a:ext>
            </a:extLst>
          </p:cNvPr>
          <p:cNvGrpSpPr/>
          <p:nvPr/>
        </p:nvGrpSpPr>
        <p:grpSpPr>
          <a:xfrm>
            <a:off x="7295974" y="1530804"/>
            <a:ext cx="1959602" cy="1650871"/>
            <a:chOff x="7295974" y="1530804"/>
            <a:chExt cx="1959602" cy="1650871"/>
          </a:xfrm>
        </p:grpSpPr>
        <p:sp>
          <p:nvSpPr>
            <p:cNvPr id="91" name="Rectangle 22">
              <a:extLst>
                <a:ext uri="{FF2B5EF4-FFF2-40B4-BE49-F238E27FC236}">
                  <a16:creationId xmlns:a16="http://schemas.microsoft.com/office/drawing/2014/main" id="{AF59DD62-7880-13CC-4138-B454478E64D9}"/>
                </a:ext>
              </a:extLst>
            </p:cNvPr>
            <p:cNvSpPr/>
            <p:nvPr/>
          </p:nvSpPr>
          <p:spPr>
            <a:xfrm>
              <a:off x="7295974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4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B988EB9F-9358-3C35-272D-F6EFF02A7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1543071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0" name="Freeform 17">
              <a:extLst>
                <a:ext uri="{FF2B5EF4-FFF2-40B4-BE49-F238E27FC236}">
                  <a16:creationId xmlns:a16="http://schemas.microsoft.com/office/drawing/2014/main" id="{CE1C1353-7B83-A46C-5D84-EEF7396A6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2962442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1" name="Freeform 18">
              <a:extLst>
                <a:ext uri="{FF2B5EF4-FFF2-40B4-BE49-F238E27FC236}">
                  <a16:creationId xmlns:a16="http://schemas.microsoft.com/office/drawing/2014/main" id="{0D092205-5F45-3E67-E60B-C5468BB8F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1530804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2" name="Freeform 19">
              <a:extLst>
                <a:ext uri="{FF2B5EF4-FFF2-40B4-BE49-F238E27FC236}">
                  <a16:creationId xmlns:a16="http://schemas.microsoft.com/office/drawing/2014/main" id="{62B77E0A-A3CB-4BAD-15B2-38C772EEF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1588532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5" name="Группа 174">
            <a:extLst>
              <a:ext uri="{FF2B5EF4-FFF2-40B4-BE49-F238E27FC236}">
                <a16:creationId xmlns:a16="http://schemas.microsoft.com/office/drawing/2014/main" id="{0B591BB7-477C-7C35-7106-26B676D5BE13}"/>
              </a:ext>
            </a:extLst>
          </p:cNvPr>
          <p:cNvGrpSpPr/>
          <p:nvPr/>
        </p:nvGrpSpPr>
        <p:grpSpPr>
          <a:xfrm>
            <a:off x="9717808" y="1530804"/>
            <a:ext cx="1902714" cy="1650871"/>
            <a:chOff x="9717808" y="1530804"/>
            <a:chExt cx="1902714" cy="1650871"/>
          </a:xfrm>
        </p:grpSpPr>
        <p:sp>
          <p:nvSpPr>
            <p:cNvPr id="90" name="Rectangle 21">
              <a:extLst>
                <a:ext uri="{FF2B5EF4-FFF2-40B4-BE49-F238E27FC236}">
                  <a16:creationId xmlns:a16="http://schemas.microsoft.com/office/drawing/2014/main" id="{29569A48-EE85-2ED7-8D80-191157BE8C22}"/>
                </a:ext>
              </a:extLst>
            </p:cNvPr>
            <p:cNvSpPr/>
            <p:nvPr/>
          </p:nvSpPr>
          <p:spPr>
            <a:xfrm>
              <a:off x="9717808" y="1612015"/>
              <a:ext cx="1337882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5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3" name="Freeform 20">
              <a:extLst>
                <a:ext uri="{FF2B5EF4-FFF2-40B4-BE49-F238E27FC236}">
                  <a16:creationId xmlns:a16="http://schemas.microsoft.com/office/drawing/2014/main" id="{9EE6F49C-07F6-DB6B-4B0B-1EB921EE5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8136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5" name="Freeform 21">
              <a:extLst>
                <a:ext uri="{FF2B5EF4-FFF2-40B4-BE49-F238E27FC236}">
                  <a16:creationId xmlns:a16="http://schemas.microsoft.com/office/drawing/2014/main" id="{6749EA0B-A536-CDB9-C374-57F4AE4E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6" name="Freeform 22">
              <a:extLst>
                <a:ext uri="{FF2B5EF4-FFF2-40B4-BE49-F238E27FC236}">
                  <a16:creationId xmlns:a16="http://schemas.microsoft.com/office/drawing/2014/main" id="{E4B64482-23A1-4452-2675-AA1B5EFFB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5965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3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59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3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88 w 827"/>
                <a:gd name="T99" fmla="*/ 11 h 1245"/>
                <a:gd name="T100" fmla="*/ 245 w 827"/>
                <a:gd name="T101" fmla="*/ 2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199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8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7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4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3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1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8" y="842"/>
                    <a:pt x="777" y="841"/>
                  </a:cubicBezTo>
                  <a:cubicBezTo>
                    <a:pt x="772" y="839"/>
                    <a:pt x="769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1" y="535"/>
                    <a:pt x="823" y="551"/>
                  </a:cubicBezTo>
                  <a:cubicBezTo>
                    <a:pt x="824" y="557"/>
                    <a:pt x="820" y="562"/>
                    <a:pt x="814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2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4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59" y="111"/>
                  </a:cubicBezTo>
                  <a:cubicBezTo>
                    <a:pt x="573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6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4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29" y="21"/>
                    <a:pt x="213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7" name="Freeform 23">
              <a:extLst>
                <a:ext uri="{FF2B5EF4-FFF2-40B4-BE49-F238E27FC236}">
                  <a16:creationId xmlns:a16="http://schemas.microsoft.com/office/drawing/2014/main" id="{04E21E31-4E2B-6A92-5A7F-D0ED69C0E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2" name="Группа 171">
            <a:extLst>
              <a:ext uri="{FF2B5EF4-FFF2-40B4-BE49-F238E27FC236}">
                <a16:creationId xmlns:a16="http://schemas.microsoft.com/office/drawing/2014/main" id="{70F9F561-E925-CC3F-3FD1-0CF9DB029578}"/>
              </a:ext>
            </a:extLst>
          </p:cNvPr>
          <p:cNvGrpSpPr/>
          <p:nvPr/>
        </p:nvGrpSpPr>
        <p:grpSpPr>
          <a:xfrm>
            <a:off x="224760" y="1530804"/>
            <a:ext cx="1890777" cy="1650871"/>
            <a:chOff x="224760" y="1530804"/>
            <a:chExt cx="1890777" cy="1650871"/>
          </a:xfrm>
        </p:grpSpPr>
        <p:sp>
          <p:nvSpPr>
            <p:cNvPr id="94" name="Rectangle 25">
              <a:extLst>
                <a:ext uri="{FF2B5EF4-FFF2-40B4-BE49-F238E27FC236}">
                  <a16:creationId xmlns:a16="http://schemas.microsoft.com/office/drawing/2014/main" id="{9426B5F4-A4AA-8DEB-EADD-889E43D6ECF0}"/>
                </a:ext>
              </a:extLst>
            </p:cNvPr>
            <p:cNvSpPr/>
            <p:nvPr/>
          </p:nvSpPr>
          <p:spPr>
            <a:xfrm>
              <a:off x="224760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8" name="Freeform 24">
              <a:extLst>
                <a:ext uri="{FF2B5EF4-FFF2-40B4-BE49-F238E27FC236}">
                  <a16:creationId xmlns:a16="http://schemas.microsoft.com/office/drawing/2014/main" id="{8668C76E-DE85-167C-8B9D-C63A038FC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1543071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1" name="Freeform 26">
              <a:extLst>
                <a:ext uri="{FF2B5EF4-FFF2-40B4-BE49-F238E27FC236}">
                  <a16:creationId xmlns:a16="http://schemas.microsoft.com/office/drawing/2014/main" id="{821036B1-A114-9E54-AC89-AFD52FDBD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2962442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2" name="Freeform 27">
              <a:extLst>
                <a:ext uri="{FF2B5EF4-FFF2-40B4-BE49-F238E27FC236}">
                  <a16:creationId xmlns:a16="http://schemas.microsoft.com/office/drawing/2014/main" id="{FADFDA08-A75F-E108-01D3-C17D96AF18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1530804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23" name="Freeform 28">
              <a:extLst>
                <a:ext uri="{FF2B5EF4-FFF2-40B4-BE49-F238E27FC236}">
                  <a16:creationId xmlns:a16="http://schemas.microsoft.com/office/drawing/2014/main" id="{02E78DB1-B4D3-B148-1742-D14CDC023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CEE3B85A-97B9-89F8-C67A-48CF9E943346}"/>
              </a:ext>
            </a:extLst>
          </p:cNvPr>
          <p:cNvGrpSpPr/>
          <p:nvPr/>
        </p:nvGrpSpPr>
        <p:grpSpPr>
          <a:xfrm>
            <a:off x="2570693" y="4071540"/>
            <a:ext cx="1904144" cy="1650871"/>
            <a:chOff x="2570693" y="4071540"/>
            <a:chExt cx="1904144" cy="1650871"/>
          </a:xfrm>
        </p:grpSpPr>
        <p:sp>
          <p:nvSpPr>
            <p:cNvPr id="131" name="Rectangle 24">
              <a:extLst>
                <a:ext uri="{FF2B5EF4-FFF2-40B4-BE49-F238E27FC236}">
                  <a16:creationId xmlns:a16="http://schemas.microsoft.com/office/drawing/2014/main" id="{39A4F353-AB65-8B80-1741-785AC44F9562}"/>
                </a:ext>
              </a:extLst>
            </p:cNvPr>
            <p:cNvSpPr/>
            <p:nvPr/>
          </p:nvSpPr>
          <p:spPr>
            <a:xfrm>
              <a:off x="2570693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7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7B1958A9-DF83-922C-950A-7314D9F26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50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3" name="Freeform 7">
              <a:extLst>
                <a:ext uri="{FF2B5EF4-FFF2-40B4-BE49-F238E27FC236}">
                  <a16:creationId xmlns:a16="http://schemas.microsoft.com/office/drawing/2014/main" id="{564C58DD-3A84-B66A-E8A5-F6FD608DA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4" name="Freeform 8">
              <a:extLst>
                <a:ext uri="{FF2B5EF4-FFF2-40B4-BE49-F238E27FC236}">
                  <a16:creationId xmlns:a16="http://schemas.microsoft.com/office/drawing/2014/main" id="{F098A11B-806D-749D-B8E3-34D6654304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4071540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5" name="Freeform 9">
              <a:extLst>
                <a:ext uri="{FF2B5EF4-FFF2-40B4-BE49-F238E27FC236}">
                  <a16:creationId xmlns:a16="http://schemas.microsoft.com/office/drawing/2014/main" id="{FBABAF63-61AF-5442-229A-F95325EF3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8" name="Группа 177">
            <a:extLst>
              <a:ext uri="{FF2B5EF4-FFF2-40B4-BE49-F238E27FC236}">
                <a16:creationId xmlns:a16="http://schemas.microsoft.com/office/drawing/2014/main" id="{C99650E0-C87B-0F1D-590C-BEBF62DD60CC}"/>
              </a:ext>
            </a:extLst>
          </p:cNvPr>
          <p:cNvGrpSpPr/>
          <p:nvPr/>
        </p:nvGrpSpPr>
        <p:grpSpPr>
          <a:xfrm>
            <a:off x="4931227" y="4071540"/>
            <a:ext cx="1902534" cy="1650871"/>
            <a:chOff x="4931227" y="4071540"/>
            <a:chExt cx="1902534" cy="1650871"/>
          </a:xfrm>
        </p:grpSpPr>
        <p:sp>
          <p:nvSpPr>
            <p:cNvPr id="137" name="Rectangle 23">
              <a:extLst>
                <a:ext uri="{FF2B5EF4-FFF2-40B4-BE49-F238E27FC236}">
                  <a16:creationId xmlns:a16="http://schemas.microsoft.com/office/drawing/2014/main" id="{ED07FEA2-D699-6335-26A2-4AF432160754}"/>
                </a:ext>
              </a:extLst>
            </p:cNvPr>
            <p:cNvSpPr/>
            <p:nvPr/>
          </p:nvSpPr>
          <p:spPr>
            <a:xfrm>
              <a:off x="4931227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8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09C3FF1-010B-ED79-6CA1-1B68C3731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9" name="Freeform 12">
              <a:extLst>
                <a:ext uri="{FF2B5EF4-FFF2-40B4-BE49-F238E27FC236}">
                  <a16:creationId xmlns:a16="http://schemas.microsoft.com/office/drawing/2014/main" id="{247B6EB1-243F-98B7-3420-9B7E47C17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5503178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0" name="Freeform 13">
              <a:extLst>
                <a:ext uri="{FF2B5EF4-FFF2-40B4-BE49-F238E27FC236}">
                  <a16:creationId xmlns:a16="http://schemas.microsoft.com/office/drawing/2014/main" id="{E1A9EFCB-1E58-4FF0-A5F8-9EC6968E1E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4071540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1" name="Freeform 14">
              <a:extLst>
                <a:ext uri="{FF2B5EF4-FFF2-40B4-BE49-F238E27FC236}">
                  <a16:creationId xmlns:a16="http://schemas.microsoft.com/office/drawing/2014/main" id="{EA221590-F141-E01D-575B-5DE9A0222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9" name="Группа 178">
            <a:extLst>
              <a:ext uri="{FF2B5EF4-FFF2-40B4-BE49-F238E27FC236}">
                <a16:creationId xmlns:a16="http://schemas.microsoft.com/office/drawing/2014/main" id="{6E953091-5929-4FB2-64FD-9599FF6FA641}"/>
              </a:ext>
            </a:extLst>
          </p:cNvPr>
          <p:cNvGrpSpPr/>
          <p:nvPr/>
        </p:nvGrpSpPr>
        <p:grpSpPr>
          <a:xfrm>
            <a:off x="7295974" y="4071540"/>
            <a:ext cx="1959602" cy="1650871"/>
            <a:chOff x="7295974" y="4071540"/>
            <a:chExt cx="1959602" cy="1650871"/>
          </a:xfrm>
        </p:grpSpPr>
        <p:sp>
          <p:nvSpPr>
            <p:cNvPr id="143" name="Rectangle 22">
              <a:extLst>
                <a:ext uri="{FF2B5EF4-FFF2-40B4-BE49-F238E27FC236}">
                  <a16:creationId xmlns:a16="http://schemas.microsoft.com/office/drawing/2014/main" id="{20EFDC4D-8D49-F4A1-63CA-733DC4D66C8D}"/>
                </a:ext>
              </a:extLst>
            </p:cNvPr>
            <p:cNvSpPr/>
            <p:nvPr/>
          </p:nvSpPr>
          <p:spPr>
            <a:xfrm>
              <a:off x="7295974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9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0A68112C-D223-568A-7F32-730CA6D7F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4083807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5" name="Freeform 17">
              <a:extLst>
                <a:ext uri="{FF2B5EF4-FFF2-40B4-BE49-F238E27FC236}">
                  <a16:creationId xmlns:a16="http://schemas.microsoft.com/office/drawing/2014/main" id="{857360FC-21B5-721D-A68B-D195A19CC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5503178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6" name="Freeform 18">
              <a:extLst>
                <a:ext uri="{FF2B5EF4-FFF2-40B4-BE49-F238E27FC236}">
                  <a16:creationId xmlns:a16="http://schemas.microsoft.com/office/drawing/2014/main" id="{A9DA7EF3-C181-CE39-61D6-916C859D4C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4071540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7" name="Freeform 19">
              <a:extLst>
                <a:ext uri="{FF2B5EF4-FFF2-40B4-BE49-F238E27FC236}">
                  <a16:creationId xmlns:a16="http://schemas.microsoft.com/office/drawing/2014/main" id="{6E0744BF-151B-AF62-3BDB-9CB6D9283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4129268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52" name="Freeform 22">
            <a:extLst>
              <a:ext uri="{FF2B5EF4-FFF2-40B4-BE49-F238E27FC236}">
                <a16:creationId xmlns:a16="http://schemas.microsoft.com/office/drawing/2014/main" id="{8E6FD6D1-0690-0E47-11F1-32AEE325EB8F}"/>
              </a:ext>
            </a:extLst>
          </p:cNvPr>
          <p:cNvSpPr>
            <a:spLocks noEditPoints="1"/>
          </p:cNvSpPr>
          <p:nvPr/>
        </p:nvSpPr>
        <p:spPr bwMode="auto">
          <a:xfrm>
            <a:off x="10578442" y="4071540"/>
            <a:ext cx="1014557" cy="1529774"/>
          </a:xfrm>
          <a:custGeom>
            <a:avLst/>
            <a:gdLst>
              <a:gd name="T0" fmla="*/ 197 w 827"/>
              <a:gd name="T1" fmla="*/ 1225 h 1245"/>
              <a:gd name="T2" fmla="*/ 245 w 827"/>
              <a:gd name="T3" fmla="*/ 1244 h 1245"/>
              <a:gd name="T4" fmla="*/ 101 w 827"/>
              <a:gd name="T5" fmla="*/ 1237 h 1245"/>
              <a:gd name="T6" fmla="*/ 160 w 827"/>
              <a:gd name="T7" fmla="*/ 1234 h 1245"/>
              <a:gd name="T8" fmla="*/ 290 w 827"/>
              <a:gd name="T9" fmla="*/ 1219 h 1245"/>
              <a:gd name="T10" fmla="*/ 293 w 827"/>
              <a:gd name="T11" fmla="*/ 1239 h 1245"/>
              <a:gd name="T12" fmla="*/ 8 w 827"/>
              <a:gd name="T13" fmla="*/ 1214 h 1245"/>
              <a:gd name="T14" fmla="*/ 66 w 827"/>
              <a:gd name="T15" fmla="*/ 1220 h 1245"/>
              <a:gd name="T16" fmla="*/ 381 w 827"/>
              <a:gd name="T17" fmla="*/ 1199 h 1245"/>
              <a:gd name="T18" fmla="*/ 386 w 827"/>
              <a:gd name="T19" fmla="*/ 1218 h 1245"/>
              <a:gd name="T20" fmla="*/ 467 w 827"/>
              <a:gd name="T21" fmla="*/ 1165 h 1245"/>
              <a:gd name="T22" fmla="*/ 476 w 827"/>
              <a:gd name="T23" fmla="*/ 1183 h 1245"/>
              <a:gd name="T24" fmla="*/ 548 w 827"/>
              <a:gd name="T25" fmla="*/ 1119 h 1245"/>
              <a:gd name="T26" fmla="*/ 559 w 827"/>
              <a:gd name="T27" fmla="*/ 1135 h 1245"/>
              <a:gd name="T28" fmla="*/ 620 w 827"/>
              <a:gd name="T29" fmla="*/ 1060 h 1245"/>
              <a:gd name="T30" fmla="*/ 633 w 827"/>
              <a:gd name="T31" fmla="*/ 1074 h 1245"/>
              <a:gd name="T32" fmla="*/ 682 w 827"/>
              <a:gd name="T33" fmla="*/ 991 h 1245"/>
              <a:gd name="T34" fmla="*/ 698 w 827"/>
              <a:gd name="T35" fmla="*/ 1003 h 1245"/>
              <a:gd name="T36" fmla="*/ 733 w 827"/>
              <a:gd name="T37" fmla="*/ 913 h 1245"/>
              <a:gd name="T38" fmla="*/ 751 w 827"/>
              <a:gd name="T39" fmla="*/ 923 h 1245"/>
              <a:gd name="T40" fmla="*/ 771 w 827"/>
              <a:gd name="T41" fmla="*/ 828 h 1245"/>
              <a:gd name="T42" fmla="*/ 790 w 827"/>
              <a:gd name="T43" fmla="*/ 835 h 1245"/>
              <a:gd name="T44" fmla="*/ 796 w 827"/>
              <a:gd name="T45" fmla="*/ 739 h 1245"/>
              <a:gd name="T46" fmla="*/ 816 w 827"/>
              <a:gd name="T47" fmla="*/ 743 h 1245"/>
              <a:gd name="T48" fmla="*/ 807 w 827"/>
              <a:gd name="T49" fmla="*/ 647 h 1245"/>
              <a:gd name="T50" fmla="*/ 827 w 827"/>
              <a:gd name="T51" fmla="*/ 599 h 1245"/>
              <a:gd name="T52" fmla="*/ 813 w 827"/>
              <a:gd name="T53" fmla="*/ 562 h 1245"/>
              <a:gd name="T54" fmla="*/ 816 w 827"/>
              <a:gd name="T55" fmla="*/ 504 h 1245"/>
              <a:gd name="T56" fmla="*/ 795 w 827"/>
              <a:gd name="T57" fmla="*/ 470 h 1245"/>
              <a:gd name="T58" fmla="*/ 790 w 827"/>
              <a:gd name="T59" fmla="*/ 411 h 1245"/>
              <a:gd name="T60" fmla="*/ 763 w 827"/>
              <a:gd name="T61" fmla="*/ 381 h 1245"/>
              <a:gd name="T62" fmla="*/ 751 w 827"/>
              <a:gd name="T63" fmla="*/ 324 h 1245"/>
              <a:gd name="T64" fmla="*/ 718 w 827"/>
              <a:gd name="T65" fmla="*/ 298 h 1245"/>
              <a:gd name="T66" fmla="*/ 698 w 827"/>
              <a:gd name="T67" fmla="*/ 243 h 1245"/>
              <a:gd name="T68" fmla="*/ 660 w 827"/>
              <a:gd name="T69" fmla="*/ 223 h 1245"/>
              <a:gd name="T70" fmla="*/ 634 w 827"/>
              <a:gd name="T71" fmla="*/ 172 h 1245"/>
              <a:gd name="T72" fmla="*/ 592 w 827"/>
              <a:gd name="T73" fmla="*/ 158 h 1245"/>
              <a:gd name="T74" fmla="*/ 559 w 827"/>
              <a:gd name="T75" fmla="*/ 111 h 1245"/>
              <a:gd name="T76" fmla="*/ 514 w 827"/>
              <a:gd name="T77" fmla="*/ 104 h 1245"/>
              <a:gd name="T78" fmla="*/ 477 w 827"/>
              <a:gd name="T79" fmla="*/ 63 h 1245"/>
              <a:gd name="T80" fmla="*/ 429 w 827"/>
              <a:gd name="T81" fmla="*/ 63 h 1245"/>
              <a:gd name="T82" fmla="*/ 387 w 827"/>
              <a:gd name="T83" fmla="*/ 28 h 1245"/>
              <a:gd name="T84" fmla="*/ 12 w 827"/>
              <a:gd name="T85" fmla="*/ 51 h 1245"/>
              <a:gd name="T86" fmla="*/ 67 w 827"/>
              <a:gd name="T87" fmla="*/ 26 h 1245"/>
              <a:gd name="T88" fmla="*/ 339 w 827"/>
              <a:gd name="T89" fmla="*/ 35 h 1245"/>
              <a:gd name="T90" fmla="*/ 293 w 827"/>
              <a:gd name="T91" fmla="*/ 7 h 1245"/>
              <a:gd name="T92" fmla="*/ 104 w 827"/>
              <a:gd name="T93" fmla="*/ 29 h 1245"/>
              <a:gd name="T94" fmla="*/ 160 w 827"/>
              <a:gd name="T95" fmla="*/ 12 h 1245"/>
              <a:gd name="T96" fmla="*/ 245 w 827"/>
              <a:gd name="T97" fmla="*/ 22 h 1245"/>
              <a:gd name="T98" fmla="*/ 188 w 827"/>
              <a:gd name="T99" fmla="*/ 11 h 1245"/>
              <a:gd name="T100" fmla="*/ 245 w 827"/>
              <a:gd name="T101" fmla="*/ 22 h 1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27" h="1245">
                <a:moveTo>
                  <a:pt x="205" y="1245"/>
                </a:moveTo>
                <a:cubicBezTo>
                  <a:pt x="202" y="1245"/>
                  <a:pt x="199" y="1245"/>
                  <a:pt x="197" y="1245"/>
                </a:cubicBezTo>
                <a:cubicBezTo>
                  <a:pt x="191" y="1245"/>
                  <a:pt x="187" y="1241"/>
                  <a:pt x="187" y="1235"/>
                </a:cubicBezTo>
                <a:cubicBezTo>
                  <a:pt x="187" y="1230"/>
                  <a:pt x="191" y="1225"/>
                  <a:pt x="197" y="1225"/>
                </a:cubicBezTo>
                <a:cubicBezTo>
                  <a:pt x="197" y="1225"/>
                  <a:pt x="197" y="1225"/>
                  <a:pt x="197" y="1225"/>
                </a:cubicBezTo>
                <a:cubicBezTo>
                  <a:pt x="212" y="1226"/>
                  <a:pt x="228" y="1225"/>
                  <a:pt x="244" y="1224"/>
                </a:cubicBezTo>
                <a:cubicBezTo>
                  <a:pt x="249" y="1224"/>
                  <a:pt x="254" y="1228"/>
                  <a:pt x="254" y="1234"/>
                </a:cubicBezTo>
                <a:cubicBezTo>
                  <a:pt x="255" y="1239"/>
                  <a:pt x="250" y="1244"/>
                  <a:pt x="245" y="1244"/>
                </a:cubicBezTo>
                <a:cubicBezTo>
                  <a:pt x="232" y="1245"/>
                  <a:pt x="218" y="1245"/>
                  <a:pt x="205" y="1245"/>
                </a:cubicBezTo>
                <a:close/>
                <a:moveTo>
                  <a:pt x="150" y="1243"/>
                </a:moveTo>
                <a:cubicBezTo>
                  <a:pt x="149" y="1243"/>
                  <a:pt x="149" y="1243"/>
                  <a:pt x="149" y="1243"/>
                </a:cubicBezTo>
                <a:cubicBezTo>
                  <a:pt x="133" y="1241"/>
                  <a:pt x="117" y="1239"/>
                  <a:pt x="101" y="1237"/>
                </a:cubicBezTo>
                <a:cubicBezTo>
                  <a:pt x="96" y="1236"/>
                  <a:pt x="92" y="1231"/>
                  <a:pt x="93" y="1225"/>
                </a:cubicBezTo>
                <a:cubicBezTo>
                  <a:pt x="94" y="1220"/>
                  <a:pt x="99" y="1216"/>
                  <a:pt x="104" y="1217"/>
                </a:cubicBezTo>
                <a:cubicBezTo>
                  <a:pt x="120" y="1220"/>
                  <a:pt x="135" y="1222"/>
                  <a:pt x="151" y="1223"/>
                </a:cubicBezTo>
                <a:cubicBezTo>
                  <a:pt x="156" y="1223"/>
                  <a:pt x="160" y="1228"/>
                  <a:pt x="160" y="1234"/>
                </a:cubicBezTo>
                <a:cubicBezTo>
                  <a:pt x="159" y="1239"/>
                  <a:pt x="155" y="1243"/>
                  <a:pt x="150" y="1243"/>
                </a:cubicBezTo>
                <a:close/>
                <a:moveTo>
                  <a:pt x="291" y="1239"/>
                </a:moveTo>
                <a:cubicBezTo>
                  <a:pt x="286" y="1239"/>
                  <a:pt x="282" y="1236"/>
                  <a:pt x="281" y="1231"/>
                </a:cubicBezTo>
                <a:cubicBezTo>
                  <a:pt x="281" y="1225"/>
                  <a:pt x="284" y="1220"/>
                  <a:pt x="290" y="1219"/>
                </a:cubicBezTo>
                <a:cubicBezTo>
                  <a:pt x="305" y="1217"/>
                  <a:pt x="321" y="1214"/>
                  <a:pt x="336" y="1211"/>
                </a:cubicBezTo>
                <a:cubicBezTo>
                  <a:pt x="341" y="1210"/>
                  <a:pt x="346" y="1213"/>
                  <a:pt x="348" y="1219"/>
                </a:cubicBezTo>
                <a:cubicBezTo>
                  <a:pt x="349" y="1224"/>
                  <a:pt x="345" y="1229"/>
                  <a:pt x="340" y="1231"/>
                </a:cubicBezTo>
                <a:cubicBezTo>
                  <a:pt x="324" y="1234"/>
                  <a:pt x="308" y="1237"/>
                  <a:pt x="293" y="1239"/>
                </a:cubicBezTo>
                <a:cubicBezTo>
                  <a:pt x="292" y="1239"/>
                  <a:pt x="292" y="1239"/>
                  <a:pt x="291" y="1239"/>
                </a:cubicBezTo>
                <a:close/>
                <a:moveTo>
                  <a:pt x="56" y="1227"/>
                </a:moveTo>
                <a:cubicBezTo>
                  <a:pt x="56" y="1227"/>
                  <a:pt x="55" y="1227"/>
                  <a:pt x="54" y="1227"/>
                </a:cubicBezTo>
                <a:cubicBezTo>
                  <a:pt x="39" y="1223"/>
                  <a:pt x="23" y="1219"/>
                  <a:pt x="8" y="1214"/>
                </a:cubicBezTo>
                <a:cubicBezTo>
                  <a:pt x="3" y="1212"/>
                  <a:pt x="0" y="1206"/>
                  <a:pt x="2" y="1201"/>
                </a:cubicBezTo>
                <a:cubicBezTo>
                  <a:pt x="3" y="1196"/>
                  <a:pt x="9" y="1193"/>
                  <a:pt x="14" y="1195"/>
                </a:cubicBezTo>
                <a:cubicBezTo>
                  <a:pt x="29" y="1199"/>
                  <a:pt x="44" y="1204"/>
                  <a:pt x="59" y="1208"/>
                </a:cubicBezTo>
                <a:cubicBezTo>
                  <a:pt x="64" y="1209"/>
                  <a:pt x="67" y="1214"/>
                  <a:pt x="66" y="1220"/>
                </a:cubicBezTo>
                <a:cubicBezTo>
                  <a:pt x="65" y="1224"/>
                  <a:pt x="61" y="1227"/>
                  <a:pt x="56" y="1227"/>
                </a:cubicBezTo>
                <a:close/>
                <a:moveTo>
                  <a:pt x="384" y="1219"/>
                </a:moveTo>
                <a:cubicBezTo>
                  <a:pt x="379" y="1219"/>
                  <a:pt x="375" y="1216"/>
                  <a:pt x="374" y="1212"/>
                </a:cubicBezTo>
                <a:cubicBezTo>
                  <a:pt x="372" y="1207"/>
                  <a:pt x="375" y="1201"/>
                  <a:pt x="381" y="1199"/>
                </a:cubicBezTo>
                <a:cubicBezTo>
                  <a:pt x="395" y="1195"/>
                  <a:pt x="410" y="1190"/>
                  <a:pt x="425" y="1184"/>
                </a:cubicBezTo>
                <a:cubicBezTo>
                  <a:pt x="430" y="1182"/>
                  <a:pt x="436" y="1185"/>
                  <a:pt x="438" y="1190"/>
                </a:cubicBezTo>
                <a:cubicBezTo>
                  <a:pt x="440" y="1195"/>
                  <a:pt x="437" y="1201"/>
                  <a:pt x="432" y="1203"/>
                </a:cubicBezTo>
                <a:cubicBezTo>
                  <a:pt x="417" y="1209"/>
                  <a:pt x="402" y="1214"/>
                  <a:pt x="386" y="1218"/>
                </a:cubicBezTo>
                <a:cubicBezTo>
                  <a:pt x="385" y="1219"/>
                  <a:pt x="384" y="1219"/>
                  <a:pt x="384" y="1219"/>
                </a:cubicBezTo>
                <a:close/>
                <a:moveTo>
                  <a:pt x="472" y="1184"/>
                </a:moveTo>
                <a:cubicBezTo>
                  <a:pt x="468" y="1184"/>
                  <a:pt x="464" y="1182"/>
                  <a:pt x="463" y="1179"/>
                </a:cubicBezTo>
                <a:cubicBezTo>
                  <a:pt x="460" y="1174"/>
                  <a:pt x="462" y="1168"/>
                  <a:pt x="467" y="1165"/>
                </a:cubicBezTo>
                <a:cubicBezTo>
                  <a:pt x="481" y="1159"/>
                  <a:pt x="495" y="1151"/>
                  <a:pt x="508" y="1144"/>
                </a:cubicBezTo>
                <a:cubicBezTo>
                  <a:pt x="513" y="1141"/>
                  <a:pt x="519" y="1142"/>
                  <a:pt x="522" y="1147"/>
                </a:cubicBezTo>
                <a:cubicBezTo>
                  <a:pt x="525" y="1152"/>
                  <a:pt x="523" y="1158"/>
                  <a:pt x="518" y="1161"/>
                </a:cubicBezTo>
                <a:cubicBezTo>
                  <a:pt x="505" y="1169"/>
                  <a:pt x="490" y="1176"/>
                  <a:pt x="476" y="1183"/>
                </a:cubicBezTo>
                <a:cubicBezTo>
                  <a:pt x="475" y="1184"/>
                  <a:pt x="473" y="1184"/>
                  <a:pt x="472" y="1184"/>
                </a:cubicBezTo>
                <a:close/>
                <a:moveTo>
                  <a:pt x="553" y="1137"/>
                </a:moveTo>
                <a:cubicBezTo>
                  <a:pt x="550" y="1137"/>
                  <a:pt x="547" y="1135"/>
                  <a:pt x="545" y="1132"/>
                </a:cubicBezTo>
                <a:cubicBezTo>
                  <a:pt x="542" y="1128"/>
                  <a:pt x="543" y="1122"/>
                  <a:pt x="548" y="1119"/>
                </a:cubicBezTo>
                <a:cubicBezTo>
                  <a:pt x="560" y="1110"/>
                  <a:pt x="573" y="1100"/>
                  <a:pt x="585" y="1091"/>
                </a:cubicBezTo>
                <a:cubicBezTo>
                  <a:pt x="589" y="1087"/>
                  <a:pt x="595" y="1088"/>
                  <a:pt x="599" y="1092"/>
                </a:cubicBezTo>
                <a:cubicBezTo>
                  <a:pt x="602" y="1096"/>
                  <a:pt x="602" y="1103"/>
                  <a:pt x="597" y="1106"/>
                </a:cubicBezTo>
                <a:cubicBezTo>
                  <a:pt x="585" y="1116"/>
                  <a:pt x="572" y="1126"/>
                  <a:pt x="559" y="1135"/>
                </a:cubicBezTo>
                <a:cubicBezTo>
                  <a:pt x="557" y="1136"/>
                  <a:pt x="555" y="1137"/>
                  <a:pt x="553" y="1137"/>
                </a:cubicBezTo>
                <a:close/>
                <a:moveTo>
                  <a:pt x="627" y="1077"/>
                </a:moveTo>
                <a:cubicBezTo>
                  <a:pt x="624" y="1077"/>
                  <a:pt x="621" y="1076"/>
                  <a:pt x="619" y="1074"/>
                </a:cubicBezTo>
                <a:cubicBezTo>
                  <a:pt x="616" y="1070"/>
                  <a:pt x="616" y="1064"/>
                  <a:pt x="620" y="1060"/>
                </a:cubicBezTo>
                <a:cubicBezTo>
                  <a:pt x="631" y="1049"/>
                  <a:pt x="642" y="1038"/>
                  <a:pt x="652" y="1026"/>
                </a:cubicBezTo>
                <a:cubicBezTo>
                  <a:pt x="656" y="1022"/>
                  <a:pt x="662" y="1022"/>
                  <a:pt x="666" y="1026"/>
                </a:cubicBezTo>
                <a:cubicBezTo>
                  <a:pt x="670" y="1029"/>
                  <a:pt x="671" y="1036"/>
                  <a:pt x="667" y="1040"/>
                </a:cubicBezTo>
                <a:cubicBezTo>
                  <a:pt x="656" y="1052"/>
                  <a:pt x="645" y="1063"/>
                  <a:pt x="633" y="1074"/>
                </a:cubicBezTo>
                <a:cubicBezTo>
                  <a:pt x="632" y="1076"/>
                  <a:pt x="629" y="1077"/>
                  <a:pt x="627" y="1077"/>
                </a:cubicBezTo>
                <a:close/>
                <a:moveTo>
                  <a:pt x="690" y="1007"/>
                </a:moveTo>
                <a:cubicBezTo>
                  <a:pt x="688" y="1007"/>
                  <a:pt x="686" y="1006"/>
                  <a:pt x="684" y="1005"/>
                </a:cubicBezTo>
                <a:cubicBezTo>
                  <a:pt x="679" y="1001"/>
                  <a:pt x="679" y="995"/>
                  <a:pt x="682" y="991"/>
                </a:cubicBezTo>
                <a:cubicBezTo>
                  <a:pt x="691" y="979"/>
                  <a:pt x="701" y="966"/>
                  <a:pt x="709" y="953"/>
                </a:cubicBezTo>
                <a:cubicBezTo>
                  <a:pt x="712" y="948"/>
                  <a:pt x="718" y="947"/>
                  <a:pt x="723" y="950"/>
                </a:cubicBezTo>
                <a:cubicBezTo>
                  <a:pt x="727" y="953"/>
                  <a:pt x="729" y="959"/>
                  <a:pt x="726" y="964"/>
                </a:cubicBezTo>
                <a:cubicBezTo>
                  <a:pt x="717" y="977"/>
                  <a:pt x="708" y="990"/>
                  <a:pt x="698" y="1003"/>
                </a:cubicBezTo>
                <a:cubicBezTo>
                  <a:pt x="696" y="1006"/>
                  <a:pt x="693" y="1007"/>
                  <a:pt x="690" y="1007"/>
                </a:cubicBezTo>
                <a:close/>
                <a:moveTo>
                  <a:pt x="742" y="928"/>
                </a:moveTo>
                <a:cubicBezTo>
                  <a:pt x="740" y="928"/>
                  <a:pt x="738" y="928"/>
                  <a:pt x="737" y="927"/>
                </a:cubicBezTo>
                <a:cubicBezTo>
                  <a:pt x="732" y="924"/>
                  <a:pt x="730" y="918"/>
                  <a:pt x="733" y="913"/>
                </a:cubicBezTo>
                <a:cubicBezTo>
                  <a:pt x="740" y="900"/>
                  <a:pt x="747" y="886"/>
                  <a:pt x="754" y="872"/>
                </a:cubicBezTo>
                <a:cubicBezTo>
                  <a:pt x="756" y="866"/>
                  <a:pt x="762" y="864"/>
                  <a:pt x="767" y="867"/>
                </a:cubicBezTo>
                <a:cubicBezTo>
                  <a:pt x="772" y="869"/>
                  <a:pt x="774" y="875"/>
                  <a:pt x="772" y="880"/>
                </a:cubicBezTo>
                <a:cubicBezTo>
                  <a:pt x="765" y="894"/>
                  <a:pt x="758" y="909"/>
                  <a:pt x="751" y="923"/>
                </a:cubicBezTo>
                <a:cubicBezTo>
                  <a:pt x="749" y="926"/>
                  <a:pt x="745" y="928"/>
                  <a:pt x="742" y="928"/>
                </a:cubicBezTo>
                <a:close/>
                <a:moveTo>
                  <a:pt x="781" y="842"/>
                </a:moveTo>
                <a:cubicBezTo>
                  <a:pt x="780" y="842"/>
                  <a:pt x="778" y="842"/>
                  <a:pt x="777" y="841"/>
                </a:cubicBezTo>
                <a:cubicBezTo>
                  <a:pt x="772" y="839"/>
                  <a:pt x="769" y="834"/>
                  <a:pt x="771" y="828"/>
                </a:cubicBezTo>
                <a:cubicBezTo>
                  <a:pt x="777" y="814"/>
                  <a:pt x="781" y="799"/>
                  <a:pt x="786" y="784"/>
                </a:cubicBezTo>
                <a:cubicBezTo>
                  <a:pt x="787" y="779"/>
                  <a:pt x="793" y="776"/>
                  <a:pt x="798" y="777"/>
                </a:cubicBezTo>
                <a:cubicBezTo>
                  <a:pt x="803" y="779"/>
                  <a:pt x="806" y="784"/>
                  <a:pt x="805" y="790"/>
                </a:cubicBezTo>
                <a:cubicBezTo>
                  <a:pt x="801" y="805"/>
                  <a:pt x="796" y="820"/>
                  <a:pt x="790" y="835"/>
                </a:cubicBezTo>
                <a:cubicBezTo>
                  <a:pt x="789" y="839"/>
                  <a:pt x="785" y="842"/>
                  <a:pt x="781" y="842"/>
                </a:cubicBezTo>
                <a:close/>
                <a:moveTo>
                  <a:pt x="806" y="751"/>
                </a:moveTo>
                <a:cubicBezTo>
                  <a:pt x="805" y="751"/>
                  <a:pt x="805" y="751"/>
                  <a:pt x="804" y="751"/>
                </a:cubicBezTo>
                <a:cubicBezTo>
                  <a:pt x="799" y="750"/>
                  <a:pt x="795" y="744"/>
                  <a:pt x="796" y="739"/>
                </a:cubicBezTo>
                <a:cubicBezTo>
                  <a:pt x="799" y="724"/>
                  <a:pt x="802" y="708"/>
                  <a:pt x="803" y="693"/>
                </a:cubicBezTo>
                <a:cubicBezTo>
                  <a:pt x="804" y="687"/>
                  <a:pt x="809" y="684"/>
                  <a:pt x="814" y="684"/>
                </a:cubicBezTo>
                <a:cubicBezTo>
                  <a:pt x="820" y="685"/>
                  <a:pt x="824" y="690"/>
                  <a:pt x="823" y="695"/>
                </a:cubicBezTo>
                <a:cubicBezTo>
                  <a:pt x="821" y="711"/>
                  <a:pt x="819" y="727"/>
                  <a:pt x="816" y="743"/>
                </a:cubicBezTo>
                <a:cubicBezTo>
                  <a:pt x="815" y="748"/>
                  <a:pt x="811" y="751"/>
                  <a:pt x="806" y="751"/>
                </a:cubicBezTo>
                <a:close/>
                <a:moveTo>
                  <a:pt x="817" y="657"/>
                </a:moveTo>
                <a:cubicBezTo>
                  <a:pt x="817" y="657"/>
                  <a:pt x="817" y="657"/>
                  <a:pt x="817" y="657"/>
                </a:cubicBezTo>
                <a:cubicBezTo>
                  <a:pt x="811" y="657"/>
                  <a:pt x="807" y="652"/>
                  <a:pt x="807" y="647"/>
                </a:cubicBezTo>
                <a:cubicBezTo>
                  <a:pt x="807" y="639"/>
                  <a:pt x="807" y="631"/>
                  <a:pt x="807" y="623"/>
                </a:cubicBezTo>
                <a:cubicBezTo>
                  <a:pt x="807" y="615"/>
                  <a:pt x="807" y="608"/>
                  <a:pt x="807" y="600"/>
                </a:cubicBezTo>
                <a:cubicBezTo>
                  <a:pt x="807" y="594"/>
                  <a:pt x="811" y="590"/>
                  <a:pt x="817" y="590"/>
                </a:cubicBezTo>
                <a:cubicBezTo>
                  <a:pt x="822" y="590"/>
                  <a:pt x="827" y="594"/>
                  <a:pt x="827" y="599"/>
                </a:cubicBezTo>
                <a:cubicBezTo>
                  <a:pt x="827" y="607"/>
                  <a:pt x="827" y="615"/>
                  <a:pt x="827" y="623"/>
                </a:cubicBezTo>
                <a:cubicBezTo>
                  <a:pt x="827" y="631"/>
                  <a:pt x="827" y="639"/>
                  <a:pt x="827" y="647"/>
                </a:cubicBezTo>
                <a:cubicBezTo>
                  <a:pt x="827" y="653"/>
                  <a:pt x="822" y="657"/>
                  <a:pt x="817" y="657"/>
                </a:cubicBezTo>
                <a:close/>
                <a:moveTo>
                  <a:pt x="813" y="562"/>
                </a:moveTo>
                <a:cubicBezTo>
                  <a:pt x="808" y="562"/>
                  <a:pt x="804" y="559"/>
                  <a:pt x="803" y="554"/>
                </a:cubicBezTo>
                <a:cubicBezTo>
                  <a:pt x="802" y="538"/>
                  <a:pt x="799" y="523"/>
                  <a:pt x="796" y="508"/>
                </a:cubicBezTo>
                <a:cubicBezTo>
                  <a:pt x="795" y="502"/>
                  <a:pt x="799" y="497"/>
                  <a:pt x="804" y="496"/>
                </a:cubicBezTo>
                <a:cubicBezTo>
                  <a:pt x="810" y="495"/>
                  <a:pt x="815" y="498"/>
                  <a:pt x="816" y="504"/>
                </a:cubicBezTo>
                <a:cubicBezTo>
                  <a:pt x="819" y="519"/>
                  <a:pt x="821" y="535"/>
                  <a:pt x="823" y="551"/>
                </a:cubicBezTo>
                <a:cubicBezTo>
                  <a:pt x="824" y="557"/>
                  <a:pt x="820" y="562"/>
                  <a:pt x="814" y="562"/>
                </a:cubicBezTo>
                <a:cubicBezTo>
                  <a:pt x="814" y="562"/>
                  <a:pt x="814" y="562"/>
                  <a:pt x="813" y="562"/>
                </a:cubicBezTo>
                <a:close/>
                <a:moveTo>
                  <a:pt x="795" y="470"/>
                </a:moveTo>
                <a:cubicBezTo>
                  <a:pt x="791" y="470"/>
                  <a:pt x="787" y="467"/>
                  <a:pt x="786" y="462"/>
                </a:cubicBezTo>
                <a:cubicBezTo>
                  <a:pt x="782" y="447"/>
                  <a:pt x="777" y="433"/>
                  <a:pt x="772" y="418"/>
                </a:cubicBezTo>
                <a:cubicBezTo>
                  <a:pt x="770" y="413"/>
                  <a:pt x="772" y="407"/>
                  <a:pt x="778" y="405"/>
                </a:cubicBezTo>
                <a:cubicBezTo>
                  <a:pt x="783" y="403"/>
                  <a:pt x="789" y="406"/>
                  <a:pt x="790" y="411"/>
                </a:cubicBezTo>
                <a:cubicBezTo>
                  <a:pt x="796" y="426"/>
                  <a:pt x="801" y="442"/>
                  <a:pt x="805" y="457"/>
                </a:cubicBezTo>
                <a:cubicBezTo>
                  <a:pt x="806" y="462"/>
                  <a:pt x="803" y="468"/>
                  <a:pt x="798" y="469"/>
                </a:cubicBezTo>
                <a:cubicBezTo>
                  <a:pt x="797" y="470"/>
                  <a:pt x="796" y="470"/>
                  <a:pt x="795" y="470"/>
                </a:cubicBezTo>
                <a:close/>
                <a:moveTo>
                  <a:pt x="763" y="381"/>
                </a:moveTo>
                <a:cubicBezTo>
                  <a:pt x="759" y="381"/>
                  <a:pt x="756" y="379"/>
                  <a:pt x="754" y="375"/>
                </a:cubicBezTo>
                <a:cubicBezTo>
                  <a:pt x="748" y="361"/>
                  <a:pt x="741" y="347"/>
                  <a:pt x="733" y="333"/>
                </a:cubicBezTo>
                <a:cubicBezTo>
                  <a:pt x="731" y="328"/>
                  <a:pt x="732" y="322"/>
                  <a:pt x="737" y="320"/>
                </a:cubicBezTo>
                <a:cubicBezTo>
                  <a:pt x="742" y="317"/>
                  <a:pt x="748" y="319"/>
                  <a:pt x="751" y="324"/>
                </a:cubicBezTo>
                <a:cubicBezTo>
                  <a:pt x="759" y="338"/>
                  <a:pt x="766" y="352"/>
                  <a:pt x="772" y="367"/>
                </a:cubicBezTo>
                <a:cubicBezTo>
                  <a:pt x="775" y="372"/>
                  <a:pt x="772" y="378"/>
                  <a:pt x="767" y="380"/>
                </a:cubicBezTo>
                <a:cubicBezTo>
                  <a:pt x="766" y="381"/>
                  <a:pt x="765" y="381"/>
                  <a:pt x="763" y="381"/>
                </a:cubicBezTo>
                <a:close/>
                <a:moveTo>
                  <a:pt x="718" y="298"/>
                </a:moveTo>
                <a:cubicBezTo>
                  <a:pt x="714" y="298"/>
                  <a:pt x="711" y="296"/>
                  <a:pt x="709" y="293"/>
                </a:cubicBezTo>
                <a:cubicBezTo>
                  <a:pt x="701" y="280"/>
                  <a:pt x="692" y="268"/>
                  <a:pt x="682" y="255"/>
                </a:cubicBezTo>
                <a:cubicBezTo>
                  <a:pt x="679" y="251"/>
                  <a:pt x="680" y="245"/>
                  <a:pt x="684" y="241"/>
                </a:cubicBezTo>
                <a:cubicBezTo>
                  <a:pt x="689" y="238"/>
                  <a:pt x="695" y="239"/>
                  <a:pt x="698" y="243"/>
                </a:cubicBezTo>
                <a:cubicBezTo>
                  <a:pt x="708" y="256"/>
                  <a:pt x="717" y="269"/>
                  <a:pt x="726" y="282"/>
                </a:cubicBezTo>
                <a:cubicBezTo>
                  <a:pt x="729" y="287"/>
                  <a:pt x="728" y="293"/>
                  <a:pt x="723" y="296"/>
                </a:cubicBezTo>
                <a:cubicBezTo>
                  <a:pt x="722" y="297"/>
                  <a:pt x="720" y="298"/>
                  <a:pt x="718" y="298"/>
                </a:cubicBezTo>
                <a:close/>
                <a:moveTo>
                  <a:pt x="660" y="223"/>
                </a:moveTo>
                <a:cubicBezTo>
                  <a:pt x="657" y="223"/>
                  <a:pt x="655" y="222"/>
                  <a:pt x="653" y="220"/>
                </a:cubicBezTo>
                <a:cubicBezTo>
                  <a:pt x="642" y="208"/>
                  <a:pt x="631" y="197"/>
                  <a:pt x="620" y="186"/>
                </a:cubicBezTo>
                <a:cubicBezTo>
                  <a:pt x="616" y="183"/>
                  <a:pt x="616" y="176"/>
                  <a:pt x="620" y="172"/>
                </a:cubicBezTo>
                <a:cubicBezTo>
                  <a:pt x="624" y="168"/>
                  <a:pt x="630" y="168"/>
                  <a:pt x="634" y="172"/>
                </a:cubicBezTo>
                <a:cubicBezTo>
                  <a:pt x="645" y="183"/>
                  <a:pt x="657" y="194"/>
                  <a:pt x="667" y="206"/>
                </a:cubicBezTo>
                <a:cubicBezTo>
                  <a:pt x="671" y="210"/>
                  <a:pt x="671" y="217"/>
                  <a:pt x="667" y="220"/>
                </a:cubicBezTo>
                <a:cubicBezTo>
                  <a:pt x="665" y="222"/>
                  <a:pt x="662" y="223"/>
                  <a:pt x="660" y="223"/>
                </a:cubicBezTo>
                <a:close/>
                <a:moveTo>
                  <a:pt x="592" y="158"/>
                </a:moveTo>
                <a:cubicBezTo>
                  <a:pt x="589" y="158"/>
                  <a:pt x="587" y="157"/>
                  <a:pt x="585" y="156"/>
                </a:cubicBezTo>
                <a:cubicBezTo>
                  <a:pt x="573" y="146"/>
                  <a:pt x="561" y="136"/>
                  <a:pt x="548" y="128"/>
                </a:cubicBezTo>
                <a:cubicBezTo>
                  <a:pt x="544" y="124"/>
                  <a:pt x="542" y="118"/>
                  <a:pt x="546" y="114"/>
                </a:cubicBezTo>
                <a:cubicBezTo>
                  <a:pt x="549" y="109"/>
                  <a:pt x="555" y="108"/>
                  <a:pt x="559" y="111"/>
                </a:cubicBezTo>
                <a:cubicBezTo>
                  <a:pt x="573" y="120"/>
                  <a:pt x="585" y="130"/>
                  <a:pt x="598" y="140"/>
                </a:cubicBezTo>
                <a:cubicBezTo>
                  <a:pt x="602" y="144"/>
                  <a:pt x="603" y="150"/>
                  <a:pt x="599" y="154"/>
                </a:cubicBezTo>
                <a:cubicBezTo>
                  <a:pt x="597" y="157"/>
                  <a:pt x="594" y="158"/>
                  <a:pt x="592" y="158"/>
                </a:cubicBezTo>
                <a:close/>
                <a:moveTo>
                  <a:pt x="514" y="104"/>
                </a:moveTo>
                <a:cubicBezTo>
                  <a:pt x="512" y="104"/>
                  <a:pt x="510" y="104"/>
                  <a:pt x="509" y="103"/>
                </a:cubicBezTo>
                <a:cubicBezTo>
                  <a:pt x="496" y="95"/>
                  <a:pt x="482" y="87"/>
                  <a:pt x="468" y="81"/>
                </a:cubicBezTo>
                <a:cubicBezTo>
                  <a:pt x="463" y="78"/>
                  <a:pt x="461" y="72"/>
                  <a:pt x="463" y="67"/>
                </a:cubicBezTo>
                <a:cubicBezTo>
                  <a:pt x="466" y="62"/>
                  <a:pt x="472" y="60"/>
                  <a:pt x="477" y="63"/>
                </a:cubicBezTo>
                <a:cubicBezTo>
                  <a:pt x="491" y="70"/>
                  <a:pt x="505" y="77"/>
                  <a:pt x="519" y="85"/>
                </a:cubicBezTo>
                <a:cubicBezTo>
                  <a:pt x="524" y="88"/>
                  <a:pt x="525" y="94"/>
                  <a:pt x="523" y="99"/>
                </a:cubicBezTo>
                <a:cubicBezTo>
                  <a:pt x="521" y="102"/>
                  <a:pt x="517" y="104"/>
                  <a:pt x="514" y="104"/>
                </a:cubicBezTo>
                <a:close/>
                <a:moveTo>
                  <a:pt x="429" y="63"/>
                </a:moveTo>
                <a:cubicBezTo>
                  <a:pt x="428" y="63"/>
                  <a:pt x="426" y="62"/>
                  <a:pt x="425" y="62"/>
                </a:cubicBezTo>
                <a:cubicBezTo>
                  <a:pt x="411" y="56"/>
                  <a:pt x="396" y="51"/>
                  <a:pt x="381" y="47"/>
                </a:cubicBezTo>
                <a:cubicBezTo>
                  <a:pt x="376" y="45"/>
                  <a:pt x="373" y="39"/>
                  <a:pt x="375" y="34"/>
                </a:cubicBezTo>
                <a:cubicBezTo>
                  <a:pt x="376" y="29"/>
                  <a:pt x="382" y="26"/>
                  <a:pt x="387" y="28"/>
                </a:cubicBezTo>
                <a:cubicBezTo>
                  <a:pt x="402" y="32"/>
                  <a:pt x="418" y="38"/>
                  <a:pt x="433" y="43"/>
                </a:cubicBezTo>
                <a:cubicBezTo>
                  <a:pt x="438" y="45"/>
                  <a:pt x="440" y="51"/>
                  <a:pt x="438" y="56"/>
                </a:cubicBezTo>
                <a:cubicBezTo>
                  <a:pt x="437" y="60"/>
                  <a:pt x="433" y="63"/>
                  <a:pt x="429" y="63"/>
                </a:cubicBezTo>
                <a:close/>
                <a:moveTo>
                  <a:pt x="12" y="51"/>
                </a:moveTo>
                <a:cubicBezTo>
                  <a:pt x="8" y="51"/>
                  <a:pt x="4" y="49"/>
                  <a:pt x="2" y="45"/>
                </a:cubicBezTo>
                <a:cubicBezTo>
                  <a:pt x="1" y="39"/>
                  <a:pt x="3" y="34"/>
                  <a:pt x="9" y="32"/>
                </a:cubicBezTo>
                <a:cubicBezTo>
                  <a:pt x="24" y="27"/>
                  <a:pt x="39" y="22"/>
                  <a:pt x="55" y="19"/>
                </a:cubicBezTo>
                <a:cubicBezTo>
                  <a:pt x="60" y="17"/>
                  <a:pt x="66" y="21"/>
                  <a:pt x="67" y="26"/>
                </a:cubicBezTo>
                <a:cubicBezTo>
                  <a:pt x="68" y="31"/>
                  <a:pt x="65" y="37"/>
                  <a:pt x="60" y="38"/>
                </a:cubicBezTo>
                <a:cubicBezTo>
                  <a:pt x="45" y="42"/>
                  <a:pt x="30" y="46"/>
                  <a:pt x="15" y="51"/>
                </a:cubicBezTo>
                <a:cubicBezTo>
                  <a:pt x="14" y="51"/>
                  <a:pt x="13" y="51"/>
                  <a:pt x="12" y="51"/>
                </a:cubicBezTo>
                <a:close/>
                <a:moveTo>
                  <a:pt x="339" y="35"/>
                </a:moveTo>
                <a:cubicBezTo>
                  <a:pt x="338" y="35"/>
                  <a:pt x="337" y="35"/>
                  <a:pt x="336" y="35"/>
                </a:cubicBezTo>
                <a:cubicBezTo>
                  <a:pt x="321" y="31"/>
                  <a:pt x="306" y="29"/>
                  <a:pt x="291" y="26"/>
                </a:cubicBezTo>
                <a:cubicBezTo>
                  <a:pt x="285" y="26"/>
                  <a:pt x="281" y="21"/>
                  <a:pt x="282" y="15"/>
                </a:cubicBezTo>
                <a:cubicBezTo>
                  <a:pt x="283" y="10"/>
                  <a:pt x="288" y="6"/>
                  <a:pt x="293" y="7"/>
                </a:cubicBezTo>
                <a:cubicBezTo>
                  <a:pt x="309" y="9"/>
                  <a:pt x="325" y="12"/>
                  <a:pt x="341" y="15"/>
                </a:cubicBezTo>
                <a:cubicBezTo>
                  <a:pt x="346" y="16"/>
                  <a:pt x="350" y="22"/>
                  <a:pt x="348" y="27"/>
                </a:cubicBezTo>
                <a:cubicBezTo>
                  <a:pt x="347" y="32"/>
                  <a:pt x="343" y="35"/>
                  <a:pt x="339" y="35"/>
                </a:cubicBezTo>
                <a:close/>
                <a:moveTo>
                  <a:pt x="104" y="29"/>
                </a:moveTo>
                <a:cubicBezTo>
                  <a:pt x="99" y="29"/>
                  <a:pt x="94" y="25"/>
                  <a:pt x="94" y="20"/>
                </a:cubicBezTo>
                <a:cubicBezTo>
                  <a:pt x="93" y="15"/>
                  <a:pt x="96" y="10"/>
                  <a:pt x="102" y="9"/>
                </a:cubicBezTo>
                <a:cubicBezTo>
                  <a:pt x="118" y="6"/>
                  <a:pt x="134" y="4"/>
                  <a:pt x="150" y="3"/>
                </a:cubicBezTo>
                <a:cubicBezTo>
                  <a:pt x="155" y="2"/>
                  <a:pt x="160" y="6"/>
                  <a:pt x="160" y="12"/>
                </a:cubicBezTo>
                <a:cubicBezTo>
                  <a:pt x="161" y="17"/>
                  <a:pt x="157" y="22"/>
                  <a:pt x="151" y="23"/>
                </a:cubicBezTo>
                <a:cubicBezTo>
                  <a:pt x="136" y="24"/>
                  <a:pt x="120" y="26"/>
                  <a:pt x="105" y="29"/>
                </a:cubicBezTo>
                <a:cubicBezTo>
                  <a:pt x="105" y="29"/>
                  <a:pt x="104" y="29"/>
                  <a:pt x="104" y="29"/>
                </a:cubicBezTo>
                <a:close/>
                <a:moveTo>
                  <a:pt x="245" y="22"/>
                </a:moveTo>
                <a:cubicBezTo>
                  <a:pt x="245" y="22"/>
                  <a:pt x="245" y="22"/>
                  <a:pt x="244" y="22"/>
                </a:cubicBezTo>
                <a:cubicBezTo>
                  <a:pt x="229" y="21"/>
                  <a:pt x="213" y="20"/>
                  <a:pt x="198" y="20"/>
                </a:cubicBezTo>
                <a:cubicBezTo>
                  <a:pt x="198" y="20"/>
                  <a:pt x="198" y="20"/>
                  <a:pt x="198" y="20"/>
                </a:cubicBezTo>
                <a:cubicBezTo>
                  <a:pt x="192" y="20"/>
                  <a:pt x="188" y="16"/>
                  <a:pt x="188" y="11"/>
                </a:cubicBezTo>
                <a:cubicBezTo>
                  <a:pt x="188" y="5"/>
                  <a:pt x="192" y="0"/>
                  <a:pt x="198" y="0"/>
                </a:cubicBezTo>
                <a:cubicBezTo>
                  <a:pt x="214" y="0"/>
                  <a:pt x="230" y="1"/>
                  <a:pt x="246" y="2"/>
                </a:cubicBezTo>
                <a:cubicBezTo>
                  <a:pt x="251" y="2"/>
                  <a:pt x="255" y="7"/>
                  <a:pt x="255" y="12"/>
                </a:cubicBezTo>
                <a:cubicBezTo>
                  <a:pt x="255" y="18"/>
                  <a:pt x="250" y="22"/>
                  <a:pt x="245" y="22"/>
                </a:cubicBezTo>
                <a:close/>
              </a:path>
            </a:pathLst>
          </a:custGeom>
          <a:solidFill>
            <a:srgbClr val="C0DC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grpSp>
        <p:nvGrpSpPr>
          <p:cNvPr id="180" name="Группа 179">
            <a:extLst>
              <a:ext uri="{FF2B5EF4-FFF2-40B4-BE49-F238E27FC236}">
                <a16:creationId xmlns:a16="http://schemas.microsoft.com/office/drawing/2014/main" id="{DAADE944-CE47-A44A-8819-0334D685B558}"/>
              </a:ext>
            </a:extLst>
          </p:cNvPr>
          <p:cNvGrpSpPr/>
          <p:nvPr/>
        </p:nvGrpSpPr>
        <p:grpSpPr>
          <a:xfrm>
            <a:off x="9428163" y="4083807"/>
            <a:ext cx="2151847" cy="1638604"/>
            <a:chOff x="9428163" y="4083807"/>
            <a:chExt cx="2151847" cy="1638604"/>
          </a:xfrm>
        </p:grpSpPr>
        <p:sp>
          <p:nvSpPr>
            <p:cNvPr id="149" name="Rectangle 21">
              <a:extLst>
                <a:ext uri="{FF2B5EF4-FFF2-40B4-BE49-F238E27FC236}">
                  <a16:creationId xmlns:a16="http://schemas.microsoft.com/office/drawing/2014/main" id="{36F4E629-27D6-DD4C-4954-61521BB5AA99}"/>
                </a:ext>
              </a:extLst>
            </p:cNvPr>
            <p:cNvSpPr/>
            <p:nvPr/>
          </p:nvSpPr>
          <p:spPr>
            <a:xfrm>
              <a:off x="9428163" y="4152751"/>
              <a:ext cx="1657944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0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0" name="Freeform 20">
              <a:extLst>
                <a:ext uri="{FF2B5EF4-FFF2-40B4-BE49-F238E27FC236}">
                  <a16:creationId xmlns:a16="http://schemas.microsoft.com/office/drawing/2014/main" id="{2480290A-41EC-D483-4B2B-DB80CB1B0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613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1" name="Freeform 21">
              <a:extLst>
                <a:ext uri="{FF2B5EF4-FFF2-40B4-BE49-F238E27FC236}">
                  <a16:creationId xmlns:a16="http://schemas.microsoft.com/office/drawing/2014/main" id="{2B300D93-F99A-70CA-8C32-460D60BC7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3" name="Freeform 23">
              <a:extLst>
                <a:ext uri="{FF2B5EF4-FFF2-40B4-BE49-F238E27FC236}">
                  <a16:creationId xmlns:a16="http://schemas.microsoft.com/office/drawing/2014/main" id="{306C8701-EF10-8814-6311-FE751CCF1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6" name="Группа 175">
            <a:extLst>
              <a:ext uri="{FF2B5EF4-FFF2-40B4-BE49-F238E27FC236}">
                <a16:creationId xmlns:a16="http://schemas.microsoft.com/office/drawing/2014/main" id="{E4D7ED61-36AC-F9C6-3445-7AC2CA08A747}"/>
              </a:ext>
            </a:extLst>
          </p:cNvPr>
          <p:cNvGrpSpPr/>
          <p:nvPr/>
        </p:nvGrpSpPr>
        <p:grpSpPr>
          <a:xfrm>
            <a:off x="224760" y="4071540"/>
            <a:ext cx="1890777" cy="1650871"/>
            <a:chOff x="224760" y="4071540"/>
            <a:chExt cx="1890777" cy="1650871"/>
          </a:xfrm>
        </p:grpSpPr>
        <p:sp>
          <p:nvSpPr>
            <p:cNvPr id="155" name="Rectangle 25">
              <a:extLst>
                <a:ext uri="{FF2B5EF4-FFF2-40B4-BE49-F238E27FC236}">
                  <a16:creationId xmlns:a16="http://schemas.microsoft.com/office/drawing/2014/main" id="{357B8EC3-E7A2-3FD0-5323-9095DE84CB4D}"/>
                </a:ext>
              </a:extLst>
            </p:cNvPr>
            <p:cNvSpPr/>
            <p:nvPr/>
          </p:nvSpPr>
          <p:spPr>
            <a:xfrm>
              <a:off x="224760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6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6" name="Freeform 24">
              <a:extLst>
                <a:ext uri="{FF2B5EF4-FFF2-40B4-BE49-F238E27FC236}">
                  <a16:creationId xmlns:a16="http://schemas.microsoft.com/office/drawing/2014/main" id="{058E620E-8F51-3B75-4F91-7C445F7A6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7" name="Freeform 26">
              <a:extLst>
                <a:ext uri="{FF2B5EF4-FFF2-40B4-BE49-F238E27FC236}">
                  <a16:creationId xmlns:a16="http://schemas.microsoft.com/office/drawing/2014/main" id="{056FA1BB-B0A6-278B-B272-957B3EB05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5503178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8" name="Freeform 27">
              <a:extLst>
                <a:ext uri="{FF2B5EF4-FFF2-40B4-BE49-F238E27FC236}">
                  <a16:creationId xmlns:a16="http://schemas.microsoft.com/office/drawing/2014/main" id="{B371D828-B986-6A13-2F8F-8C2AA9CE76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4071540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59" name="Freeform 28">
              <a:extLst>
                <a:ext uri="{FF2B5EF4-FFF2-40B4-BE49-F238E27FC236}">
                  <a16:creationId xmlns:a16="http://schemas.microsoft.com/office/drawing/2014/main" id="{46FFBFAB-5BA1-161C-28D1-DC9512515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id="{CF73DFC4-F83D-3C5D-93E6-DC53F4B396E4}"/>
              </a:ext>
            </a:extLst>
          </p:cNvPr>
          <p:cNvSpPr txBox="1"/>
          <p:nvPr/>
        </p:nvSpPr>
        <p:spPr>
          <a:xfrm>
            <a:off x="107494" y="3248119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скусствен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нтеллект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4D249C36-FF51-0447-B15B-31D335C9FD3C}"/>
              </a:ext>
            </a:extLst>
          </p:cNvPr>
          <p:cNvSpPr txBox="1"/>
          <p:nvPr/>
        </p:nvSpPr>
        <p:spPr>
          <a:xfrm>
            <a:off x="2766315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иксель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29C65B57-3AA0-D6FE-C94C-E370A4EDD7B9}"/>
              </a:ext>
            </a:extLst>
          </p:cNvPr>
          <p:cNvSpPr txBox="1"/>
          <p:nvPr/>
        </p:nvSpPr>
        <p:spPr>
          <a:xfrm>
            <a:off x="495374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Яркие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цвета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395AFBD5-9B99-F345-FDFD-93A5D5B71B8B}"/>
              </a:ext>
            </a:extLst>
          </p:cNvPr>
          <p:cNvSpPr txBox="1"/>
          <p:nvPr/>
        </p:nvSpPr>
        <p:spPr>
          <a:xfrm>
            <a:off x="743329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Ретр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иль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5313716C-B7B8-C6FF-ACED-F428CB2ACDAA}"/>
              </a:ext>
            </a:extLst>
          </p:cNvPr>
          <p:cNvSpPr txBox="1"/>
          <p:nvPr/>
        </p:nvSpPr>
        <p:spPr>
          <a:xfrm>
            <a:off x="9798659" y="3248119"/>
            <a:ext cx="2284517" cy="352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Минимализм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8570A41B-47BE-1ADC-53D4-B5C4C87BF32A}"/>
              </a:ext>
            </a:extLst>
          </p:cNvPr>
          <p:cNvSpPr txBox="1"/>
          <p:nvPr/>
        </p:nvSpPr>
        <p:spPr>
          <a:xfrm>
            <a:off x="107494" y="5684038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ерегружен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композиция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900F5795-34FF-8E0C-5755-2A87841E1FE5}"/>
              </a:ext>
            </a:extLst>
          </p:cNvPr>
          <p:cNvSpPr txBox="1"/>
          <p:nvPr/>
        </p:nvSpPr>
        <p:spPr>
          <a:xfrm>
            <a:off x="2766315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Нестандарт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ипографика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6DD45F9-5584-5D17-58D5-4194B430A37C}"/>
              </a:ext>
            </a:extLst>
          </p:cNvPr>
          <p:cNvSpPr txBox="1"/>
          <p:nvPr/>
        </p:nvSpPr>
        <p:spPr>
          <a:xfrm>
            <a:off x="495374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Черн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белый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90A2FE5A-C11E-3349-F29A-A3A4CDFD8145}"/>
              </a:ext>
            </a:extLst>
          </p:cNvPr>
          <p:cNvSpPr txBox="1"/>
          <p:nvPr/>
        </p:nvSpPr>
        <p:spPr>
          <a:xfrm>
            <a:off x="743329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екл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2ECDF986-333B-B886-9B05-C45E5BC23EDE}"/>
              </a:ext>
            </a:extLst>
          </p:cNvPr>
          <p:cNvSpPr txBox="1"/>
          <p:nvPr/>
        </p:nvSpPr>
        <p:spPr>
          <a:xfrm>
            <a:off x="9798659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екстуры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 фактуры</a:t>
            </a:r>
          </a:p>
        </p:txBody>
      </p:sp>
      <p:pic>
        <p:nvPicPr>
          <p:cNvPr id="4" name="Picture 2" descr="Client Questionnaire  PowerPoint Presentation">
            <a:extLst>
              <a:ext uri="{FF2B5EF4-FFF2-40B4-BE49-F238E27FC236}">
                <a16:creationId xmlns:a16="http://schemas.microsoft.com/office/drawing/2014/main" id="{B8C66D02-1079-AACF-C223-9D982F978F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451824" y="3227937"/>
            <a:ext cx="6378815" cy="4252543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Client Questionnaire  PowerPoint Presentation">
            <a:extLst>
              <a:ext uri="{FF2B5EF4-FFF2-40B4-BE49-F238E27FC236}">
                <a16:creationId xmlns:a16="http://schemas.microsoft.com/office/drawing/2014/main" id="{9B7BB6F9-344E-9070-CD7C-4F594B5349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688964" y="3248229"/>
            <a:ext cx="6378815" cy="4252543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Черно-белая эстетика">
            <a:extLst>
              <a:ext uri="{FF2B5EF4-FFF2-40B4-BE49-F238E27FC236}">
                <a16:creationId xmlns:a16="http://schemas.microsoft.com/office/drawing/2014/main" id="{F15A6B76-4886-71FE-F2FD-3917112798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372689">
            <a:off x="3162149" y="8684140"/>
            <a:ext cx="9017000" cy="6007100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15731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22222E-6 L 0.06576 2.22222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78" name="Группа 177">
            <a:extLst>
              <a:ext uri="{FF2B5EF4-FFF2-40B4-BE49-F238E27FC236}">
                <a16:creationId xmlns:a16="http://schemas.microsoft.com/office/drawing/2014/main" id="{C99650E0-C87B-0F1D-590C-BEBF62DD60CC}"/>
              </a:ext>
            </a:extLst>
          </p:cNvPr>
          <p:cNvGrpSpPr/>
          <p:nvPr/>
        </p:nvGrpSpPr>
        <p:grpSpPr>
          <a:xfrm>
            <a:off x="-6488797" y="-394730"/>
            <a:ext cx="9449961" cy="8199941"/>
            <a:chOff x="4931227" y="4071540"/>
            <a:chExt cx="1902534" cy="1650871"/>
          </a:xfrm>
        </p:grpSpPr>
        <p:sp>
          <p:nvSpPr>
            <p:cNvPr id="137" name="Rectangle 23">
              <a:extLst>
                <a:ext uri="{FF2B5EF4-FFF2-40B4-BE49-F238E27FC236}">
                  <a16:creationId xmlns:a16="http://schemas.microsoft.com/office/drawing/2014/main" id="{ED07FEA2-D699-6335-26A2-4AF432160754}"/>
                </a:ext>
              </a:extLst>
            </p:cNvPr>
            <p:cNvSpPr/>
            <p:nvPr/>
          </p:nvSpPr>
          <p:spPr>
            <a:xfrm>
              <a:off x="4931227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8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09C3FF1-010B-ED79-6CA1-1B68C3731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9" name="Freeform 12">
              <a:extLst>
                <a:ext uri="{FF2B5EF4-FFF2-40B4-BE49-F238E27FC236}">
                  <a16:creationId xmlns:a16="http://schemas.microsoft.com/office/drawing/2014/main" id="{247B6EB1-243F-98B7-3420-9B7E47C17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5503178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0" name="Freeform 13">
              <a:extLst>
                <a:ext uri="{FF2B5EF4-FFF2-40B4-BE49-F238E27FC236}">
                  <a16:creationId xmlns:a16="http://schemas.microsoft.com/office/drawing/2014/main" id="{E1A9EFCB-1E58-4FF0-A5F8-9EC6968E1E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4071540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1" name="Freeform 14">
              <a:extLst>
                <a:ext uri="{FF2B5EF4-FFF2-40B4-BE49-F238E27FC236}">
                  <a16:creationId xmlns:a16="http://schemas.microsoft.com/office/drawing/2014/main" id="{EA221590-F141-E01D-575B-5DE9A0222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5391642-B016-F527-3386-A161DF2684CE}"/>
              </a:ext>
            </a:extLst>
          </p:cNvPr>
          <p:cNvSpPr txBox="1"/>
          <p:nvPr/>
        </p:nvSpPr>
        <p:spPr>
          <a:xfrm>
            <a:off x="1043932" y="1195583"/>
            <a:ext cx="9667656" cy="1724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ЧЕРНО-БЕЛЫЙ </a:t>
            </a:r>
            <a:b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</a:br>
            <a: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pic>
        <p:nvPicPr>
          <p:cNvPr id="14338" name="Picture 2" descr="Черно-белая эстетика">
            <a:extLst>
              <a:ext uri="{FF2B5EF4-FFF2-40B4-BE49-F238E27FC236}">
                <a16:creationId xmlns:a16="http://schemas.microsoft.com/office/drawing/2014/main" id="{BDF87C7C-05FB-490B-8DCA-338C9527B3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372689">
            <a:off x="3162149" y="2991629"/>
            <a:ext cx="9017000" cy="6007100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14050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436268" y="451062"/>
            <a:ext cx="8590385" cy="679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36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ТРЕНДЫ В ПРЕЗЕНТАЦИЯХ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35B0E2B-7288-51E5-1236-CF55D862B48D}"/>
              </a:ext>
            </a:extLst>
          </p:cNvPr>
          <p:cNvGrpSpPr/>
          <p:nvPr/>
        </p:nvGrpSpPr>
        <p:grpSpPr>
          <a:xfrm>
            <a:off x="2570693" y="1530804"/>
            <a:ext cx="1904144" cy="1650871"/>
            <a:chOff x="2570693" y="1530804"/>
            <a:chExt cx="1904144" cy="1650871"/>
          </a:xfrm>
        </p:grpSpPr>
        <p:grpSp>
          <p:nvGrpSpPr>
            <p:cNvPr id="163" name="Группа 162">
              <a:extLst>
                <a:ext uri="{FF2B5EF4-FFF2-40B4-BE49-F238E27FC236}">
                  <a16:creationId xmlns:a16="http://schemas.microsoft.com/office/drawing/2014/main" id="{4B8A1FD4-56F7-CF9F-A9B0-1DC5AA30F5E5}"/>
                </a:ext>
              </a:extLst>
            </p:cNvPr>
            <p:cNvGrpSpPr/>
            <p:nvPr/>
          </p:nvGrpSpPr>
          <p:grpSpPr>
            <a:xfrm>
              <a:off x="2570693" y="1543071"/>
              <a:ext cx="1891155" cy="1638604"/>
              <a:chOff x="2570693" y="1543071"/>
              <a:chExt cx="1891155" cy="1638604"/>
            </a:xfrm>
          </p:grpSpPr>
          <p:sp>
            <p:nvSpPr>
              <p:cNvPr id="93" name="Rectangle 24">
                <a:extLst>
                  <a:ext uri="{FF2B5EF4-FFF2-40B4-BE49-F238E27FC236}">
                    <a16:creationId xmlns:a16="http://schemas.microsoft.com/office/drawing/2014/main" id="{56E5413D-BEB3-D6DA-40AC-5C27DF8D4C54}"/>
                  </a:ext>
                </a:extLst>
              </p:cNvPr>
              <p:cNvSpPr/>
              <p:nvPr/>
            </p:nvSpPr>
            <p:spPr>
              <a:xfrm>
                <a:off x="2570693" y="1612015"/>
                <a:ext cx="1337881" cy="15696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9600" dirty="0">
                    <a:solidFill>
                      <a:srgbClr val="620CFD"/>
                    </a:solidFill>
                    <a:latin typeface="Poppins SemiBold" panose="00000700000000000000" pitchFamily="2" charset="0"/>
                    <a:ea typeface="Roboto Bold" panose="02000000000000000000" pitchFamily="2" charset="0"/>
                    <a:cs typeface="Poppins SemiBold" panose="00000700000000000000" pitchFamily="2" charset="0"/>
                  </a:rPr>
                  <a:t>2</a:t>
                </a:r>
                <a:endParaRPr lang="en-US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95" name="Freeform 5">
                <a:extLst>
                  <a:ext uri="{FF2B5EF4-FFF2-40B4-BE49-F238E27FC236}">
                    <a16:creationId xmlns:a16="http://schemas.microsoft.com/office/drawing/2014/main" id="{1217AEF5-802E-A251-3622-85C194DF9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50" y="1543071"/>
                <a:ext cx="1069398" cy="1505240"/>
              </a:xfrm>
              <a:custGeom>
                <a:avLst/>
                <a:gdLst>
                  <a:gd name="T0" fmla="*/ 260 w 872"/>
                  <a:gd name="T1" fmla="*/ 0 h 1225"/>
                  <a:gd name="T2" fmla="*/ 0 w 872"/>
                  <a:gd name="T3" fmla="*/ 58 h 1225"/>
                  <a:gd name="T4" fmla="*/ 0 w 872"/>
                  <a:gd name="T5" fmla="*/ 1168 h 1225"/>
                  <a:gd name="T6" fmla="*/ 260 w 872"/>
                  <a:gd name="T7" fmla="*/ 1225 h 1225"/>
                  <a:gd name="T8" fmla="*/ 872 w 872"/>
                  <a:gd name="T9" fmla="*/ 613 h 1225"/>
                  <a:gd name="T10" fmla="*/ 260 w 872"/>
                  <a:gd name="T11" fmla="*/ 0 h 1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2" h="1225">
                    <a:moveTo>
                      <a:pt x="260" y="0"/>
                    </a:moveTo>
                    <a:cubicBezTo>
                      <a:pt x="167" y="0"/>
                      <a:pt x="79" y="21"/>
                      <a:pt x="0" y="58"/>
                    </a:cubicBezTo>
                    <a:cubicBezTo>
                      <a:pt x="0" y="1168"/>
                      <a:pt x="0" y="1168"/>
                      <a:pt x="0" y="1168"/>
                    </a:cubicBezTo>
                    <a:cubicBezTo>
                      <a:pt x="79" y="1205"/>
                      <a:pt x="167" y="1225"/>
                      <a:pt x="260" y="1225"/>
                    </a:cubicBezTo>
                    <a:cubicBezTo>
                      <a:pt x="598" y="1225"/>
                      <a:pt x="872" y="951"/>
                      <a:pt x="872" y="613"/>
                    </a:cubicBezTo>
                    <a:cubicBezTo>
                      <a:pt x="872" y="275"/>
                      <a:pt x="598" y="0"/>
                      <a:pt x="2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76200" dist="38100" dir="10800000" algn="r" rotWithShape="0">
                  <a:prstClr val="black">
                    <a:alpha val="3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A3572630-598B-5C94-8D3E-3784DF297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id="{DAA99000-EA9A-AE50-74C7-2BA64FDCC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id="{8B3DD752-C6A4-CFD4-19C2-EB2456B2D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3" name="Группа 172">
            <a:extLst>
              <a:ext uri="{FF2B5EF4-FFF2-40B4-BE49-F238E27FC236}">
                <a16:creationId xmlns:a16="http://schemas.microsoft.com/office/drawing/2014/main" id="{EB1D928E-4F1C-D312-593E-162A0FF3104C}"/>
              </a:ext>
            </a:extLst>
          </p:cNvPr>
          <p:cNvGrpSpPr/>
          <p:nvPr/>
        </p:nvGrpSpPr>
        <p:grpSpPr>
          <a:xfrm>
            <a:off x="4931227" y="1530804"/>
            <a:ext cx="1902534" cy="1650871"/>
            <a:chOff x="4931227" y="1530804"/>
            <a:chExt cx="1902534" cy="1650871"/>
          </a:xfrm>
        </p:grpSpPr>
        <p:sp>
          <p:nvSpPr>
            <p:cNvPr id="92" name="Rectangle 23">
              <a:extLst>
                <a:ext uri="{FF2B5EF4-FFF2-40B4-BE49-F238E27FC236}">
                  <a16:creationId xmlns:a16="http://schemas.microsoft.com/office/drawing/2014/main" id="{273617A1-2DC0-5FB9-D7E0-FF6BCB3EB5ED}"/>
                </a:ext>
              </a:extLst>
            </p:cNvPr>
            <p:cNvSpPr/>
            <p:nvPr/>
          </p:nvSpPr>
          <p:spPr>
            <a:xfrm>
              <a:off x="4931227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3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006CAACD-CC97-0283-4433-83EF84659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D7108752-D1B1-31C4-D013-C181BD470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2962442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C6A1B4F2-3F92-F637-BB6F-29F3023B5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1530804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C1360D4A-55EB-272D-6048-902A967F1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3CCC8006-DC23-82B5-9306-E15D523021AC}"/>
              </a:ext>
            </a:extLst>
          </p:cNvPr>
          <p:cNvGrpSpPr/>
          <p:nvPr/>
        </p:nvGrpSpPr>
        <p:grpSpPr>
          <a:xfrm>
            <a:off x="7295974" y="1530804"/>
            <a:ext cx="1959602" cy="1650871"/>
            <a:chOff x="7295974" y="1530804"/>
            <a:chExt cx="1959602" cy="1650871"/>
          </a:xfrm>
        </p:grpSpPr>
        <p:sp>
          <p:nvSpPr>
            <p:cNvPr id="91" name="Rectangle 22">
              <a:extLst>
                <a:ext uri="{FF2B5EF4-FFF2-40B4-BE49-F238E27FC236}">
                  <a16:creationId xmlns:a16="http://schemas.microsoft.com/office/drawing/2014/main" id="{AF59DD62-7880-13CC-4138-B454478E64D9}"/>
                </a:ext>
              </a:extLst>
            </p:cNvPr>
            <p:cNvSpPr/>
            <p:nvPr/>
          </p:nvSpPr>
          <p:spPr>
            <a:xfrm>
              <a:off x="7295974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4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B988EB9F-9358-3C35-272D-F6EFF02A7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1543071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0" name="Freeform 17">
              <a:extLst>
                <a:ext uri="{FF2B5EF4-FFF2-40B4-BE49-F238E27FC236}">
                  <a16:creationId xmlns:a16="http://schemas.microsoft.com/office/drawing/2014/main" id="{CE1C1353-7B83-A46C-5D84-EEF7396A6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2962442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1" name="Freeform 18">
              <a:extLst>
                <a:ext uri="{FF2B5EF4-FFF2-40B4-BE49-F238E27FC236}">
                  <a16:creationId xmlns:a16="http://schemas.microsoft.com/office/drawing/2014/main" id="{0D092205-5F45-3E67-E60B-C5468BB8F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1530804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2" name="Freeform 19">
              <a:extLst>
                <a:ext uri="{FF2B5EF4-FFF2-40B4-BE49-F238E27FC236}">
                  <a16:creationId xmlns:a16="http://schemas.microsoft.com/office/drawing/2014/main" id="{62B77E0A-A3CB-4BAD-15B2-38C772EEF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1588532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5" name="Группа 174">
            <a:extLst>
              <a:ext uri="{FF2B5EF4-FFF2-40B4-BE49-F238E27FC236}">
                <a16:creationId xmlns:a16="http://schemas.microsoft.com/office/drawing/2014/main" id="{0B591BB7-477C-7C35-7106-26B676D5BE13}"/>
              </a:ext>
            </a:extLst>
          </p:cNvPr>
          <p:cNvGrpSpPr/>
          <p:nvPr/>
        </p:nvGrpSpPr>
        <p:grpSpPr>
          <a:xfrm>
            <a:off x="9717808" y="1530804"/>
            <a:ext cx="1902714" cy="1650871"/>
            <a:chOff x="9717808" y="1530804"/>
            <a:chExt cx="1902714" cy="1650871"/>
          </a:xfrm>
        </p:grpSpPr>
        <p:sp>
          <p:nvSpPr>
            <p:cNvPr id="90" name="Rectangle 21">
              <a:extLst>
                <a:ext uri="{FF2B5EF4-FFF2-40B4-BE49-F238E27FC236}">
                  <a16:creationId xmlns:a16="http://schemas.microsoft.com/office/drawing/2014/main" id="{29569A48-EE85-2ED7-8D80-191157BE8C22}"/>
                </a:ext>
              </a:extLst>
            </p:cNvPr>
            <p:cNvSpPr/>
            <p:nvPr/>
          </p:nvSpPr>
          <p:spPr>
            <a:xfrm>
              <a:off x="9717808" y="1612015"/>
              <a:ext cx="1337882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5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3" name="Freeform 20">
              <a:extLst>
                <a:ext uri="{FF2B5EF4-FFF2-40B4-BE49-F238E27FC236}">
                  <a16:creationId xmlns:a16="http://schemas.microsoft.com/office/drawing/2014/main" id="{9EE6F49C-07F6-DB6B-4B0B-1EB921EE5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8136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5" name="Freeform 21">
              <a:extLst>
                <a:ext uri="{FF2B5EF4-FFF2-40B4-BE49-F238E27FC236}">
                  <a16:creationId xmlns:a16="http://schemas.microsoft.com/office/drawing/2014/main" id="{6749EA0B-A536-CDB9-C374-57F4AE4E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6" name="Freeform 22">
              <a:extLst>
                <a:ext uri="{FF2B5EF4-FFF2-40B4-BE49-F238E27FC236}">
                  <a16:creationId xmlns:a16="http://schemas.microsoft.com/office/drawing/2014/main" id="{E4B64482-23A1-4452-2675-AA1B5EFFB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5965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3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59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3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88 w 827"/>
                <a:gd name="T99" fmla="*/ 11 h 1245"/>
                <a:gd name="T100" fmla="*/ 245 w 827"/>
                <a:gd name="T101" fmla="*/ 2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199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8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7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4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3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1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8" y="842"/>
                    <a:pt x="777" y="841"/>
                  </a:cubicBezTo>
                  <a:cubicBezTo>
                    <a:pt x="772" y="839"/>
                    <a:pt x="769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1" y="535"/>
                    <a:pt x="823" y="551"/>
                  </a:cubicBezTo>
                  <a:cubicBezTo>
                    <a:pt x="824" y="557"/>
                    <a:pt x="820" y="562"/>
                    <a:pt x="814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2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4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59" y="111"/>
                  </a:cubicBezTo>
                  <a:cubicBezTo>
                    <a:pt x="573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6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4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29" y="21"/>
                    <a:pt x="213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7" name="Freeform 23">
              <a:extLst>
                <a:ext uri="{FF2B5EF4-FFF2-40B4-BE49-F238E27FC236}">
                  <a16:creationId xmlns:a16="http://schemas.microsoft.com/office/drawing/2014/main" id="{04E21E31-4E2B-6A92-5A7F-D0ED69C0E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2" name="Группа 171">
            <a:extLst>
              <a:ext uri="{FF2B5EF4-FFF2-40B4-BE49-F238E27FC236}">
                <a16:creationId xmlns:a16="http://schemas.microsoft.com/office/drawing/2014/main" id="{70F9F561-E925-CC3F-3FD1-0CF9DB029578}"/>
              </a:ext>
            </a:extLst>
          </p:cNvPr>
          <p:cNvGrpSpPr/>
          <p:nvPr/>
        </p:nvGrpSpPr>
        <p:grpSpPr>
          <a:xfrm>
            <a:off x="224760" y="1530804"/>
            <a:ext cx="1890777" cy="1650871"/>
            <a:chOff x="224760" y="1530804"/>
            <a:chExt cx="1890777" cy="1650871"/>
          </a:xfrm>
        </p:grpSpPr>
        <p:sp>
          <p:nvSpPr>
            <p:cNvPr id="94" name="Rectangle 25">
              <a:extLst>
                <a:ext uri="{FF2B5EF4-FFF2-40B4-BE49-F238E27FC236}">
                  <a16:creationId xmlns:a16="http://schemas.microsoft.com/office/drawing/2014/main" id="{9426B5F4-A4AA-8DEB-EADD-889E43D6ECF0}"/>
                </a:ext>
              </a:extLst>
            </p:cNvPr>
            <p:cNvSpPr/>
            <p:nvPr/>
          </p:nvSpPr>
          <p:spPr>
            <a:xfrm>
              <a:off x="224760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8" name="Freeform 24">
              <a:extLst>
                <a:ext uri="{FF2B5EF4-FFF2-40B4-BE49-F238E27FC236}">
                  <a16:creationId xmlns:a16="http://schemas.microsoft.com/office/drawing/2014/main" id="{8668C76E-DE85-167C-8B9D-C63A038FC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1543071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1" name="Freeform 26">
              <a:extLst>
                <a:ext uri="{FF2B5EF4-FFF2-40B4-BE49-F238E27FC236}">
                  <a16:creationId xmlns:a16="http://schemas.microsoft.com/office/drawing/2014/main" id="{821036B1-A114-9E54-AC89-AFD52FDBD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2962442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2" name="Freeform 27">
              <a:extLst>
                <a:ext uri="{FF2B5EF4-FFF2-40B4-BE49-F238E27FC236}">
                  <a16:creationId xmlns:a16="http://schemas.microsoft.com/office/drawing/2014/main" id="{FADFDA08-A75F-E108-01D3-C17D96AF18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1530804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23" name="Freeform 28">
              <a:extLst>
                <a:ext uri="{FF2B5EF4-FFF2-40B4-BE49-F238E27FC236}">
                  <a16:creationId xmlns:a16="http://schemas.microsoft.com/office/drawing/2014/main" id="{02E78DB1-B4D3-B148-1742-D14CDC023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CEE3B85A-97B9-89F8-C67A-48CF9E943346}"/>
              </a:ext>
            </a:extLst>
          </p:cNvPr>
          <p:cNvGrpSpPr/>
          <p:nvPr/>
        </p:nvGrpSpPr>
        <p:grpSpPr>
          <a:xfrm>
            <a:off x="2570693" y="4071540"/>
            <a:ext cx="1904144" cy="1650871"/>
            <a:chOff x="2570693" y="4071540"/>
            <a:chExt cx="1904144" cy="1650871"/>
          </a:xfrm>
        </p:grpSpPr>
        <p:sp>
          <p:nvSpPr>
            <p:cNvPr id="131" name="Rectangle 24">
              <a:extLst>
                <a:ext uri="{FF2B5EF4-FFF2-40B4-BE49-F238E27FC236}">
                  <a16:creationId xmlns:a16="http://schemas.microsoft.com/office/drawing/2014/main" id="{39A4F353-AB65-8B80-1741-785AC44F9562}"/>
                </a:ext>
              </a:extLst>
            </p:cNvPr>
            <p:cNvSpPr/>
            <p:nvPr/>
          </p:nvSpPr>
          <p:spPr>
            <a:xfrm>
              <a:off x="2570693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7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7B1958A9-DF83-922C-950A-7314D9F26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50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3" name="Freeform 7">
              <a:extLst>
                <a:ext uri="{FF2B5EF4-FFF2-40B4-BE49-F238E27FC236}">
                  <a16:creationId xmlns:a16="http://schemas.microsoft.com/office/drawing/2014/main" id="{564C58DD-3A84-B66A-E8A5-F6FD608DA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4" name="Freeform 8">
              <a:extLst>
                <a:ext uri="{FF2B5EF4-FFF2-40B4-BE49-F238E27FC236}">
                  <a16:creationId xmlns:a16="http://schemas.microsoft.com/office/drawing/2014/main" id="{F098A11B-806D-749D-B8E3-34D6654304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4071540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5" name="Freeform 9">
              <a:extLst>
                <a:ext uri="{FF2B5EF4-FFF2-40B4-BE49-F238E27FC236}">
                  <a16:creationId xmlns:a16="http://schemas.microsoft.com/office/drawing/2014/main" id="{FBABAF63-61AF-5442-229A-F95325EF3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8" name="Группа 177">
            <a:extLst>
              <a:ext uri="{FF2B5EF4-FFF2-40B4-BE49-F238E27FC236}">
                <a16:creationId xmlns:a16="http://schemas.microsoft.com/office/drawing/2014/main" id="{C99650E0-C87B-0F1D-590C-BEBF62DD60CC}"/>
              </a:ext>
            </a:extLst>
          </p:cNvPr>
          <p:cNvGrpSpPr/>
          <p:nvPr/>
        </p:nvGrpSpPr>
        <p:grpSpPr>
          <a:xfrm>
            <a:off x="4931227" y="4071540"/>
            <a:ext cx="1902534" cy="1650871"/>
            <a:chOff x="4931227" y="4071540"/>
            <a:chExt cx="1902534" cy="1650871"/>
          </a:xfrm>
        </p:grpSpPr>
        <p:sp>
          <p:nvSpPr>
            <p:cNvPr id="137" name="Rectangle 23">
              <a:extLst>
                <a:ext uri="{FF2B5EF4-FFF2-40B4-BE49-F238E27FC236}">
                  <a16:creationId xmlns:a16="http://schemas.microsoft.com/office/drawing/2014/main" id="{ED07FEA2-D699-6335-26A2-4AF432160754}"/>
                </a:ext>
              </a:extLst>
            </p:cNvPr>
            <p:cNvSpPr/>
            <p:nvPr/>
          </p:nvSpPr>
          <p:spPr>
            <a:xfrm>
              <a:off x="4931227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8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09C3FF1-010B-ED79-6CA1-1B68C3731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9" name="Freeform 12">
              <a:extLst>
                <a:ext uri="{FF2B5EF4-FFF2-40B4-BE49-F238E27FC236}">
                  <a16:creationId xmlns:a16="http://schemas.microsoft.com/office/drawing/2014/main" id="{247B6EB1-243F-98B7-3420-9B7E47C17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5503178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0" name="Freeform 13">
              <a:extLst>
                <a:ext uri="{FF2B5EF4-FFF2-40B4-BE49-F238E27FC236}">
                  <a16:creationId xmlns:a16="http://schemas.microsoft.com/office/drawing/2014/main" id="{E1A9EFCB-1E58-4FF0-A5F8-9EC6968E1E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4071540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1" name="Freeform 14">
              <a:extLst>
                <a:ext uri="{FF2B5EF4-FFF2-40B4-BE49-F238E27FC236}">
                  <a16:creationId xmlns:a16="http://schemas.microsoft.com/office/drawing/2014/main" id="{EA221590-F141-E01D-575B-5DE9A0222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9" name="Группа 178">
            <a:extLst>
              <a:ext uri="{FF2B5EF4-FFF2-40B4-BE49-F238E27FC236}">
                <a16:creationId xmlns:a16="http://schemas.microsoft.com/office/drawing/2014/main" id="{6E953091-5929-4FB2-64FD-9599FF6FA641}"/>
              </a:ext>
            </a:extLst>
          </p:cNvPr>
          <p:cNvGrpSpPr/>
          <p:nvPr/>
        </p:nvGrpSpPr>
        <p:grpSpPr>
          <a:xfrm>
            <a:off x="7295974" y="4071540"/>
            <a:ext cx="1959602" cy="1650871"/>
            <a:chOff x="7295974" y="4071540"/>
            <a:chExt cx="1959602" cy="1650871"/>
          </a:xfrm>
        </p:grpSpPr>
        <p:sp>
          <p:nvSpPr>
            <p:cNvPr id="143" name="Rectangle 22">
              <a:extLst>
                <a:ext uri="{FF2B5EF4-FFF2-40B4-BE49-F238E27FC236}">
                  <a16:creationId xmlns:a16="http://schemas.microsoft.com/office/drawing/2014/main" id="{20EFDC4D-8D49-F4A1-63CA-733DC4D66C8D}"/>
                </a:ext>
              </a:extLst>
            </p:cNvPr>
            <p:cNvSpPr/>
            <p:nvPr/>
          </p:nvSpPr>
          <p:spPr>
            <a:xfrm>
              <a:off x="7295974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9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0A68112C-D223-568A-7F32-730CA6D7F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4083807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5" name="Freeform 17">
              <a:extLst>
                <a:ext uri="{FF2B5EF4-FFF2-40B4-BE49-F238E27FC236}">
                  <a16:creationId xmlns:a16="http://schemas.microsoft.com/office/drawing/2014/main" id="{857360FC-21B5-721D-A68B-D195A19CC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5503178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6" name="Freeform 18">
              <a:extLst>
                <a:ext uri="{FF2B5EF4-FFF2-40B4-BE49-F238E27FC236}">
                  <a16:creationId xmlns:a16="http://schemas.microsoft.com/office/drawing/2014/main" id="{A9DA7EF3-C181-CE39-61D6-916C859D4C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4071540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7" name="Freeform 19">
              <a:extLst>
                <a:ext uri="{FF2B5EF4-FFF2-40B4-BE49-F238E27FC236}">
                  <a16:creationId xmlns:a16="http://schemas.microsoft.com/office/drawing/2014/main" id="{6E0744BF-151B-AF62-3BDB-9CB6D9283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4129268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52" name="Freeform 22">
            <a:extLst>
              <a:ext uri="{FF2B5EF4-FFF2-40B4-BE49-F238E27FC236}">
                <a16:creationId xmlns:a16="http://schemas.microsoft.com/office/drawing/2014/main" id="{8E6FD6D1-0690-0E47-11F1-32AEE325EB8F}"/>
              </a:ext>
            </a:extLst>
          </p:cNvPr>
          <p:cNvSpPr>
            <a:spLocks noEditPoints="1"/>
          </p:cNvSpPr>
          <p:nvPr/>
        </p:nvSpPr>
        <p:spPr bwMode="auto">
          <a:xfrm>
            <a:off x="10578442" y="4071540"/>
            <a:ext cx="1014557" cy="1529774"/>
          </a:xfrm>
          <a:custGeom>
            <a:avLst/>
            <a:gdLst>
              <a:gd name="T0" fmla="*/ 197 w 827"/>
              <a:gd name="T1" fmla="*/ 1225 h 1245"/>
              <a:gd name="T2" fmla="*/ 245 w 827"/>
              <a:gd name="T3" fmla="*/ 1244 h 1245"/>
              <a:gd name="T4" fmla="*/ 101 w 827"/>
              <a:gd name="T5" fmla="*/ 1237 h 1245"/>
              <a:gd name="T6" fmla="*/ 160 w 827"/>
              <a:gd name="T7" fmla="*/ 1234 h 1245"/>
              <a:gd name="T8" fmla="*/ 290 w 827"/>
              <a:gd name="T9" fmla="*/ 1219 h 1245"/>
              <a:gd name="T10" fmla="*/ 293 w 827"/>
              <a:gd name="T11" fmla="*/ 1239 h 1245"/>
              <a:gd name="T12" fmla="*/ 8 w 827"/>
              <a:gd name="T13" fmla="*/ 1214 h 1245"/>
              <a:gd name="T14" fmla="*/ 66 w 827"/>
              <a:gd name="T15" fmla="*/ 1220 h 1245"/>
              <a:gd name="T16" fmla="*/ 381 w 827"/>
              <a:gd name="T17" fmla="*/ 1199 h 1245"/>
              <a:gd name="T18" fmla="*/ 386 w 827"/>
              <a:gd name="T19" fmla="*/ 1218 h 1245"/>
              <a:gd name="T20" fmla="*/ 467 w 827"/>
              <a:gd name="T21" fmla="*/ 1165 h 1245"/>
              <a:gd name="T22" fmla="*/ 476 w 827"/>
              <a:gd name="T23" fmla="*/ 1183 h 1245"/>
              <a:gd name="T24" fmla="*/ 548 w 827"/>
              <a:gd name="T25" fmla="*/ 1119 h 1245"/>
              <a:gd name="T26" fmla="*/ 559 w 827"/>
              <a:gd name="T27" fmla="*/ 1135 h 1245"/>
              <a:gd name="T28" fmla="*/ 620 w 827"/>
              <a:gd name="T29" fmla="*/ 1060 h 1245"/>
              <a:gd name="T30" fmla="*/ 633 w 827"/>
              <a:gd name="T31" fmla="*/ 1074 h 1245"/>
              <a:gd name="T32" fmla="*/ 682 w 827"/>
              <a:gd name="T33" fmla="*/ 991 h 1245"/>
              <a:gd name="T34" fmla="*/ 698 w 827"/>
              <a:gd name="T35" fmla="*/ 1003 h 1245"/>
              <a:gd name="T36" fmla="*/ 733 w 827"/>
              <a:gd name="T37" fmla="*/ 913 h 1245"/>
              <a:gd name="T38" fmla="*/ 751 w 827"/>
              <a:gd name="T39" fmla="*/ 923 h 1245"/>
              <a:gd name="T40" fmla="*/ 771 w 827"/>
              <a:gd name="T41" fmla="*/ 828 h 1245"/>
              <a:gd name="T42" fmla="*/ 790 w 827"/>
              <a:gd name="T43" fmla="*/ 835 h 1245"/>
              <a:gd name="T44" fmla="*/ 796 w 827"/>
              <a:gd name="T45" fmla="*/ 739 h 1245"/>
              <a:gd name="T46" fmla="*/ 816 w 827"/>
              <a:gd name="T47" fmla="*/ 743 h 1245"/>
              <a:gd name="T48" fmla="*/ 807 w 827"/>
              <a:gd name="T49" fmla="*/ 647 h 1245"/>
              <a:gd name="T50" fmla="*/ 827 w 827"/>
              <a:gd name="T51" fmla="*/ 599 h 1245"/>
              <a:gd name="T52" fmla="*/ 813 w 827"/>
              <a:gd name="T53" fmla="*/ 562 h 1245"/>
              <a:gd name="T54" fmla="*/ 816 w 827"/>
              <a:gd name="T55" fmla="*/ 504 h 1245"/>
              <a:gd name="T56" fmla="*/ 795 w 827"/>
              <a:gd name="T57" fmla="*/ 470 h 1245"/>
              <a:gd name="T58" fmla="*/ 790 w 827"/>
              <a:gd name="T59" fmla="*/ 411 h 1245"/>
              <a:gd name="T60" fmla="*/ 763 w 827"/>
              <a:gd name="T61" fmla="*/ 381 h 1245"/>
              <a:gd name="T62" fmla="*/ 751 w 827"/>
              <a:gd name="T63" fmla="*/ 324 h 1245"/>
              <a:gd name="T64" fmla="*/ 718 w 827"/>
              <a:gd name="T65" fmla="*/ 298 h 1245"/>
              <a:gd name="T66" fmla="*/ 698 w 827"/>
              <a:gd name="T67" fmla="*/ 243 h 1245"/>
              <a:gd name="T68" fmla="*/ 660 w 827"/>
              <a:gd name="T69" fmla="*/ 223 h 1245"/>
              <a:gd name="T70" fmla="*/ 634 w 827"/>
              <a:gd name="T71" fmla="*/ 172 h 1245"/>
              <a:gd name="T72" fmla="*/ 592 w 827"/>
              <a:gd name="T73" fmla="*/ 158 h 1245"/>
              <a:gd name="T74" fmla="*/ 559 w 827"/>
              <a:gd name="T75" fmla="*/ 111 h 1245"/>
              <a:gd name="T76" fmla="*/ 514 w 827"/>
              <a:gd name="T77" fmla="*/ 104 h 1245"/>
              <a:gd name="T78" fmla="*/ 477 w 827"/>
              <a:gd name="T79" fmla="*/ 63 h 1245"/>
              <a:gd name="T80" fmla="*/ 429 w 827"/>
              <a:gd name="T81" fmla="*/ 63 h 1245"/>
              <a:gd name="T82" fmla="*/ 387 w 827"/>
              <a:gd name="T83" fmla="*/ 28 h 1245"/>
              <a:gd name="T84" fmla="*/ 12 w 827"/>
              <a:gd name="T85" fmla="*/ 51 h 1245"/>
              <a:gd name="T86" fmla="*/ 67 w 827"/>
              <a:gd name="T87" fmla="*/ 26 h 1245"/>
              <a:gd name="T88" fmla="*/ 339 w 827"/>
              <a:gd name="T89" fmla="*/ 35 h 1245"/>
              <a:gd name="T90" fmla="*/ 293 w 827"/>
              <a:gd name="T91" fmla="*/ 7 h 1245"/>
              <a:gd name="T92" fmla="*/ 104 w 827"/>
              <a:gd name="T93" fmla="*/ 29 h 1245"/>
              <a:gd name="T94" fmla="*/ 160 w 827"/>
              <a:gd name="T95" fmla="*/ 12 h 1245"/>
              <a:gd name="T96" fmla="*/ 245 w 827"/>
              <a:gd name="T97" fmla="*/ 22 h 1245"/>
              <a:gd name="T98" fmla="*/ 188 w 827"/>
              <a:gd name="T99" fmla="*/ 11 h 1245"/>
              <a:gd name="T100" fmla="*/ 245 w 827"/>
              <a:gd name="T101" fmla="*/ 22 h 1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27" h="1245">
                <a:moveTo>
                  <a:pt x="205" y="1245"/>
                </a:moveTo>
                <a:cubicBezTo>
                  <a:pt x="202" y="1245"/>
                  <a:pt x="199" y="1245"/>
                  <a:pt x="197" y="1245"/>
                </a:cubicBezTo>
                <a:cubicBezTo>
                  <a:pt x="191" y="1245"/>
                  <a:pt x="187" y="1241"/>
                  <a:pt x="187" y="1235"/>
                </a:cubicBezTo>
                <a:cubicBezTo>
                  <a:pt x="187" y="1230"/>
                  <a:pt x="191" y="1225"/>
                  <a:pt x="197" y="1225"/>
                </a:cubicBezTo>
                <a:cubicBezTo>
                  <a:pt x="197" y="1225"/>
                  <a:pt x="197" y="1225"/>
                  <a:pt x="197" y="1225"/>
                </a:cubicBezTo>
                <a:cubicBezTo>
                  <a:pt x="212" y="1226"/>
                  <a:pt x="228" y="1225"/>
                  <a:pt x="244" y="1224"/>
                </a:cubicBezTo>
                <a:cubicBezTo>
                  <a:pt x="249" y="1224"/>
                  <a:pt x="254" y="1228"/>
                  <a:pt x="254" y="1234"/>
                </a:cubicBezTo>
                <a:cubicBezTo>
                  <a:pt x="255" y="1239"/>
                  <a:pt x="250" y="1244"/>
                  <a:pt x="245" y="1244"/>
                </a:cubicBezTo>
                <a:cubicBezTo>
                  <a:pt x="232" y="1245"/>
                  <a:pt x="218" y="1245"/>
                  <a:pt x="205" y="1245"/>
                </a:cubicBezTo>
                <a:close/>
                <a:moveTo>
                  <a:pt x="150" y="1243"/>
                </a:moveTo>
                <a:cubicBezTo>
                  <a:pt x="149" y="1243"/>
                  <a:pt x="149" y="1243"/>
                  <a:pt x="149" y="1243"/>
                </a:cubicBezTo>
                <a:cubicBezTo>
                  <a:pt x="133" y="1241"/>
                  <a:pt x="117" y="1239"/>
                  <a:pt x="101" y="1237"/>
                </a:cubicBezTo>
                <a:cubicBezTo>
                  <a:pt x="96" y="1236"/>
                  <a:pt x="92" y="1231"/>
                  <a:pt x="93" y="1225"/>
                </a:cubicBezTo>
                <a:cubicBezTo>
                  <a:pt x="94" y="1220"/>
                  <a:pt x="99" y="1216"/>
                  <a:pt x="104" y="1217"/>
                </a:cubicBezTo>
                <a:cubicBezTo>
                  <a:pt x="120" y="1220"/>
                  <a:pt x="135" y="1222"/>
                  <a:pt x="151" y="1223"/>
                </a:cubicBezTo>
                <a:cubicBezTo>
                  <a:pt x="156" y="1223"/>
                  <a:pt x="160" y="1228"/>
                  <a:pt x="160" y="1234"/>
                </a:cubicBezTo>
                <a:cubicBezTo>
                  <a:pt x="159" y="1239"/>
                  <a:pt x="155" y="1243"/>
                  <a:pt x="150" y="1243"/>
                </a:cubicBezTo>
                <a:close/>
                <a:moveTo>
                  <a:pt x="291" y="1239"/>
                </a:moveTo>
                <a:cubicBezTo>
                  <a:pt x="286" y="1239"/>
                  <a:pt x="282" y="1236"/>
                  <a:pt x="281" y="1231"/>
                </a:cubicBezTo>
                <a:cubicBezTo>
                  <a:pt x="281" y="1225"/>
                  <a:pt x="284" y="1220"/>
                  <a:pt x="290" y="1219"/>
                </a:cubicBezTo>
                <a:cubicBezTo>
                  <a:pt x="305" y="1217"/>
                  <a:pt x="321" y="1214"/>
                  <a:pt x="336" y="1211"/>
                </a:cubicBezTo>
                <a:cubicBezTo>
                  <a:pt x="341" y="1210"/>
                  <a:pt x="346" y="1213"/>
                  <a:pt x="348" y="1219"/>
                </a:cubicBezTo>
                <a:cubicBezTo>
                  <a:pt x="349" y="1224"/>
                  <a:pt x="345" y="1229"/>
                  <a:pt x="340" y="1231"/>
                </a:cubicBezTo>
                <a:cubicBezTo>
                  <a:pt x="324" y="1234"/>
                  <a:pt x="308" y="1237"/>
                  <a:pt x="293" y="1239"/>
                </a:cubicBezTo>
                <a:cubicBezTo>
                  <a:pt x="292" y="1239"/>
                  <a:pt x="292" y="1239"/>
                  <a:pt x="291" y="1239"/>
                </a:cubicBezTo>
                <a:close/>
                <a:moveTo>
                  <a:pt x="56" y="1227"/>
                </a:moveTo>
                <a:cubicBezTo>
                  <a:pt x="56" y="1227"/>
                  <a:pt x="55" y="1227"/>
                  <a:pt x="54" y="1227"/>
                </a:cubicBezTo>
                <a:cubicBezTo>
                  <a:pt x="39" y="1223"/>
                  <a:pt x="23" y="1219"/>
                  <a:pt x="8" y="1214"/>
                </a:cubicBezTo>
                <a:cubicBezTo>
                  <a:pt x="3" y="1212"/>
                  <a:pt x="0" y="1206"/>
                  <a:pt x="2" y="1201"/>
                </a:cubicBezTo>
                <a:cubicBezTo>
                  <a:pt x="3" y="1196"/>
                  <a:pt x="9" y="1193"/>
                  <a:pt x="14" y="1195"/>
                </a:cubicBezTo>
                <a:cubicBezTo>
                  <a:pt x="29" y="1199"/>
                  <a:pt x="44" y="1204"/>
                  <a:pt x="59" y="1208"/>
                </a:cubicBezTo>
                <a:cubicBezTo>
                  <a:pt x="64" y="1209"/>
                  <a:pt x="67" y="1214"/>
                  <a:pt x="66" y="1220"/>
                </a:cubicBezTo>
                <a:cubicBezTo>
                  <a:pt x="65" y="1224"/>
                  <a:pt x="61" y="1227"/>
                  <a:pt x="56" y="1227"/>
                </a:cubicBezTo>
                <a:close/>
                <a:moveTo>
                  <a:pt x="384" y="1219"/>
                </a:moveTo>
                <a:cubicBezTo>
                  <a:pt x="379" y="1219"/>
                  <a:pt x="375" y="1216"/>
                  <a:pt x="374" y="1212"/>
                </a:cubicBezTo>
                <a:cubicBezTo>
                  <a:pt x="372" y="1207"/>
                  <a:pt x="375" y="1201"/>
                  <a:pt x="381" y="1199"/>
                </a:cubicBezTo>
                <a:cubicBezTo>
                  <a:pt x="395" y="1195"/>
                  <a:pt x="410" y="1190"/>
                  <a:pt x="425" y="1184"/>
                </a:cubicBezTo>
                <a:cubicBezTo>
                  <a:pt x="430" y="1182"/>
                  <a:pt x="436" y="1185"/>
                  <a:pt x="438" y="1190"/>
                </a:cubicBezTo>
                <a:cubicBezTo>
                  <a:pt x="440" y="1195"/>
                  <a:pt x="437" y="1201"/>
                  <a:pt x="432" y="1203"/>
                </a:cubicBezTo>
                <a:cubicBezTo>
                  <a:pt x="417" y="1209"/>
                  <a:pt x="402" y="1214"/>
                  <a:pt x="386" y="1218"/>
                </a:cubicBezTo>
                <a:cubicBezTo>
                  <a:pt x="385" y="1219"/>
                  <a:pt x="384" y="1219"/>
                  <a:pt x="384" y="1219"/>
                </a:cubicBezTo>
                <a:close/>
                <a:moveTo>
                  <a:pt x="472" y="1184"/>
                </a:moveTo>
                <a:cubicBezTo>
                  <a:pt x="468" y="1184"/>
                  <a:pt x="464" y="1182"/>
                  <a:pt x="463" y="1179"/>
                </a:cubicBezTo>
                <a:cubicBezTo>
                  <a:pt x="460" y="1174"/>
                  <a:pt x="462" y="1168"/>
                  <a:pt x="467" y="1165"/>
                </a:cubicBezTo>
                <a:cubicBezTo>
                  <a:pt x="481" y="1159"/>
                  <a:pt x="495" y="1151"/>
                  <a:pt x="508" y="1144"/>
                </a:cubicBezTo>
                <a:cubicBezTo>
                  <a:pt x="513" y="1141"/>
                  <a:pt x="519" y="1142"/>
                  <a:pt x="522" y="1147"/>
                </a:cubicBezTo>
                <a:cubicBezTo>
                  <a:pt x="525" y="1152"/>
                  <a:pt x="523" y="1158"/>
                  <a:pt x="518" y="1161"/>
                </a:cubicBezTo>
                <a:cubicBezTo>
                  <a:pt x="505" y="1169"/>
                  <a:pt x="490" y="1176"/>
                  <a:pt x="476" y="1183"/>
                </a:cubicBezTo>
                <a:cubicBezTo>
                  <a:pt x="475" y="1184"/>
                  <a:pt x="473" y="1184"/>
                  <a:pt x="472" y="1184"/>
                </a:cubicBezTo>
                <a:close/>
                <a:moveTo>
                  <a:pt x="553" y="1137"/>
                </a:moveTo>
                <a:cubicBezTo>
                  <a:pt x="550" y="1137"/>
                  <a:pt x="547" y="1135"/>
                  <a:pt x="545" y="1132"/>
                </a:cubicBezTo>
                <a:cubicBezTo>
                  <a:pt x="542" y="1128"/>
                  <a:pt x="543" y="1122"/>
                  <a:pt x="548" y="1119"/>
                </a:cubicBezTo>
                <a:cubicBezTo>
                  <a:pt x="560" y="1110"/>
                  <a:pt x="573" y="1100"/>
                  <a:pt x="585" y="1091"/>
                </a:cubicBezTo>
                <a:cubicBezTo>
                  <a:pt x="589" y="1087"/>
                  <a:pt x="595" y="1088"/>
                  <a:pt x="599" y="1092"/>
                </a:cubicBezTo>
                <a:cubicBezTo>
                  <a:pt x="602" y="1096"/>
                  <a:pt x="602" y="1103"/>
                  <a:pt x="597" y="1106"/>
                </a:cubicBezTo>
                <a:cubicBezTo>
                  <a:pt x="585" y="1116"/>
                  <a:pt x="572" y="1126"/>
                  <a:pt x="559" y="1135"/>
                </a:cubicBezTo>
                <a:cubicBezTo>
                  <a:pt x="557" y="1136"/>
                  <a:pt x="555" y="1137"/>
                  <a:pt x="553" y="1137"/>
                </a:cubicBezTo>
                <a:close/>
                <a:moveTo>
                  <a:pt x="627" y="1077"/>
                </a:moveTo>
                <a:cubicBezTo>
                  <a:pt x="624" y="1077"/>
                  <a:pt x="621" y="1076"/>
                  <a:pt x="619" y="1074"/>
                </a:cubicBezTo>
                <a:cubicBezTo>
                  <a:pt x="616" y="1070"/>
                  <a:pt x="616" y="1064"/>
                  <a:pt x="620" y="1060"/>
                </a:cubicBezTo>
                <a:cubicBezTo>
                  <a:pt x="631" y="1049"/>
                  <a:pt x="642" y="1038"/>
                  <a:pt x="652" y="1026"/>
                </a:cubicBezTo>
                <a:cubicBezTo>
                  <a:pt x="656" y="1022"/>
                  <a:pt x="662" y="1022"/>
                  <a:pt x="666" y="1026"/>
                </a:cubicBezTo>
                <a:cubicBezTo>
                  <a:pt x="670" y="1029"/>
                  <a:pt x="671" y="1036"/>
                  <a:pt x="667" y="1040"/>
                </a:cubicBezTo>
                <a:cubicBezTo>
                  <a:pt x="656" y="1052"/>
                  <a:pt x="645" y="1063"/>
                  <a:pt x="633" y="1074"/>
                </a:cubicBezTo>
                <a:cubicBezTo>
                  <a:pt x="632" y="1076"/>
                  <a:pt x="629" y="1077"/>
                  <a:pt x="627" y="1077"/>
                </a:cubicBezTo>
                <a:close/>
                <a:moveTo>
                  <a:pt x="690" y="1007"/>
                </a:moveTo>
                <a:cubicBezTo>
                  <a:pt x="688" y="1007"/>
                  <a:pt x="686" y="1006"/>
                  <a:pt x="684" y="1005"/>
                </a:cubicBezTo>
                <a:cubicBezTo>
                  <a:pt x="679" y="1001"/>
                  <a:pt x="679" y="995"/>
                  <a:pt x="682" y="991"/>
                </a:cubicBezTo>
                <a:cubicBezTo>
                  <a:pt x="691" y="979"/>
                  <a:pt x="701" y="966"/>
                  <a:pt x="709" y="953"/>
                </a:cubicBezTo>
                <a:cubicBezTo>
                  <a:pt x="712" y="948"/>
                  <a:pt x="718" y="947"/>
                  <a:pt x="723" y="950"/>
                </a:cubicBezTo>
                <a:cubicBezTo>
                  <a:pt x="727" y="953"/>
                  <a:pt x="729" y="959"/>
                  <a:pt x="726" y="964"/>
                </a:cubicBezTo>
                <a:cubicBezTo>
                  <a:pt x="717" y="977"/>
                  <a:pt x="708" y="990"/>
                  <a:pt x="698" y="1003"/>
                </a:cubicBezTo>
                <a:cubicBezTo>
                  <a:pt x="696" y="1006"/>
                  <a:pt x="693" y="1007"/>
                  <a:pt x="690" y="1007"/>
                </a:cubicBezTo>
                <a:close/>
                <a:moveTo>
                  <a:pt x="742" y="928"/>
                </a:moveTo>
                <a:cubicBezTo>
                  <a:pt x="740" y="928"/>
                  <a:pt x="738" y="928"/>
                  <a:pt x="737" y="927"/>
                </a:cubicBezTo>
                <a:cubicBezTo>
                  <a:pt x="732" y="924"/>
                  <a:pt x="730" y="918"/>
                  <a:pt x="733" y="913"/>
                </a:cubicBezTo>
                <a:cubicBezTo>
                  <a:pt x="740" y="900"/>
                  <a:pt x="747" y="886"/>
                  <a:pt x="754" y="872"/>
                </a:cubicBezTo>
                <a:cubicBezTo>
                  <a:pt x="756" y="866"/>
                  <a:pt x="762" y="864"/>
                  <a:pt x="767" y="867"/>
                </a:cubicBezTo>
                <a:cubicBezTo>
                  <a:pt x="772" y="869"/>
                  <a:pt x="774" y="875"/>
                  <a:pt x="772" y="880"/>
                </a:cubicBezTo>
                <a:cubicBezTo>
                  <a:pt x="765" y="894"/>
                  <a:pt x="758" y="909"/>
                  <a:pt x="751" y="923"/>
                </a:cubicBezTo>
                <a:cubicBezTo>
                  <a:pt x="749" y="926"/>
                  <a:pt x="745" y="928"/>
                  <a:pt x="742" y="928"/>
                </a:cubicBezTo>
                <a:close/>
                <a:moveTo>
                  <a:pt x="781" y="842"/>
                </a:moveTo>
                <a:cubicBezTo>
                  <a:pt x="780" y="842"/>
                  <a:pt x="778" y="842"/>
                  <a:pt x="777" y="841"/>
                </a:cubicBezTo>
                <a:cubicBezTo>
                  <a:pt x="772" y="839"/>
                  <a:pt x="769" y="834"/>
                  <a:pt x="771" y="828"/>
                </a:cubicBezTo>
                <a:cubicBezTo>
                  <a:pt x="777" y="814"/>
                  <a:pt x="781" y="799"/>
                  <a:pt x="786" y="784"/>
                </a:cubicBezTo>
                <a:cubicBezTo>
                  <a:pt x="787" y="779"/>
                  <a:pt x="793" y="776"/>
                  <a:pt x="798" y="777"/>
                </a:cubicBezTo>
                <a:cubicBezTo>
                  <a:pt x="803" y="779"/>
                  <a:pt x="806" y="784"/>
                  <a:pt x="805" y="790"/>
                </a:cubicBezTo>
                <a:cubicBezTo>
                  <a:pt x="801" y="805"/>
                  <a:pt x="796" y="820"/>
                  <a:pt x="790" y="835"/>
                </a:cubicBezTo>
                <a:cubicBezTo>
                  <a:pt x="789" y="839"/>
                  <a:pt x="785" y="842"/>
                  <a:pt x="781" y="842"/>
                </a:cubicBezTo>
                <a:close/>
                <a:moveTo>
                  <a:pt x="806" y="751"/>
                </a:moveTo>
                <a:cubicBezTo>
                  <a:pt x="805" y="751"/>
                  <a:pt x="805" y="751"/>
                  <a:pt x="804" y="751"/>
                </a:cubicBezTo>
                <a:cubicBezTo>
                  <a:pt x="799" y="750"/>
                  <a:pt x="795" y="744"/>
                  <a:pt x="796" y="739"/>
                </a:cubicBezTo>
                <a:cubicBezTo>
                  <a:pt x="799" y="724"/>
                  <a:pt x="802" y="708"/>
                  <a:pt x="803" y="693"/>
                </a:cubicBezTo>
                <a:cubicBezTo>
                  <a:pt x="804" y="687"/>
                  <a:pt x="809" y="684"/>
                  <a:pt x="814" y="684"/>
                </a:cubicBezTo>
                <a:cubicBezTo>
                  <a:pt x="820" y="685"/>
                  <a:pt x="824" y="690"/>
                  <a:pt x="823" y="695"/>
                </a:cubicBezTo>
                <a:cubicBezTo>
                  <a:pt x="821" y="711"/>
                  <a:pt x="819" y="727"/>
                  <a:pt x="816" y="743"/>
                </a:cubicBezTo>
                <a:cubicBezTo>
                  <a:pt x="815" y="748"/>
                  <a:pt x="811" y="751"/>
                  <a:pt x="806" y="751"/>
                </a:cubicBezTo>
                <a:close/>
                <a:moveTo>
                  <a:pt x="817" y="657"/>
                </a:moveTo>
                <a:cubicBezTo>
                  <a:pt x="817" y="657"/>
                  <a:pt x="817" y="657"/>
                  <a:pt x="817" y="657"/>
                </a:cubicBezTo>
                <a:cubicBezTo>
                  <a:pt x="811" y="657"/>
                  <a:pt x="807" y="652"/>
                  <a:pt x="807" y="647"/>
                </a:cubicBezTo>
                <a:cubicBezTo>
                  <a:pt x="807" y="639"/>
                  <a:pt x="807" y="631"/>
                  <a:pt x="807" y="623"/>
                </a:cubicBezTo>
                <a:cubicBezTo>
                  <a:pt x="807" y="615"/>
                  <a:pt x="807" y="608"/>
                  <a:pt x="807" y="600"/>
                </a:cubicBezTo>
                <a:cubicBezTo>
                  <a:pt x="807" y="594"/>
                  <a:pt x="811" y="590"/>
                  <a:pt x="817" y="590"/>
                </a:cubicBezTo>
                <a:cubicBezTo>
                  <a:pt x="822" y="590"/>
                  <a:pt x="827" y="594"/>
                  <a:pt x="827" y="599"/>
                </a:cubicBezTo>
                <a:cubicBezTo>
                  <a:pt x="827" y="607"/>
                  <a:pt x="827" y="615"/>
                  <a:pt x="827" y="623"/>
                </a:cubicBezTo>
                <a:cubicBezTo>
                  <a:pt x="827" y="631"/>
                  <a:pt x="827" y="639"/>
                  <a:pt x="827" y="647"/>
                </a:cubicBezTo>
                <a:cubicBezTo>
                  <a:pt x="827" y="653"/>
                  <a:pt x="822" y="657"/>
                  <a:pt x="817" y="657"/>
                </a:cubicBezTo>
                <a:close/>
                <a:moveTo>
                  <a:pt x="813" y="562"/>
                </a:moveTo>
                <a:cubicBezTo>
                  <a:pt x="808" y="562"/>
                  <a:pt x="804" y="559"/>
                  <a:pt x="803" y="554"/>
                </a:cubicBezTo>
                <a:cubicBezTo>
                  <a:pt x="802" y="538"/>
                  <a:pt x="799" y="523"/>
                  <a:pt x="796" y="508"/>
                </a:cubicBezTo>
                <a:cubicBezTo>
                  <a:pt x="795" y="502"/>
                  <a:pt x="799" y="497"/>
                  <a:pt x="804" y="496"/>
                </a:cubicBezTo>
                <a:cubicBezTo>
                  <a:pt x="810" y="495"/>
                  <a:pt x="815" y="498"/>
                  <a:pt x="816" y="504"/>
                </a:cubicBezTo>
                <a:cubicBezTo>
                  <a:pt x="819" y="519"/>
                  <a:pt x="821" y="535"/>
                  <a:pt x="823" y="551"/>
                </a:cubicBezTo>
                <a:cubicBezTo>
                  <a:pt x="824" y="557"/>
                  <a:pt x="820" y="562"/>
                  <a:pt x="814" y="562"/>
                </a:cubicBezTo>
                <a:cubicBezTo>
                  <a:pt x="814" y="562"/>
                  <a:pt x="814" y="562"/>
                  <a:pt x="813" y="562"/>
                </a:cubicBezTo>
                <a:close/>
                <a:moveTo>
                  <a:pt x="795" y="470"/>
                </a:moveTo>
                <a:cubicBezTo>
                  <a:pt x="791" y="470"/>
                  <a:pt x="787" y="467"/>
                  <a:pt x="786" y="462"/>
                </a:cubicBezTo>
                <a:cubicBezTo>
                  <a:pt x="782" y="447"/>
                  <a:pt x="777" y="433"/>
                  <a:pt x="772" y="418"/>
                </a:cubicBezTo>
                <a:cubicBezTo>
                  <a:pt x="770" y="413"/>
                  <a:pt x="772" y="407"/>
                  <a:pt x="778" y="405"/>
                </a:cubicBezTo>
                <a:cubicBezTo>
                  <a:pt x="783" y="403"/>
                  <a:pt x="789" y="406"/>
                  <a:pt x="790" y="411"/>
                </a:cubicBezTo>
                <a:cubicBezTo>
                  <a:pt x="796" y="426"/>
                  <a:pt x="801" y="442"/>
                  <a:pt x="805" y="457"/>
                </a:cubicBezTo>
                <a:cubicBezTo>
                  <a:pt x="806" y="462"/>
                  <a:pt x="803" y="468"/>
                  <a:pt x="798" y="469"/>
                </a:cubicBezTo>
                <a:cubicBezTo>
                  <a:pt x="797" y="470"/>
                  <a:pt x="796" y="470"/>
                  <a:pt x="795" y="470"/>
                </a:cubicBezTo>
                <a:close/>
                <a:moveTo>
                  <a:pt x="763" y="381"/>
                </a:moveTo>
                <a:cubicBezTo>
                  <a:pt x="759" y="381"/>
                  <a:pt x="756" y="379"/>
                  <a:pt x="754" y="375"/>
                </a:cubicBezTo>
                <a:cubicBezTo>
                  <a:pt x="748" y="361"/>
                  <a:pt x="741" y="347"/>
                  <a:pt x="733" y="333"/>
                </a:cubicBezTo>
                <a:cubicBezTo>
                  <a:pt x="731" y="328"/>
                  <a:pt x="732" y="322"/>
                  <a:pt x="737" y="320"/>
                </a:cubicBezTo>
                <a:cubicBezTo>
                  <a:pt x="742" y="317"/>
                  <a:pt x="748" y="319"/>
                  <a:pt x="751" y="324"/>
                </a:cubicBezTo>
                <a:cubicBezTo>
                  <a:pt x="759" y="338"/>
                  <a:pt x="766" y="352"/>
                  <a:pt x="772" y="367"/>
                </a:cubicBezTo>
                <a:cubicBezTo>
                  <a:pt x="775" y="372"/>
                  <a:pt x="772" y="378"/>
                  <a:pt x="767" y="380"/>
                </a:cubicBezTo>
                <a:cubicBezTo>
                  <a:pt x="766" y="381"/>
                  <a:pt x="765" y="381"/>
                  <a:pt x="763" y="381"/>
                </a:cubicBezTo>
                <a:close/>
                <a:moveTo>
                  <a:pt x="718" y="298"/>
                </a:moveTo>
                <a:cubicBezTo>
                  <a:pt x="714" y="298"/>
                  <a:pt x="711" y="296"/>
                  <a:pt x="709" y="293"/>
                </a:cubicBezTo>
                <a:cubicBezTo>
                  <a:pt x="701" y="280"/>
                  <a:pt x="692" y="268"/>
                  <a:pt x="682" y="255"/>
                </a:cubicBezTo>
                <a:cubicBezTo>
                  <a:pt x="679" y="251"/>
                  <a:pt x="680" y="245"/>
                  <a:pt x="684" y="241"/>
                </a:cubicBezTo>
                <a:cubicBezTo>
                  <a:pt x="689" y="238"/>
                  <a:pt x="695" y="239"/>
                  <a:pt x="698" y="243"/>
                </a:cubicBezTo>
                <a:cubicBezTo>
                  <a:pt x="708" y="256"/>
                  <a:pt x="717" y="269"/>
                  <a:pt x="726" y="282"/>
                </a:cubicBezTo>
                <a:cubicBezTo>
                  <a:pt x="729" y="287"/>
                  <a:pt x="728" y="293"/>
                  <a:pt x="723" y="296"/>
                </a:cubicBezTo>
                <a:cubicBezTo>
                  <a:pt x="722" y="297"/>
                  <a:pt x="720" y="298"/>
                  <a:pt x="718" y="298"/>
                </a:cubicBezTo>
                <a:close/>
                <a:moveTo>
                  <a:pt x="660" y="223"/>
                </a:moveTo>
                <a:cubicBezTo>
                  <a:pt x="657" y="223"/>
                  <a:pt x="655" y="222"/>
                  <a:pt x="653" y="220"/>
                </a:cubicBezTo>
                <a:cubicBezTo>
                  <a:pt x="642" y="208"/>
                  <a:pt x="631" y="197"/>
                  <a:pt x="620" y="186"/>
                </a:cubicBezTo>
                <a:cubicBezTo>
                  <a:pt x="616" y="183"/>
                  <a:pt x="616" y="176"/>
                  <a:pt x="620" y="172"/>
                </a:cubicBezTo>
                <a:cubicBezTo>
                  <a:pt x="624" y="168"/>
                  <a:pt x="630" y="168"/>
                  <a:pt x="634" y="172"/>
                </a:cubicBezTo>
                <a:cubicBezTo>
                  <a:pt x="645" y="183"/>
                  <a:pt x="657" y="194"/>
                  <a:pt x="667" y="206"/>
                </a:cubicBezTo>
                <a:cubicBezTo>
                  <a:pt x="671" y="210"/>
                  <a:pt x="671" y="217"/>
                  <a:pt x="667" y="220"/>
                </a:cubicBezTo>
                <a:cubicBezTo>
                  <a:pt x="665" y="222"/>
                  <a:pt x="662" y="223"/>
                  <a:pt x="660" y="223"/>
                </a:cubicBezTo>
                <a:close/>
                <a:moveTo>
                  <a:pt x="592" y="158"/>
                </a:moveTo>
                <a:cubicBezTo>
                  <a:pt x="589" y="158"/>
                  <a:pt x="587" y="157"/>
                  <a:pt x="585" y="156"/>
                </a:cubicBezTo>
                <a:cubicBezTo>
                  <a:pt x="573" y="146"/>
                  <a:pt x="561" y="136"/>
                  <a:pt x="548" y="128"/>
                </a:cubicBezTo>
                <a:cubicBezTo>
                  <a:pt x="544" y="124"/>
                  <a:pt x="542" y="118"/>
                  <a:pt x="546" y="114"/>
                </a:cubicBezTo>
                <a:cubicBezTo>
                  <a:pt x="549" y="109"/>
                  <a:pt x="555" y="108"/>
                  <a:pt x="559" y="111"/>
                </a:cubicBezTo>
                <a:cubicBezTo>
                  <a:pt x="573" y="120"/>
                  <a:pt x="585" y="130"/>
                  <a:pt x="598" y="140"/>
                </a:cubicBezTo>
                <a:cubicBezTo>
                  <a:pt x="602" y="144"/>
                  <a:pt x="603" y="150"/>
                  <a:pt x="599" y="154"/>
                </a:cubicBezTo>
                <a:cubicBezTo>
                  <a:pt x="597" y="157"/>
                  <a:pt x="594" y="158"/>
                  <a:pt x="592" y="158"/>
                </a:cubicBezTo>
                <a:close/>
                <a:moveTo>
                  <a:pt x="514" y="104"/>
                </a:moveTo>
                <a:cubicBezTo>
                  <a:pt x="512" y="104"/>
                  <a:pt x="510" y="104"/>
                  <a:pt x="509" y="103"/>
                </a:cubicBezTo>
                <a:cubicBezTo>
                  <a:pt x="496" y="95"/>
                  <a:pt x="482" y="87"/>
                  <a:pt x="468" y="81"/>
                </a:cubicBezTo>
                <a:cubicBezTo>
                  <a:pt x="463" y="78"/>
                  <a:pt x="461" y="72"/>
                  <a:pt x="463" y="67"/>
                </a:cubicBezTo>
                <a:cubicBezTo>
                  <a:pt x="466" y="62"/>
                  <a:pt x="472" y="60"/>
                  <a:pt x="477" y="63"/>
                </a:cubicBezTo>
                <a:cubicBezTo>
                  <a:pt x="491" y="70"/>
                  <a:pt x="505" y="77"/>
                  <a:pt x="519" y="85"/>
                </a:cubicBezTo>
                <a:cubicBezTo>
                  <a:pt x="524" y="88"/>
                  <a:pt x="525" y="94"/>
                  <a:pt x="523" y="99"/>
                </a:cubicBezTo>
                <a:cubicBezTo>
                  <a:pt x="521" y="102"/>
                  <a:pt x="517" y="104"/>
                  <a:pt x="514" y="104"/>
                </a:cubicBezTo>
                <a:close/>
                <a:moveTo>
                  <a:pt x="429" y="63"/>
                </a:moveTo>
                <a:cubicBezTo>
                  <a:pt x="428" y="63"/>
                  <a:pt x="426" y="62"/>
                  <a:pt x="425" y="62"/>
                </a:cubicBezTo>
                <a:cubicBezTo>
                  <a:pt x="411" y="56"/>
                  <a:pt x="396" y="51"/>
                  <a:pt x="381" y="47"/>
                </a:cubicBezTo>
                <a:cubicBezTo>
                  <a:pt x="376" y="45"/>
                  <a:pt x="373" y="39"/>
                  <a:pt x="375" y="34"/>
                </a:cubicBezTo>
                <a:cubicBezTo>
                  <a:pt x="376" y="29"/>
                  <a:pt x="382" y="26"/>
                  <a:pt x="387" y="28"/>
                </a:cubicBezTo>
                <a:cubicBezTo>
                  <a:pt x="402" y="32"/>
                  <a:pt x="418" y="38"/>
                  <a:pt x="433" y="43"/>
                </a:cubicBezTo>
                <a:cubicBezTo>
                  <a:pt x="438" y="45"/>
                  <a:pt x="440" y="51"/>
                  <a:pt x="438" y="56"/>
                </a:cubicBezTo>
                <a:cubicBezTo>
                  <a:pt x="437" y="60"/>
                  <a:pt x="433" y="63"/>
                  <a:pt x="429" y="63"/>
                </a:cubicBezTo>
                <a:close/>
                <a:moveTo>
                  <a:pt x="12" y="51"/>
                </a:moveTo>
                <a:cubicBezTo>
                  <a:pt x="8" y="51"/>
                  <a:pt x="4" y="49"/>
                  <a:pt x="2" y="45"/>
                </a:cubicBezTo>
                <a:cubicBezTo>
                  <a:pt x="1" y="39"/>
                  <a:pt x="3" y="34"/>
                  <a:pt x="9" y="32"/>
                </a:cubicBezTo>
                <a:cubicBezTo>
                  <a:pt x="24" y="27"/>
                  <a:pt x="39" y="22"/>
                  <a:pt x="55" y="19"/>
                </a:cubicBezTo>
                <a:cubicBezTo>
                  <a:pt x="60" y="17"/>
                  <a:pt x="66" y="21"/>
                  <a:pt x="67" y="26"/>
                </a:cubicBezTo>
                <a:cubicBezTo>
                  <a:pt x="68" y="31"/>
                  <a:pt x="65" y="37"/>
                  <a:pt x="60" y="38"/>
                </a:cubicBezTo>
                <a:cubicBezTo>
                  <a:pt x="45" y="42"/>
                  <a:pt x="30" y="46"/>
                  <a:pt x="15" y="51"/>
                </a:cubicBezTo>
                <a:cubicBezTo>
                  <a:pt x="14" y="51"/>
                  <a:pt x="13" y="51"/>
                  <a:pt x="12" y="51"/>
                </a:cubicBezTo>
                <a:close/>
                <a:moveTo>
                  <a:pt x="339" y="35"/>
                </a:moveTo>
                <a:cubicBezTo>
                  <a:pt x="338" y="35"/>
                  <a:pt x="337" y="35"/>
                  <a:pt x="336" y="35"/>
                </a:cubicBezTo>
                <a:cubicBezTo>
                  <a:pt x="321" y="31"/>
                  <a:pt x="306" y="29"/>
                  <a:pt x="291" y="26"/>
                </a:cubicBezTo>
                <a:cubicBezTo>
                  <a:pt x="285" y="26"/>
                  <a:pt x="281" y="21"/>
                  <a:pt x="282" y="15"/>
                </a:cubicBezTo>
                <a:cubicBezTo>
                  <a:pt x="283" y="10"/>
                  <a:pt x="288" y="6"/>
                  <a:pt x="293" y="7"/>
                </a:cubicBezTo>
                <a:cubicBezTo>
                  <a:pt x="309" y="9"/>
                  <a:pt x="325" y="12"/>
                  <a:pt x="341" y="15"/>
                </a:cubicBezTo>
                <a:cubicBezTo>
                  <a:pt x="346" y="16"/>
                  <a:pt x="350" y="22"/>
                  <a:pt x="348" y="27"/>
                </a:cubicBezTo>
                <a:cubicBezTo>
                  <a:pt x="347" y="32"/>
                  <a:pt x="343" y="35"/>
                  <a:pt x="339" y="35"/>
                </a:cubicBezTo>
                <a:close/>
                <a:moveTo>
                  <a:pt x="104" y="29"/>
                </a:moveTo>
                <a:cubicBezTo>
                  <a:pt x="99" y="29"/>
                  <a:pt x="94" y="25"/>
                  <a:pt x="94" y="20"/>
                </a:cubicBezTo>
                <a:cubicBezTo>
                  <a:pt x="93" y="15"/>
                  <a:pt x="96" y="10"/>
                  <a:pt x="102" y="9"/>
                </a:cubicBezTo>
                <a:cubicBezTo>
                  <a:pt x="118" y="6"/>
                  <a:pt x="134" y="4"/>
                  <a:pt x="150" y="3"/>
                </a:cubicBezTo>
                <a:cubicBezTo>
                  <a:pt x="155" y="2"/>
                  <a:pt x="160" y="6"/>
                  <a:pt x="160" y="12"/>
                </a:cubicBezTo>
                <a:cubicBezTo>
                  <a:pt x="161" y="17"/>
                  <a:pt x="157" y="22"/>
                  <a:pt x="151" y="23"/>
                </a:cubicBezTo>
                <a:cubicBezTo>
                  <a:pt x="136" y="24"/>
                  <a:pt x="120" y="26"/>
                  <a:pt x="105" y="29"/>
                </a:cubicBezTo>
                <a:cubicBezTo>
                  <a:pt x="105" y="29"/>
                  <a:pt x="104" y="29"/>
                  <a:pt x="104" y="29"/>
                </a:cubicBezTo>
                <a:close/>
                <a:moveTo>
                  <a:pt x="245" y="22"/>
                </a:moveTo>
                <a:cubicBezTo>
                  <a:pt x="245" y="22"/>
                  <a:pt x="245" y="22"/>
                  <a:pt x="244" y="22"/>
                </a:cubicBezTo>
                <a:cubicBezTo>
                  <a:pt x="229" y="21"/>
                  <a:pt x="213" y="20"/>
                  <a:pt x="198" y="20"/>
                </a:cubicBezTo>
                <a:cubicBezTo>
                  <a:pt x="198" y="20"/>
                  <a:pt x="198" y="20"/>
                  <a:pt x="198" y="20"/>
                </a:cubicBezTo>
                <a:cubicBezTo>
                  <a:pt x="192" y="20"/>
                  <a:pt x="188" y="16"/>
                  <a:pt x="188" y="11"/>
                </a:cubicBezTo>
                <a:cubicBezTo>
                  <a:pt x="188" y="5"/>
                  <a:pt x="192" y="0"/>
                  <a:pt x="198" y="0"/>
                </a:cubicBezTo>
                <a:cubicBezTo>
                  <a:pt x="214" y="0"/>
                  <a:pt x="230" y="1"/>
                  <a:pt x="246" y="2"/>
                </a:cubicBezTo>
                <a:cubicBezTo>
                  <a:pt x="251" y="2"/>
                  <a:pt x="255" y="7"/>
                  <a:pt x="255" y="12"/>
                </a:cubicBezTo>
                <a:cubicBezTo>
                  <a:pt x="255" y="18"/>
                  <a:pt x="250" y="22"/>
                  <a:pt x="245" y="22"/>
                </a:cubicBezTo>
                <a:close/>
              </a:path>
            </a:pathLst>
          </a:custGeom>
          <a:solidFill>
            <a:srgbClr val="C0DC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grpSp>
        <p:nvGrpSpPr>
          <p:cNvPr id="180" name="Группа 179">
            <a:extLst>
              <a:ext uri="{FF2B5EF4-FFF2-40B4-BE49-F238E27FC236}">
                <a16:creationId xmlns:a16="http://schemas.microsoft.com/office/drawing/2014/main" id="{DAADE944-CE47-A44A-8819-0334D685B558}"/>
              </a:ext>
            </a:extLst>
          </p:cNvPr>
          <p:cNvGrpSpPr/>
          <p:nvPr/>
        </p:nvGrpSpPr>
        <p:grpSpPr>
          <a:xfrm>
            <a:off x="9428163" y="4083807"/>
            <a:ext cx="2151847" cy="1638604"/>
            <a:chOff x="9428163" y="4083807"/>
            <a:chExt cx="2151847" cy="1638604"/>
          </a:xfrm>
        </p:grpSpPr>
        <p:sp>
          <p:nvSpPr>
            <p:cNvPr id="149" name="Rectangle 21">
              <a:extLst>
                <a:ext uri="{FF2B5EF4-FFF2-40B4-BE49-F238E27FC236}">
                  <a16:creationId xmlns:a16="http://schemas.microsoft.com/office/drawing/2014/main" id="{36F4E629-27D6-DD4C-4954-61521BB5AA99}"/>
                </a:ext>
              </a:extLst>
            </p:cNvPr>
            <p:cNvSpPr/>
            <p:nvPr/>
          </p:nvSpPr>
          <p:spPr>
            <a:xfrm>
              <a:off x="9428163" y="4152751"/>
              <a:ext cx="1657944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0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0" name="Freeform 20">
              <a:extLst>
                <a:ext uri="{FF2B5EF4-FFF2-40B4-BE49-F238E27FC236}">
                  <a16:creationId xmlns:a16="http://schemas.microsoft.com/office/drawing/2014/main" id="{2480290A-41EC-D483-4B2B-DB80CB1B0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613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1" name="Freeform 21">
              <a:extLst>
                <a:ext uri="{FF2B5EF4-FFF2-40B4-BE49-F238E27FC236}">
                  <a16:creationId xmlns:a16="http://schemas.microsoft.com/office/drawing/2014/main" id="{2B300D93-F99A-70CA-8C32-460D60BC7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3" name="Freeform 23">
              <a:extLst>
                <a:ext uri="{FF2B5EF4-FFF2-40B4-BE49-F238E27FC236}">
                  <a16:creationId xmlns:a16="http://schemas.microsoft.com/office/drawing/2014/main" id="{306C8701-EF10-8814-6311-FE751CCF1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6" name="Группа 175">
            <a:extLst>
              <a:ext uri="{FF2B5EF4-FFF2-40B4-BE49-F238E27FC236}">
                <a16:creationId xmlns:a16="http://schemas.microsoft.com/office/drawing/2014/main" id="{E4D7ED61-36AC-F9C6-3445-7AC2CA08A747}"/>
              </a:ext>
            </a:extLst>
          </p:cNvPr>
          <p:cNvGrpSpPr/>
          <p:nvPr/>
        </p:nvGrpSpPr>
        <p:grpSpPr>
          <a:xfrm>
            <a:off x="224760" y="4071540"/>
            <a:ext cx="1890777" cy="1650871"/>
            <a:chOff x="224760" y="4071540"/>
            <a:chExt cx="1890777" cy="1650871"/>
          </a:xfrm>
        </p:grpSpPr>
        <p:sp>
          <p:nvSpPr>
            <p:cNvPr id="155" name="Rectangle 25">
              <a:extLst>
                <a:ext uri="{FF2B5EF4-FFF2-40B4-BE49-F238E27FC236}">
                  <a16:creationId xmlns:a16="http://schemas.microsoft.com/office/drawing/2014/main" id="{357B8EC3-E7A2-3FD0-5323-9095DE84CB4D}"/>
                </a:ext>
              </a:extLst>
            </p:cNvPr>
            <p:cNvSpPr/>
            <p:nvPr/>
          </p:nvSpPr>
          <p:spPr>
            <a:xfrm>
              <a:off x="224760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6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6" name="Freeform 24">
              <a:extLst>
                <a:ext uri="{FF2B5EF4-FFF2-40B4-BE49-F238E27FC236}">
                  <a16:creationId xmlns:a16="http://schemas.microsoft.com/office/drawing/2014/main" id="{058E620E-8F51-3B75-4F91-7C445F7A6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7" name="Freeform 26">
              <a:extLst>
                <a:ext uri="{FF2B5EF4-FFF2-40B4-BE49-F238E27FC236}">
                  <a16:creationId xmlns:a16="http://schemas.microsoft.com/office/drawing/2014/main" id="{056FA1BB-B0A6-278B-B272-957B3EB05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5503178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8" name="Freeform 27">
              <a:extLst>
                <a:ext uri="{FF2B5EF4-FFF2-40B4-BE49-F238E27FC236}">
                  <a16:creationId xmlns:a16="http://schemas.microsoft.com/office/drawing/2014/main" id="{B371D828-B986-6A13-2F8F-8C2AA9CE76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4071540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59" name="Freeform 28">
              <a:extLst>
                <a:ext uri="{FF2B5EF4-FFF2-40B4-BE49-F238E27FC236}">
                  <a16:creationId xmlns:a16="http://schemas.microsoft.com/office/drawing/2014/main" id="{46FFBFAB-5BA1-161C-28D1-DC9512515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id="{CF73DFC4-F83D-3C5D-93E6-DC53F4B396E4}"/>
              </a:ext>
            </a:extLst>
          </p:cNvPr>
          <p:cNvSpPr txBox="1"/>
          <p:nvPr/>
        </p:nvSpPr>
        <p:spPr>
          <a:xfrm>
            <a:off x="107494" y="3248119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скусствен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нтеллект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4D249C36-FF51-0447-B15B-31D335C9FD3C}"/>
              </a:ext>
            </a:extLst>
          </p:cNvPr>
          <p:cNvSpPr txBox="1"/>
          <p:nvPr/>
        </p:nvSpPr>
        <p:spPr>
          <a:xfrm>
            <a:off x="2766315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иксель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29C65B57-3AA0-D6FE-C94C-E370A4EDD7B9}"/>
              </a:ext>
            </a:extLst>
          </p:cNvPr>
          <p:cNvSpPr txBox="1"/>
          <p:nvPr/>
        </p:nvSpPr>
        <p:spPr>
          <a:xfrm>
            <a:off x="495374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Яркие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цвета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395AFBD5-9B99-F345-FDFD-93A5D5B71B8B}"/>
              </a:ext>
            </a:extLst>
          </p:cNvPr>
          <p:cNvSpPr txBox="1"/>
          <p:nvPr/>
        </p:nvSpPr>
        <p:spPr>
          <a:xfrm>
            <a:off x="743329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Ретр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иль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5313716C-B7B8-C6FF-ACED-F428CB2ACDAA}"/>
              </a:ext>
            </a:extLst>
          </p:cNvPr>
          <p:cNvSpPr txBox="1"/>
          <p:nvPr/>
        </p:nvSpPr>
        <p:spPr>
          <a:xfrm>
            <a:off x="9798659" y="3248119"/>
            <a:ext cx="2284517" cy="352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Минимализм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8570A41B-47BE-1ADC-53D4-B5C4C87BF32A}"/>
              </a:ext>
            </a:extLst>
          </p:cNvPr>
          <p:cNvSpPr txBox="1"/>
          <p:nvPr/>
        </p:nvSpPr>
        <p:spPr>
          <a:xfrm>
            <a:off x="107494" y="5684038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ерегружен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композиция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900F5795-34FF-8E0C-5755-2A87841E1FE5}"/>
              </a:ext>
            </a:extLst>
          </p:cNvPr>
          <p:cNvSpPr txBox="1"/>
          <p:nvPr/>
        </p:nvSpPr>
        <p:spPr>
          <a:xfrm>
            <a:off x="2766315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Нестандарт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ипографика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6DD45F9-5584-5D17-58D5-4194B430A37C}"/>
              </a:ext>
            </a:extLst>
          </p:cNvPr>
          <p:cNvSpPr txBox="1"/>
          <p:nvPr/>
        </p:nvSpPr>
        <p:spPr>
          <a:xfrm>
            <a:off x="495374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Черн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белый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90A2FE5A-C11E-3349-F29A-A3A4CDFD8145}"/>
              </a:ext>
            </a:extLst>
          </p:cNvPr>
          <p:cNvSpPr txBox="1"/>
          <p:nvPr/>
        </p:nvSpPr>
        <p:spPr>
          <a:xfrm>
            <a:off x="743329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екл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2ECDF986-333B-B886-9B05-C45E5BC23EDE}"/>
              </a:ext>
            </a:extLst>
          </p:cNvPr>
          <p:cNvSpPr txBox="1"/>
          <p:nvPr/>
        </p:nvSpPr>
        <p:spPr>
          <a:xfrm>
            <a:off x="9798659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екстуры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 фактуры</a:t>
            </a:r>
          </a:p>
        </p:txBody>
      </p:sp>
      <p:pic>
        <p:nvPicPr>
          <p:cNvPr id="4" name="Picture 2" descr="Черно-белая эстетика">
            <a:extLst>
              <a:ext uri="{FF2B5EF4-FFF2-40B4-BE49-F238E27FC236}">
                <a16:creationId xmlns:a16="http://schemas.microsoft.com/office/drawing/2014/main" id="{1150414C-1066-D5A8-4CB6-BC6516440F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372689">
            <a:off x="3162149" y="8684140"/>
            <a:ext cx="9017000" cy="6007100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834F646-0489-FF9A-0C19-AD0569D783D9}"/>
              </a:ext>
            </a:extLst>
          </p:cNvPr>
          <p:cNvSpPr/>
          <p:nvPr/>
        </p:nvSpPr>
        <p:spPr>
          <a:xfrm rot="20717813">
            <a:off x="-2004365" y="7365691"/>
            <a:ext cx="2428456" cy="3633537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" name="Group 73">
            <a:extLst>
              <a:ext uri="{FF2B5EF4-FFF2-40B4-BE49-F238E27FC236}">
                <a16:creationId xmlns:a16="http://schemas.microsoft.com/office/drawing/2014/main" id="{290806BD-B53B-7695-CC51-DCB2728606C9}"/>
              </a:ext>
            </a:extLst>
          </p:cNvPr>
          <p:cNvGrpSpPr/>
          <p:nvPr/>
        </p:nvGrpSpPr>
        <p:grpSpPr>
          <a:xfrm>
            <a:off x="9311861" y="-11483179"/>
            <a:ext cx="10519612" cy="9792204"/>
            <a:chOff x="-2" y="0"/>
            <a:chExt cx="6428641" cy="6858000"/>
          </a:xfrm>
        </p:grpSpPr>
        <p:sp>
          <p:nvSpPr>
            <p:cNvPr id="7" name="Rectangle 36">
              <a:extLst>
                <a:ext uri="{FF2B5EF4-FFF2-40B4-BE49-F238E27FC236}">
                  <a16:creationId xmlns:a16="http://schemas.microsoft.com/office/drawing/2014/main" id="{8395AC44-B3FA-6888-FA37-D5499BFBE1CD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4EEC95FC-DF11-74E7-47E6-D5AD63958902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9" name="Rectangle 31">
              <a:extLst>
                <a:ext uri="{FF2B5EF4-FFF2-40B4-BE49-F238E27FC236}">
                  <a16:creationId xmlns:a16="http://schemas.microsoft.com/office/drawing/2014/main" id="{F38259DB-38D3-8671-C345-8F92ED057DB2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0" name="Rectangle 32">
              <a:extLst>
                <a:ext uri="{FF2B5EF4-FFF2-40B4-BE49-F238E27FC236}">
                  <a16:creationId xmlns:a16="http://schemas.microsoft.com/office/drawing/2014/main" id="{011C0DFB-4272-BE8B-6AAF-6F3736A6B3F3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" name="Rectangle 33">
              <a:extLst>
                <a:ext uri="{FF2B5EF4-FFF2-40B4-BE49-F238E27FC236}">
                  <a16:creationId xmlns:a16="http://schemas.microsoft.com/office/drawing/2014/main" id="{62858AD3-BFFE-E439-6140-D049E82C629E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" name="Rectangle 34">
              <a:extLst>
                <a:ext uri="{FF2B5EF4-FFF2-40B4-BE49-F238E27FC236}">
                  <a16:creationId xmlns:a16="http://schemas.microsoft.com/office/drawing/2014/main" id="{10E1A3AD-92E3-667F-A964-2146A7E5AF18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3" name="Rectangle 35">
              <a:extLst>
                <a:ext uri="{FF2B5EF4-FFF2-40B4-BE49-F238E27FC236}">
                  <a16:creationId xmlns:a16="http://schemas.microsoft.com/office/drawing/2014/main" id="{BCD96359-1CB5-6FB2-C384-D214BEB69C2F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4" name="Rectangle 37">
              <a:extLst>
                <a:ext uri="{FF2B5EF4-FFF2-40B4-BE49-F238E27FC236}">
                  <a16:creationId xmlns:a16="http://schemas.microsoft.com/office/drawing/2014/main" id="{8DFBDF09-AF35-DCEA-5054-E23DDC5EB3FF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5" name="Rectangle 48">
              <a:extLst>
                <a:ext uri="{FF2B5EF4-FFF2-40B4-BE49-F238E27FC236}">
                  <a16:creationId xmlns:a16="http://schemas.microsoft.com/office/drawing/2014/main" id="{AE67627D-DABB-0ECD-AFD6-D6FD998A6AC7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6" name="Rectangle 49">
              <a:extLst>
                <a:ext uri="{FF2B5EF4-FFF2-40B4-BE49-F238E27FC236}">
                  <a16:creationId xmlns:a16="http://schemas.microsoft.com/office/drawing/2014/main" id="{EB1D2E3B-E189-D0A9-D0E6-5BE2751440F6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00340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22222E-6 L 0.06576 2.22222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A5FE637B-550B-7EE5-400B-1BCF78B2C32A}"/>
              </a:ext>
            </a:extLst>
          </p:cNvPr>
          <p:cNvSpPr/>
          <p:nvPr/>
        </p:nvSpPr>
        <p:spPr>
          <a:xfrm rot="20717813">
            <a:off x="-2272592" y="5286697"/>
            <a:ext cx="18810710" cy="3633537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79" name="Группа 178">
            <a:extLst>
              <a:ext uri="{FF2B5EF4-FFF2-40B4-BE49-F238E27FC236}">
                <a16:creationId xmlns:a16="http://schemas.microsoft.com/office/drawing/2014/main" id="{6E953091-5929-4FB2-64FD-9599FF6FA641}"/>
              </a:ext>
            </a:extLst>
          </p:cNvPr>
          <p:cNvGrpSpPr/>
          <p:nvPr/>
        </p:nvGrpSpPr>
        <p:grpSpPr>
          <a:xfrm>
            <a:off x="-6134551" y="0"/>
            <a:ext cx="9026976" cy="7604796"/>
            <a:chOff x="7295974" y="4071540"/>
            <a:chExt cx="1959602" cy="1650871"/>
          </a:xfrm>
        </p:grpSpPr>
        <p:sp>
          <p:nvSpPr>
            <p:cNvPr id="143" name="Rectangle 22">
              <a:extLst>
                <a:ext uri="{FF2B5EF4-FFF2-40B4-BE49-F238E27FC236}">
                  <a16:creationId xmlns:a16="http://schemas.microsoft.com/office/drawing/2014/main" id="{20EFDC4D-8D49-F4A1-63CA-733DC4D66C8D}"/>
                </a:ext>
              </a:extLst>
            </p:cNvPr>
            <p:cNvSpPr/>
            <p:nvPr/>
          </p:nvSpPr>
          <p:spPr>
            <a:xfrm>
              <a:off x="7295974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9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0A68112C-D223-568A-7F32-730CA6D7F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4083807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5" name="Freeform 17">
              <a:extLst>
                <a:ext uri="{FF2B5EF4-FFF2-40B4-BE49-F238E27FC236}">
                  <a16:creationId xmlns:a16="http://schemas.microsoft.com/office/drawing/2014/main" id="{857360FC-21B5-721D-A68B-D195A19CC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5503178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6" name="Freeform 18">
              <a:extLst>
                <a:ext uri="{FF2B5EF4-FFF2-40B4-BE49-F238E27FC236}">
                  <a16:creationId xmlns:a16="http://schemas.microsoft.com/office/drawing/2014/main" id="{A9DA7EF3-C181-CE39-61D6-916C859D4C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4071540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7" name="Freeform 19">
              <a:extLst>
                <a:ext uri="{FF2B5EF4-FFF2-40B4-BE49-F238E27FC236}">
                  <a16:creationId xmlns:a16="http://schemas.microsoft.com/office/drawing/2014/main" id="{6E0744BF-151B-AF62-3BDB-9CB6D9283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4129268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E2EB9A7-BB60-2E89-2A16-D94CDD31DEAB}"/>
              </a:ext>
            </a:extLst>
          </p:cNvPr>
          <p:cNvSpPr txBox="1"/>
          <p:nvPr/>
        </p:nvSpPr>
        <p:spPr>
          <a:xfrm>
            <a:off x="1043932" y="1195583"/>
            <a:ext cx="9667656" cy="25742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ЭФФЕКТ ТРОСТНИКОВОГО СТЕКЛА</a:t>
            </a:r>
          </a:p>
        </p:txBody>
      </p:sp>
      <p:grpSp>
        <p:nvGrpSpPr>
          <p:cNvPr id="5" name="Group 73">
            <a:extLst>
              <a:ext uri="{FF2B5EF4-FFF2-40B4-BE49-F238E27FC236}">
                <a16:creationId xmlns:a16="http://schemas.microsoft.com/office/drawing/2014/main" id="{B8A4C787-91FB-FED7-A5D3-0C1F0B802F96}"/>
              </a:ext>
            </a:extLst>
          </p:cNvPr>
          <p:cNvGrpSpPr/>
          <p:nvPr/>
        </p:nvGrpSpPr>
        <p:grpSpPr>
          <a:xfrm>
            <a:off x="6467269" y="151460"/>
            <a:ext cx="10519612" cy="9792204"/>
            <a:chOff x="-2" y="0"/>
            <a:chExt cx="6428641" cy="6858000"/>
          </a:xfrm>
        </p:grpSpPr>
        <p:sp>
          <p:nvSpPr>
            <p:cNvPr id="6" name="Rectangle 36">
              <a:extLst>
                <a:ext uri="{FF2B5EF4-FFF2-40B4-BE49-F238E27FC236}">
                  <a16:creationId xmlns:a16="http://schemas.microsoft.com/office/drawing/2014/main" id="{6DDD8426-1791-D230-4EAE-60298AB19EFB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7" name="Rectangle 9">
              <a:extLst>
                <a:ext uri="{FF2B5EF4-FFF2-40B4-BE49-F238E27FC236}">
                  <a16:creationId xmlns:a16="http://schemas.microsoft.com/office/drawing/2014/main" id="{D2D48ECD-E4B9-A8AE-B59A-C20E1EE72E5C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8" name="Rectangle 31">
              <a:extLst>
                <a:ext uri="{FF2B5EF4-FFF2-40B4-BE49-F238E27FC236}">
                  <a16:creationId xmlns:a16="http://schemas.microsoft.com/office/drawing/2014/main" id="{2EE33D2B-4759-B34C-1AB0-E87A5BD90F26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9" name="Rectangle 32">
              <a:extLst>
                <a:ext uri="{FF2B5EF4-FFF2-40B4-BE49-F238E27FC236}">
                  <a16:creationId xmlns:a16="http://schemas.microsoft.com/office/drawing/2014/main" id="{DC7FAD72-12D4-92A0-F158-DBCAB80209C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0" name="Rectangle 33">
              <a:extLst>
                <a:ext uri="{FF2B5EF4-FFF2-40B4-BE49-F238E27FC236}">
                  <a16:creationId xmlns:a16="http://schemas.microsoft.com/office/drawing/2014/main" id="{22914ADE-6C40-071B-CE92-94D1E4DEE501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" name="Rectangle 34">
              <a:extLst>
                <a:ext uri="{FF2B5EF4-FFF2-40B4-BE49-F238E27FC236}">
                  <a16:creationId xmlns:a16="http://schemas.microsoft.com/office/drawing/2014/main" id="{D1943878-2630-117D-3FD3-D0D26BBF5FCA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" name="Rectangle 35">
              <a:extLst>
                <a:ext uri="{FF2B5EF4-FFF2-40B4-BE49-F238E27FC236}">
                  <a16:creationId xmlns:a16="http://schemas.microsoft.com/office/drawing/2014/main" id="{9DC3ACC7-3A3E-D848-4BC7-4236AEE69AE7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3" name="Rectangle 37">
              <a:extLst>
                <a:ext uri="{FF2B5EF4-FFF2-40B4-BE49-F238E27FC236}">
                  <a16:creationId xmlns:a16="http://schemas.microsoft.com/office/drawing/2014/main" id="{20B213CA-E5D3-CCDF-B0BB-124FA094445B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4" name="Rectangle 48">
              <a:extLst>
                <a:ext uri="{FF2B5EF4-FFF2-40B4-BE49-F238E27FC236}">
                  <a16:creationId xmlns:a16="http://schemas.microsoft.com/office/drawing/2014/main" id="{241F0E51-59D0-B7EC-B8B5-262A7B6F7EC4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5" name="Rectangle 49">
              <a:extLst>
                <a:ext uri="{FF2B5EF4-FFF2-40B4-BE49-F238E27FC236}">
                  <a16:creationId xmlns:a16="http://schemas.microsoft.com/office/drawing/2014/main" id="{74BB1082-096F-E4D5-16D9-C712D79C3B2E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99230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436268" y="451062"/>
            <a:ext cx="8590385" cy="679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36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ТРЕНДЫ В ПРЕЗЕНТАЦИЯХ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35B0E2B-7288-51E5-1236-CF55D862B48D}"/>
              </a:ext>
            </a:extLst>
          </p:cNvPr>
          <p:cNvGrpSpPr/>
          <p:nvPr/>
        </p:nvGrpSpPr>
        <p:grpSpPr>
          <a:xfrm>
            <a:off x="2570693" y="1530804"/>
            <a:ext cx="1904144" cy="1650871"/>
            <a:chOff x="2570693" y="1530804"/>
            <a:chExt cx="1904144" cy="1650871"/>
          </a:xfrm>
        </p:grpSpPr>
        <p:grpSp>
          <p:nvGrpSpPr>
            <p:cNvPr id="163" name="Группа 162">
              <a:extLst>
                <a:ext uri="{FF2B5EF4-FFF2-40B4-BE49-F238E27FC236}">
                  <a16:creationId xmlns:a16="http://schemas.microsoft.com/office/drawing/2014/main" id="{4B8A1FD4-56F7-CF9F-A9B0-1DC5AA30F5E5}"/>
                </a:ext>
              </a:extLst>
            </p:cNvPr>
            <p:cNvGrpSpPr/>
            <p:nvPr/>
          </p:nvGrpSpPr>
          <p:grpSpPr>
            <a:xfrm>
              <a:off x="2570693" y="1543071"/>
              <a:ext cx="1891155" cy="1638604"/>
              <a:chOff x="2570693" y="1543071"/>
              <a:chExt cx="1891155" cy="1638604"/>
            </a:xfrm>
          </p:grpSpPr>
          <p:sp>
            <p:nvSpPr>
              <p:cNvPr id="93" name="Rectangle 24">
                <a:extLst>
                  <a:ext uri="{FF2B5EF4-FFF2-40B4-BE49-F238E27FC236}">
                    <a16:creationId xmlns:a16="http://schemas.microsoft.com/office/drawing/2014/main" id="{56E5413D-BEB3-D6DA-40AC-5C27DF8D4C54}"/>
                  </a:ext>
                </a:extLst>
              </p:cNvPr>
              <p:cNvSpPr/>
              <p:nvPr/>
            </p:nvSpPr>
            <p:spPr>
              <a:xfrm>
                <a:off x="2570693" y="1612015"/>
                <a:ext cx="1337881" cy="15696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9600" dirty="0">
                    <a:solidFill>
                      <a:srgbClr val="620CFD"/>
                    </a:solidFill>
                    <a:latin typeface="Poppins SemiBold" panose="00000700000000000000" pitchFamily="2" charset="0"/>
                    <a:ea typeface="Roboto Bold" panose="02000000000000000000" pitchFamily="2" charset="0"/>
                    <a:cs typeface="Poppins SemiBold" panose="00000700000000000000" pitchFamily="2" charset="0"/>
                  </a:rPr>
                  <a:t>2</a:t>
                </a:r>
                <a:endParaRPr lang="en-US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95" name="Freeform 5">
                <a:extLst>
                  <a:ext uri="{FF2B5EF4-FFF2-40B4-BE49-F238E27FC236}">
                    <a16:creationId xmlns:a16="http://schemas.microsoft.com/office/drawing/2014/main" id="{1217AEF5-802E-A251-3622-85C194DF9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50" y="1543071"/>
                <a:ext cx="1069398" cy="1505240"/>
              </a:xfrm>
              <a:custGeom>
                <a:avLst/>
                <a:gdLst>
                  <a:gd name="T0" fmla="*/ 260 w 872"/>
                  <a:gd name="T1" fmla="*/ 0 h 1225"/>
                  <a:gd name="T2" fmla="*/ 0 w 872"/>
                  <a:gd name="T3" fmla="*/ 58 h 1225"/>
                  <a:gd name="T4" fmla="*/ 0 w 872"/>
                  <a:gd name="T5" fmla="*/ 1168 h 1225"/>
                  <a:gd name="T6" fmla="*/ 260 w 872"/>
                  <a:gd name="T7" fmla="*/ 1225 h 1225"/>
                  <a:gd name="T8" fmla="*/ 872 w 872"/>
                  <a:gd name="T9" fmla="*/ 613 h 1225"/>
                  <a:gd name="T10" fmla="*/ 260 w 872"/>
                  <a:gd name="T11" fmla="*/ 0 h 1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2" h="1225">
                    <a:moveTo>
                      <a:pt x="260" y="0"/>
                    </a:moveTo>
                    <a:cubicBezTo>
                      <a:pt x="167" y="0"/>
                      <a:pt x="79" y="21"/>
                      <a:pt x="0" y="58"/>
                    </a:cubicBezTo>
                    <a:cubicBezTo>
                      <a:pt x="0" y="1168"/>
                      <a:pt x="0" y="1168"/>
                      <a:pt x="0" y="1168"/>
                    </a:cubicBezTo>
                    <a:cubicBezTo>
                      <a:pt x="79" y="1205"/>
                      <a:pt x="167" y="1225"/>
                      <a:pt x="260" y="1225"/>
                    </a:cubicBezTo>
                    <a:cubicBezTo>
                      <a:pt x="598" y="1225"/>
                      <a:pt x="872" y="951"/>
                      <a:pt x="872" y="613"/>
                    </a:cubicBezTo>
                    <a:cubicBezTo>
                      <a:pt x="872" y="275"/>
                      <a:pt x="598" y="0"/>
                      <a:pt x="2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76200" dist="38100" dir="10800000" algn="r" rotWithShape="0">
                  <a:prstClr val="black">
                    <a:alpha val="3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A3572630-598B-5C94-8D3E-3784DF297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id="{DAA99000-EA9A-AE50-74C7-2BA64FDCC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id="{8B3DD752-C6A4-CFD4-19C2-EB2456B2D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3" name="Группа 172">
            <a:extLst>
              <a:ext uri="{FF2B5EF4-FFF2-40B4-BE49-F238E27FC236}">
                <a16:creationId xmlns:a16="http://schemas.microsoft.com/office/drawing/2014/main" id="{EB1D928E-4F1C-D312-593E-162A0FF3104C}"/>
              </a:ext>
            </a:extLst>
          </p:cNvPr>
          <p:cNvGrpSpPr/>
          <p:nvPr/>
        </p:nvGrpSpPr>
        <p:grpSpPr>
          <a:xfrm>
            <a:off x="4931227" y="1530804"/>
            <a:ext cx="1902534" cy="1650871"/>
            <a:chOff x="4931227" y="1530804"/>
            <a:chExt cx="1902534" cy="1650871"/>
          </a:xfrm>
        </p:grpSpPr>
        <p:sp>
          <p:nvSpPr>
            <p:cNvPr id="92" name="Rectangle 23">
              <a:extLst>
                <a:ext uri="{FF2B5EF4-FFF2-40B4-BE49-F238E27FC236}">
                  <a16:creationId xmlns:a16="http://schemas.microsoft.com/office/drawing/2014/main" id="{273617A1-2DC0-5FB9-D7E0-FF6BCB3EB5ED}"/>
                </a:ext>
              </a:extLst>
            </p:cNvPr>
            <p:cNvSpPr/>
            <p:nvPr/>
          </p:nvSpPr>
          <p:spPr>
            <a:xfrm>
              <a:off x="4931227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3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006CAACD-CC97-0283-4433-83EF84659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D7108752-D1B1-31C4-D013-C181BD470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2962442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C6A1B4F2-3F92-F637-BB6F-29F3023B5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1530804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C1360D4A-55EB-272D-6048-902A967F1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3CCC8006-DC23-82B5-9306-E15D523021AC}"/>
              </a:ext>
            </a:extLst>
          </p:cNvPr>
          <p:cNvGrpSpPr/>
          <p:nvPr/>
        </p:nvGrpSpPr>
        <p:grpSpPr>
          <a:xfrm>
            <a:off x="7295974" y="1530804"/>
            <a:ext cx="1959602" cy="1650871"/>
            <a:chOff x="7295974" y="1530804"/>
            <a:chExt cx="1959602" cy="1650871"/>
          </a:xfrm>
        </p:grpSpPr>
        <p:sp>
          <p:nvSpPr>
            <p:cNvPr id="91" name="Rectangle 22">
              <a:extLst>
                <a:ext uri="{FF2B5EF4-FFF2-40B4-BE49-F238E27FC236}">
                  <a16:creationId xmlns:a16="http://schemas.microsoft.com/office/drawing/2014/main" id="{AF59DD62-7880-13CC-4138-B454478E64D9}"/>
                </a:ext>
              </a:extLst>
            </p:cNvPr>
            <p:cNvSpPr/>
            <p:nvPr/>
          </p:nvSpPr>
          <p:spPr>
            <a:xfrm>
              <a:off x="7295974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4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B988EB9F-9358-3C35-272D-F6EFF02A7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1543071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0" name="Freeform 17">
              <a:extLst>
                <a:ext uri="{FF2B5EF4-FFF2-40B4-BE49-F238E27FC236}">
                  <a16:creationId xmlns:a16="http://schemas.microsoft.com/office/drawing/2014/main" id="{CE1C1353-7B83-A46C-5D84-EEF7396A6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2962442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1" name="Freeform 18">
              <a:extLst>
                <a:ext uri="{FF2B5EF4-FFF2-40B4-BE49-F238E27FC236}">
                  <a16:creationId xmlns:a16="http://schemas.microsoft.com/office/drawing/2014/main" id="{0D092205-5F45-3E67-E60B-C5468BB8F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1530804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2" name="Freeform 19">
              <a:extLst>
                <a:ext uri="{FF2B5EF4-FFF2-40B4-BE49-F238E27FC236}">
                  <a16:creationId xmlns:a16="http://schemas.microsoft.com/office/drawing/2014/main" id="{62B77E0A-A3CB-4BAD-15B2-38C772EEF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1588532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5" name="Группа 174">
            <a:extLst>
              <a:ext uri="{FF2B5EF4-FFF2-40B4-BE49-F238E27FC236}">
                <a16:creationId xmlns:a16="http://schemas.microsoft.com/office/drawing/2014/main" id="{0B591BB7-477C-7C35-7106-26B676D5BE13}"/>
              </a:ext>
            </a:extLst>
          </p:cNvPr>
          <p:cNvGrpSpPr/>
          <p:nvPr/>
        </p:nvGrpSpPr>
        <p:grpSpPr>
          <a:xfrm>
            <a:off x="9717808" y="1530804"/>
            <a:ext cx="1902714" cy="1650871"/>
            <a:chOff x="9717808" y="1530804"/>
            <a:chExt cx="1902714" cy="1650871"/>
          </a:xfrm>
        </p:grpSpPr>
        <p:sp>
          <p:nvSpPr>
            <p:cNvPr id="90" name="Rectangle 21">
              <a:extLst>
                <a:ext uri="{FF2B5EF4-FFF2-40B4-BE49-F238E27FC236}">
                  <a16:creationId xmlns:a16="http://schemas.microsoft.com/office/drawing/2014/main" id="{29569A48-EE85-2ED7-8D80-191157BE8C22}"/>
                </a:ext>
              </a:extLst>
            </p:cNvPr>
            <p:cNvSpPr/>
            <p:nvPr/>
          </p:nvSpPr>
          <p:spPr>
            <a:xfrm>
              <a:off x="9717808" y="1612015"/>
              <a:ext cx="1337882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5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3" name="Freeform 20">
              <a:extLst>
                <a:ext uri="{FF2B5EF4-FFF2-40B4-BE49-F238E27FC236}">
                  <a16:creationId xmlns:a16="http://schemas.microsoft.com/office/drawing/2014/main" id="{9EE6F49C-07F6-DB6B-4B0B-1EB921EE5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8136" y="1543071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5" name="Freeform 21">
              <a:extLst>
                <a:ext uri="{FF2B5EF4-FFF2-40B4-BE49-F238E27FC236}">
                  <a16:creationId xmlns:a16="http://schemas.microsoft.com/office/drawing/2014/main" id="{6749EA0B-A536-CDB9-C374-57F4AE4E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2962442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6" name="Freeform 22">
              <a:extLst>
                <a:ext uri="{FF2B5EF4-FFF2-40B4-BE49-F238E27FC236}">
                  <a16:creationId xmlns:a16="http://schemas.microsoft.com/office/drawing/2014/main" id="{E4B64482-23A1-4452-2675-AA1B5EFFB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5965" y="1530804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3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59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3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88 w 827"/>
                <a:gd name="T99" fmla="*/ 11 h 1245"/>
                <a:gd name="T100" fmla="*/ 245 w 827"/>
                <a:gd name="T101" fmla="*/ 2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199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8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7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4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3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1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8" y="842"/>
                    <a:pt x="777" y="841"/>
                  </a:cubicBezTo>
                  <a:cubicBezTo>
                    <a:pt x="772" y="839"/>
                    <a:pt x="769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1" y="535"/>
                    <a:pt x="823" y="551"/>
                  </a:cubicBezTo>
                  <a:cubicBezTo>
                    <a:pt x="824" y="557"/>
                    <a:pt x="820" y="562"/>
                    <a:pt x="814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2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4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59" y="111"/>
                  </a:cubicBezTo>
                  <a:cubicBezTo>
                    <a:pt x="573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6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4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29" y="21"/>
                    <a:pt x="213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17" name="Freeform 23">
              <a:extLst>
                <a:ext uri="{FF2B5EF4-FFF2-40B4-BE49-F238E27FC236}">
                  <a16:creationId xmlns:a16="http://schemas.microsoft.com/office/drawing/2014/main" id="{04E21E31-4E2B-6A92-5A7F-D0ED69C0E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3703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2" name="Группа 171">
            <a:extLst>
              <a:ext uri="{FF2B5EF4-FFF2-40B4-BE49-F238E27FC236}">
                <a16:creationId xmlns:a16="http://schemas.microsoft.com/office/drawing/2014/main" id="{70F9F561-E925-CC3F-3FD1-0CF9DB029578}"/>
              </a:ext>
            </a:extLst>
          </p:cNvPr>
          <p:cNvGrpSpPr/>
          <p:nvPr/>
        </p:nvGrpSpPr>
        <p:grpSpPr>
          <a:xfrm>
            <a:off x="224760" y="1530804"/>
            <a:ext cx="1890777" cy="1650871"/>
            <a:chOff x="224760" y="1530804"/>
            <a:chExt cx="1890777" cy="1650871"/>
          </a:xfrm>
        </p:grpSpPr>
        <p:sp>
          <p:nvSpPr>
            <p:cNvPr id="94" name="Rectangle 25">
              <a:extLst>
                <a:ext uri="{FF2B5EF4-FFF2-40B4-BE49-F238E27FC236}">
                  <a16:creationId xmlns:a16="http://schemas.microsoft.com/office/drawing/2014/main" id="{9426B5F4-A4AA-8DEB-EADD-889E43D6ECF0}"/>
                </a:ext>
              </a:extLst>
            </p:cNvPr>
            <p:cNvSpPr/>
            <p:nvPr/>
          </p:nvSpPr>
          <p:spPr>
            <a:xfrm>
              <a:off x="224760" y="1612015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8" name="Freeform 24">
              <a:extLst>
                <a:ext uri="{FF2B5EF4-FFF2-40B4-BE49-F238E27FC236}">
                  <a16:creationId xmlns:a16="http://schemas.microsoft.com/office/drawing/2014/main" id="{8668C76E-DE85-167C-8B9D-C63A038FC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1543071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1" name="Freeform 26">
              <a:extLst>
                <a:ext uri="{FF2B5EF4-FFF2-40B4-BE49-F238E27FC236}">
                  <a16:creationId xmlns:a16="http://schemas.microsoft.com/office/drawing/2014/main" id="{821036B1-A114-9E54-AC89-AFD52FDBD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2962442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22" name="Freeform 27">
              <a:extLst>
                <a:ext uri="{FF2B5EF4-FFF2-40B4-BE49-F238E27FC236}">
                  <a16:creationId xmlns:a16="http://schemas.microsoft.com/office/drawing/2014/main" id="{FADFDA08-A75F-E108-01D3-C17D96AF18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1530804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23" name="Freeform 28">
              <a:extLst>
                <a:ext uri="{FF2B5EF4-FFF2-40B4-BE49-F238E27FC236}">
                  <a16:creationId xmlns:a16="http://schemas.microsoft.com/office/drawing/2014/main" id="{02E78DB1-B4D3-B148-1742-D14CDC023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1588532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CEE3B85A-97B9-89F8-C67A-48CF9E943346}"/>
              </a:ext>
            </a:extLst>
          </p:cNvPr>
          <p:cNvGrpSpPr/>
          <p:nvPr/>
        </p:nvGrpSpPr>
        <p:grpSpPr>
          <a:xfrm>
            <a:off x="2570693" y="4071540"/>
            <a:ext cx="1904144" cy="1650871"/>
            <a:chOff x="2570693" y="4071540"/>
            <a:chExt cx="1904144" cy="1650871"/>
          </a:xfrm>
        </p:grpSpPr>
        <p:sp>
          <p:nvSpPr>
            <p:cNvPr id="131" name="Rectangle 24">
              <a:extLst>
                <a:ext uri="{FF2B5EF4-FFF2-40B4-BE49-F238E27FC236}">
                  <a16:creationId xmlns:a16="http://schemas.microsoft.com/office/drawing/2014/main" id="{39A4F353-AB65-8B80-1741-785AC44F9562}"/>
                </a:ext>
              </a:extLst>
            </p:cNvPr>
            <p:cNvSpPr/>
            <p:nvPr/>
          </p:nvSpPr>
          <p:spPr>
            <a:xfrm>
              <a:off x="2570693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7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7B1958A9-DF83-922C-950A-7314D9F26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50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3" name="Freeform 7">
              <a:extLst>
                <a:ext uri="{FF2B5EF4-FFF2-40B4-BE49-F238E27FC236}">
                  <a16:creationId xmlns:a16="http://schemas.microsoft.com/office/drawing/2014/main" id="{564C58DD-3A84-B66A-E8A5-F6FD608DA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3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1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4" name="Freeform 8">
              <a:extLst>
                <a:ext uri="{FF2B5EF4-FFF2-40B4-BE49-F238E27FC236}">
                  <a16:creationId xmlns:a16="http://schemas.microsoft.com/office/drawing/2014/main" id="{F098A11B-806D-749D-B8E3-34D6654304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0280" y="4071540"/>
              <a:ext cx="1014557" cy="1529774"/>
            </a:xfrm>
            <a:custGeom>
              <a:avLst/>
              <a:gdLst>
                <a:gd name="T0" fmla="*/ 197 w 827"/>
                <a:gd name="T1" fmla="*/ 1225 h 1245"/>
                <a:gd name="T2" fmla="*/ 245 w 827"/>
                <a:gd name="T3" fmla="*/ 1244 h 1245"/>
                <a:gd name="T4" fmla="*/ 101 w 827"/>
                <a:gd name="T5" fmla="*/ 1237 h 1245"/>
                <a:gd name="T6" fmla="*/ 160 w 827"/>
                <a:gd name="T7" fmla="*/ 1234 h 1245"/>
                <a:gd name="T8" fmla="*/ 290 w 827"/>
                <a:gd name="T9" fmla="*/ 1219 h 1245"/>
                <a:gd name="T10" fmla="*/ 293 w 827"/>
                <a:gd name="T11" fmla="*/ 1239 h 1245"/>
                <a:gd name="T12" fmla="*/ 8 w 827"/>
                <a:gd name="T13" fmla="*/ 1214 h 1245"/>
                <a:gd name="T14" fmla="*/ 66 w 827"/>
                <a:gd name="T15" fmla="*/ 1220 h 1245"/>
                <a:gd name="T16" fmla="*/ 381 w 827"/>
                <a:gd name="T17" fmla="*/ 1199 h 1245"/>
                <a:gd name="T18" fmla="*/ 386 w 827"/>
                <a:gd name="T19" fmla="*/ 1218 h 1245"/>
                <a:gd name="T20" fmla="*/ 467 w 827"/>
                <a:gd name="T21" fmla="*/ 1165 h 1245"/>
                <a:gd name="T22" fmla="*/ 476 w 827"/>
                <a:gd name="T23" fmla="*/ 1183 h 1245"/>
                <a:gd name="T24" fmla="*/ 548 w 827"/>
                <a:gd name="T25" fmla="*/ 1119 h 1245"/>
                <a:gd name="T26" fmla="*/ 559 w 827"/>
                <a:gd name="T27" fmla="*/ 1135 h 1245"/>
                <a:gd name="T28" fmla="*/ 620 w 827"/>
                <a:gd name="T29" fmla="*/ 1060 h 1245"/>
                <a:gd name="T30" fmla="*/ 634 w 827"/>
                <a:gd name="T31" fmla="*/ 1074 h 1245"/>
                <a:gd name="T32" fmla="*/ 682 w 827"/>
                <a:gd name="T33" fmla="*/ 991 h 1245"/>
                <a:gd name="T34" fmla="*/ 698 w 827"/>
                <a:gd name="T35" fmla="*/ 1003 h 1245"/>
                <a:gd name="T36" fmla="*/ 733 w 827"/>
                <a:gd name="T37" fmla="*/ 913 h 1245"/>
                <a:gd name="T38" fmla="*/ 751 w 827"/>
                <a:gd name="T39" fmla="*/ 923 h 1245"/>
                <a:gd name="T40" fmla="*/ 771 w 827"/>
                <a:gd name="T41" fmla="*/ 828 h 1245"/>
                <a:gd name="T42" fmla="*/ 790 w 827"/>
                <a:gd name="T43" fmla="*/ 835 h 1245"/>
                <a:gd name="T44" fmla="*/ 796 w 827"/>
                <a:gd name="T45" fmla="*/ 739 h 1245"/>
                <a:gd name="T46" fmla="*/ 816 w 827"/>
                <a:gd name="T47" fmla="*/ 743 h 1245"/>
                <a:gd name="T48" fmla="*/ 807 w 827"/>
                <a:gd name="T49" fmla="*/ 647 h 1245"/>
                <a:gd name="T50" fmla="*/ 827 w 827"/>
                <a:gd name="T51" fmla="*/ 599 h 1245"/>
                <a:gd name="T52" fmla="*/ 813 w 827"/>
                <a:gd name="T53" fmla="*/ 562 h 1245"/>
                <a:gd name="T54" fmla="*/ 816 w 827"/>
                <a:gd name="T55" fmla="*/ 504 h 1245"/>
                <a:gd name="T56" fmla="*/ 795 w 827"/>
                <a:gd name="T57" fmla="*/ 470 h 1245"/>
                <a:gd name="T58" fmla="*/ 790 w 827"/>
                <a:gd name="T59" fmla="*/ 411 h 1245"/>
                <a:gd name="T60" fmla="*/ 763 w 827"/>
                <a:gd name="T61" fmla="*/ 381 h 1245"/>
                <a:gd name="T62" fmla="*/ 751 w 827"/>
                <a:gd name="T63" fmla="*/ 324 h 1245"/>
                <a:gd name="T64" fmla="*/ 718 w 827"/>
                <a:gd name="T65" fmla="*/ 298 h 1245"/>
                <a:gd name="T66" fmla="*/ 698 w 827"/>
                <a:gd name="T67" fmla="*/ 243 h 1245"/>
                <a:gd name="T68" fmla="*/ 660 w 827"/>
                <a:gd name="T69" fmla="*/ 223 h 1245"/>
                <a:gd name="T70" fmla="*/ 634 w 827"/>
                <a:gd name="T71" fmla="*/ 172 h 1245"/>
                <a:gd name="T72" fmla="*/ 592 w 827"/>
                <a:gd name="T73" fmla="*/ 158 h 1245"/>
                <a:gd name="T74" fmla="*/ 560 w 827"/>
                <a:gd name="T75" fmla="*/ 111 h 1245"/>
                <a:gd name="T76" fmla="*/ 514 w 827"/>
                <a:gd name="T77" fmla="*/ 104 h 1245"/>
                <a:gd name="T78" fmla="*/ 477 w 827"/>
                <a:gd name="T79" fmla="*/ 63 h 1245"/>
                <a:gd name="T80" fmla="*/ 429 w 827"/>
                <a:gd name="T81" fmla="*/ 63 h 1245"/>
                <a:gd name="T82" fmla="*/ 387 w 827"/>
                <a:gd name="T83" fmla="*/ 28 h 1245"/>
                <a:gd name="T84" fmla="*/ 12 w 827"/>
                <a:gd name="T85" fmla="*/ 51 h 1245"/>
                <a:gd name="T86" fmla="*/ 67 w 827"/>
                <a:gd name="T87" fmla="*/ 26 h 1245"/>
                <a:gd name="T88" fmla="*/ 339 w 827"/>
                <a:gd name="T89" fmla="*/ 35 h 1245"/>
                <a:gd name="T90" fmla="*/ 294 w 827"/>
                <a:gd name="T91" fmla="*/ 7 h 1245"/>
                <a:gd name="T92" fmla="*/ 104 w 827"/>
                <a:gd name="T93" fmla="*/ 29 h 1245"/>
                <a:gd name="T94" fmla="*/ 160 w 827"/>
                <a:gd name="T95" fmla="*/ 12 h 1245"/>
                <a:gd name="T96" fmla="*/ 245 w 827"/>
                <a:gd name="T97" fmla="*/ 22 h 1245"/>
                <a:gd name="T98" fmla="*/ 198 w 827"/>
                <a:gd name="T99" fmla="*/ 20 h 1245"/>
                <a:gd name="T100" fmla="*/ 246 w 827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7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5"/>
                    <a:pt x="197" y="1225"/>
                  </a:cubicBezTo>
                  <a:cubicBezTo>
                    <a:pt x="197" y="1225"/>
                    <a:pt x="197" y="1225"/>
                    <a:pt x="197" y="1225"/>
                  </a:cubicBezTo>
                  <a:cubicBezTo>
                    <a:pt x="212" y="1226"/>
                    <a:pt x="228" y="1225"/>
                    <a:pt x="244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5" y="1239"/>
                    <a:pt x="250" y="1244"/>
                    <a:pt x="245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1"/>
                    <a:pt x="117" y="1239"/>
                    <a:pt x="101" y="1237"/>
                  </a:cubicBezTo>
                  <a:cubicBezTo>
                    <a:pt x="96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20" y="1220"/>
                    <a:pt x="135" y="1222"/>
                    <a:pt x="151" y="1223"/>
                  </a:cubicBezTo>
                  <a:cubicBezTo>
                    <a:pt x="156" y="1223"/>
                    <a:pt x="160" y="1228"/>
                    <a:pt x="160" y="1234"/>
                  </a:cubicBezTo>
                  <a:cubicBezTo>
                    <a:pt x="159" y="1239"/>
                    <a:pt x="155" y="1243"/>
                    <a:pt x="150" y="1243"/>
                  </a:cubicBezTo>
                  <a:close/>
                  <a:moveTo>
                    <a:pt x="291" y="1239"/>
                  </a:moveTo>
                  <a:cubicBezTo>
                    <a:pt x="286" y="1239"/>
                    <a:pt x="282" y="1236"/>
                    <a:pt x="281" y="1231"/>
                  </a:cubicBezTo>
                  <a:cubicBezTo>
                    <a:pt x="281" y="1225"/>
                    <a:pt x="284" y="1220"/>
                    <a:pt x="290" y="1219"/>
                  </a:cubicBezTo>
                  <a:cubicBezTo>
                    <a:pt x="305" y="1217"/>
                    <a:pt x="321" y="1214"/>
                    <a:pt x="336" y="1211"/>
                  </a:cubicBezTo>
                  <a:cubicBezTo>
                    <a:pt x="341" y="1210"/>
                    <a:pt x="346" y="1213"/>
                    <a:pt x="348" y="1219"/>
                  </a:cubicBezTo>
                  <a:cubicBezTo>
                    <a:pt x="349" y="1224"/>
                    <a:pt x="345" y="1229"/>
                    <a:pt x="340" y="1231"/>
                  </a:cubicBezTo>
                  <a:cubicBezTo>
                    <a:pt x="324" y="1234"/>
                    <a:pt x="309" y="1237"/>
                    <a:pt x="293" y="1239"/>
                  </a:cubicBezTo>
                  <a:cubicBezTo>
                    <a:pt x="292" y="1239"/>
                    <a:pt x="292" y="1239"/>
                    <a:pt x="291" y="1239"/>
                  </a:cubicBezTo>
                  <a:close/>
                  <a:moveTo>
                    <a:pt x="56" y="1227"/>
                  </a:moveTo>
                  <a:cubicBezTo>
                    <a:pt x="56" y="1227"/>
                    <a:pt x="55" y="1227"/>
                    <a:pt x="54" y="1227"/>
                  </a:cubicBezTo>
                  <a:cubicBezTo>
                    <a:pt x="39" y="1223"/>
                    <a:pt x="23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4" y="1209"/>
                    <a:pt x="68" y="1214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4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1" y="1199"/>
                  </a:cubicBezTo>
                  <a:cubicBezTo>
                    <a:pt x="395" y="1195"/>
                    <a:pt x="410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8"/>
                  </a:cubicBezTo>
                  <a:cubicBezTo>
                    <a:pt x="385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4" y="1182"/>
                    <a:pt x="463" y="1179"/>
                  </a:cubicBezTo>
                  <a:cubicBezTo>
                    <a:pt x="460" y="1174"/>
                    <a:pt x="462" y="1168"/>
                    <a:pt x="467" y="1165"/>
                  </a:cubicBezTo>
                  <a:cubicBezTo>
                    <a:pt x="481" y="1159"/>
                    <a:pt x="495" y="1151"/>
                    <a:pt x="508" y="1144"/>
                  </a:cubicBezTo>
                  <a:cubicBezTo>
                    <a:pt x="513" y="1141"/>
                    <a:pt x="519" y="1142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5" y="1169"/>
                    <a:pt x="490" y="1176"/>
                    <a:pt x="476" y="1183"/>
                  </a:cubicBezTo>
                  <a:cubicBezTo>
                    <a:pt x="475" y="1184"/>
                    <a:pt x="473" y="1184"/>
                    <a:pt x="472" y="1184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2"/>
                  </a:cubicBezTo>
                  <a:cubicBezTo>
                    <a:pt x="542" y="1128"/>
                    <a:pt x="543" y="1122"/>
                    <a:pt x="548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2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7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1" y="1049"/>
                    <a:pt x="642" y="1038"/>
                    <a:pt x="652" y="1026"/>
                  </a:cubicBezTo>
                  <a:cubicBezTo>
                    <a:pt x="656" y="1022"/>
                    <a:pt x="662" y="1022"/>
                    <a:pt x="666" y="1026"/>
                  </a:cubicBezTo>
                  <a:cubicBezTo>
                    <a:pt x="670" y="1029"/>
                    <a:pt x="671" y="1036"/>
                    <a:pt x="667" y="1040"/>
                  </a:cubicBezTo>
                  <a:cubicBezTo>
                    <a:pt x="656" y="1052"/>
                    <a:pt x="645" y="1063"/>
                    <a:pt x="634" y="1074"/>
                  </a:cubicBezTo>
                  <a:cubicBezTo>
                    <a:pt x="632" y="1076"/>
                    <a:pt x="629" y="1077"/>
                    <a:pt x="627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79" y="1001"/>
                    <a:pt x="679" y="995"/>
                    <a:pt x="682" y="991"/>
                  </a:cubicBezTo>
                  <a:cubicBezTo>
                    <a:pt x="692" y="979"/>
                    <a:pt x="701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7" y="977"/>
                    <a:pt x="708" y="990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9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6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1" y="923"/>
                  </a:cubicBezTo>
                  <a:cubicBezTo>
                    <a:pt x="749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7" y="841"/>
                  </a:cubicBezTo>
                  <a:cubicBezTo>
                    <a:pt x="772" y="839"/>
                    <a:pt x="770" y="834"/>
                    <a:pt x="771" y="828"/>
                  </a:cubicBezTo>
                  <a:cubicBezTo>
                    <a:pt x="777" y="814"/>
                    <a:pt x="781" y="799"/>
                    <a:pt x="786" y="784"/>
                  </a:cubicBezTo>
                  <a:cubicBezTo>
                    <a:pt x="787" y="779"/>
                    <a:pt x="793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1" y="805"/>
                    <a:pt x="796" y="820"/>
                    <a:pt x="790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9" y="750"/>
                    <a:pt x="795" y="744"/>
                    <a:pt x="796" y="739"/>
                  </a:cubicBezTo>
                  <a:cubicBezTo>
                    <a:pt x="799" y="724"/>
                    <a:pt x="802" y="708"/>
                    <a:pt x="803" y="693"/>
                  </a:cubicBezTo>
                  <a:cubicBezTo>
                    <a:pt x="804" y="687"/>
                    <a:pt x="809" y="683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1" y="657"/>
                    <a:pt x="807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7" y="594"/>
                    <a:pt x="811" y="590"/>
                    <a:pt x="817" y="590"/>
                  </a:cubicBezTo>
                  <a:cubicBezTo>
                    <a:pt x="822" y="590"/>
                    <a:pt x="827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7"/>
                  </a:cubicBezTo>
                  <a:cubicBezTo>
                    <a:pt x="827" y="653"/>
                    <a:pt x="822" y="657"/>
                    <a:pt x="817" y="657"/>
                  </a:cubicBezTo>
                  <a:close/>
                  <a:moveTo>
                    <a:pt x="813" y="562"/>
                  </a:moveTo>
                  <a:cubicBezTo>
                    <a:pt x="808" y="562"/>
                    <a:pt x="804" y="559"/>
                    <a:pt x="803" y="554"/>
                  </a:cubicBezTo>
                  <a:cubicBezTo>
                    <a:pt x="802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10" y="495"/>
                    <a:pt x="815" y="498"/>
                    <a:pt x="816" y="504"/>
                  </a:cubicBezTo>
                  <a:cubicBezTo>
                    <a:pt x="819" y="519"/>
                    <a:pt x="822" y="535"/>
                    <a:pt x="823" y="551"/>
                  </a:cubicBezTo>
                  <a:cubicBezTo>
                    <a:pt x="824" y="557"/>
                    <a:pt x="820" y="562"/>
                    <a:pt x="815" y="562"/>
                  </a:cubicBezTo>
                  <a:cubicBezTo>
                    <a:pt x="814" y="562"/>
                    <a:pt x="814" y="562"/>
                    <a:pt x="813" y="562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7" y="462"/>
                    <a:pt x="803" y="468"/>
                    <a:pt x="798" y="469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1" y="328"/>
                    <a:pt x="732" y="322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9" y="338"/>
                    <a:pt x="766" y="352"/>
                    <a:pt x="772" y="367"/>
                  </a:cubicBezTo>
                  <a:cubicBezTo>
                    <a:pt x="775" y="372"/>
                    <a:pt x="772" y="378"/>
                    <a:pt x="767" y="380"/>
                  </a:cubicBezTo>
                  <a:cubicBezTo>
                    <a:pt x="766" y="381"/>
                    <a:pt x="765" y="381"/>
                    <a:pt x="763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1" y="296"/>
                    <a:pt x="709" y="293"/>
                  </a:cubicBezTo>
                  <a:cubicBezTo>
                    <a:pt x="701" y="280"/>
                    <a:pt x="692" y="268"/>
                    <a:pt x="682" y="255"/>
                  </a:cubicBezTo>
                  <a:cubicBezTo>
                    <a:pt x="679" y="251"/>
                    <a:pt x="680" y="245"/>
                    <a:pt x="684" y="241"/>
                  </a:cubicBezTo>
                  <a:cubicBezTo>
                    <a:pt x="689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2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5" y="222"/>
                    <a:pt x="653" y="220"/>
                  </a:cubicBezTo>
                  <a:cubicBezTo>
                    <a:pt x="642" y="208"/>
                    <a:pt x="631" y="197"/>
                    <a:pt x="620" y="186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5" y="183"/>
                    <a:pt x="657" y="194"/>
                    <a:pt x="667" y="206"/>
                  </a:cubicBezTo>
                  <a:cubicBezTo>
                    <a:pt x="671" y="210"/>
                    <a:pt x="671" y="217"/>
                    <a:pt x="667" y="220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2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6"/>
                    <a:pt x="548" y="128"/>
                  </a:cubicBezTo>
                  <a:cubicBezTo>
                    <a:pt x="544" y="124"/>
                    <a:pt x="542" y="118"/>
                    <a:pt x="546" y="114"/>
                  </a:cubicBezTo>
                  <a:cubicBezTo>
                    <a:pt x="549" y="109"/>
                    <a:pt x="555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1" y="70"/>
                    <a:pt x="505" y="77"/>
                    <a:pt x="519" y="85"/>
                  </a:cubicBezTo>
                  <a:cubicBezTo>
                    <a:pt x="524" y="88"/>
                    <a:pt x="525" y="94"/>
                    <a:pt x="523" y="99"/>
                  </a:cubicBezTo>
                  <a:cubicBezTo>
                    <a:pt x="521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8" y="63"/>
                    <a:pt x="427" y="62"/>
                    <a:pt x="425" y="62"/>
                  </a:cubicBezTo>
                  <a:cubicBezTo>
                    <a:pt x="411" y="56"/>
                    <a:pt x="396" y="51"/>
                    <a:pt x="381" y="47"/>
                  </a:cubicBezTo>
                  <a:cubicBezTo>
                    <a:pt x="376" y="45"/>
                    <a:pt x="373" y="39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0" y="51"/>
                    <a:pt x="438" y="56"/>
                  </a:cubicBezTo>
                  <a:cubicBezTo>
                    <a:pt x="437" y="60"/>
                    <a:pt x="433" y="63"/>
                    <a:pt x="429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2" y="45"/>
                  </a:cubicBezTo>
                  <a:cubicBezTo>
                    <a:pt x="1" y="39"/>
                    <a:pt x="3" y="34"/>
                    <a:pt x="9" y="32"/>
                  </a:cubicBezTo>
                  <a:cubicBezTo>
                    <a:pt x="24" y="27"/>
                    <a:pt x="39" y="22"/>
                    <a:pt x="55" y="19"/>
                  </a:cubicBezTo>
                  <a:cubicBezTo>
                    <a:pt x="60" y="17"/>
                    <a:pt x="66" y="21"/>
                    <a:pt x="67" y="26"/>
                  </a:cubicBezTo>
                  <a:cubicBezTo>
                    <a:pt x="68" y="31"/>
                    <a:pt x="65" y="37"/>
                    <a:pt x="60" y="38"/>
                  </a:cubicBezTo>
                  <a:cubicBezTo>
                    <a:pt x="45" y="42"/>
                    <a:pt x="30" y="46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1"/>
                    <a:pt x="306" y="29"/>
                    <a:pt x="291" y="26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4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6"/>
                    <a:pt x="350" y="22"/>
                    <a:pt x="348" y="27"/>
                  </a:cubicBezTo>
                  <a:cubicBezTo>
                    <a:pt x="347" y="32"/>
                    <a:pt x="343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5" y="2"/>
                    <a:pt x="160" y="6"/>
                    <a:pt x="160" y="12"/>
                  </a:cubicBezTo>
                  <a:cubicBezTo>
                    <a:pt x="161" y="17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5" y="29"/>
                    <a:pt x="104" y="29"/>
                    <a:pt x="104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5" y="22"/>
                    <a:pt x="244" y="22"/>
                  </a:cubicBezTo>
                  <a:cubicBezTo>
                    <a:pt x="231" y="21"/>
                    <a:pt x="218" y="20"/>
                    <a:pt x="205" y="20"/>
                  </a:cubicBezTo>
                  <a:cubicBezTo>
                    <a:pt x="203" y="20"/>
                    <a:pt x="200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2" y="20"/>
                    <a:pt x="188" y="16"/>
                    <a:pt x="188" y="11"/>
                  </a:cubicBezTo>
                  <a:cubicBezTo>
                    <a:pt x="188" y="5"/>
                    <a:pt x="192" y="0"/>
                    <a:pt x="198" y="0"/>
                  </a:cubicBezTo>
                  <a:cubicBezTo>
                    <a:pt x="200" y="0"/>
                    <a:pt x="203" y="0"/>
                    <a:pt x="205" y="0"/>
                  </a:cubicBezTo>
                  <a:cubicBezTo>
                    <a:pt x="219" y="0"/>
                    <a:pt x="232" y="1"/>
                    <a:pt x="246" y="2"/>
                  </a:cubicBezTo>
                  <a:cubicBezTo>
                    <a:pt x="251" y="2"/>
                    <a:pt x="255" y="7"/>
                    <a:pt x="255" y="12"/>
                  </a:cubicBezTo>
                  <a:cubicBezTo>
                    <a:pt x="255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5" name="Freeform 9">
              <a:extLst>
                <a:ext uri="{FF2B5EF4-FFF2-40B4-BE49-F238E27FC236}">
                  <a16:creationId xmlns:a16="http://schemas.microsoft.com/office/drawing/2014/main" id="{FBABAF63-61AF-5442-229A-F95325EF3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019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1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8" name="Группа 177">
            <a:extLst>
              <a:ext uri="{FF2B5EF4-FFF2-40B4-BE49-F238E27FC236}">
                <a16:creationId xmlns:a16="http://schemas.microsoft.com/office/drawing/2014/main" id="{C99650E0-C87B-0F1D-590C-BEBF62DD60CC}"/>
              </a:ext>
            </a:extLst>
          </p:cNvPr>
          <p:cNvGrpSpPr/>
          <p:nvPr/>
        </p:nvGrpSpPr>
        <p:grpSpPr>
          <a:xfrm>
            <a:off x="4931227" y="4071540"/>
            <a:ext cx="1902534" cy="1650871"/>
            <a:chOff x="4931227" y="4071540"/>
            <a:chExt cx="1902534" cy="1650871"/>
          </a:xfrm>
        </p:grpSpPr>
        <p:sp>
          <p:nvSpPr>
            <p:cNvPr id="137" name="Rectangle 23">
              <a:extLst>
                <a:ext uri="{FF2B5EF4-FFF2-40B4-BE49-F238E27FC236}">
                  <a16:creationId xmlns:a16="http://schemas.microsoft.com/office/drawing/2014/main" id="{ED07FEA2-D699-6335-26A2-4AF432160754}"/>
                </a:ext>
              </a:extLst>
            </p:cNvPr>
            <p:cNvSpPr/>
            <p:nvPr/>
          </p:nvSpPr>
          <p:spPr>
            <a:xfrm>
              <a:off x="4931227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8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09C3FF1-010B-ED79-6CA1-1B68C3731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375" y="4083807"/>
              <a:ext cx="1069398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7 h 1225"/>
                <a:gd name="T4" fmla="*/ 0 w 872"/>
                <a:gd name="T5" fmla="*/ 1167 h 1225"/>
                <a:gd name="T6" fmla="*/ 260 w 872"/>
                <a:gd name="T7" fmla="*/ 1225 h 1225"/>
                <a:gd name="T8" fmla="*/ 872 w 872"/>
                <a:gd name="T9" fmla="*/ 612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0"/>
                    <a:pt x="0" y="57"/>
                  </a:cubicBezTo>
                  <a:cubicBezTo>
                    <a:pt x="0" y="1167"/>
                    <a:pt x="0" y="1167"/>
                    <a:pt x="0" y="1167"/>
                  </a:cubicBezTo>
                  <a:cubicBezTo>
                    <a:pt x="79" y="1204"/>
                    <a:pt x="167" y="1225"/>
                    <a:pt x="260" y="1225"/>
                  </a:cubicBezTo>
                  <a:cubicBezTo>
                    <a:pt x="598" y="1225"/>
                    <a:pt x="872" y="950"/>
                    <a:pt x="872" y="612"/>
                  </a:cubicBezTo>
                  <a:cubicBezTo>
                    <a:pt x="872" y="274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39" name="Freeform 12">
              <a:extLst>
                <a:ext uri="{FF2B5EF4-FFF2-40B4-BE49-F238E27FC236}">
                  <a16:creationId xmlns:a16="http://schemas.microsoft.com/office/drawing/2014/main" id="{247B6EB1-243F-98B7-3420-9B7E47C17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5503178"/>
              <a:ext cx="54841" cy="38966"/>
            </a:xfrm>
            <a:custGeom>
              <a:avLst/>
              <a:gdLst>
                <a:gd name="T0" fmla="*/ 34 w 45"/>
                <a:gd name="T1" fmla="*/ 32 h 32"/>
                <a:gd name="T2" fmla="*/ 30 w 45"/>
                <a:gd name="T3" fmla="*/ 31 h 32"/>
                <a:gd name="T4" fmla="*/ 7 w 45"/>
                <a:gd name="T5" fmla="*/ 21 h 32"/>
                <a:gd name="T6" fmla="*/ 3 w 45"/>
                <a:gd name="T7" fmla="*/ 8 h 32"/>
                <a:gd name="T8" fmla="*/ 16 w 45"/>
                <a:gd name="T9" fmla="*/ 3 h 32"/>
                <a:gd name="T10" fmla="*/ 37 w 45"/>
                <a:gd name="T11" fmla="*/ 12 h 32"/>
                <a:gd name="T12" fmla="*/ 43 w 45"/>
                <a:gd name="T13" fmla="*/ 25 h 32"/>
                <a:gd name="T14" fmla="*/ 34 w 4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2">
                  <a:moveTo>
                    <a:pt x="34" y="32"/>
                  </a:moveTo>
                  <a:cubicBezTo>
                    <a:pt x="32" y="32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3"/>
                    <a:pt x="3" y="8"/>
                  </a:cubicBezTo>
                  <a:cubicBezTo>
                    <a:pt x="5" y="3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7" y="32"/>
                    <a:pt x="34" y="3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0" name="Freeform 13">
              <a:extLst>
                <a:ext uri="{FF2B5EF4-FFF2-40B4-BE49-F238E27FC236}">
                  <a16:creationId xmlns:a16="http://schemas.microsoft.com/office/drawing/2014/main" id="{E1A9EFCB-1E58-4FF0-A5F8-9EC6968E1E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204" y="4071540"/>
              <a:ext cx="1014557" cy="1529774"/>
            </a:xfrm>
            <a:custGeom>
              <a:avLst/>
              <a:gdLst>
                <a:gd name="T0" fmla="*/ 197 w 827"/>
                <a:gd name="T1" fmla="*/ 1226 h 1246"/>
                <a:gd name="T2" fmla="*/ 245 w 827"/>
                <a:gd name="T3" fmla="*/ 1244 h 1246"/>
                <a:gd name="T4" fmla="*/ 101 w 827"/>
                <a:gd name="T5" fmla="*/ 1237 h 1246"/>
                <a:gd name="T6" fmla="*/ 159 w 827"/>
                <a:gd name="T7" fmla="*/ 1234 h 1246"/>
                <a:gd name="T8" fmla="*/ 290 w 827"/>
                <a:gd name="T9" fmla="*/ 1220 h 1246"/>
                <a:gd name="T10" fmla="*/ 292 w 827"/>
                <a:gd name="T11" fmla="*/ 1239 h 1246"/>
                <a:gd name="T12" fmla="*/ 8 w 827"/>
                <a:gd name="T13" fmla="*/ 1214 h 1246"/>
                <a:gd name="T14" fmla="*/ 66 w 827"/>
                <a:gd name="T15" fmla="*/ 1220 h 1246"/>
                <a:gd name="T16" fmla="*/ 380 w 827"/>
                <a:gd name="T17" fmla="*/ 1200 h 1246"/>
                <a:gd name="T18" fmla="*/ 386 w 827"/>
                <a:gd name="T19" fmla="*/ 1219 h 1246"/>
                <a:gd name="T20" fmla="*/ 467 w 827"/>
                <a:gd name="T21" fmla="*/ 1166 h 1246"/>
                <a:gd name="T22" fmla="*/ 476 w 827"/>
                <a:gd name="T23" fmla="*/ 1184 h 1246"/>
                <a:gd name="T24" fmla="*/ 547 w 827"/>
                <a:gd name="T25" fmla="*/ 1119 h 1246"/>
                <a:gd name="T26" fmla="*/ 559 w 827"/>
                <a:gd name="T27" fmla="*/ 1135 h 1246"/>
                <a:gd name="T28" fmla="*/ 619 w 827"/>
                <a:gd name="T29" fmla="*/ 1060 h 1246"/>
                <a:gd name="T30" fmla="*/ 633 w 827"/>
                <a:gd name="T31" fmla="*/ 1075 h 1246"/>
                <a:gd name="T32" fmla="*/ 682 w 827"/>
                <a:gd name="T33" fmla="*/ 991 h 1246"/>
                <a:gd name="T34" fmla="*/ 698 w 827"/>
                <a:gd name="T35" fmla="*/ 1003 h 1246"/>
                <a:gd name="T36" fmla="*/ 733 w 827"/>
                <a:gd name="T37" fmla="*/ 913 h 1246"/>
                <a:gd name="T38" fmla="*/ 750 w 827"/>
                <a:gd name="T39" fmla="*/ 923 h 1246"/>
                <a:gd name="T40" fmla="*/ 771 w 827"/>
                <a:gd name="T41" fmla="*/ 829 h 1246"/>
                <a:gd name="T42" fmla="*/ 790 w 827"/>
                <a:gd name="T43" fmla="*/ 835 h 1246"/>
                <a:gd name="T44" fmla="*/ 796 w 827"/>
                <a:gd name="T45" fmla="*/ 739 h 1246"/>
                <a:gd name="T46" fmla="*/ 816 w 827"/>
                <a:gd name="T47" fmla="*/ 743 h 1246"/>
                <a:gd name="T48" fmla="*/ 807 w 827"/>
                <a:gd name="T49" fmla="*/ 647 h 1246"/>
                <a:gd name="T50" fmla="*/ 827 w 827"/>
                <a:gd name="T51" fmla="*/ 599 h 1246"/>
                <a:gd name="T52" fmla="*/ 813 w 827"/>
                <a:gd name="T53" fmla="*/ 563 h 1246"/>
                <a:gd name="T54" fmla="*/ 816 w 827"/>
                <a:gd name="T55" fmla="*/ 504 h 1246"/>
                <a:gd name="T56" fmla="*/ 795 w 827"/>
                <a:gd name="T57" fmla="*/ 470 h 1246"/>
                <a:gd name="T58" fmla="*/ 790 w 827"/>
                <a:gd name="T59" fmla="*/ 411 h 1246"/>
                <a:gd name="T60" fmla="*/ 763 w 827"/>
                <a:gd name="T61" fmla="*/ 381 h 1246"/>
                <a:gd name="T62" fmla="*/ 751 w 827"/>
                <a:gd name="T63" fmla="*/ 324 h 1246"/>
                <a:gd name="T64" fmla="*/ 717 w 827"/>
                <a:gd name="T65" fmla="*/ 298 h 1246"/>
                <a:gd name="T66" fmla="*/ 698 w 827"/>
                <a:gd name="T67" fmla="*/ 243 h 1246"/>
                <a:gd name="T68" fmla="*/ 660 w 827"/>
                <a:gd name="T69" fmla="*/ 223 h 1246"/>
                <a:gd name="T70" fmla="*/ 634 w 827"/>
                <a:gd name="T71" fmla="*/ 172 h 1246"/>
                <a:gd name="T72" fmla="*/ 591 w 827"/>
                <a:gd name="T73" fmla="*/ 158 h 1246"/>
                <a:gd name="T74" fmla="*/ 559 w 827"/>
                <a:gd name="T75" fmla="*/ 111 h 1246"/>
                <a:gd name="T76" fmla="*/ 514 w 827"/>
                <a:gd name="T77" fmla="*/ 104 h 1246"/>
                <a:gd name="T78" fmla="*/ 476 w 827"/>
                <a:gd name="T79" fmla="*/ 63 h 1246"/>
                <a:gd name="T80" fmla="*/ 429 w 827"/>
                <a:gd name="T81" fmla="*/ 63 h 1246"/>
                <a:gd name="T82" fmla="*/ 387 w 827"/>
                <a:gd name="T83" fmla="*/ 28 h 1246"/>
                <a:gd name="T84" fmla="*/ 12 w 827"/>
                <a:gd name="T85" fmla="*/ 52 h 1246"/>
                <a:gd name="T86" fmla="*/ 67 w 827"/>
                <a:gd name="T87" fmla="*/ 26 h 1246"/>
                <a:gd name="T88" fmla="*/ 338 w 827"/>
                <a:gd name="T89" fmla="*/ 35 h 1246"/>
                <a:gd name="T90" fmla="*/ 293 w 827"/>
                <a:gd name="T91" fmla="*/ 7 h 1246"/>
                <a:gd name="T92" fmla="*/ 103 w 827"/>
                <a:gd name="T93" fmla="*/ 29 h 1246"/>
                <a:gd name="T94" fmla="*/ 160 w 827"/>
                <a:gd name="T95" fmla="*/ 12 h 1246"/>
                <a:gd name="T96" fmla="*/ 245 w 827"/>
                <a:gd name="T97" fmla="*/ 22 h 1246"/>
                <a:gd name="T98" fmla="*/ 197 w 827"/>
                <a:gd name="T99" fmla="*/ 1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1246">
                  <a:moveTo>
                    <a:pt x="205" y="1246"/>
                  </a:moveTo>
                  <a:cubicBezTo>
                    <a:pt x="202" y="1246"/>
                    <a:pt x="199" y="1246"/>
                    <a:pt x="197" y="1246"/>
                  </a:cubicBezTo>
                  <a:cubicBezTo>
                    <a:pt x="191" y="1245"/>
                    <a:pt x="187" y="1241"/>
                    <a:pt x="187" y="1235"/>
                  </a:cubicBezTo>
                  <a:cubicBezTo>
                    <a:pt x="187" y="1230"/>
                    <a:pt x="191" y="1226"/>
                    <a:pt x="197" y="1226"/>
                  </a:cubicBezTo>
                  <a:cubicBezTo>
                    <a:pt x="197" y="1226"/>
                    <a:pt x="197" y="1226"/>
                    <a:pt x="197" y="1226"/>
                  </a:cubicBezTo>
                  <a:cubicBezTo>
                    <a:pt x="212" y="1226"/>
                    <a:pt x="228" y="1225"/>
                    <a:pt x="243" y="1224"/>
                  </a:cubicBezTo>
                  <a:cubicBezTo>
                    <a:pt x="249" y="1224"/>
                    <a:pt x="254" y="1228"/>
                    <a:pt x="254" y="1234"/>
                  </a:cubicBezTo>
                  <a:cubicBezTo>
                    <a:pt x="254" y="1239"/>
                    <a:pt x="250" y="1244"/>
                    <a:pt x="245" y="1244"/>
                  </a:cubicBezTo>
                  <a:cubicBezTo>
                    <a:pt x="231" y="1245"/>
                    <a:pt x="218" y="1246"/>
                    <a:pt x="205" y="1246"/>
                  </a:cubicBezTo>
                  <a:close/>
                  <a:moveTo>
                    <a:pt x="149" y="1243"/>
                  </a:moveTo>
                  <a:cubicBezTo>
                    <a:pt x="149" y="1243"/>
                    <a:pt x="149" y="1243"/>
                    <a:pt x="149" y="1243"/>
                  </a:cubicBezTo>
                  <a:cubicBezTo>
                    <a:pt x="133" y="1242"/>
                    <a:pt x="117" y="1240"/>
                    <a:pt x="101" y="1237"/>
                  </a:cubicBezTo>
                  <a:cubicBezTo>
                    <a:pt x="95" y="1236"/>
                    <a:pt x="92" y="1231"/>
                    <a:pt x="93" y="1225"/>
                  </a:cubicBezTo>
                  <a:cubicBezTo>
                    <a:pt x="94" y="1220"/>
                    <a:pt x="99" y="1216"/>
                    <a:pt x="104" y="1217"/>
                  </a:cubicBezTo>
                  <a:cubicBezTo>
                    <a:pt x="119" y="1220"/>
                    <a:pt x="135" y="1222"/>
                    <a:pt x="150" y="1223"/>
                  </a:cubicBezTo>
                  <a:cubicBezTo>
                    <a:pt x="156" y="1224"/>
                    <a:pt x="160" y="1229"/>
                    <a:pt x="159" y="1234"/>
                  </a:cubicBezTo>
                  <a:cubicBezTo>
                    <a:pt x="159" y="1239"/>
                    <a:pt x="155" y="1243"/>
                    <a:pt x="149" y="1243"/>
                  </a:cubicBezTo>
                  <a:close/>
                  <a:moveTo>
                    <a:pt x="291" y="1240"/>
                  </a:moveTo>
                  <a:cubicBezTo>
                    <a:pt x="286" y="1240"/>
                    <a:pt x="282" y="1236"/>
                    <a:pt x="281" y="1231"/>
                  </a:cubicBezTo>
                  <a:cubicBezTo>
                    <a:pt x="280" y="1225"/>
                    <a:pt x="284" y="1220"/>
                    <a:pt x="290" y="1220"/>
                  </a:cubicBezTo>
                  <a:cubicBezTo>
                    <a:pt x="305" y="1217"/>
                    <a:pt x="320" y="1215"/>
                    <a:pt x="335" y="1211"/>
                  </a:cubicBezTo>
                  <a:cubicBezTo>
                    <a:pt x="341" y="1210"/>
                    <a:pt x="346" y="1214"/>
                    <a:pt x="347" y="1219"/>
                  </a:cubicBezTo>
                  <a:cubicBezTo>
                    <a:pt x="348" y="1224"/>
                    <a:pt x="345" y="1230"/>
                    <a:pt x="340" y="1231"/>
                  </a:cubicBezTo>
                  <a:cubicBezTo>
                    <a:pt x="324" y="1234"/>
                    <a:pt x="308" y="1237"/>
                    <a:pt x="292" y="1239"/>
                  </a:cubicBezTo>
                  <a:cubicBezTo>
                    <a:pt x="292" y="1239"/>
                    <a:pt x="291" y="1240"/>
                    <a:pt x="291" y="1240"/>
                  </a:cubicBezTo>
                  <a:close/>
                  <a:moveTo>
                    <a:pt x="56" y="1227"/>
                  </a:moveTo>
                  <a:cubicBezTo>
                    <a:pt x="55" y="1227"/>
                    <a:pt x="55" y="1227"/>
                    <a:pt x="54" y="1227"/>
                  </a:cubicBezTo>
                  <a:cubicBezTo>
                    <a:pt x="38" y="1223"/>
                    <a:pt x="23" y="1219"/>
                    <a:pt x="8" y="1214"/>
                  </a:cubicBezTo>
                  <a:cubicBezTo>
                    <a:pt x="2" y="1212"/>
                    <a:pt x="0" y="1206"/>
                    <a:pt x="1" y="1201"/>
                  </a:cubicBezTo>
                  <a:cubicBezTo>
                    <a:pt x="3" y="1196"/>
                    <a:pt x="9" y="1193"/>
                    <a:pt x="14" y="1195"/>
                  </a:cubicBezTo>
                  <a:cubicBezTo>
                    <a:pt x="29" y="1200"/>
                    <a:pt x="44" y="1204"/>
                    <a:pt x="59" y="1208"/>
                  </a:cubicBezTo>
                  <a:cubicBezTo>
                    <a:pt x="64" y="1209"/>
                    <a:pt x="67" y="1215"/>
                    <a:pt x="66" y="1220"/>
                  </a:cubicBezTo>
                  <a:cubicBezTo>
                    <a:pt x="65" y="1224"/>
                    <a:pt x="61" y="1227"/>
                    <a:pt x="56" y="1227"/>
                  </a:cubicBezTo>
                  <a:close/>
                  <a:moveTo>
                    <a:pt x="383" y="1219"/>
                  </a:moveTo>
                  <a:cubicBezTo>
                    <a:pt x="379" y="1219"/>
                    <a:pt x="375" y="1216"/>
                    <a:pt x="374" y="1212"/>
                  </a:cubicBezTo>
                  <a:cubicBezTo>
                    <a:pt x="372" y="1207"/>
                    <a:pt x="375" y="1201"/>
                    <a:pt x="380" y="1200"/>
                  </a:cubicBezTo>
                  <a:cubicBezTo>
                    <a:pt x="395" y="1195"/>
                    <a:pt x="410" y="1190"/>
                    <a:pt x="424" y="1184"/>
                  </a:cubicBezTo>
                  <a:cubicBezTo>
                    <a:pt x="429" y="1182"/>
                    <a:pt x="435" y="1185"/>
                    <a:pt x="437" y="1190"/>
                  </a:cubicBezTo>
                  <a:cubicBezTo>
                    <a:pt x="439" y="1195"/>
                    <a:pt x="437" y="1201"/>
                    <a:pt x="432" y="1203"/>
                  </a:cubicBezTo>
                  <a:cubicBezTo>
                    <a:pt x="417" y="1209"/>
                    <a:pt x="402" y="1214"/>
                    <a:pt x="386" y="1219"/>
                  </a:cubicBezTo>
                  <a:cubicBezTo>
                    <a:pt x="385" y="1219"/>
                    <a:pt x="384" y="1219"/>
                    <a:pt x="383" y="1219"/>
                  </a:cubicBezTo>
                  <a:close/>
                  <a:moveTo>
                    <a:pt x="471" y="1185"/>
                  </a:moveTo>
                  <a:cubicBezTo>
                    <a:pt x="468" y="1185"/>
                    <a:pt x="464" y="1183"/>
                    <a:pt x="462" y="1179"/>
                  </a:cubicBezTo>
                  <a:cubicBezTo>
                    <a:pt x="460" y="1174"/>
                    <a:pt x="462" y="1168"/>
                    <a:pt x="467" y="1166"/>
                  </a:cubicBezTo>
                  <a:cubicBezTo>
                    <a:pt x="481" y="1159"/>
                    <a:pt x="495" y="1152"/>
                    <a:pt x="508" y="1144"/>
                  </a:cubicBezTo>
                  <a:cubicBezTo>
                    <a:pt x="513" y="1141"/>
                    <a:pt x="519" y="1143"/>
                    <a:pt x="522" y="1147"/>
                  </a:cubicBezTo>
                  <a:cubicBezTo>
                    <a:pt x="525" y="1152"/>
                    <a:pt x="523" y="1158"/>
                    <a:pt x="518" y="1161"/>
                  </a:cubicBezTo>
                  <a:cubicBezTo>
                    <a:pt x="504" y="1169"/>
                    <a:pt x="490" y="1177"/>
                    <a:pt x="476" y="1184"/>
                  </a:cubicBezTo>
                  <a:cubicBezTo>
                    <a:pt x="474" y="1184"/>
                    <a:pt x="473" y="1185"/>
                    <a:pt x="471" y="1185"/>
                  </a:cubicBezTo>
                  <a:close/>
                  <a:moveTo>
                    <a:pt x="553" y="1137"/>
                  </a:moveTo>
                  <a:cubicBezTo>
                    <a:pt x="550" y="1137"/>
                    <a:pt x="547" y="1135"/>
                    <a:pt x="545" y="1133"/>
                  </a:cubicBezTo>
                  <a:cubicBezTo>
                    <a:pt x="542" y="1128"/>
                    <a:pt x="543" y="1122"/>
                    <a:pt x="547" y="1119"/>
                  </a:cubicBezTo>
                  <a:cubicBezTo>
                    <a:pt x="560" y="1110"/>
                    <a:pt x="573" y="1100"/>
                    <a:pt x="585" y="1091"/>
                  </a:cubicBezTo>
                  <a:cubicBezTo>
                    <a:pt x="589" y="1087"/>
                    <a:pt x="595" y="1088"/>
                    <a:pt x="599" y="1092"/>
                  </a:cubicBezTo>
                  <a:cubicBezTo>
                    <a:pt x="602" y="1096"/>
                    <a:pt x="601" y="1103"/>
                    <a:pt x="597" y="1106"/>
                  </a:cubicBezTo>
                  <a:cubicBezTo>
                    <a:pt x="585" y="1116"/>
                    <a:pt x="572" y="1126"/>
                    <a:pt x="559" y="1135"/>
                  </a:cubicBezTo>
                  <a:cubicBezTo>
                    <a:pt x="557" y="1136"/>
                    <a:pt x="555" y="1137"/>
                    <a:pt x="553" y="1137"/>
                  </a:cubicBezTo>
                  <a:close/>
                  <a:moveTo>
                    <a:pt x="626" y="1077"/>
                  </a:moveTo>
                  <a:cubicBezTo>
                    <a:pt x="624" y="1077"/>
                    <a:pt x="621" y="1076"/>
                    <a:pt x="619" y="1074"/>
                  </a:cubicBezTo>
                  <a:cubicBezTo>
                    <a:pt x="615" y="1070"/>
                    <a:pt x="615" y="1064"/>
                    <a:pt x="619" y="1060"/>
                  </a:cubicBezTo>
                  <a:cubicBezTo>
                    <a:pt x="631" y="1049"/>
                    <a:pt x="642" y="1038"/>
                    <a:pt x="652" y="1027"/>
                  </a:cubicBezTo>
                  <a:cubicBezTo>
                    <a:pt x="656" y="1023"/>
                    <a:pt x="662" y="1022"/>
                    <a:pt x="666" y="1026"/>
                  </a:cubicBezTo>
                  <a:cubicBezTo>
                    <a:pt x="670" y="1030"/>
                    <a:pt x="671" y="1036"/>
                    <a:pt x="667" y="1040"/>
                  </a:cubicBezTo>
                  <a:cubicBezTo>
                    <a:pt x="656" y="1052"/>
                    <a:pt x="645" y="1064"/>
                    <a:pt x="633" y="1075"/>
                  </a:cubicBezTo>
                  <a:cubicBezTo>
                    <a:pt x="631" y="1076"/>
                    <a:pt x="629" y="1077"/>
                    <a:pt x="626" y="1077"/>
                  </a:cubicBezTo>
                  <a:close/>
                  <a:moveTo>
                    <a:pt x="690" y="1007"/>
                  </a:moveTo>
                  <a:cubicBezTo>
                    <a:pt x="688" y="1007"/>
                    <a:pt x="685" y="1006"/>
                    <a:pt x="684" y="1005"/>
                  </a:cubicBezTo>
                  <a:cubicBezTo>
                    <a:pt x="679" y="1002"/>
                    <a:pt x="678" y="995"/>
                    <a:pt x="682" y="991"/>
                  </a:cubicBezTo>
                  <a:cubicBezTo>
                    <a:pt x="691" y="979"/>
                    <a:pt x="700" y="966"/>
                    <a:pt x="709" y="953"/>
                  </a:cubicBezTo>
                  <a:cubicBezTo>
                    <a:pt x="712" y="948"/>
                    <a:pt x="718" y="947"/>
                    <a:pt x="723" y="950"/>
                  </a:cubicBezTo>
                  <a:cubicBezTo>
                    <a:pt x="727" y="953"/>
                    <a:pt x="729" y="959"/>
                    <a:pt x="726" y="964"/>
                  </a:cubicBezTo>
                  <a:cubicBezTo>
                    <a:pt x="717" y="977"/>
                    <a:pt x="707" y="991"/>
                    <a:pt x="698" y="1003"/>
                  </a:cubicBezTo>
                  <a:cubicBezTo>
                    <a:pt x="696" y="1006"/>
                    <a:pt x="693" y="1007"/>
                    <a:pt x="690" y="1007"/>
                  </a:cubicBezTo>
                  <a:close/>
                  <a:moveTo>
                    <a:pt x="742" y="928"/>
                  </a:moveTo>
                  <a:cubicBezTo>
                    <a:pt x="740" y="928"/>
                    <a:pt x="738" y="928"/>
                    <a:pt x="737" y="927"/>
                  </a:cubicBezTo>
                  <a:cubicBezTo>
                    <a:pt x="732" y="924"/>
                    <a:pt x="730" y="918"/>
                    <a:pt x="733" y="913"/>
                  </a:cubicBezTo>
                  <a:cubicBezTo>
                    <a:pt x="740" y="900"/>
                    <a:pt x="747" y="886"/>
                    <a:pt x="754" y="872"/>
                  </a:cubicBezTo>
                  <a:cubicBezTo>
                    <a:pt x="756" y="867"/>
                    <a:pt x="762" y="864"/>
                    <a:pt x="767" y="867"/>
                  </a:cubicBezTo>
                  <a:cubicBezTo>
                    <a:pt x="772" y="869"/>
                    <a:pt x="774" y="875"/>
                    <a:pt x="772" y="880"/>
                  </a:cubicBezTo>
                  <a:cubicBezTo>
                    <a:pt x="765" y="894"/>
                    <a:pt x="758" y="909"/>
                    <a:pt x="750" y="923"/>
                  </a:cubicBezTo>
                  <a:cubicBezTo>
                    <a:pt x="748" y="926"/>
                    <a:pt x="745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79" y="842"/>
                    <a:pt x="778" y="842"/>
                    <a:pt x="777" y="841"/>
                  </a:cubicBezTo>
                  <a:cubicBezTo>
                    <a:pt x="772" y="840"/>
                    <a:pt x="769" y="834"/>
                    <a:pt x="771" y="829"/>
                  </a:cubicBezTo>
                  <a:cubicBezTo>
                    <a:pt x="776" y="814"/>
                    <a:pt x="781" y="799"/>
                    <a:pt x="785" y="784"/>
                  </a:cubicBezTo>
                  <a:cubicBezTo>
                    <a:pt x="787" y="779"/>
                    <a:pt x="792" y="776"/>
                    <a:pt x="798" y="777"/>
                  </a:cubicBezTo>
                  <a:cubicBezTo>
                    <a:pt x="803" y="779"/>
                    <a:pt x="806" y="784"/>
                    <a:pt x="805" y="790"/>
                  </a:cubicBezTo>
                  <a:cubicBezTo>
                    <a:pt x="800" y="805"/>
                    <a:pt x="795" y="821"/>
                    <a:pt x="790" y="835"/>
                  </a:cubicBezTo>
                  <a:cubicBezTo>
                    <a:pt x="788" y="840"/>
                    <a:pt x="785" y="842"/>
                    <a:pt x="781" y="842"/>
                  </a:cubicBezTo>
                  <a:close/>
                  <a:moveTo>
                    <a:pt x="806" y="751"/>
                  </a:moveTo>
                  <a:cubicBezTo>
                    <a:pt x="805" y="751"/>
                    <a:pt x="805" y="751"/>
                    <a:pt x="804" y="751"/>
                  </a:cubicBezTo>
                  <a:cubicBezTo>
                    <a:pt x="798" y="750"/>
                    <a:pt x="795" y="745"/>
                    <a:pt x="796" y="739"/>
                  </a:cubicBezTo>
                  <a:cubicBezTo>
                    <a:pt x="799" y="724"/>
                    <a:pt x="801" y="708"/>
                    <a:pt x="803" y="693"/>
                  </a:cubicBezTo>
                  <a:cubicBezTo>
                    <a:pt x="804" y="688"/>
                    <a:pt x="809" y="684"/>
                    <a:pt x="814" y="684"/>
                  </a:cubicBezTo>
                  <a:cubicBezTo>
                    <a:pt x="820" y="685"/>
                    <a:pt x="824" y="690"/>
                    <a:pt x="823" y="695"/>
                  </a:cubicBezTo>
                  <a:cubicBezTo>
                    <a:pt x="821" y="711"/>
                    <a:pt x="819" y="727"/>
                    <a:pt x="816" y="743"/>
                  </a:cubicBezTo>
                  <a:cubicBezTo>
                    <a:pt x="815" y="748"/>
                    <a:pt x="810" y="751"/>
                    <a:pt x="806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6" y="657"/>
                    <a:pt x="816" y="657"/>
                  </a:cubicBezTo>
                  <a:cubicBezTo>
                    <a:pt x="811" y="657"/>
                    <a:pt x="806" y="652"/>
                    <a:pt x="807" y="647"/>
                  </a:cubicBezTo>
                  <a:cubicBezTo>
                    <a:pt x="807" y="639"/>
                    <a:pt x="807" y="631"/>
                    <a:pt x="807" y="623"/>
                  </a:cubicBezTo>
                  <a:cubicBezTo>
                    <a:pt x="807" y="615"/>
                    <a:pt x="807" y="608"/>
                    <a:pt x="807" y="600"/>
                  </a:cubicBezTo>
                  <a:cubicBezTo>
                    <a:pt x="806" y="595"/>
                    <a:pt x="811" y="590"/>
                    <a:pt x="816" y="590"/>
                  </a:cubicBezTo>
                  <a:cubicBezTo>
                    <a:pt x="822" y="590"/>
                    <a:pt x="826" y="594"/>
                    <a:pt x="827" y="599"/>
                  </a:cubicBezTo>
                  <a:cubicBezTo>
                    <a:pt x="827" y="607"/>
                    <a:pt x="827" y="615"/>
                    <a:pt x="827" y="623"/>
                  </a:cubicBezTo>
                  <a:cubicBezTo>
                    <a:pt x="827" y="631"/>
                    <a:pt x="827" y="639"/>
                    <a:pt x="827" y="648"/>
                  </a:cubicBezTo>
                  <a:cubicBezTo>
                    <a:pt x="826" y="653"/>
                    <a:pt x="822" y="657"/>
                    <a:pt x="817" y="657"/>
                  </a:cubicBezTo>
                  <a:close/>
                  <a:moveTo>
                    <a:pt x="813" y="563"/>
                  </a:moveTo>
                  <a:cubicBezTo>
                    <a:pt x="808" y="563"/>
                    <a:pt x="804" y="559"/>
                    <a:pt x="803" y="554"/>
                  </a:cubicBezTo>
                  <a:cubicBezTo>
                    <a:pt x="801" y="538"/>
                    <a:pt x="799" y="523"/>
                    <a:pt x="796" y="508"/>
                  </a:cubicBezTo>
                  <a:cubicBezTo>
                    <a:pt x="795" y="502"/>
                    <a:pt x="799" y="497"/>
                    <a:pt x="804" y="496"/>
                  </a:cubicBezTo>
                  <a:cubicBezTo>
                    <a:pt x="809" y="495"/>
                    <a:pt x="815" y="499"/>
                    <a:pt x="816" y="504"/>
                  </a:cubicBezTo>
                  <a:cubicBezTo>
                    <a:pt x="819" y="520"/>
                    <a:pt x="821" y="536"/>
                    <a:pt x="823" y="552"/>
                  </a:cubicBezTo>
                  <a:cubicBezTo>
                    <a:pt x="824" y="557"/>
                    <a:pt x="820" y="562"/>
                    <a:pt x="814" y="563"/>
                  </a:cubicBezTo>
                  <a:cubicBezTo>
                    <a:pt x="814" y="563"/>
                    <a:pt x="813" y="563"/>
                    <a:pt x="813" y="563"/>
                  </a:cubicBezTo>
                  <a:close/>
                  <a:moveTo>
                    <a:pt x="795" y="470"/>
                  </a:moveTo>
                  <a:cubicBezTo>
                    <a:pt x="791" y="470"/>
                    <a:pt x="787" y="467"/>
                    <a:pt x="786" y="463"/>
                  </a:cubicBezTo>
                  <a:cubicBezTo>
                    <a:pt x="781" y="448"/>
                    <a:pt x="777" y="433"/>
                    <a:pt x="771" y="418"/>
                  </a:cubicBezTo>
                  <a:cubicBezTo>
                    <a:pt x="770" y="413"/>
                    <a:pt x="772" y="407"/>
                    <a:pt x="777" y="405"/>
                  </a:cubicBezTo>
                  <a:cubicBezTo>
                    <a:pt x="783" y="404"/>
                    <a:pt x="788" y="406"/>
                    <a:pt x="790" y="411"/>
                  </a:cubicBezTo>
                  <a:cubicBezTo>
                    <a:pt x="796" y="426"/>
                    <a:pt x="801" y="442"/>
                    <a:pt x="805" y="457"/>
                  </a:cubicBezTo>
                  <a:cubicBezTo>
                    <a:pt x="806" y="463"/>
                    <a:pt x="803" y="468"/>
                    <a:pt x="798" y="470"/>
                  </a:cubicBezTo>
                  <a:cubicBezTo>
                    <a:pt x="797" y="470"/>
                    <a:pt x="796" y="470"/>
                    <a:pt x="795" y="470"/>
                  </a:cubicBezTo>
                  <a:close/>
                  <a:moveTo>
                    <a:pt x="763" y="381"/>
                  </a:moveTo>
                  <a:cubicBezTo>
                    <a:pt x="759" y="381"/>
                    <a:pt x="756" y="379"/>
                    <a:pt x="754" y="375"/>
                  </a:cubicBezTo>
                  <a:cubicBezTo>
                    <a:pt x="748" y="361"/>
                    <a:pt x="741" y="347"/>
                    <a:pt x="733" y="333"/>
                  </a:cubicBezTo>
                  <a:cubicBezTo>
                    <a:pt x="730" y="329"/>
                    <a:pt x="732" y="323"/>
                    <a:pt x="737" y="320"/>
                  </a:cubicBezTo>
                  <a:cubicBezTo>
                    <a:pt x="742" y="317"/>
                    <a:pt x="748" y="319"/>
                    <a:pt x="751" y="324"/>
                  </a:cubicBezTo>
                  <a:cubicBezTo>
                    <a:pt x="758" y="338"/>
                    <a:pt x="766" y="352"/>
                    <a:pt x="772" y="367"/>
                  </a:cubicBezTo>
                  <a:cubicBezTo>
                    <a:pt x="774" y="372"/>
                    <a:pt x="772" y="378"/>
                    <a:pt x="767" y="380"/>
                  </a:cubicBezTo>
                  <a:cubicBezTo>
                    <a:pt x="766" y="381"/>
                    <a:pt x="764" y="381"/>
                    <a:pt x="763" y="381"/>
                  </a:cubicBezTo>
                  <a:close/>
                  <a:moveTo>
                    <a:pt x="717" y="298"/>
                  </a:moveTo>
                  <a:cubicBezTo>
                    <a:pt x="714" y="298"/>
                    <a:pt x="711" y="296"/>
                    <a:pt x="709" y="294"/>
                  </a:cubicBezTo>
                  <a:cubicBezTo>
                    <a:pt x="701" y="281"/>
                    <a:pt x="692" y="268"/>
                    <a:pt x="682" y="256"/>
                  </a:cubicBezTo>
                  <a:cubicBezTo>
                    <a:pt x="679" y="251"/>
                    <a:pt x="680" y="245"/>
                    <a:pt x="684" y="242"/>
                  </a:cubicBezTo>
                  <a:cubicBezTo>
                    <a:pt x="688" y="238"/>
                    <a:pt x="695" y="239"/>
                    <a:pt x="698" y="243"/>
                  </a:cubicBezTo>
                  <a:cubicBezTo>
                    <a:pt x="708" y="256"/>
                    <a:pt x="717" y="269"/>
                    <a:pt x="726" y="283"/>
                  </a:cubicBezTo>
                  <a:cubicBezTo>
                    <a:pt x="729" y="287"/>
                    <a:pt x="728" y="293"/>
                    <a:pt x="723" y="296"/>
                  </a:cubicBezTo>
                  <a:cubicBezTo>
                    <a:pt x="721" y="298"/>
                    <a:pt x="719" y="298"/>
                    <a:pt x="717" y="298"/>
                  </a:cubicBezTo>
                  <a:close/>
                  <a:moveTo>
                    <a:pt x="660" y="223"/>
                  </a:moveTo>
                  <a:cubicBezTo>
                    <a:pt x="657" y="223"/>
                    <a:pt x="654" y="222"/>
                    <a:pt x="652" y="220"/>
                  </a:cubicBezTo>
                  <a:cubicBezTo>
                    <a:pt x="642" y="208"/>
                    <a:pt x="631" y="197"/>
                    <a:pt x="620" y="187"/>
                  </a:cubicBezTo>
                  <a:cubicBezTo>
                    <a:pt x="616" y="183"/>
                    <a:pt x="616" y="176"/>
                    <a:pt x="620" y="172"/>
                  </a:cubicBezTo>
                  <a:cubicBezTo>
                    <a:pt x="623" y="168"/>
                    <a:pt x="630" y="168"/>
                    <a:pt x="634" y="172"/>
                  </a:cubicBezTo>
                  <a:cubicBezTo>
                    <a:pt x="645" y="183"/>
                    <a:pt x="656" y="195"/>
                    <a:pt x="667" y="206"/>
                  </a:cubicBezTo>
                  <a:cubicBezTo>
                    <a:pt x="671" y="211"/>
                    <a:pt x="671" y="217"/>
                    <a:pt x="666" y="221"/>
                  </a:cubicBezTo>
                  <a:cubicBezTo>
                    <a:pt x="665" y="222"/>
                    <a:pt x="662" y="223"/>
                    <a:pt x="660" y="223"/>
                  </a:cubicBezTo>
                  <a:close/>
                  <a:moveTo>
                    <a:pt x="591" y="158"/>
                  </a:moveTo>
                  <a:cubicBezTo>
                    <a:pt x="589" y="158"/>
                    <a:pt x="587" y="157"/>
                    <a:pt x="585" y="156"/>
                  </a:cubicBezTo>
                  <a:cubicBezTo>
                    <a:pt x="573" y="146"/>
                    <a:pt x="561" y="137"/>
                    <a:pt x="548" y="128"/>
                  </a:cubicBezTo>
                  <a:cubicBezTo>
                    <a:pt x="543" y="125"/>
                    <a:pt x="542" y="118"/>
                    <a:pt x="545" y="114"/>
                  </a:cubicBezTo>
                  <a:cubicBezTo>
                    <a:pt x="548" y="109"/>
                    <a:pt x="555" y="108"/>
                    <a:pt x="559" y="111"/>
                  </a:cubicBezTo>
                  <a:cubicBezTo>
                    <a:pt x="572" y="120"/>
                    <a:pt x="585" y="130"/>
                    <a:pt x="598" y="140"/>
                  </a:cubicBezTo>
                  <a:cubicBezTo>
                    <a:pt x="602" y="144"/>
                    <a:pt x="603" y="150"/>
                    <a:pt x="599" y="154"/>
                  </a:cubicBezTo>
                  <a:cubicBezTo>
                    <a:pt x="597" y="157"/>
                    <a:pt x="594" y="158"/>
                    <a:pt x="591" y="158"/>
                  </a:cubicBezTo>
                  <a:close/>
                  <a:moveTo>
                    <a:pt x="514" y="104"/>
                  </a:moveTo>
                  <a:cubicBezTo>
                    <a:pt x="512" y="104"/>
                    <a:pt x="510" y="104"/>
                    <a:pt x="509" y="103"/>
                  </a:cubicBezTo>
                  <a:cubicBezTo>
                    <a:pt x="495" y="95"/>
                    <a:pt x="481" y="88"/>
                    <a:pt x="468" y="81"/>
                  </a:cubicBezTo>
                  <a:cubicBezTo>
                    <a:pt x="463" y="78"/>
                    <a:pt x="461" y="72"/>
                    <a:pt x="463" y="67"/>
                  </a:cubicBezTo>
                  <a:cubicBezTo>
                    <a:pt x="465" y="63"/>
                    <a:pt x="471" y="60"/>
                    <a:pt x="476" y="63"/>
                  </a:cubicBezTo>
                  <a:cubicBezTo>
                    <a:pt x="491" y="70"/>
                    <a:pt x="505" y="77"/>
                    <a:pt x="519" y="86"/>
                  </a:cubicBezTo>
                  <a:cubicBezTo>
                    <a:pt x="523" y="88"/>
                    <a:pt x="525" y="94"/>
                    <a:pt x="522" y="99"/>
                  </a:cubicBezTo>
                  <a:cubicBezTo>
                    <a:pt x="520" y="102"/>
                    <a:pt x="517" y="104"/>
                    <a:pt x="514" y="104"/>
                  </a:cubicBezTo>
                  <a:close/>
                  <a:moveTo>
                    <a:pt x="429" y="63"/>
                  </a:moveTo>
                  <a:cubicBezTo>
                    <a:pt x="427" y="63"/>
                    <a:pt x="426" y="63"/>
                    <a:pt x="425" y="62"/>
                  </a:cubicBezTo>
                  <a:cubicBezTo>
                    <a:pt x="411" y="57"/>
                    <a:pt x="396" y="51"/>
                    <a:pt x="381" y="47"/>
                  </a:cubicBezTo>
                  <a:cubicBezTo>
                    <a:pt x="376" y="45"/>
                    <a:pt x="373" y="40"/>
                    <a:pt x="375" y="34"/>
                  </a:cubicBezTo>
                  <a:cubicBezTo>
                    <a:pt x="376" y="29"/>
                    <a:pt x="382" y="26"/>
                    <a:pt x="387" y="28"/>
                  </a:cubicBezTo>
                  <a:cubicBezTo>
                    <a:pt x="402" y="32"/>
                    <a:pt x="418" y="38"/>
                    <a:pt x="432" y="44"/>
                  </a:cubicBezTo>
                  <a:cubicBezTo>
                    <a:pt x="438" y="46"/>
                    <a:pt x="440" y="51"/>
                    <a:pt x="438" y="57"/>
                  </a:cubicBezTo>
                  <a:cubicBezTo>
                    <a:pt x="436" y="60"/>
                    <a:pt x="433" y="63"/>
                    <a:pt x="429" y="63"/>
                  </a:cubicBezTo>
                  <a:close/>
                  <a:moveTo>
                    <a:pt x="12" y="52"/>
                  </a:moveTo>
                  <a:cubicBezTo>
                    <a:pt x="7" y="52"/>
                    <a:pt x="3" y="49"/>
                    <a:pt x="2" y="45"/>
                  </a:cubicBezTo>
                  <a:cubicBezTo>
                    <a:pt x="0" y="40"/>
                    <a:pt x="3" y="34"/>
                    <a:pt x="8" y="32"/>
                  </a:cubicBezTo>
                  <a:cubicBezTo>
                    <a:pt x="24" y="27"/>
                    <a:pt x="39" y="23"/>
                    <a:pt x="55" y="19"/>
                  </a:cubicBezTo>
                  <a:cubicBezTo>
                    <a:pt x="60" y="17"/>
                    <a:pt x="65" y="21"/>
                    <a:pt x="67" y="26"/>
                  </a:cubicBezTo>
                  <a:cubicBezTo>
                    <a:pt x="68" y="31"/>
                    <a:pt x="65" y="37"/>
                    <a:pt x="59" y="38"/>
                  </a:cubicBezTo>
                  <a:cubicBezTo>
                    <a:pt x="44" y="42"/>
                    <a:pt x="29" y="46"/>
                    <a:pt x="15" y="51"/>
                  </a:cubicBezTo>
                  <a:cubicBezTo>
                    <a:pt x="14" y="52"/>
                    <a:pt x="13" y="52"/>
                    <a:pt x="12" y="52"/>
                  </a:cubicBezTo>
                  <a:close/>
                  <a:moveTo>
                    <a:pt x="338" y="35"/>
                  </a:moveTo>
                  <a:cubicBezTo>
                    <a:pt x="338" y="35"/>
                    <a:pt x="337" y="35"/>
                    <a:pt x="336" y="35"/>
                  </a:cubicBezTo>
                  <a:cubicBezTo>
                    <a:pt x="321" y="32"/>
                    <a:pt x="306" y="29"/>
                    <a:pt x="290" y="27"/>
                  </a:cubicBezTo>
                  <a:cubicBezTo>
                    <a:pt x="285" y="26"/>
                    <a:pt x="281" y="21"/>
                    <a:pt x="282" y="15"/>
                  </a:cubicBezTo>
                  <a:cubicBezTo>
                    <a:pt x="283" y="10"/>
                    <a:pt x="288" y="6"/>
                    <a:pt x="293" y="7"/>
                  </a:cubicBezTo>
                  <a:cubicBezTo>
                    <a:pt x="309" y="9"/>
                    <a:pt x="325" y="12"/>
                    <a:pt x="341" y="15"/>
                  </a:cubicBezTo>
                  <a:cubicBezTo>
                    <a:pt x="346" y="17"/>
                    <a:pt x="349" y="22"/>
                    <a:pt x="348" y="27"/>
                  </a:cubicBezTo>
                  <a:cubicBezTo>
                    <a:pt x="347" y="32"/>
                    <a:pt x="343" y="35"/>
                    <a:pt x="338" y="35"/>
                  </a:cubicBezTo>
                  <a:close/>
                  <a:moveTo>
                    <a:pt x="103" y="29"/>
                  </a:moveTo>
                  <a:cubicBezTo>
                    <a:pt x="98" y="29"/>
                    <a:pt x="94" y="25"/>
                    <a:pt x="93" y="21"/>
                  </a:cubicBezTo>
                  <a:cubicBezTo>
                    <a:pt x="93" y="15"/>
                    <a:pt x="96" y="10"/>
                    <a:pt x="102" y="9"/>
                  </a:cubicBezTo>
                  <a:cubicBezTo>
                    <a:pt x="117" y="6"/>
                    <a:pt x="133" y="4"/>
                    <a:pt x="149" y="3"/>
                  </a:cubicBezTo>
                  <a:cubicBezTo>
                    <a:pt x="155" y="2"/>
                    <a:pt x="160" y="7"/>
                    <a:pt x="160" y="12"/>
                  </a:cubicBezTo>
                  <a:cubicBezTo>
                    <a:pt x="161" y="18"/>
                    <a:pt x="157" y="22"/>
                    <a:pt x="151" y="23"/>
                  </a:cubicBezTo>
                  <a:cubicBezTo>
                    <a:pt x="136" y="24"/>
                    <a:pt x="120" y="26"/>
                    <a:pt x="105" y="29"/>
                  </a:cubicBezTo>
                  <a:cubicBezTo>
                    <a:pt x="104" y="29"/>
                    <a:pt x="104" y="29"/>
                    <a:pt x="103" y="29"/>
                  </a:cubicBezTo>
                  <a:close/>
                  <a:moveTo>
                    <a:pt x="245" y="22"/>
                  </a:moveTo>
                  <a:cubicBezTo>
                    <a:pt x="245" y="22"/>
                    <a:pt x="244" y="22"/>
                    <a:pt x="244" y="22"/>
                  </a:cubicBezTo>
                  <a:cubicBezTo>
                    <a:pt x="229" y="21"/>
                    <a:pt x="213" y="20"/>
                    <a:pt x="198" y="21"/>
                  </a:cubicBezTo>
                  <a:cubicBezTo>
                    <a:pt x="192" y="21"/>
                    <a:pt x="188" y="16"/>
                    <a:pt x="187" y="11"/>
                  </a:cubicBezTo>
                  <a:cubicBezTo>
                    <a:pt x="187" y="5"/>
                    <a:pt x="192" y="1"/>
                    <a:pt x="197" y="1"/>
                  </a:cubicBezTo>
                  <a:cubicBezTo>
                    <a:pt x="213" y="0"/>
                    <a:pt x="230" y="1"/>
                    <a:pt x="245" y="2"/>
                  </a:cubicBezTo>
                  <a:cubicBezTo>
                    <a:pt x="251" y="2"/>
                    <a:pt x="255" y="7"/>
                    <a:pt x="255" y="13"/>
                  </a:cubicBezTo>
                  <a:cubicBezTo>
                    <a:pt x="254" y="18"/>
                    <a:pt x="250" y="22"/>
                    <a:pt x="245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1" name="Freeform 14">
              <a:extLst>
                <a:ext uri="{FF2B5EF4-FFF2-40B4-BE49-F238E27FC236}">
                  <a16:creationId xmlns:a16="http://schemas.microsoft.com/office/drawing/2014/main" id="{EA221590-F141-E01D-575B-5DE9A0222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943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3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6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3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9" name="Группа 178">
            <a:extLst>
              <a:ext uri="{FF2B5EF4-FFF2-40B4-BE49-F238E27FC236}">
                <a16:creationId xmlns:a16="http://schemas.microsoft.com/office/drawing/2014/main" id="{6E953091-5929-4FB2-64FD-9599FF6FA641}"/>
              </a:ext>
            </a:extLst>
          </p:cNvPr>
          <p:cNvGrpSpPr/>
          <p:nvPr/>
        </p:nvGrpSpPr>
        <p:grpSpPr>
          <a:xfrm>
            <a:off x="7295974" y="4071540"/>
            <a:ext cx="1959602" cy="1650871"/>
            <a:chOff x="7295974" y="4071540"/>
            <a:chExt cx="1959602" cy="1650871"/>
          </a:xfrm>
        </p:grpSpPr>
        <p:sp>
          <p:nvSpPr>
            <p:cNvPr id="143" name="Rectangle 22">
              <a:extLst>
                <a:ext uri="{FF2B5EF4-FFF2-40B4-BE49-F238E27FC236}">
                  <a16:creationId xmlns:a16="http://schemas.microsoft.com/office/drawing/2014/main" id="{20EFDC4D-8D49-F4A1-63CA-733DC4D66C8D}"/>
                </a:ext>
              </a:extLst>
            </p:cNvPr>
            <p:cNvSpPr/>
            <p:nvPr/>
          </p:nvSpPr>
          <p:spPr>
            <a:xfrm>
              <a:off x="7295974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9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0A68112C-D223-568A-7F32-730CA6D7F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190" y="4083807"/>
              <a:ext cx="1070842" cy="1505240"/>
            </a:xfrm>
            <a:custGeom>
              <a:avLst/>
              <a:gdLst>
                <a:gd name="T0" fmla="*/ 260 w 873"/>
                <a:gd name="T1" fmla="*/ 0 h 1225"/>
                <a:gd name="T2" fmla="*/ 0 w 873"/>
                <a:gd name="T3" fmla="*/ 58 h 1225"/>
                <a:gd name="T4" fmla="*/ 0 w 873"/>
                <a:gd name="T5" fmla="*/ 1168 h 1225"/>
                <a:gd name="T6" fmla="*/ 260 w 873"/>
                <a:gd name="T7" fmla="*/ 1225 h 1225"/>
                <a:gd name="T8" fmla="*/ 873 w 873"/>
                <a:gd name="T9" fmla="*/ 613 h 1225"/>
                <a:gd name="T10" fmla="*/ 260 w 873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9" y="1225"/>
                    <a:pt x="873" y="951"/>
                    <a:pt x="873" y="613"/>
                  </a:cubicBezTo>
                  <a:cubicBezTo>
                    <a:pt x="873" y="275"/>
                    <a:pt x="599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5" name="Freeform 17">
              <a:extLst>
                <a:ext uri="{FF2B5EF4-FFF2-40B4-BE49-F238E27FC236}">
                  <a16:creationId xmlns:a16="http://schemas.microsoft.com/office/drawing/2014/main" id="{857360FC-21B5-721D-A68B-D195A19CC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5503178"/>
              <a:ext cx="56284" cy="38966"/>
            </a:xfrm>
            <a:custGeom>
              <a:avLst/>
              <a:gdLst>
                <a:gd name="T0" fmla="*/ 33 w 45"/>
                <a:gd name="T1" fmla="*/ 31 h 31"/>
                <a:gd name="T2" fmla="*/ 29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29" y="31"/>
                  </a:cubicBezTo>
                  <a:cubicBezTo>
                    <a:pt x="22" y="27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6" name="Freeform 18">
              <a:extLst>
                <a:ext uri="{FF2B5EF4-FFF2-40B4-BE49-F238E27FC236}">
                  <a16:creationId xmlns:a16="http://schemas.microsoft.com/office/drawing/2014/main" id="{A9DA7EF3-C181-CE39-61D6-916C859D4C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019" y="4071540"/>
              <a:ext cx="1014557" cy="1529774"/>
            </a:xfrm>
            <a:custGeom>
              <a:avLst/>
              <a:gdLst>
                <a:gd name="T0" fmla="*/ 197 w 828"/>
                <a:gd name="T1" fmla="*/ 1225 h 1245"/>
                <a:gd name="T2" fmla="*/ 245 w 828"/>
                <a:gd name="T3" fmla="*/ 1244 h 1245"/>
                <a:gd name="T4" fmla="*/ 102 w 828"/>
                <a:gd name="T5" fmla="*/ 1237 h 1245"/>
                <a:gd name="T6" fmla="*/ 160 w 828"/>
                <a:gd name="T7" fmla="*/ 1234 h 1245"/>
                <a:gd name="T8" fmla="*/ 290 w 828"/>
                <a:gd name="T9" fmla="*/ 1219 h 1245"/>
                <a:gd name="T10" fmla="*/ 293 w 828"/>
                <a:gd name="T11" fmla="*/ 1239 h 1245"/>
                <a:gd name="T12" fmla="*/ 8 w 828"/>
                <a:gd name="T13" fmla="*/ 1214 h 1245"/>
                <a:gd name="T14" fmla="*/ 67 w 828"/>
                <a:gd name="T15" fmla="*/ 1220 h 1245"/>
                <a:gd name="T16" fmla="*/ 381 w 828"/>
                <a:gd name="T17" fmla="*/ 1199 h 1245"/>
                <a:gd name="T18" fmla="*/ 387 w 828"/>
                <a:gd name="T19" fmla="*/ 1218 h 1245"/>
                <a:gd name="T20" fmla="*/ 468 w 828"/>
                <a:gd name="T21" fmla="*/ 1165 h 1245"/>
                <a:gd name="T22" fmla="*/ 477 w 828"/>
                <a:gd name="T23" fmla="*/ 1183 h 1245"/>
                <a:gd name="T24" fmla="*/ 548 w 828"/>
                <a:gd name="T25" fmla="*/ 1119 h 1245"/>
                <a:gd name="T26" fmla="*/ 560 w 828"/>
                <a:gd name="T27" fmla="*/ 1135 h 1245"/>
                <a:gd name="T28" fmla="*/ 620 w 828"/>
                <a:gd name="T29" fmla="*/ 1060 h 1245"/>
                <a:gd name="T30" fmla="*/ 634 w 828"/>
                <a:gd name="T31" fmla="*/ 1074 h 1245"/>
                <a:gd name="T32" fmla="*/ 683 w 828"/>
                <a:gd name="T33" fmla="*/ 991 h 1245"/>
                <a:gd name="T34" fmla="*/ 698 w 828"/>
                <a:gd name="T35" fmla="*/ 1003 h 1245"/>
                <a:gd name="T36" fmla="*/ 734 w 828"/>
                <a:gd name="T37" fmla="*/ 913 h 1245"/>
                <a:gd name="T38" fmla="*/ 751 w 828"/>
                <a:gd name="T39" fmla="*/ 923 h 1245"/>
                <a:gd name="T40" fmla="*/ 772 w 828"/>
                <a:gd name="T41" fmla="*/ 828 h 1245"/>
                <a:gd name="T42" fmla="*/ 791 w 828"/>
                <a:gd name="T43" fmla="*/ 835 h 1245"/>
                <a:gd name="T44" fmla="*/ 797 w 828"/>
                <a:gd name="T45" fmla="*/ 739 h 1245"/>
                <a:gd name="T46" fmla="*/ 816 w 828"/>
                <a:gd name="T47" fmla="*/ 743 h 1245"/>
                <a:gd name="T48" fmla="*/ 807 w 828"/>
                <a:gd name="T49" fmla="*/ 647 h 1245"/>
                <a:gd name="T50" fmla="*/ 828 w 828"/>
                <a:gd name="T51" fmla="*/ 599 h 1245"/>
                <a:gd name="T52" fmla="*/ 814 w 828"/>
                <a:gd name="T53" fmla="*/ 562 h 1245"/>
                <a:gd name="T54" fmla="*/ 817 w 828"/>
                <a:gd name="T55" fmla="*/ 504 h 1245"/>
                <a:gd name="T56" fmla="*/ 796 w 828"/>
                <a:gd name="T57" fmla="*/ 470 h 1245"/>
                <a:gd name="T58" fmla="*/ 791 w 828"/>
                <a:gd name="T59" fmla="*/ 411 h 1245"/>
                <a:gd name="T60" fmla="*/ 764 w 828"/>
                <a:gd name="T61" fmla="*/ 381 h 1245"/>
                <a:gd name="T62" fmla="*/ 751 w 828"/>
                <a:gd name="T63" fmla="*/ 324 h 1245"/>
                <a:gd name="T64" fmla="*/ 718 w 828"/>
                <a:gd name="T65" fmla="*/ 298 h 1245"/>
                <a:gd name="T66" fmla="*/ 699 w 828"/>
                <a:gd name="T67" fmla="*/ 243 h 1245"/>
                <a:gd name="T68" fmla="*/ 661 w 828"/>
                <a:gd name="T69" fmla="*/ 223 h 1245"/>
                <a:gd name="T70" fmla="*/ 634 w 828"/>
                <a:gd name="T71" fmla="*/ 172 h 1245"/>
                <a:gd name="T72" fmla="*/ 592 w 828"/>
                <a:gd name="T73" fmla="*/ 158 h 1245"/>
                <a:gd name="T74" fmla="*/ 560 w 828"/>
                <a:gd name="T75" fmla="*/ 111 h 1245"/>
                <a:gd name="T76" fmla="*/ 514 w 828"/>
                <a:gd name="T77" fmla="*/ 104 h 1245"/>
                <a:gd name="T78" fmla="*/ 477 w 828"/>
                <a:gd name="T79" fmla="*/ 63 h 1245"/>
                <a:gd name="T80" fmla="*/ 430 w 828"/>
                <a:gd name="T81" fmla="*/ 63 h 1245"/>
                <a:gd name="T82" fmla="*/ 388 w 828"/>
                <a:gd name="T83" fmla="*/ 28 h 1245"/>
                <a:gd name="T84" fmla="*/ 12 w 828"/>
                <a:gd name="T85" fmla="*/ 51 h 1245"/>
                <a:gd name="T86" fmla="*/ 68 w 828"/>
                <a:gd name="T87" fmla="*/ 26 h 1245"/>
                <a:gd name="T88" fmla="*/ 339 w 828"/>
                <a:gd name="T89" fmla="*/ 35 h 1245"/>
                <a:gd name="T90" fmla="*/ 294 w 828"/>
                <a:gd name="T91" fmla="*/ 7 h 1245"/>
                <a:gd name="T92" fmla="*/ 104 w 828"/>
                <a:gd name="T93" fmla="*/ 29 h 1245"/>
                <a:gd name="T94" fmla="*/ 161 w 828"/>
                <a:gd name="T95" fmla="*/ 12 h 1245"/>
                <a:gd name="T96" fmla="*/ 246 w 828"/>
                <a:gd name="T97" fmla="*/ 22 h 1245"/>
                <a:gd name="T98" fmla="*/ 198 w 828"/>
                <a:gd name="T99" fmla="*/ 20 h 1245"/>
                <a:gd name="T100" fmla="*/ 246 w 828"/>
                <a:gd name="T101" fmla="*/ 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3" y="1245"/>
                    <a:pt x="200" y="1245"/>
                    <a:pt x="197" y="1245"/>
                  </a:cubicBezTo>
                  <a:cubicBezTo>
                    <a:pt x="192" y="1245"/>
                    <a:pt x="187" y="1241"/>
                    <a:pt x="187" y="1235"/>
                  </a:cubicBezTo>
                  <a:cubicBezTo>
                    <a:pt x="188" y="1230"/>
                    <a:pt x="192" y="1225"/>
                    <a:pt x="197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13" y="1226"/>
                    <a:pt x="229" y="1225"/>
                    <a:pt x="244" y="1224"/>
                  </a:cubicBezTo>
                  <a:cubicBezTo>
                    <a:pt x="250" y="1224"/>
                    <a:pt x="254" y="1228"/>
                    <a:pt x="255" y="1234"/>
                  </a:cubicBezTo>
                  <a:cubicBezTo>
                    <a:pt x="255" y="1239"/>
                    <a:pt x="251" y="1244"/>
                    <a:pt x="245" y="1244"/>
                  </a:cubicBezTo>
                  <a:cubicBezTo>
                    <a:pt x="232" y="1245"/>
                    <a:pt x="219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3" y="1241"/>
                    <a:pt x="117" y="1239"/>
                    <a:pt x="102" y="1237"/>
                  </a:cubicBezTo>
                  <a:cubicBezTo>
                    <a:pt x="96" y="1236"/>
                    <a:pt x="93" y="1231"/>
                    <a:pt x="93" y="1225"/>
                  </a:cubicBezTo>
                  <a:cubicBezTo>
                    <a:pt x="94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3"/>
                    <a:pt x="161" y="1228"/>
                    <a:pt x="160" y="1234"/>
                  </a:cubicBezTo>
                  <a:cubicBezTo>
                    <a:pt x="160" y="1239"/>
                    <a:pt x="155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0" y="1219"/>
                  </a:cubicBezTo>
                  <a:cubicBezTo>
                    <a:pt x="306" y="1217"/>
                    <a:pt x="321" y="1214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29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5" y="1227"/>
                    <a:pt x="55" y="1227"/>
                  </a:cubicBezTo>
                  <a:cubicBezTo>
                    <a:pt x="39" y="1223"/>
                    <a:pt x="24" y="1219"/>
                    <a:pt x="8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29" y="1199"/>
                    <a:pt x="44" y="1204"/>
                    <a:pt x="59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2" y="1203"/>
                  </a:cubicBezTo>
                  <a:cubicBezTo>
                    <a:pt x="418" y="1209"/>
                    <a:pt x="402" y="1214"/>
                    <a:pt x="387" y="1218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4"/>
                  </a:moveTo>
                  <a:cubicBezTo>
                    <a:pt x="468" y="1184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6"/>
                    <a:pt x="477" y="1183"/>
                  </a:cubicBezTo>
                  <a:cubicBezTo>
                    <a:pt x="475" y="1184"/>
                    <a:pt x="474" y="1184"/>
                    <a:pt x="472" y="1184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2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599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2" y="1038"/>
                    <a:pt x="653" y="1026"/>
                  </a:cubicBezTo>
                  <a:cubicBezTo>
                    <a:pt x="656" y="1022"/>
                    <a:pt x="663" y="1022"/>
                    <a:pt x="667" y="1026"/>
                  </a:cubicBezTo>
                  <a:cubicBezTo>
                    <a:pt x="671" y="1029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4" y="1005"/>
                  </a:cubicBezTo>
                  <a:cubicBezTo>
                    <a:pt x="680" y="1001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3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8" y="1003"/>
                  </a:cubicBezTo>
                  <a:cubicBezTo>
                    <a:pt x="696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4" y="872"/>
                  </a:cubicBezTo>
                  <a:cubicBezTo>
                    <a:pt x="757" y="866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8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8" y="777"/>
                  </a:cubicBezTo>
                  <a:cubicBezTo>
                    <a:pt x="804" y="779"/>
                    <a:pt x="807" y="784"/>
                    <a:pt x="805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5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7"/>
                    <a:pt x="809" y="683"/>
                    <a:pt x="815" y="684"/>
                  </a:cubicBezTo>
                  <a:cubicBezTo>
                    <a:pt x="820" y="685"/>
                    <a:pt x="824" y="690"/>
                    <a:pt x="824" y="695"/>
                  </a:cubicBezTo>
                  <a:cubicBezTo>
                    <a:pt x="822" y="711"/>
                    <a:pt x="819" y="727"/>
                    <a:pt x="816" y="743"/>
                  </a:cubicBezTo>
                  <a:cubicBezTo>
                    <a:pt x="815" y="748"/>
                    <a:pt x="811" y="751"/>
                    <a:pt x="807" y="751"/>
                  </a:cubicBezTo>
                  <a:close/>
                  <a:moveTo>
                    <a:pt x="817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7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4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7" y="647"/>
                  </a:cubicBezTo>
                  <a:cubicBezTo>
                    <a:pt x="827" y="653"/>
                    <a:pt x="823" y="657"/>
                    <a:pt x="817" y="657"/>
                  </a:cubicBezTo>
                  <a:close/>
                  <a:moveTo>
                    <a:pt x="814" y="562"/>
                  </a:moveTo>
                  <a:cubicBezTo>
                    <a:pt x="809" y="562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799" y="497"/>
                    <a:pt x="805" y="496"/>
                  </a:cubicBezTo>
                  <a:cubicBezTo>
                    <a:pt x="810" y="495"/>
                    <a:pt x="816" y="498"/>
                    <a:pt x="817" y="504"/>
                  </a:cubicBezTo>
                  <a:cubicBezTo>
                    <a:pt x="820" y="519"/>
                    <a:pt x="822" y="535"/>
                    <a:pt x="824" y="551"/>
                  </a:cubicBezTo>
                  <a:cubicBezTo>
                    <a:pt x="825" y="557"/>
                    <a:pt x="821" y="562"/>
                    <a:pt x="815" y="562"/>
                  </a:cubicBezTo>
                  <a:cubicBezTo>
                    <a:pt x="815" y="562"/>
                    <a:pt x="814" y="562"/>
                    <a:pt x="814" y="562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7"/>
                    <a:pt x="777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3" y="403"/>
                    <a:pt x="789" y="406"/>
                    <a:pt x="791" y="411"/>
                  </a:cubicBezTo>
                  <a:cubicBezTo>
                    <a:pt x="796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8"/>
                    <a:pt x="733" y="322"/>
                    <a:pt x="738" y="320"/>
                  </a:cubicBezTo>
                  <a:cubicBezTo>
                    <a:pt x="743" y="317"/>
                    <a:pt x="749" y="319"/>
                    <a:pt x="751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1" y="280"/>
                    <a:pt x="692" y="268"/>
                    <a:pt x="683" y="255"/>
                  </a:cubicBezTo>
                  <a:cubicBezTo>
                    <a:pt x="680" y="251"/>
                    <a:pt x="680" y="245"/>
                    <a:pt x="685" y="241"/>
                  </a:cubicBezTo>
                  <a:cubicBezTo>
                    <a:pt x="689" y="238"/>
                    <a:pt x="695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8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0" y="168"/>
                    <a:pt x="634" y="172"/>
                  </a:cubicBezTo>
                  <a:cubicBezTo>
                    <a:pt x="646" y="183"/>
                    <a:pt x="657" y="194"/>
                    <a:pt x="668" y="206"/>
                  </a:cubicBezTo>
                  <a:cubicBezTo>
                    <a:pt x="672" y="210"/>
                    <a:pt x="671" y="217"/>
                    <a:pt x="667" y="220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6"/>
                    <a:pt x="549" y="128"/>
                  </a:cubicBezTo>
                  <a:cubicBezTo>
                    <a:pt x="544" y="124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8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4" y="104"/>
                  </a:moveTo>
                  <a:cubicBezTo>
                    <a:pt x="513" y="104"/>
                    <a:pt x="511" y="104"/>
                    <a:pt x="509" y="103"/>
                  </a:cubicBezTo>
                  <a:cubicBezTo>
                    <a:pt x="496" y="95"/>
                    <a:pt x="482" y="87"/>
                    <a:pt x="468" y="81"/>
                  </a:cubicBezTo>
                  <a:cubicBezTo>
                    <a:pt x="463" y="78"/>
                    <a:pt x="461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4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2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39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1"/>
                  </a:moveTo>
                  <a:cubicBezTo>
                    <a:pt x="8" y="51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2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4" y="51"/>
                    <a:pt x="13" y="51"/>
                    <a:pt x="12" y="51"/>
                  </a:cubicBezTo>
                  <a:close/>
                  <a:moveTo>
                    <a:pt x="339" y="35"/>
                  </a:moveTo>
                  <a:cubicBezTo>
                    <a:pt x="338" y="35"/>
                    <a:pt x="338" y="35"/>
                    <a:pt x="337" y="35"/>
                  </a:cubicBezTo>
                  <a:cubicBezTo>
                    <a:pt x="322" y="31"/>
                    <a:pt x="307" y="29"/>
                    <a:pt x="291" y="26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6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2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7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5" y="22"/>
                    <a:pt x="245" y="22"/>
                    <a:pt x="245" y="22"/>
                  </a:cubicBezTo>
                  <a:cubicBezTo>
                    <a:pt x="232" y="21"/>
                    <a:pt x="219" y="20"/>
                    <a:pt x="206" y="20"/>
                  </a:cubicBezTo>
                  <a:cubicBezTo>
                    <a:pt x="203" y="20"/>
                    <a:pt x="201" y="20"/>
                    <a:pt x="198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193" y="20"/>
                    <a:pt x="188" y="16"/>
                    <a:pt x="188" y="11"/>
                  </a:cubicBezTo>
                  <a:cubicBezTo>
                    <a:pt x="188" y="5"/>
                    <a:pt x="193" y="0"/>
                    <a:pt x="198" y="0"/>
                  </a:cubicBezTo>
                  <a:cubicBezTo>
                    <a:pt x="201" y="0"/>
                    <a:pt x="203" y="0"/>
                    <a:pt x="206" y="0"/>
                  </a:cubicBezTo>
                  <a:cubicBezTo>
                    <a:pt x="219" y="0"/>
                    <a:pt x="233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47" name="Freeform 19">
              <a:extLst>
                <a:ext uri="{FF2B5EF4-FFF2-40B4-BE49-F238E27FC236}">
                  <a16:creationId xmlns:a16="http://schemas.microsoft.com/office/drawing/2014/main" id="{6E0744BF-151B-AF62-3BDB-9CB6D9283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58" y="4129268"/>
              <a:ext cx="56284" cy="37523"/>
            </a:xfrm>
            <a:custGeom>
              <a:avLst/>
              <a:gdLst>
                <a:gd name="T0" fmla="*/ 11 w 45"/>
                <a:gd name="T1" fmla="*/ 31 h 31"/>
                <a:gd name="T2" fmla="*/ 2 w 45"/>
                <a:gd name="T3" fmla="*/ 25 h 31"/>
                <a:gd name="T4" fmla="*/ 7 w 45"/>
                <a:gd name="T5" fmla="*/ 12 h 31"/>
                <a:gd name="T6" fmla="*/ 29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1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1" y="31"/>
                  </a:moveTo>
                  <a:cubicBezTo>
                    <a:pt x="8" y="31"/>
                    <a:pt x="4" y="29"/>
                    <a:pt x="2" y="25"/>
                  </a:cubicBezTo>
                  <a:cubicBezTo>
                    <a:pt x="0" y="20"/>
                    <a:pt x="2" y="15"/>
                    <a:pt x="7" y="12"/>
                  </a:cubicBezTo>
                  <a:cubicBezTo>
                    <a:pt x="15" y="9"/>
                    <a:pt x="22" y="5"/>
                    <a:pt x="29" y="2"/>
                  </a:cubicBezTo>
                  <a:cubicBezTo>
                    <a:pt x="35" y="0"/>
                    <a:pt x="40" y="2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1" y="3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52" name="Freeform 22">
            <a:extLst>
              <a:ext uri="{FF2B5EF4-FFF2-40B4-BE49-F238E27FC236}">
                <a16:creationId xmlns:a16="http://schemas.microsoft.com/office/drawing/2014/main" id="{8E6FD6D1-0690-0E47-11F1-32AEE325EB8F}"/>
              </a:ext>
            </a:extLst>
          </p:cNvPr>
          <p:cNvSpPr>
            <a:spLocks noEditPoints="1"/>
          </p:cNvSpPr>
          <p:nvPr/>
        </p:nvSpPr>
        <p:spPr bwMode="auto">
          <a:xfrm>
            <a:off x="10578442" y="4071540"/>
            <a:ext cx="1014557" cy="1529774"/>
          </a:xfrm>
          <a:custGeom>
            <a:avLst/>
            <a:gdLst>
              <a:gd name="T0" fmla="*/ 197 w 827"/>
              <a:gd name="T1" fmla="*/ 1225 h 1245"/>
              <a:gd name="T2" fmla="*/ 245 w 827"/>
              <a:gd name="T3" fmla="*/ 1244 h 1245"/>
              <a:gd name="T4" fmla="*/ 101 w 827"/>
              <a:gd name="T5" fmla="*/ 1237 h 1245"/>
              <a:gd name="T6" fmla="*/ 160 w 827"/>
              <a:gd name="T7" fmla="*/ 1234 h 1245"/>
              <a:gd name="T8" fmla="*/ 290 w 827"/>
              <a:gd name="T9" fmla="*/ 1219 h 1245"/>
              <a:gd name="T10" fmla="*/ 293 w 827"/>
              <a:gd name="T11" fmla="*/ 1239 h 1245"/>
              <a:gd name="T12" fmla="*/ 8 w 827"/>
              <a:gd name="T13" fmla="*/ 1214 h 1245"/>
              <a:gd name="T14" fmla="*/ 66 w 827"/>
              <a:gd name="T15" fmla="*/ 1220 h 1245"/>
              <a:gd name="T16" fmla="*/ 381 w 827"/>
              <a:gd name="T17" fmla="*/ 1199 h 1245"/>
              <a:gd name="T18" fmla="*/ 386 w 827"/>
              <a:gd name="T19" fmla="*/ 1218 h 1245"/>
              <a:gd name="T20" fmla="*/ 467 w 827"/>
              <a:gd name="T21" fmla="*/ 1165 h 1245"/>
              <a:gd name="T22" fmla="*/ 476 w 827"/>
              <a:gd name="T23" fmla="*/ 1183 h 1245"/>
              <a:gd name="T24" fmla="*/ 548 w 827"/>
              <a:gd name="T25" fmla="*/ 1119 h 1245"/>
              <a:gd name="T26" fmla="*/ 559 w 827"/>
              <a:gd name="T27" fmla="*/ 1135 h 1245"/>
              <a:gd name="T28" fmla="*/ 620 w 827"/>
              <a:gd name="T29" fmla="*/ 1060 h 1245"/>
              <a:gd name="T30" fmla="*/ 633 w 827"/>
              <a:gd name="T31" fmla="*/ 1074 h 1245"/>
              <a:gd name="T32" fmla="*/ 682 w 827"/>
              <a:gd name="T33" fmla="*/ 991 h 1245"/>
              <a:gd name="T34" fmla="*/ 698 w 827"/>
              <a:gd name="T35" fmla="*/ 1003 h 1245"/>
              <a:gd name="T36" fmla="*/ 733 w 827"/>
              <a:gd name="T37" fmla="*/ 913 h 1245"/>
              <a:gd name="T38" fmla="*/ 751 w 827"/>
              <a:gd name="T39" fmla="*/ 923 h 1245"/>
              <a:gd name="T40" fmla="*/ 771 w 827"/>
              <a:gd name="T41" fmla="*/ 828 h 1245"/>
              <a:gd name="T42" fmla="*/ 790 w 827"/>
              <a:gd name="T43" fmla="*/ 835 h 1245"/>
              <a:gd name="T44" fmla="*/ 796 w 827"/>
              <a:gd name="T45" fmla="*/ 739 h 1245"/>
              <a:gd name="T46" fmla="*/ 816 w 827"/>
              <a:gd name="T47" fmla="*/ 743 h 1245"/>
              <a:gd name="T48" fmla="*/ 807 w 827"/>
              <a:gd name="T49" fmla="*/ 647 h 1245"/>
              <a:gd name="T50" fmla="*/ 827 w 827"/>
              <a:gd name="T51" fmla="*/ 599 h 1245"/>
              <a:gd name="T52" fmla="*/ 813 w 827"/>
              <a:gd name="T53" fmla="*/ 562 h 1245"/>
              <a:gd name="T54" fmla="*/ 816 w 827"/>
              <a:gd name="T55" fmla="*/ 504 h 1245"/>
              <a:gd name="T56" fmla="*/ 795 w 827"/>
              <a:gd name="T57" fmla="*/ 470 h 1245"/>
              <a:gd name="T58" fmla="*/ 790 w 827"/>
              <a:gd name="T59" fmla="*/ 411 h 1245"/>
              <a:gd name="T60" fmla="*/ 763 w 827"/>
              <a:gd name="T61" fmla="*/ 381 h 1245"/>
              <a:gd name="T62" fmla="*/ 751 w 827"/>
              <a:gd name="T63" fmla="*/ 324 h 1245"/>
              <a:gd name="T64" fmla="*/ 718 w 827"/>
              <a:gd name="T65" fmla="*/ 298 h 1245"/>
              <a:gd name="T66" fmla="*/ 698 w 827"/>
              <a:gd name="T67" fmla="*/ 243 h 1245"/>
              <a:gd name="T68" fmla="*/ 660 w 827"/>
              <a:gd name="T69" fmla="*/ 223 h 1245"/>
              <a:gd name="T70" fmla="*/ 634 w 827"/>
              <a:gd name="T71" fmla="*/ 172 h 1245"/>
              <a:gd name="T72" fmla="*/ 592 w 827"/>
              <a:gd name="T73" fmla="*/ 158 h 1245"/>
              <a:gd name="T74" fmla="*/ 559 w 827"/>
              <a:gd name="T75" fmla="*/ 111 h 1245"/>
              <a:gd name="T76" fmla="*/ 514 w 827"/>
              <a:gd name="T77" fmla="*/ 104 h 1245"/>
              <a:gd name="T78" fmla="*/ 477 w 827"/>
              <a:gd name="T79" fmla="*/ 63 h 1245"/>
              <a:gd name="T80" fmla="*/ 429 w 827"/>
              <a:gd name="T81" fmla="*/ 63 h 1245"/>
              <a:gd name="T82" fmla="*/ 387 w 827"/>
              <a:gd name="T83" fmla="*/ 28 h 1245"/>
              <a:gd name="T84" fmla="*/ 12 w 827"/>
              <a:gd name="T85" fmla="*/ 51 h 1245"/>
              <a:gd name="T86" fmla="*/ 67 w 827"/>
              <a:gd name="T87" fmla="*/ 26 h 1245"/>
              <a:gd name="T88" fmla="*/ 339 w 827"/>
              <a:gd name="T89" fmla="*/ 35 h 1245"/>
              <a:gd name="T90" fmla="*/ 293 w 827"/>
              <a:gd name="T91" fmla="*/ 7 h 1245"/>
              <a:gd name="T92" fmla="*/ 104 w 827"/>
              <a:gd name="T93" fmla="*/ 29 h 1245"/>
              <a:gd name="T94" fmla="*/ 160 w 827"/>
              <a:gd name="T95" fmla="*/ 12 h 1245"/>
              <a:gd name="T96" fmla="*/ 245 w 827"/>
              <a:gd name="T97" fmla="*/ 22 h 1245"/>
              <a:gd name="T98" fmla="*/ 188 w 827"/>
              <a:gd name="T99" fmla="*/ 11 h 1245"/>
              <a:gd name="T100" fmla="*/ 245 w 827"/>
              <a:gd name="T101" fmla="*/ 22 h 1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27" h="1245">
                <a:moveTo>
                  <a:pt x="205" y="1245"/>
                </a:moveTo>
                <a:cubicBezTo>
                  <a:pt x="202" y="1245"/>
                  <a:pt x="199" y="1245"/>
                  <a:pt x="197" y="1245"/>
                </a:cubicBezTo>
                <a:cubicBezTo>
                  <a:pt x="191" y="1245"/>
                  <a:pt x="187" y="1241"/>
                  <a:pt x="187" y="1235"/>
                </a:cubicBezTo>
                <a:cubicBezTo>
                  <a:pt x="187" y="1230"/>
                  <a:pt x="191" y="1225"/>
                  <a:pt x="197" y="1225"/>
                </a:cubicBezTo>
                <a:cubicBezTo>
                  <a:pt x="197" y="1225"/>
                  <a:pt x="197" y="1225"/>
                  <a:pt x="197" y="1225"/>
                </a:cubicBezTo>
                <a:cubicBezTo>
                  <a:pt x="212" y="1226"/>
                  <a:pt x="228" y="1225"/>
                  <a:pt x="244" y="1224"/>
                </a:cubicBezTo>
                <a:cubicBezTo>
                  <a:pt x="249" y="1224"/>
                  <a:pt x="254" y="1228"/>
                  <a:pt x="254" y="1234"/>
                </a:cubicBezTo>
                <a:cubicBezTo>
                  <a:pt x="255" y="1239"/>
                  <a:pt x="250" y="1244"/>
                  <a:pt x="245" y="1244"/>
                </a:cubicBezTo>
                <a:cubicBezTo>
                  <a:pt x="232" y="1245"/>
                  <a:pt x="218" y="1245"/>
                  <a:pt x="205" y="1245"/>
                </a:cubicBezTo>
                <a:close/>
                <a:moveTo>
                  <a:pt x="150" y="1243"/>
                </a:moveTo>
                <a:cubicBezTo>
                  <a:pt x="149" y="1243"/>
                  <a:pt x="149" y="1243"/>
                  <a:pt x="149" y="1243"/>
                </a:cubicBezTo>
                <a:cubicBezTo>
                  <a:pt x="133" y="1241"/>
                  <a:pt x="117" y="1239"/>
                  <a:pt x="101" y="1237"/>
                </a:cubicBezTo>
                <a:cubicBezTo>
                  <a:pt x="96" y="1236"/>
                  <a:pt x="92" y="1231"/>
                  <a:pt x="93" y="1225"/>
                </a:cubicBezTo>
                <a:cubicBezTo>
                  <a:pt x="94" y="1220"/>
                  <a:pt x="99" y="1216"/>
                  <a:pt x="104" y="1217"/>
                </a:cubicBezTo>
                <a:cubicBezTo>
                  <a:pt x="120" y="1220"/>
                  <a:pt x="135" y="1222"/>
                  <a:pt x="151" y="1223"/>
                </a:cubicBezTo>
                <a:cubicBezTo>
                  <a:pt x="156" y="1223"/>
                  <a:pt x="160" y="1228"/>
                  <a:pt x="160" y="1234"/>
                </a:cubicBezTo>
                <a:cubicBezTo>
                  <a:pt x="159" y="1239"/>
                  <a:pt x="155" y="1243"/>
                  <a:pt x="150" y="1243"/>
                </a:cubicBezTo>
                <a:close/>
                <a:moveTo>
                  <a:pt x="291" y="1239"/>
                </a:moveTo>
                <a:cubicBezTo>
                  <a:pt x="286" y="1239"/>
                  <a:pt x="282" y="1236"/>
                  <a:pt x="281" y="1231"/>
                </a:cubicBezTo>
                <a:cubicBezTo>
                  <a:pt x="281" y="1225"/>
                  <a:pt x="284" y="1220"/>
                  <a:pt x="290" y="1219"/>
                </a:cubicBezTo>
                <a:cubicBezTo>
                  <a:pt x="305" y="1217"/>
                  <a:pt x="321" y="1214"/>
                  <a:pt x="336" y="1211"/>
                </a:cubicBezTo>
                <a:cubicBezTo>
                  <a:pt x="341" y="1210"/>
                  <a:pt x="346" y="1213"/>
                  <a:pt x="348" y="1219"/>
                </a:cubicBezTo>
                <a:cubicBezTo>
                  <a:pt x="349" y="1224"/>
                  <a:pt x="345" y="1229"/>
                  <a:pt x="340" y="1231"/>
                </a:cubicBezTo>
                <a:cubicBezTo>
                  <a:pt x="324" y="1234"/>
                  <a:pt x="308" y="1237"/>
                  <a:pt x="293" y="1239"/>
                </a:cubicBezTo>
                <a:cubicBezTo>
                  <a:pt x="292" y="1239"/>
                  <a:pt x="292" y="1239"/>
                  <a:pt x="291" y="1239"/>
                </a:cubicBezTo>
                <a:close/>
                <a:moveTo>
                  <a:pt x="56" y="1227"/>
                </a:moveTo>
                <a:cubicBezTo>
                  <a:pt x="56" y="1227"/>
                  <a:pt x="55" y="1227"/>
                  <a:pt x="54" y="1227"/>
                </a:cubicBezTo>
                <a:cubicBezTo>
                  <a:pt x="39" y="1223"/>
                  <a:pt x="23" y="1219"/>
                  <a:pt x="8" y="1214"/>
                </a:cubicBezTo>
                <a:cubicBezTo>
                  <a:pt x="3" y="1212"/>
                  <a:pt x="0" y="1206"/>
                  <a:pt x="2" y="1201"/>
                </a:cubicBezTo>
                <a:cubicBezTo>
                  <a:pt x="3" y="1196"/>
                  <a:pt x="9" y="1193"/>
                  <a:pt x="14" y="1195"/>
                </a:cubicBezTo>
                <a:cubicBezTo>
                  <a:pt x="29" y="1199"/>
                  <a:pt x="44" y="1204"/>
                  <a:pt x="59" y="1208"/>
                </a:cubicBezTo>
                <a:cubicBezTo>
                  <a:pt x="64" y="1209"/>
                  <a:pt x="67" y="1214"/>
                  <a:pt x="66" y="1220"/>
                </a:cubicBezTo>
                <a:cubicBezTo>
                  <a:pt x="65" y="1224"/>
                  <a:pt x="61" y="1227"/>
                  <a:pt x="56" y="1227"/>
                </a:cubicBezTo>
                <a:close/>
                <a:moveTo>
                  <a:pt x="384" y="1219"/>
                </a:moveTo>
                <a:cubicBezTo>
                  <a:pt x="379" y="1219"/>
                  <a:pt x="375" y="1216"/>
                  <a:pt x="374" y="1212"/>
                </a:cubicBezTo>
                <a:cubicBezTo>
                  <a:pt x="372" y="1207"/>
                  <a:pt x="375" y="1201"/>
                  <a:pt x="381" y="1199"/>
                </a:cubicBezTo>
                <a:cubicBezTo>
                  <a:pt x="395" y="1195"/>
                  <a:pt x="410" y="1190"/>
                  <a:pt x="425" y="1184"/>
                </a:cubicBezTo>
                <a:cubicBezTo>
                  <a:pt x="430" y="1182"/>
                  <a:pt x="436" y="1185"/>
                  <a:pt x="438" y="1190"/>
                </a:cubicBezTo>
                <a:cubicBezTo>
                  <a:pt x="440" y="1195"/>
                  <a:pt x="437" y="1201"/>
                  <a:pt x="432" y="1203"/>
                </a:cubicBezTo>
                <a:cubicBezTo>
                  <a:pt x="417" y="1209"/>
                  <a:pt x="402" y="1214"/>
                  <a:pt x="386" y="1218"/>
                </a:cubicBezTo>
                <a:cubicBezTo>
                  <a:pt x="385" y="1219"/>
                  <a:pt x="384" y="1219"/>
                  <a:pt x="384" y="1219"/>
                </a:cubicBezTo>
                <a:close/>
                <a:moveTo>
                  <a:pt x="472" y="1184"/>
                </a:moveTo>
                <a:cubicBezTo>
                  <a:pt x="468" y="1184"/>
                  <a:pt x="464" y="1182"/>
                  <a:pt x="463" y="1179"/>
                </a:cubicBezTo>
                <a:cubicBezTo>
                  <a:pt x="460" y="1174"/>
                  <a:pt x="462" y="1168"/>
                  <a:pt x="467" y="1165"/>
                </a:cubicBezTo>
                <a:cubicBezTo>
                  <a:pt x="481" y="1159"/>
                  <a:pt x="495" y="1151"/>
                  <a:pt x="508" y="1144"/>
                </a:cubicBezTo>
                <a:cubicBezTo>
                  <a:pt x="513" y="1141"/>
                  <a:pt x="519" y="1142"/>
                  <a:pt x="522" y="1147"/>
                </a:cubicBezTo>
                <a:cubicBezTo>
                  <a:pt x="525" y="1152"/>
                  <a:pt x="523" y="1158"/>
                  <a:pt x="518" y="1161"/>
                </a:cubicBezTo>
                <a:cubicBezTo>
                  <a:pt x="505" y="1169"/>
                  <a:pt x="490" y="1176"/>
                  <a:pt x="476" y="1183"/>
                </a:cubicBezTo>
                <a:cubicBezTo>
                  <a:pt x="475" y="1184"/>
                  <a:pt x="473" y="1184"/>
                  <a:pt x="472" y="1184"/>
                </a:cubicBezTo>
                <a:close/>
                <a:moveTo>
                  <a:pt x="553" y="1137"/>
                </a:moveTo>
                <a:cubicBezTo>
                  <a:pt x="550" y="1137"/>
                  <a:pt x="547" y="1135"/>
                  <a:pt x="545" y="1132"/>
                </a:cubicBezTo>
                <a:cubicBezTo>
                  <a:pt x="542" y="1128"/>
                  <a:pt x="543" y="1122"/>
                  <a:pt x="548" y="1119"/>
                </a:cubicBezTo>
                <a:cubicBezTo>
                  <a:pt x="560" y="1110"/>
                  <a:pt x="573" y="1100"/>
                  <a:pt x="585" y="1091"/>
                </a:cubicBezTo>
                <a:cubicBezTo>
                  <a:pt x="589" y="1087"/>
                  <a:pt x="595" y="1088"/>
                  <a:pt x="599" y="1092"/>
                </a:cubicBezTo>
                <a:cubicBezTo>
                  <a:pt x="602" y="1096"/>
                  <a:pt x="602" y="1103"/>
                  <a:pt x="597" y="1106"/>
                </a:cubicBezTo>
                <a:cubicBezTo>
                  <a:pt x="585" y="1116"/>
                  <a:pt x="572" y="1126"/>
                  <a:pt x="559" y="1135"/>
                </a:cubicBezTo>
                <a:cubicBezTo>
                  <a:pt x="557" y="1136"/>
                  <a:pt x="555" y="1137"/>
                  <a:pt x="553" y="1137"/>
                </a:cubicBezTo>
                <a:close/>
                <a:moveTo>
                  <a:pt x="627" y="1077"/>
                </a:moveTo>
                <a:cubicBezTo>
                  <a:pt x="624" y="1077"/>
                  <a:pt x="621" y="1076"/>
                  <a:pt x="619" y="1074"/>
                </a:cubicBezTo>
                <a:cubicBezTo>
                  <a:pt x="616" y="1070"/>
                  <a:pt x="616" y="1064"/>
                  <a:pt x="620" y="1060"/>
                </a:cubicBezTo>
                <a:cubicBezTo>
                  <a:pt x="631" y="1049"/>
                  <a:pt x="642" y="1038"/>
                  <a:pt x="652" y="1026"/>
                </a:cubicBezTo>
                <a:cubicBezTo>
                  <a:pt x="656" y="1022"/>
                  <a:pt x="662" y="1022"/>
                  <a:pt x="666" y="1026"/>
                </a:cubicBezTo>
                <a:cubicBezTo>
                  <a:pt x="670" y="1029"/>
                  <a:pt x="671" y="1036"/>
                  <a:pt x="667" y="1040"/>
                </a:cubicBezTo>
                <a:cubicBezTo>
                  <a:pt x="656" y="1052"/>
                  <a:pt x="645" y="1063"/>
                  <a:pt x="633" y="1074"/>
                </a:cubicBezTo>
                <a:cubicBezTo>
                  <a:pt x="632" y="1076"/>
                  <a:pt x="629" y="1077"/>
                  <a:pt x="627" y="1077"/>
                </a:cubicBezTo>
                <a:close/>
                <a:moveTo>
                  <a:pt x="690" y="1007"/>
                </a:moveTo>
                <a:cubicBezTo>
                  <a:pt x="688" y="1007"/>
                  <a:pt x="686" y="1006"/>
                  <a:pt x="684" y="1005"/>
                </a:cubicBezTo>
                <a:cubicBezTo>
                  <a:pt x="679" y="1001"/>
                  <a:pt x="679" y="995"/>
                  <a:pt x="682" y="991"/>
                </a:cubicBezTo>
                <a:cubicBezTo>
                  <a:pt x="691" y="979"/>
                  <a:pt x="701" y="966"/>
                  <a:pt x="709" y="953"/>
                </a:cubicBezTo>
                <a:cubicBezTo>
                  <a:pt x="712" y="948"/>
                  <a:pt x="718" y="947"/>
                  <a:pt x="723" y="950"/>
                </a:cubicBezTo>
                <a:cubicBezTo>
                  <a:pt x="727" y="953"/>
                  <a:pt x="729" y="959"/>
                  <a:pt x="726" y="964"/>
                </a:cubicBezTo>
                <a:cubicBezTo>
                  <a:pt x="717" y="977"/>
                  <a:pt x="708" y="990"/>
                  <a:pt x="698" y="1003"/>
                </a:cubicBezTo>
                <a:cubicBezTo>
                  <a:pt x="696" y="1006"/>
                  <a:pt x="693" y="1007"/>
                  <a:pt x="690" y="1007"/>
                </a:cubicBezTo>
                <a:close/>
                <a:moveTo>
                  <a:pt x="742" y="928"/>
                </a:moveTo>
                <a:cubicBezTo>
                  <a:pt x="740" y="928"/>
                  <a:pt x="738" y="928"/>
                  <a:pt x="737" y="927"/>
                </a:cubicBezTo>
                <a:cubicBezTo>
                  <a:pt x="732" y="924"/>
                  <a:pt x="730" y="918"/>
                  <a:pt x="733" y="913"/>
                </a:cubicBezTo>
                <a:cubicBezTo>
                  <a:pt x="740" y="900"/>
                  <a:pt x="747" y="886"/>
                  <a:pt x="754" y="872"/>
                </a:cubicBezTo>
                <a:cubicBezTo>
                  <a:pt x="756" y="866"/>
                  <a:pt x="762" y="864"/>
                  <a:pt x="767" y="867"/>
                </a:cubicBezTo>
                <a:cubicBezTo>
                  <a:pt x="772" y="869"/>
                  <a:pt x="774" y="875"/>
                  <a:pt x="772" y="880"/>
                </a:cubicBezTo>
                <a:cubicBezTo>
                  <a:pt x="765" y="894"/>
                  <a:pt x="758" y="909"/>
                  <a:pt x="751" y="923"/>
                </a:cubicBezTo>
                <a:cubicBezTo>
                  <a:pt x="749" y="926"/>
                  <a:pt x="745" y="928"/>
                  <a:pt x="742" y="928"/>
                </a:cubicBezTo>
                <a:close/>
                <a:moveTo>
                  <a:pt x="781" y="842"/>
                </a:moveTo>
                <a:cubicBezTo>
                  <a:pt x="780" y="842"/>
                  <a:pt x="778" y="842"/>
                  <a:pt x="777" y="841"/>
                </a:cubicBezTo>
                <a:cubicBezTo>
                  <a:pt x="772" y="839"/>
                  <a:pt x="769" y="834"/>
                  <a:pt x="771" y="828"/>
                </a:cubicBezTo>
                <a:cubicBezTo>
                  <a:pt x="777" y="814"/>
                  <a:pt x="781" y="799"/>
                  <a:pt x="786" y="784"/>
                </a:cubicBezTo>
                <a:cubicBezTo>
                  <a:pt x="787" y="779"/>
                  <a:pt x="793" y="776"/>
                  <a:pt x="798" y="777"/>
                </a:cubicBezTo>
                <a:cubicBezTo>
                  <a:pt x="803" y="779"/>
                  <a:pt x="806" y="784"/>
                  <a:pt x="805" y="790"/>
                </a:cubicBezTo>
                <a:cubicBezTo>
                  <a:pt x="801" y="805"/>
                  <a:pt x="796" y="820"/>
                  <a:pt x="790" y="835"/>
                </a:cubicBezTo>
                <a:cubicBezTo>
                  <a:pt x="789" y="839"/>
                  <a:pt x="785" y="842"/>
                  <a:pt x="781" y="842"/>
                </a:cubicBezTo>
                <a:close/>
                <a:moveTo>
                  <a:pt x="806" y="751"/>
                </a:moveTo>
                <a:cubicBezTo>
                  <a:pt x="805" y="751"/>
                  <a:pt x="805" y="751"/>
                  <a:pt x="804" y="751"/>
                </a:cubicBezTo>
                <a:cubicBezTo>
                  <a:pt x="799" y="750"/>
                  <a:pt x="795" y="744"/>
                  <a:pt x="796" y="739"/>
                </a:cubicBezTo>
                <a:cubicBezTo>
                  <a:pt x="799" y="724"/>
                  <a:pt x="802" y="708"/>
                  <a:pt x="803" y="693"/>
                </a:cubicBezTo>
                <a:cubicBezTo>
                  <a:pt x="804" y="687"/>
                  <a:pt x="809" y="684"/>
                  <a:pt x="814" y="684"/>
                </a:cubicBezTo>
                <a:cubicBezTo>
                  <a:pt x="820" y="685"/>
                  <a:pt x="824" y="690"/>
                  <a:pt x="823" y="695"/>
                </a:cubicBezTo>
                <a:cubicBezTo>
                  <a:pt x="821" y="711"/>
                  <a:pt x="819" y="727"/>
                  <a:pt x="816" y="743"/>
                </a:cubicBezTo>
                <a:cubicBezTo>
                  <a:pt x="815" y="748"/>
                  <a:pt x="811" y="751"/>
                  <a:pt x="806" y="751"/>
                </a:cubicBezTo>
                <a:close/>
                <a:moveTo>
                  <a:pt x="817" y="657"/>
                </a:moveTo>
                <a:cubicBezTo>
                  <a:pt x="817" y="657"/>
                  <a:pt x="817" y="657"/>
                  <a:pt x="817" y="657"/>
                </a:cubicBezTo>
                <a:cubicBezTo>
                  <a:pt x="811" y="657"/>
                  <a:pt x="807" y="652"/>
                  <a:pt x="807" y="647"/>
                </a:cubicBezTo>
                <a:cubicBezTo>
                  <a:pt x="807" y="639"/>
                  <a:pt x="807" y="631"/>
                  <a:pt x="807" y="623"/>
                </a:cubicBezTo>
                <a:cubicBezTo>
                  <a:pt x="807" y="615"/>
                  <a:pt x="807" y="608"/>
                  <a:pt x="807" y="600"/>
                </a:cubicBezTo>
                <a:cubicBezTo>
                  <a:pt x="807" y="594"/>
                  <a:pt x="811" y="590"/>
                  <a:pt x="817" y="590"/>
                </a:cubicBezTo>
                <a:cubicBezTo>
                  <a:pt x="822" y="590"/>
                  <a:pt x="827" y="594"/>
                  <a:pt x="827" y="599"/>
                </a:cubicBezTo>
                <a:cubicBezTo>
                  <a:pt x="827" y="607"/>
                  <a:pt x="827" y="615"/>
                  <a:pt x="827" y="623"/>
                </a:cubicBezTo>
                <a:cubicBezTo>
                  <a:pt x="827" y="631"/>
                  <a:pt x="827" y="639"/>
                  <a:pt x="827" y="647"/>
                </a:cubicBezTo>
                <a:cubicBezTo>
                  <a:pt x="827" y="653"/>
                  <a:pt x="822" y="657"/>
                  <a:pt x="817" y="657"/>
                </a:cubicBezTo>
                <a:close/>
                <a:moveTo>
                  <a:pt x="813" y="562"/>
                </a:moveTo>
                <a:cubicBezTo>
                  <a:pt x="808" y="562"/>
                  <a:pt x="804" y="559"/>
                  <a:pt x="803" y="554"/>
                </a:cubicBezTo>
                <a:cubicBezTo>
                  <a:pt x="802" y="538"/>
                  <a:pt x="799" y="523"/>
                  <a:pt x="796" y="508"/>
                </a:cubicBezTo>
                <a:cubicBezTo>
                  <a:pt x="795" y="502"/>
                  <a:pt x="799" y="497"/>
                  <a:pt x="804" y="496"/>
                </a:cubicBezTo>
                <a:cubicBezTo>
                  <a:pt x="810" y="495"/>
                  <a:pt x="815" y="498"/>
                  <a:pt x="816" y="504"/>
                </a:cubicBezTo>
                <a:cubicBezTo>
                  <a:pt x="819" y="519"/>
                  <a:pt x="821" y="535"/>
                  <a:pt x="823" y="551"/>
                </a:cubicBezTo>
                <a:cubicBezTo>
                  <a:pt x="824" y="557"/>
                  <a:pt x="820" y="562"/>
                  <a:pt x="814" y="562"/>
                </a:cubicBezTo>
                <a:cubicBezTo>
                  <a:pt x="814" y="562"/>
                  <a:pt x="814" y="562"/>
                  <a:pt x="813" y="562"/>
                </a:cubicBezTo>
                <a:close/>
                <a:moveTo>
                  <a:pt x="795" y="470"/>
                </a:moveTo>
                <a:cubicBezTo>
                  <a:pt x="791" y="470"/>
                  <a:pt x="787" y="467"/>
                  <a:pt x="786" y="462"/>
                </a:cubicBezTo>
                <a:cubicBezTo>
                  <a:pt x="782" y="447"/>
                  <a:pt x="777" y="433"/>
                  <a:pt x="772" y="418"/>
                </a:cubicBezTo>
                <a:cubicBezTo>
                  <a:pt x="770" y="413"/>
                  <a:pt x="772" y="407"/>
                  <a:pt x="778" y="405"/>
                </a:cubicBezTo>
                <a:cubicBezTo>
                  <a:pt x="783" y="403"/>
                  <a:pt x="789" y="406"/>
                  <a:pt x="790" y="411"/>
                </a:cubicBezTo>
                <a:cubicBezTo>
                  <a:pt x="796" y="426"/>
                  <a:pt x="801" y="442"/>
                  <a:pt x="805" y="457"/>
                </a:cubicBezTo>
                <a:cubicBezTo>
                  <a:pt x="806" y="462"/>
                  <a:pt x="803" y="468"/>
                  <a:pt x="798" y="469"/>
                </a:cubicBezTo>
                <a:cubicBezTo>
                  <a:pt x="797" y="470"/>
                  <a:pt x="796" y="470"/>
                  <a:pt x="795" y="470"/>
                </a:cubicBezTo>
                <a:close/>
                <a:moveTo>
                  <a:pt x="763" y="381"/>
                </a:moveTo>
                <a:cubicBezTo>
                  <a:pt x="759" y="381"/>
                  <a:pt x="756" y="379"/>
                  <a:pt x="754" y="375"/>
                </a:cubicBezTo>
                <a:cubicBezTo>
                  <a:pt x="748" y="361"/>
                  <a:pt x="741" y="347"/>
                  <a:pt x="733" y="333"/>
                </a:cubicBezTo>
                <a:cubicBezTo>
                  <a:pt x="731" y="328"/>
                  <a:pt x="732" y="322"/>
                  <a:pt x="737" y="320"/>
                </a:cubicBezTo>
                <a:cubicBezTo>
                  <a:pt x="742" y="317"/>
                  <a:pt x="748" y="319"/>
                  <a:pt x="751" y="324"/>
                </a:cubicBezTo>
                <a:cubicBezTo>
                  <a:pt x="759" y="338"/>
                  <a:pt x="766" y="352"/>
                  <a:pt x="772" y="367"/>
                </a:cubicBezTo>
                <a:cubicBezTo>
                  <a:pt x="775" y="372"/>
                  <a:pt x="772" y="378"/>
                  <a:pt x="767" y="380"/>
                </a:cubicBezTo>
                <a:cubicBezTo>
                  <a:pt x="766" y="381"/>
                  <a:pt x="765" y="381"/>
                  <a:pt x="763" y="381"/>
                </a:cubicBezTo>
                <a:close/>
                <a:moveTo>
                  <a:pt x="718" y="298"/>
                </a:moveTo>
                <a:cubicBezTo>
                  <a:pt x="714" y="298"/>
                  <a:pt x="711" y="296"/>
                  <a:pt x="709" y="293"/>
                </a:cubicBezTo>
                <a:cubicBezTo>
                  <a:pt x="701" y="280"/>
                  <a:pt x="692" y="268"/>
                  <a:pt x="682" y="255"/>
                </a:cubicBezTo>
                <a:cubicBezTo>
                  <a:pt x="679" y="251"/>
                  <a:pt x="680" y="245"/>
                  <a:pt x="684" y="241"/>
                </a:cubicBezTo>
                <a:cubicBezTo>
                  <a:pt x="689" y="238"/>
                  <a:pt x="695" y="239"/>
                  <a:pt x="698" y="243"/>
                </a:cubicBezTo>
                <a:cubicBezTo>
                  <a:pt x="708" y="256"/>
                  <a:pt x="717" y="269"/>
                  <a:pt x="726" y="282"/>
                </a:cubicBezTo>
                <a:cubicBezTo>
                  <a:pt x="729" y="287"/>
                  <a:pt x="728" y="293"/>
                  <a:pt x="723" y="296"/>
                </a:cubicBezTo>
                <a:cubicBezTo>
                  <a:pt x="722" y="297"/>
                  <a:pt x="720" y="298"/>
                  <a:pt x="718" y="298"/>
                </a:cubicBezTo>
                <a:close/>
                <a:moveTo>
                  <a:pt x="660" y="223"/>
                </a:moveTo>
                <a:cubicBezTo>
                  <a:pt x="657" y="223"/>
                  <a:pt x="655" y="222"/>
                  <a:pt x="653" y="220"/>
                </a:cubicBezTo>
                <a:cubicBezTo>
                  <a:pt x="642" y="208"/>
                  <a:pt x="631" y="197"/>
                  <a:pt x="620" y="186"/>
                </a:cubicBezTo>
                <a:cubicBezTo>
                  <a:pt x="616" y="183"/>
                  <a:pt x="616" y="176"/>
                  <a:pt x="620" y="172"/>
                </a:cubicBezTo>
                <a:cubicBezTo>
                  <a:pt x="624" y="168"/>
                  <a:pt x="630" y="168"/>
                  <a:pt x="634" y="172"/>
                </a:cubicBezTo>
                <a:cubicBezTo>
                  <a:pt x="645" y="183"/>
                  <a:pt x="657" y="194"/>
                  <a:pt x="667" y="206"/>
                </a:cubicBezTo>
                <a:cubicBezTo>
                  <a:pt x="671" y="210"/>
                  <a:pt x="671" y="217"/>
                  <a:pt x="667" y="220"/>
                </a:cubicBezTo>
                <a:cubicBezTo>
                  <a:pt x="665" y="222"/>
                  <a:pt x="662" y="223"/>
                  <a:pt x="660" y="223"/>
                </a:cubicBezTo>
                <a:close/>
                <a:moveTo>
                  <a:pt x="592" y="158"/>
                </a:moveTo>
                <a:cubicBezTo>
                  <a:pt x="589" y="158"/>
                  <a:pt x="587" y="157"/>
                  <a:pt x="585" y="156"/>
                </a:cubicBezTo>
                <a:cubicBezTo>
                  <a:pt x="573" y="146"/>
                  <a:pt x="561" y="136"/>
                  <a:pt x="548" y="128"/>
                </a:cubicBezTo>
                <a:cubicBezTo>
                  <a:pt x="544" y="124"/>
                  <a:pt x="542" y="118"/>
                  <a:pt x="546" y="114"/>
                </a:cubicBezTo>
                <a:cubicBezTo>
                  <a:pt x="549" y="109"/>
                  <a:pt x="555" y="108"/>
                  <a:pt x="559" y="111"/>
                </a:cubicBezTo>
                <a:cubicBezTo>
                  <a:pt x="573" y="120"/>
                  <a:pt x="585" y="130"/>
                  <a:pt x="598" y="140"/>
                </a:cubicBezTo>
                <a:cubicBezTo>
                  <a:pt x="602" y="144"/>
                  <a:pt x="603" y="150"/>
                  <a:pt x="599" y="154"/>
                </a:cubicBezTo>
                <a:cubicBezTo>
                  <a:pt x="597" y="157"/>
                  <a:pt x="594" y="158"/>
                  <a:pt x="592" y="158"/>
                </a:cubicBezTo>
                <a:close/>
                <a:moveTo>
                  <a:pt x="514" y="104"/>
                </a:moveTo>
                <a:cubicBezTo>
                  <a:pt x="512" y="104"/>
                  <a:pt x="510" y="104"/>
                  <a:pt x="509" y="103"/>
                </a:cubicBezTo>
                <a:cubicBezTo>
                  <a:pt x="496" y="95"/>
                  <a:pt x="482" y="87"/>
                  <a:pt x="468" y="81"/>
                </a:cubicBezTo>
                <a:cubicBezTo>
                  <a:pt x="463" y="78"/>
                  <a:pt x="461" y="72"/>
                  <a:pt x="463" y="67"/>
                </a:cubicBezTo>
                <a:cubicBezTo>
                  <a:pt x="466" y="62"/>
                  <a:pt x="472" y="60"/>
                  <a:pt x="477" y="63"/>
                </a:cubicBezTo>
                <a:cubicBezTo>
                  <a:pt x="491" y="70"/>
                  <a:pt x="505" y="77"/>
                  <a:pt x="519" y="85"/>
                </a:cubicBezTo>
                <a:cubicBezTo>
                  <a:pt x="524" y="88"/>
                  <a:pt x="525" y="94"/>
                  <a:pt x="523" y="99"/>
                </a:cubicBezTo>
                <a:cubicBezTo>
                  <a:pt x="521" y="102"/>
                  <a:pt x="517" y="104"/>
                  <a:pt x="514" y="104"/>
                </a:cubicBezTo>
                <a:close/>
                <a:moveTo>
                  <a:pt x="429" y="63"/>
                </a:moveTo>
                <a:cubicBezTo>
                  <a:pt x="428" y="63"/>
                  <a:pt x="426" y="62"/>
                  <a:pt x="425" y="62"/>
                </a:cubicBezTo>
                <a:cubicBezTo>
                  <a:pt x="411" y="56"/>
                  <a:pt x="396" y="51"/>
                  <a:pt x="381" y="47"/>
                </a:cubicBezTo>
                <a:cubicBezTo>
                  <a:pt x="376" y="45"/>
                  <a:pt x="373" y="39"/>
                  <a:pt x="375" y="34"/>
                </a:cubicBezTo>
                <a:cubicBezTo>
                  <a:pt x="376" y="29"/>
                  <a:pt x="382" y="26"/>
                  <a:pt x="387" y="28"/>
                </a:cubicBezTo>
                <a:cubicBezTo>
                  <a:pt x="402" y="32"/>
                  <a:pt x="418" y="38"/>
                  <a:pt x="433" y="43"/>
                </a:cubicBezTo>
                <a:cubicBezTo>
                  <a:pt x="438" y="45"/>
                  <a:pt x="440" y="51"/>
                  <a:pt x="438" y="56"/>
                </a:cubicBezTo>
                <a:cubicBezTo>
                  <a:pt x="437" y="60"/>
                  <a:pt x="433" y="63"/>
                  <a:pt x="429" y="63"/>
                </a:cubicBezTo>
                <a:close/>
                <a:moveTo>
                  <a:pt x="12" y="51"/>
                </a:moveTo>
                <a:cubicBezTo>
                  <a:pt x="8" y="51"/>
                  <a:pt x="4" y="49"/>
                  <a:pt x="2" y="45"/>
                </a:cubicBezTo>
                <a:cubicBezTo>
                  <a:pt x="1" y="39"/>
                  <a:pt x="3" y="34"/>
                  <a:pt x="9" y="32"/>
                </a:cubicBezTo>
                <a:cubicBezTo>
                  <a:pt x="24" y="27"/>
                  <a:pt x="39" y="22"/>
                  <a:pt x="55" y="19"/>
                </a:cubicBezTo>
                <a:cubicBezTo>
                  <a:pt x="60" y="17"/>
                  <a:pt x="66" y="21"/>
                  <a:pt x="67" y="26"/>
                </a:cubicBezTo>
                <a:cubicBezTo>
                  <a:pt x="68" y="31"/>
                  <a:pt x="65" y="37"/>
                  <a:pt x="60" y="38"/>
                </a:cubicBezTo>
                <a:cubicBezTo>
                  <a:pt x="45" y="42"/>
                  <a:pt x="30" y="46"/>
                  <a:pt x="15" y="51"/>
                </a:cubicBezTo>
                <a:cubicBezTo>
                  <a:pt x="14" y="51"/>
                  <a:pt x="13" y="51"/>
                  <a:pt x="12" y="51"/>
                </a:cubicBezTo>
                <a:close/>
                <a:moveTo>
                  <a:pt x="339" y="35"/>
                </a:moveTo>
                <a:cubicBezTo>
                  <a:pt x="338" y="35"/>
                  <a:pt x="337" y="35"/>
                  <a:pt x="336" y="35"/>
                </a:cubicBezTo>
                <a:cubicBezTo>
                  <a:pt x="321" y="31"/>
                  <a:pt x="306" y="29"/>
                  <a:pt x="291" y="26"/>
                </a:cubicBezTo>
                <a:cubicBezTo>
                  <a:pt x="285" y="26"/>
                  <a:pt x="281" y="21"/>
                  <a:pt x="282" y="15"/>
                </a:cubicBezTo>
                <a:cubicBezTo>
                  <a:pt x="283" y="10"/>
                  <a:pt x="288" y="6"/>
                  <a:pt x="293" y="7"/>
                </a:cubicBezTo>
                <a:cubicBezTo>
                  <a:pt x="309" y="9"/>
                  <a:pt x="325" y="12"/>
                  <a:pt x="341" y="15"/>
                </a:cubicBezTo>
                <a:cubicBezTo>
                  <a:pt x="346" y="16"/>
                  <a:pt x="350" y="22"/>
                  <a:pt x="348" y="27"/>
                </a:cubicBezTo>
                <a:cubicBezTo>
                  <a:pt x="347" y="32"/>
                  <a:pt x="343" y="35"/>
                  <a:pt x="339" y="35"/>
                </a:cubicBezTo>
                <a:close/>
                <a:moveTo>
                  <a:pt x="104" y="29"/>
                </a:moveTo>
                <a:cubicBezTo>
                  <a:pt x="99" y="29"/>
                  <a:pt x="94" y="25"/>
                  <a:pt x="94" y="20"/>
                </a:cubicBezTo>
                <a:cubicBezTo>
                  <a:pt x="93" y="15"/>
                  <a:pt x="96" y="10"/>
                  <a:pt x="102" y="9"/>
                </a:cubicBezTo>
                <a:cubicBezTo>
                  <a:pt x="118" y="6"/>
                  <a:pt x="134" y="4"/>
                  <a:pt x="150" y="3"/>
                </a:cubicBezTo>
                <a:cubicBezTo>
                  <a:pt x="155" y="2"/>
                  <a:pt x="160" y="6"/>
                  <a:pt x="160" y="12"/>
                </a:cubicBezTo>
                <a:cubicBezTo>
                  <a:pt x="161" y="17"/>
                  <a:pt x="157" y="22"/>
                  <a:pt x="151" y="23"/>
                </a:cubicBezTo>
                <a:cubicBezTo>
                  <a:pt x="136" y="24"/>
                  <a:pt x="120" y="26"/>
                  <a:pt x="105" y="29"/>
                </a:cubicBezTo>
                <a:cubicBezTo>
                  <a:pt x="105" y="29"/>
                  <a:pt x="104" y="29"/>
                  <a:pt x="104" y="29"/>
                </a:cubicBezTo>
                <a:close/>
                <a:moveTo>
                  <a:pt x="245" y="22"/>
                </a:moveTo>
                <a:cubicBezTo>
                  <a:pt x="245" y="22"/>
                  <a:pt x="245" y="22"/>
                  <a:pt x="244" y="22"/>
                </a:cubicBezTo>
                <a:cubicBezTo>
                  <a:pt x="229" y="21"/>
                  <a:pt x="213" y="20"/>
                  <a:pt x="198" y="20"/>
                </a:cubicBezTo>
                <a:cubicBezTo>
                  <a:pt x="198" y="20"/>
                  <a:pt x="198" y="20"/>
                  <a:pt x="198" y="20"/>
                </a:cubicBezTo>
                <a:cubicBezTo>
                  <a:pt x="192" y="20"/>
                  <a:pt x="188" y="16"/>
                  <a:pt x="188" y="11"/>
                </a:cubicBezTo>
                <a:cubicBezTo>
                  <a:pt x="188" y="5"/>
                  <a:pt x="192" y="0"/>
                  <a:pt x="198" y="0"/>
                </a:cubicBezTo>
                <a:cubicBezTo>
                  <a:pt x="214" y="0"/>
                  <a:pt x="230" y="1"/>
                  <a:pt x="246" y="2"/>
                </a:cubicBezTo>
                <a:cubicBezTo>
                  <a:pt x="251" y="2"/>
                  <a:pt x="255" y="7"/>
                  <a:pt x="255" y="12"/>
                </a:cubicBezTo>
                <a:cubicBezTo>
                  <a:pt x="255" y="18"/>
                  <a:pt x="250" y="22"/>
                  <a:pt x="245" y="22"/>
                </a:cubicBezTo>
                <a:close/>
              </a:path>
            </a:pathLst>
          </a:custGeom>
          <a:solidFill>
            <a:srgbClr val="C0DC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grpSp>
        <p:nvGrpSpPr>
          <p:cNvPr id="180" name="Группа 179">
            <a:extLst>
              <a:ext uri="{FF2B5EF4-FFF2-40B4-BE49-F238E27FC236}">
                <a16:creationId xmlns:a16="http://schemas.microsoft.com/office/drawing/2014/main" id="{DAADE944-CE47-A44A-8819-0334D685B558}"/>
              </a:ext>
            </a:extLst>
          </p:cNvPr>
          <p:cNvGrpSpPr/>
          <p:nvPr/>
        </p:nvGrpSpPr>
        <p:grpSpPr>
          <a:xfrm>
            <a:off x="9428163" y="4083807"/>
            <a:ext cx="2151847" cy="1638604"/>
            <a:chOff x="9428163" y="4083807"/>
            <a:chExt cx="2151847" cy="1638604"/>
          </a:xfrm>
        </p:grpSpPr>
        <p:sp>
          <p:nvSpPr>
            <p:cNvPr id="149" name="Rectangle 21">
              <a:extLst>
                <a:ext uri="{FF2B5EF4-FFF2-40B4-BE49-F238E27FC236}">
                  <a16:creationId xmlns:a16="http://schemas.microsoft.com/office/drawing/2014/main" id="{36F4E629-27D6-DD4C-4954-61521BB5AA99}"/>
                </a:ext>
              </a:extLst>
            </p:cNvPr>
            <p:cNvSpPr/>
            <p:nvPr/>
          </p:nvSpPr>
          <p:spPr>
            <a:xfrm>
              <a:off x="9428163" y="4152751"/>
              <a:ext cx="1657944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0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0" name="Freeform 20">
              <a:extLst>
                <a:ext uri="{FF2B5EF4-FFF2-40B4-BE49-F238E27FC236}">
                  <a16:creationId xmlns:a16="http://schemas.microsoft.com/office/drawing/2014/main" id="{2480290A-41EC-D483-4B2B-DB80CB1B0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613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1" name="Freeform 21">
              <a:extLst>
                <a:ext uri="{FF2B5EF4-FFF2-40B4-BE49-F238E27FC236}">
                  <a16:creationId xmlns:a16="http://schemas.microsoft.com/office/drawing/2014/main" id="{2B300D93-F99A-70CA-8C32-460D60BC7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3" name="Freeform 23">
              <a:extLst>
                <a:ext uri="{FF2B5EF4-FFF2-40B4-BE49-F238E27FC236}">
                  <a16:creationId xmlns:a16="http://schemas.microsoft.com/office/drawing/2014/main" id="{306C8701-EF10-8814-6311-FE751CCF1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176" name="Группа 175">
            <a:extLst>
              <a:ext uri="{FF2B5EF4-FFF2-40B4-BE49-F238E27FC236}">
                <a16:creationId xmlns:a16="http://schemas.microsoft.com/office/drawing/2014/main" id="{E4D7ED61-36AC-F9C6-3445-7AC2CA08A747}"/>
              </a:ext>
            </a:extLst>
          </p:cNvPr>
          <p:cNvGrpSpPr/>
          <p:nvPr/>
        </p:nvGrpSpPr>
        <p:grpSpPr>
          <a:xfrm>
            <a:off x="224760" y="4071540"/>
            <a:ext cx="1890777" cy="1650871"/>
            <a:chOff x="224760" y="4071540"/>
            <a:chExt cx="1890777" cy="1650871"/>
          </a:xfrm>
        </p:grpSpPr>
        <p:sp>
          <p:nvSpPr>
            <p:cNvPr id="155" name="Rectangle 25">
              <a:extLst>
                <a:ext uri="{FF2B5EF4-FFF2-40B4-BE49-F238E27FC236}">
                  <a16:creationId xmlns:a16="http://schemas.microsoft.com/office/drawing/2014/main" id="{357B8EC3-E7A2-3FD0-5323-9095DE84CB4D}"/>
                </a:ext>
              </a:extLst>
            </p:cNvPr>
            <p:cNvSpPr/>
            <p:nvPr/>
          </p:nvSpPr>
          <p:spPr>
            <a:xfrm>
              <a:off x="224760" y="4152751"/>
              <a:ext cx="133788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6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56" name="Freeform 24">
              <a:extLst>
                <a:ext uri="{FF2B5EF4-FFF2-40B4-BE49-F238E27FC236}">
                  <a16:creationId xmlns:a16="http://schemas.microsoft.com/office/drawing/2014/main" id="{058E620E-8F51-3B75-4F91-7C445F7A6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594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8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8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7" name="Freeform 26">
              <a:extLst>
                <a:ext uri="{FF2B5EF4-FFF2-40B4-BE49-F238E27FC236}">
                  <a16:creationId xmlns:a16="http://schemas.microsoft.com/office/drawing/2014/main" id="{056FA1BB-B0A6-278B-B272-957B3EB05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5503178"/>
              <a:ext cx="54841" cy="38966"/>
            </a:xfrm>
            <a:custGeom>
              <a:avLst/>
              <a:gdLst>
                <a:gd name="T0" fmla="*/ 33 w 45"/>
                <a:gd name="T1" fmla="*/ 31 h 31"/>
                <a:gd name="T2" fmla="*/ 30 w 45"/>
                <a:gd name="T3" fmla="*/ 31 h 31"/>
                <a:gd name="T4" fmla="*/ 7 w 45"/>
                <a:gd name="T5" fmla="*/ 21 h 31"/>
                <a:gd name="T6" fmla="*/ 2 w 45"/>
                <a:gd name="T7" fmla="*/ 7 h 31"/>
                <a:gd name="T8" fmla="*/ 16 w 45"/>
                <a:gd name="T9" fmla="*/ 3 h 31"/>
                <a:gd name="T10" fmla="*/ 37 w 45"/>
                <a:gd name="T11" fmla="*/ 12 h 31"/>
                <a:gd name="T12" fmla="*/ 43 w 45"/>
                <a:gd name="T13" fmla="*/ 25 h 31"/>
                <a:gd name="T14" fmla="*/ 33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3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8"/>
                    <a:pt x="15" y="24"/>
                    <a:pt x="7" y="21"/>
                  </a:cubicBezTo>
                  <a:cubicBezTo>
                    <a:pt x="2" y="18"/>
                    <a:pt x="0" y="12"/>
                    <a:pt x="2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7" y="12"/>
                  </a:cubicBezTo>
                  <a:cubicBezTo>
                    <a:pt x="42" y="14"/>
                    <a:pt x="45" y="20"/>
                    <a:pt x="43" y="25"/>
                  </a:cubicBezTo>
                  <a:cubicBezTo>
                    <a:pt x="41" y="29"/>
                    <a:pt x="37" y="31"/>
                    <a:pt x="33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158" name="Freeform 27">
              <a:extLst>
                <a:ext uri="{FF2B5EF4-FFF2-40B4-BE49-F238E27FC236}">
                  <a16:creationId xmlns:a16="http://schemas.microsoft.com/office/drawing/2014/main" id="{B371D828-B986-6A13-2F8F-8C2AA9CE76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980" y="4071540"/>
              <a:ext cx="1014557" cy="1529774"/>
            </a:xfrm>
            <a:custGeom>
              <a:avLst/>
              <a:gdLst>
                <a:gd name="T0" fmla="*/ 198 w 828"/>
                <a:gd name="T1" fmla="*/ 1225 h 1245"/>
                <a:gd name="T2" fmla="*/ 255 w 828"/>
                <a:gd name="T3" fmla="*/ 1234 h 1245"/>
                <a:gd name="T4" fmla="*/ 149 w 828"/>
                <a:gd name="T5" fmla="*/ 1243 h 1245"/>
                <a:gd name="T6" fmla="*/ 151 w 828"/>
                <a:gd name="T7" fmla="*/ 1223 h 1245"/>
                <a:gd name="T8" fmla="*/ 282 w 828"/>
                <a:gd name="T9" fmla="*/ 1231 h 1245"/>
                <a:gd name="T10" fmla="*/ 341 w 828"/>
                <a:gd name="T11" fmla="*/ 1231 h 1245"/>
                <a:gd name="T12" fmla="*/ 55 w 828"/>
                <a:gd name="T13" fmla="*/ 1227 h 1245"/>
                <a:gd name="T14" fmla="*/ 60 w 828"/>
                <a:gd name="T15" fmla="*/ 1208 h 1245"/>
                <a:gd name="T16" fmla="*/ 375 w 828"/>
                <a:gd name="T17" fmla="*/ 1212 h 1245"/>
                <a:gd name="T18" fmla="*/ 433 w 828"/>
                <a:gd name="T19" fmla="*/ 1203 h 1245"/>
                <a:gd name="T20" fmla="*/ 463 w 828"/>
                <a:gd name="T21" fmla="*/ 1179 h 1245"/>
                <a:gd name="T22" fmla="*/ 519 w 828"/>
                <a:gd name="T23" fmla="*/ 1161 h 1245"/>
                <a:gd name="T24" fmla="*/ 546 w 828"/>
                <a:gd name="T25" fmla="*/ 1132 h 1245"/>
                <a:gd name="T26" fmla="*/ 598 w 828"/>
                <a:gd name="T27" fmla="*/ 1106 h 1245"/>
                <a:gd name="T28" fmla="*/ 620 w 828"/>
                <a:gd name="T29" fmla="*/ 1074 h 1245"/>
                <a:gd name="T30" fmla="*/ 668 w 828"/>
                <a:gd name="T31" fmla="*/ 1040 h 1245"/>
                <a:gd name="T32" fmla="*/ 685 w 828"/>
                <a:gd name="T33" fmla="*/ 1005 h 1245"/>
                <a:gd name="T34" fmla="*/ 726 w 828"/>
                <a:gd name="T35" fmla="*/ 964 h 1245"/>
                <a:gd name="T36" fmla="*/ 738 w 828"/>
                <a:gd name="T37" fmla="*/ 927 h 1245"/>
                <a:gd name="T38" fmla="*/ 773 w 828"/>
                <a:gd name="T39" fmla="*/ 880 h 1245"/>
                <a:gd name="T40" fmla="*/ 778 w 828"/>
                <a:gd name="T41" fmla="*/ 841 h 1245"/>
                <a:gd name="T42" fmla="*/ 806 w 828"/>
                <a:gd name="T43" fmla="*/ 790 h 1245"/>
                <a:gd name="T44" fmla="*/ 805 w 828"/>
                <a:gd name="T45" fmla="*/ 751 h 1245"/>
                <a:gd name="T46" fmla="*/ 824 w 828"/>
                <a:gd name="T47" fmla="*/ 695 h 1245"/>
                <a:gd name="T48" fmla="*/ 817 w 828"/>
                <a:gd name="T49" fmla="*/ 657 h 1245"/>
                <a:gd name="T50" fmla="*/ 817 w 828"/>
                <a:gd name="T51" fmla="*/ 590 h 1245"/>
                <a:gd name="T52" fmla="*/ 818 w 828"/>
                <a:gd name="T53" fmla="*/ 657 h 1245"/>
                <a:gd name="T54" fmla="*/ 805 w 828"/>
                <a:gd name="T55" fmla="*/ 496 h 1245"/>
                <a:gd name="T56" fmla="*/ 814 w 828"/>
                <a:gd name="T57" fmla="*/ 563 h 1245"/>
                <a:gd name="T58" fmla="*/ 778 w 828"/>
                <a:gd name="T59" fmla="*/ 405 h 1245"/>
                <a:gd name="T60" fmla="*/ 796 w 828"/>
                <a:gd name="T61" fmla="*/ 470 h 1245"/>
                <a:gd name="T62" fmla="*/ 738 w 828"/>
                <a:gd name="T63" fmla="*/ 320 h 1245"/>
                <a:gd name="T64" fmla="*/ 764 w 828"/>
                <a:gd name="T65" fmla="*/ 381 h 1245"/>
                <a:gd name="T66" fmla="*/ 685 w 828"/>
                <a:gd name="T67" fmla="*/ 241 h 1245"/>
                <a:gd name="T68" fmla="*/ 718 w 828"/>
                <a:gd name="T69" fmla="*/ 298 h 1245"/>
                <a:gd name="T70" fmla="*/ 620 w 828"/>
                <a:gd name="T71" fmla="*/ 172 h 1245"/>
                <a:gd name="T72" fmla="*/ 661 w 828"/>
                <a:gd name="T73" fmla="*/ 223 h 1245"/>
                <a:gd name="T74" fmla="*/ 546 w 828"/>
                <a:gd name="T75" fmla="*/ 114 h 1245"/>
                <a:gd name="T76" fmla="*/ 592 w 828"/>
                <a:gd name="T77" fmla="*/ 158 h 1245"/>
                <a:gd name="T78" fmla="*/ 464 w 828"/>
                <a:gd name="T79" fmla="*/ 67 h 1245"/>
                <a:gd name="T80" fmla="*/ 515 w 828"/>
                <a:gd name="T81" fmla="*/ 104 h 1245"/>
                <a:gd name="T82" fmla="*/ 375 w 828"/>
                <a:gd name="T83" fmla="*/ 34 h 1245"/>
                <a:gd name="T84" fmla="*/ 430 w 828"/>
                <a:gd name="T85" fmla="*/ 63 h 1245"/>
                <a:gd name="T86" fmla="*/ 55 w 828"/>
                <a:gd name="T87" fmla="*/ 19 h 1245"/>
                <a:gd name="T88" fmla="*/ 12 w 828"/>
                <a:gd name="T89" fmla="*/ 52 h 1245"/>
                <a:gd name="T90" fmla="*/ 283 w 828"/>
                <a:gd name="T91" fmla="*/ 15 h 1245"/>
                <a:gd name="T92" fmla="*/ 339 w 828"/>
                <a:gd name="T93" fmla="*/ 35 h 1245"/>
                <a:gd name="T94" fmla="*/ 150 w 828"/>
                <a:gd name="T95" fmla="*/ 3 h 1245"/>
                <a:gd name="T96" fmla="*/ 104 w 828"/>
                <a:gd name="T97" fmla="*/ 29 h 1245"/>
                <a:gd name="T98" fmla="*/ 198 w 828"/>
                <a:gd name="T99" fmla="*/ 21 h 1245"/>
                <a:gd name="T100" fmla="*/ 256 w 828"/>
                <a:gd name="T101" fmla="*/ 1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" h="1245">
                  <a:moveTo>
                    <a:pt x="205" y="1245"/>
                  </a:moveTo>
                  <a:cubicBezTo>
                    <a:pt x="202" y="1245"/>
                    <a:pt x="200" y="1245"/>
                    <a:pt x="197" y="1245"/>
                  </a:cubicBezTo>
                  <a:cubicBezTo>
                    <a:pt x="192" y="1245"/>
                    <a:pt x="188" y="1241"/>
                    <a:pt x="188" y="1235"/>
                  </a:cubicBezTo>
                  <a:cubicBezTo>
                    <a:pt x="188" y="1230"/>
                    <a:pt x="192" y="1225"/>
                    <a:pt x="198" y="1225"/>
                  </a:cubicBezTo>
                  <a:cubicBezTo>
                    <a:pt x="198" y="1225"/>
                    <a:pt x="198" y="1225"/>
                    <a:pt x="198" y="1225"/>
                  </a:cubicBezTo>
                  <a:cubicBezTo>
                    <a:pt x="200" y="1225"/>
                    <a:pt x="203" y="1225"/>
                    <a:pt x="206" y="1225"/>
                  </a:cubicBezTo>
                  <a:cubicBezTo>
                    <a:pt x="218" y="1225"/>
                    <a:pt x="231" y="1225"/>
                    <a:pt x="244" y="1224"/>
                  </a:cubicBezTo>
                  <a:cubicBezTo>
                    <a:pt x="250" y="1224"/>
                    <a:pt x="255" y="1228"/>
                    <a:pt x="255" y="1234"/>
                  </a:cubicBezTo>
                  <a:cubicBezTo>
                    <a:pt x="255" y="1239"/>
                    <a:pt x="251" y="1244"/>
                    <a:pt x="246" y="1244"/>
                  </a:cubicBezTo>
                  <a:cubicBezTo>
                    <a:pt x="232" y="1245"/>
                    <a:pt x="218" y="1245"/>
                    <a:pt x="205" y="1245"/>
                  </a:cubicBezTo>
                  <a:close/>
                  <a:moveTo>
                    <a:pt x="150" y="1243"/>
                  </a:moveTo>
                  <a:cubicBezTo>
                    <a:pt x="150" y="1243"/>
                    <a:pt x="150" y="1243"/>
                    <a:pt x="149" y="1243"/>
                  </a:cubicBezTo>
                  <a:cubicBezTo>
                    <a:pt x="134" y="1242"/>
                    <a:pt x="117" y="1239"/>
                    <a:pt x="102" y="1237"/>
                  </a:cubicBezTo>
                  <a:cubicBezTo>
                    <a:pt x="96" y="1236"/>
                    <a:pt x="93" y="1231"/>
                    <a:pt x="94" y="1225"/>
                  </a:cubicBezTo>
                  <a:cubicBezTo>
                    <a:pt x="95" y="1220"/>
                    <a:pt x="100" y="1216"/>
                    <a:pt x="105" y="1217"/>
                  </a:cubicBezTo>
                  <a:cubicBezTo>
                    <a:pt x="120" y="1220"/>
                    <a:pt x="136" y="1222"/>
                    <a:pt x="151" y="1223"/>
                  </a:cubicBezTo>
                  <a:cubicBezTo>
                    <a:pt x="157" y="1224"/>
                    <a:pt x="161" y="1228"/>
                    <a:pt x="160" y="1234"/>
                  </a:cubicBezTo>
                  <a:cubicBezTo>
                    <a:pt x="160" y="1239"/>
                    <a:pt x="156" y="1243"/>
                    <a:pt x="150" y="1243"/>
                  </a:cubicBezTo>
                  <a:close/>
                  <a:moveTo>
                    <a:pt x="292" y="1239"/>
                  </a:moveTo>
                  <a:cubicBezTo>
                    <a:pt x="287" y="1239"/>
                    <a:pt x="283" y="1236"/>
                    <a:pt x="282" y="1231"/>
                  </a:cubicBezTo>
                  <a:cubicBezTo>
                    <a:pt x="281" y="1225"/>
                    <a:pt x="285" y="1220"/>
                    <a:pt x="291" y="1220"/>
                  </a:cubicBezTo>
                  <a:cubicBezTo>
                    <a:pt x="306" y="1217"/>
                    <a:pt x="321" y="1215"/>
                    <a:pt x="336" y="1211"/>
                  </a:cubicBezTo>
                  <a:cubicBezTo>
                    <a:pt x="342" y="1210"/>
                    <a:pt x="347" y="1213"/>
                    <a:pt x="348" y="1219"/>
                  </a:cubicBezTo>
                  <a:cubicBezTo>
                    <a:pt x="349" y="1224"/>
                    <a:pt x="346" y="1230"/>
                    <a:pt x="341" y="1231"/>
                  </a:cubicBezTo>
                  <a:cubicBezTo>
                    <a:pt x="325" y="1234"/>
                    <a:pt x="309" y="1237"/>
                    <a:pt x="293" y="1239"/>
                  </a:cubicBezTo>
                  <a:cubicBezTo>
                    <a:pt x="293" y="1239"/>
                    <a:pt x="292" y="1239"/>
                    <a:pt x="292" y="1239"/>
                  </a:cubicBezTo>
                  <a:close/>
                  <a:moveTo>
                    <a:pt x="57" y="1227"/>
                  </a:moveTo>
                  <a:cubicBezTo>
                    <a:pt x="56" y="1227"/>
                    <a:pt x="56" y="1227"/>
                    <a:pt x="55" y="1227"/>
                  </a:cubicBezTo>
                  <a:cubicBezTo>
                    <a:pt x="39" y="1223"/>
                    <a:pt x="24" y="1219"/>
                    <a:pt x="9" y="1214"/>
                  </a:cubicBezTo>
                  <a:cubicBezTo>
                    <a:pt x="3" y="1212"/>
                    <a:pt x="0" y="1206"/>
                    <a:pt x="2" y="1201"/>
                  </a:cubicBezTo>
                  <a:cubicBezTo>
                    <a:pt x="4" y="1196"/>
                    <a:pt x="10" y="1193"/>
                    <a:pt x="15" y="1195"/>
                  </a:cubicBezTo>
                  <a:cubicBezTo>
                    <a:pt x="30" y="1200"/>
                    <a:pt x="45" y="1204"/>
                    <a:pt x="60" y="1208"/>
                  </a:cubicBezTo>
                  <a:cubicBezTo>
                    <a:pt x="65" y="1209"/>
                    <a:pt x="68" y="1214"/>
                    <a:pt x="67" y="1220"/>
                  </a:cubicBezTo>
                  <a:cubicBezTo>
                    <a:pt x="66" y="1224"/>
                    <a:pt x="62" y="1227"/>
                    <a:pt x="57" y="1227"/>
                  </a:cubicBezTo>
                  <a:close/>
                  <a:moveTo>
                    <a:pt x="384" y="1219"/>
                  </a:moveTo>
                  <a:cubicBezTo>
                    <a:pt x="380" y="1219"/>
                    <a:pt x="376" y="1216"/>
                    <a:pt x="375" y="1212"/>
                  </a:cubicBezTo>
                  <a:cubicBezTo>
                    <a:pt x="373" y="1207"/>
                    <a:pt x="376" y="1201"/>
                    <a:pt x="381" y="1199"/>
                  </a:cubicBezTo>
                  <a:cubicBezTo>
                    <a:pt x="396" y="1195"/>
                    <a:pt x="411" y="1190"/>
                    <a:pt x="425" y="1184"/>
                  </a:cubicBezTo>
                  <a:cubicBezTo>
                    <a:pt x="430" y="1182"/>
                    <a:pt x="436" y="1185"/>
                    <a:pt x="438" y="1190"/>
                  </a:cubicBezTo>
                  <a:cubicBezTo>
                    <a:pt x="440" y="1195"/>
                    <a:pt x="438" y="1201"/>
                    <a:pt x="433" y="1203"/>
                  </a:cubicBezTo>
                  <a:cubicBezTo>
                    <a:pt x="418" y="1209"/>
                    <a:pt x="402" y="1214"/>
                    <a:pt x="387" y="1219"/>
                  </a:cubicBezTo>
                  <a:cubicBezTo>
                    <a:pt x="386" y="1219"/>
                    <a:pt x="385" y="1219"/>
                    <a:pt x="384" y="1219"/>
                  </a:cubicBezTo>
                  <a:close/>
                  <a:moveTo>
                    <a:pt x="472" y="1185"/>
                  </a:moveTo>
                  <a:cubicBezTo>
                    <a:pt x="469" y="1185"/>
                    <a:pt x="465" y="1182"/>
                    <a:pt x="463" y="1179"/>
                  </a:cubicBezTo>
                  <a:cubicBezTo>
                    <a:pt x="461" y="1174"/>
                    <a:pt x="463" y="1168"/>
                    <a:pt x="468" y="1165"/>
                  </a:cubicBezTo>
                  <a:cubicBezTo>
                    <a:pt x="482" y="1159"/>
                    <a:pt x="496" y="1151"/>
                    <a:pt x="509" y="1144"/>
                  </a:cubicBezTo>
                  <a:cubicBezTo>
                    <a:pt x="514" y="1141"/>
                    <a:pt x="520" y="1142"/>
                    <a:pt x="523" y="1147"/>
                  </a:cubicBezTo>
                  <a:cubicBezTo>
                    <a:pt x="525" y="1152"/>
                    <a:pt x="524" y="1158"/>
                    <a:pt x="519" y="1161"/>
                  </a:cubicBezTo>
                  <a:cubicBezTo>
                    <a:pt x="505" y="1169"/>
                    <a:pt x="491" y="1177"/>
                    <a:pt x="477" y="1183"/>
                  </a:cubicBezTo>
                  <a:cubicBezTo>
                    <a:pt x="475" y="1184"/>
                    <a:pt x="474" y="1185"/>
                    <a:pt x="472" y="1185"/>
                  </a:cubicBezTo>
                  <a:close/>
                  <a:moveTo>
                    <a:pt x="554" y="1137"/>
                  </a:moveTo>
                  <a:cubicBezTo>
                    <a:pt x="551" y="1137"/>
                    <a:pt x="548" y="1135"/>
                    <a:pt x="546" y="1132"/>
                  </a:cubicBezTo>
                  <a:cubicBezTo>
                    <a:pt x="543" y="1128"/>
                    <a:pt x="544" y="1122"/>
                    <a:pt x="548" y="1119"/>
                  </a:cubicBezTo>
                  <a:cubicBezTo>
                    <a:pt x="561" y="1110"/>
                    <a:pt x="573" y="1100"/>
                    <a:pt x="585" y="1091"/>
                  </a:cubicBezTo>
                  <a:cubicBezTo>
                    <a:pt x="590" y="1087"/>
                    <a:pt x="596" y="1088"/>
                    <a:pt x="600" y="1092"/>
                  </a:cubicBezTo>
                  <a:cubicBezTo>
                    <a:pt x="603" y="1096"/>
                    <a:pt x="602" y="1103"/>
                    <a:pt x="598" y="1106"/>
                  </a:cubicBezTo>
                  <a:cubicBezTo>
                    <a:pt x="586" y="1116"/>
                    <a:pt x="573" y="1126"/>
                    <a:pt x="560" y="1135"/>
                  </a:cubicBezTo>
                  <a:cubicBezTo>
                    <a:pt x="558" y="1136"/>
                    <a:pt x="556" y="1137"/>
                    <a:pt x="554" y="1137"/>
                  </a:cubicBezTo>
                  <a:close/>
                  <a:moveTo>
                    <a:pt x="627" y="1077"/>
                  </a:moveTo>
                  <a:cubicBezTo>
                    <a:pt x="625" y="1077"/>
                    <a:pt x="622" y="1076"/>
                    <a:pt x="620" y="1074"/>
                  </a:cubicBezTo>
                  <a:cubicBezTo>
                    <a:pt x="616" y="1070"/>
                    <a:pt x="616" y="1064"/>
                    <a:pt x="620" y="1060"/>
                  </a:cubicBezTo>
                  <a:cubicBezTo>
                    <a:pt x="632" y="1049"/>
                    <a:pt x="643" y="1038"/>
                    <a:pt x="653" y="1027"/>
                  </a:cubicBezTo>
                  <a:cubicBezTo>
                    <a:pt x="657" y="1022"/>
                    <a:pt x="663" y="1022"/>
                    <a:pt x="667" y="1026"/>
                  </a:cubicBezTo>
                  <a:cubicBezTo>
                    <a:pt x="671" y="1030"/>
                    <a:pt x="671" y="1036"/>
                    <a:pt x="668" y="1040"/>
                  </a:cubicBezTo>
                  <a:cubicBezTo>
                    <a:pt x="657" y="1052"/>
                    <a:pt x="646" y="1063"/>
                    <a:pt x="634" y="1074"/>
                  </a:cubicBezTo>
                  <a:cubicBezTo>
                    <a:pt x="632" y="1076"/>
                    <a:pt x="630" y="1077"/>
                    <a:pt x="627" y="1077"/>
                  </a:cubicBezTo>
                  <a:close/>
                  <a:moveTo>
                    <a:pt x="691" y="1007"/>
                  </a:moveTo>
                  <a:cubicBezTo>
                    <a:pt x="688" y="1007"/>
                    <a:pt x="686" y="1006"/>
                    <a:pt x="685" y="1005"/>
                  </a:cubicBezTo>
                  <a:cubicBezTo>
                    <a:pt x="680" y="1002"/>
                    <a:pt x="679" y="995"/>
                    <a:pt x="683" y="991"/>
                  </a:cubicBezTo>
                  <a:cubicBezTo>
                    <a:pt x="692" y="979"/>
                    <a:pt x="701" y="966"/>
                    <a:pt x="710" y="953"/>
                  </a:cubicBezTo>
                  <a:cubicBezTo>
                    <a:pt x="713" y="948"/>
                    <a:pt x="719" y="947"/>
                    <a:pt x="724" y="950"/>
                  </a:cubicBezTo>
                  <a:cubicBezTo>
                    <a:pt x="728" y="953"/>
                    <a:pt x="729" y="959"/>
                    <a:pt x="726" y="964"/>
                  </a:cubicBezTo>
                  <a:cubicBezTo>
                    <a:pt x="718" y="977"/>
                    <a:pt x="708" y="990"/>
                    <a:pt x="699" y="1003"/>
                  </a:cubicBezTo>
                  <a:cubicBezTo>
                    <a:pt x="697" y="1006"/>
                    <a:pt x="694" y="1007"/>
                    <a:pt x="691" y="1007"/>
                  </a:cubicBezTo>
                  <a:close/>
                  <a:moveTo>
                    <a:pt x="742" y="928"/>
                  </a:moveTo>
                  <a:cubicBezTo>
                    <a:pt x="741" y="928"/>
                    <a:pt x="739" y="928"/>
                    <a:pt x="738" y="927"/>
                  </a:cubicBezTo>
                  <a:cubicBezTo>
                    <a:pt x="733" y="924"/>
                    <a:pt x="731" y="918"/>
                    <a:pt x="734" y="913"/>
                  </a:cubicBezTo>
                  <a:cubicBezTo>
                    <a:pt x="741" y="900"/>
                    <a:pt x="748" y="886"/>
                    <a:pt x="755" y="872"/>
                  </a:cubicBezTo>
                  <a:cubicBezTo>
                    <a:pt x="757" y="867"/>
                    <a:pt x="763" y="864"/>
                    <a:pt x="768" y="867"/>
                  </a:cubicBezTo>
                  <a:cubicBezTo>
                    <a:pt x="773" y="869"/>
                    <a:pt x="775" y="875"/>
                    <a:pt x="773" y="880"/>
                  </a:cubicBezTo>
                  <a:cubicBezTo>
                    <a:pt x="766" y="894"/>
                    <a:pt x="759" y="909"/>
                    <a:pt x="751" y="923"/>
                  </a:cubicBezTo>
                  <a:cubicBezTo>
                    <a:pt x="749" y="926"/>
                    <a:pt x="746" y="928"/>
                    <a:pt x="742" y="928"/>
                  </a:cubicBezTo>
                  <a:close/>
                  <a:moveTo>
                    <a:pt x="781" y="842"/>
                  </a:moveTo>
                  <a:cubicBezTo>
                    <a:pt x="780" y="842"/>
                    <a:pt x="779" y="842"/>
                    <a:pt x="778" y="841"/>
                  </a:cubicBezTo>
                  <a:cubicBezTo>
                    <a:pt x="773" y="839"/>
                    <a:pt x="770" y="834"/>
                    <a:pt x="772" y="829"/>
                  </a:cubicBezTo>
                  <a:cubicBezTo>
                    <a:pt x="777" y="814"/>
                    <a:pt x="782" y="799"/>
                    <a:pt x="786" y="784"/>
                  </a:cubicBezTo>
                  <a:cubicBezTo>
                    <a:pt x="788" y="779"/>
                    <a:pt x="793" y="776"/>
                    <a:pt x="799" y="777"/>
                  </a:cubicBezTo>
                  <a:cubicBezTo>
                    <a:pt x="804" y="779"/>
                    <a:pt x="807" y="784"/>
                    <a:pt x="806" y="790"/>
                  </a:cubicBezTo>
                  <a:cubicBezTo>
                    <a:pt x="801" y="805"/>
                    <a:pt x="796" y="820"/>
                    <a:pt x="791" y="835"/>
                  </a:cubicBezTo>
                  <a:cubicBezTo>
                    <a:pt x="789" y="839"/>
                    <a:pt x="786" y="842"/>
                    <a:pt x="781" y="842"/>
                  </a:cubicBezTo>
                  <a:close/>
                  <a:moveTo>
                    <a:pt x="807" y="751"/>
                  </a:moveTo>
                  <a:cubicBezTo>
                    <a:pt x="806" y="751"/>
                    <a:pt x="805" y="751"/>
                    <a:pt x="805" y="751"/>
                  </a:cubicBezTo>
                  <a:cubicBezTo>
                    <a:pt x="799" y="750"/>
                    <a:pt x="796" y="744"/>
                    <a:pt x="797" y="739"/>
                  </a:cubicBezTo>
                  <a:cubicBezTo>
                    <a:pt x="800" y="724"/>
                    <a:pt x="802" y="708"/>
                    <a:pt x="804" y="693"/>
                  </a:cubicBezTo>
                  <a:cubicBezTo>
                    <a:pt x="805" y="688"/>
                    <a:pt x="810" y="684"/>
                    <a:pt x="815" y="684"/>
                  </a:cubicBezTo>
                  <a:cubicBezTo>
                    <a:pt x="821" y="685"/>
                    <a:pt x="825" y="690"/>
                    <a:pt x="824" y="695"/>
                  </a:cubicBezTo>
                  <a:cubicBezTo>
                    <a:pt x="822" y="711"/>
                    <a:pt x="820" y="727"/>
                    <a:pt x="817" y="743"/>
                  </a:cubicBezTo>
                  <a:cubicBezTo>
                    <a:pt x="816" y="748"/>
                    <a:pt x="811" y="751"/>
                    <a:pt x="807" y="751"/>
                  </a:cubicBezTo>
                  <a:close/>
                  <a:moveTo>
                    <a:pt x="818" y="657"/>
                  </a:moveTo>
                  <a:cubicBezTo>
                    <a:pt x="817" y="657"/>
                    <a:pt x="817" y="657"/>
                    <a:pt x="817" y="657"/>
                  </a:cubicBezTo>
                  <a:cubicBezTo>
                    <a:pt x="812" y="657"/>
                    <a:pt x="807" y="652"/>
                    <a:pt x="808" y="647"/>
                  </a:cubicBezTo>
                  <a:cubicBezTo>
                    <a:pt x="808" y="639"/>
                    <a:pt x="808" y="631"/>
                    <a:pt x="808" y="623"/>
                  </a:cubicBezTo>
                  <a:cubicBezTo>
                    <a:pt x="808" y="615"/>
                    <a:pt x="808" y="608"/>
                    <a:pt x="808" y="600"/>
                  </a:cubicBezTo>
                  <a:cubicBezTo>
                    <a:pt x="807" y="595"/>
                    <a:pt x="812" y="590"/>
                    <a:pt x="817" y="590"/>
                  </a:cubicBezTo>
                  <a:cubicBezTo>
                    <a:pt x="823" y="590"/>
                    <a:pt x="827" y="594"/>
                    <a:pt x="828" y="599"/>
                  </a:cubicBezTo>
                  <a:cubicBezTo>
                    <a:pt x="828" y="607"/>
                    <a:pt x="828" y="615"/>
                    <a:pt x="828" y="623"/>
                  </a:cubicBezTo>
                  <a:cubicBezTo>
                    <a:pt x="828" y="631"/>
                    <a:pt x="828" y="639"/>
                    <a:pt x="828" y="647"/>
                  </a:cubicBezTo>
                  <a:cubicBezTo>
                    <a:pt x="827" y="653"/>
                    <a:pt x="823" y="657"/>
                    <a:pt x="818" y="657"/>
                  </a:cubicBezTo>
                  <a:close/>
                  <a:moveTo>
                    <a:pt x="814" y="563"/>
                  </a:moveTo>
                  <a:cubicBezTo>
                    <a:pt x="809" y="563"/>
                    <a:pt x="805" y="559"/>
                    <a:pt x="804" y="554"/>
                  </a:cubicBezTo>
                  <a:cubicBezTo>
                    <a:pt x="802" y="538"/>
                    <a:pt x="800" y="523"/>
                    <a:pt x="797" y="508"/>
                  </a:cubicBezTo>
                  <a:cubicBezTo>
                    <a:pt x="796" y="502"/>
                    <a:pt x="800" y="497"/>
                    <a:pt x="805" y="496"/>
                  </a:cubicBezTo>
                  <a:cubicBezTo>
                    <a:pt x="810" y="495"/>
                    <a:pt x="816" y="499"/>
                    <a:pt x="817" y="504"/>
                  </a:cubicBezTo>
                  <a:cubicBezTo>
                    <a:pt x="820" y="520"/>
                    <a:pt x="822" y="536"/>
                    <a:pt x="824" y="551"/>
                  </a:cubicBezTo>
                  <a:cubicBezTo>
                    <a:pt x="825" y="557"/>
                    <a:pt x="821" y="562"/>
                    <a:pt x="815" y="563"/>
                  </a:cubicBezTo>
                  <a:cubicBezTo>
                    <a:pt x="815" y="563"/>
                    <a:pt x="814" y="563"/>
                    <a:pt x="814" y="563"/>
                  </a:cubicBezTo>
                  <a:close/>
                  <a:moveTo>
                    <a:pt x="796" y="470"/>
                  </a:moveTo>
                  <a:cubicBezTo>
                    <a:pt x="792" y="470"/>
                    <a:pt x="788" y="467"/>
                    <a:pt x="786" y="462"/>
                  </a:cubicBezTo>
                  <a:cubicBezTo>
                    <a:pt x="782" y="448"/>
                    <a:pt x="778" y="433"/>
                    <a:pt x="772" y="418"/>
                  </a:cubicBezTo>
                  <a:cubicBezTo>
                    <a:pt x="770" y="413"/>
                    <a:pt x="773" y="407"/>
                    <a:pt x="778" y="405"/>
                  </a:cubicBezTo>
                  <a:cubicBezTo>
                    <a:pt x="784" y="403"/>
                    <a:pt x="789" y="406"/>
                    <a:pt x="791" y="411"/>
                  </a:cubicBezTo>
                  <a:cubicBezTo>
                    <a:pt x="797" y="426"/>
                    <a:pt x="801" y="442"/>
                    <a:pt x="806" y="457"/>
                  </a:cubicBezTo>
                  <a:cubicBezTo>
                    <a:pt x="807" y="462"/>
                    <a:pt x="804" y="468"/>
                    <a:pt x="799" y="469"/>
                  </a:cubicBezTo>
                  <a:cubicBezTo>
                    <a:pt x="798" y="470"/>
                    <a:pt x="797" y="470"/>
                    <a:pt x="796" y="470"/>
                  </a:cubicBezTo>
                  <a:close/>
                  <a:moveTo>
                    <a:pt x="764" y="381"/>
                  </a:moveTo>
                  <a:cubicBezTo>
                    <a:pt x="760" y="381"/>
                    <a:pt x="756" y="379"/>
                    <a:pt x="755" y="375"/>
                  </a:cubicBezTo>
                  <a:cubicBezTo>
                    <a:pt x="748" y="361"/>
                    <a:pt x="741" y="347"/>
                    <a:pt x="734" y="333"/>
                  </a:cubicBezTo>
                  <a:cubicBezTo>
                    <a:pt x="731" y="329"/>
                    <a:pt x="733" y="322"/>
                    <a:pt x="738" y="320"/>
                  </a:cubicBezTo>
                  <a:cubicBezTo>
                    <a:pt x="743" y="317"/>
                    <a:pt x="749" y="319"/>
                    <a:pt x="752" y="324"/>
                  </a:cubicBezTo>
                  <a:cubicBezTo>
                    <a:pt x="759" y="338"/>
                    <a:pt x="766" y="352"/>
                    <a:pt x="773" y="367"/>
                  </a:cubicBezTo>
                  <a:cubicBezTo>
                    <a:pt x="775" y="372"/>
                    <a:pt x="773" y="378"/>
                    <a:pt x="768" y="380"/>
                  </a:cubicBezTo>
                  <a:cubicBezTo>
                    <a:pt x="767" y="381"/>
                    <a:pt x="765" y="381"/>
                    <a:pt x="764" y="381"/>
                  </a:cubicBezTo>
                  <a:close/>
                  <a:moveTo>
                    <a:pt x="718" y="298"/>
                  </a:moveTo>
                  <a:cubicBezTo>
                    <a:pt x="715" y="298"/>
                    <a:pt x="712" y="296"/>
                    <a:pt x="710" y="293"/>
                  </a:cubicBezTo>
                  <a:cubicBezTo>
                    <a:pt x="702" y="281"/>
                    <a:pt x="692" y="268"/>
                    <a:pt x="683" y="256"/>
                  </a:cubicBezTo>
                  <a:cubicBezTo>
                    <a:pt x="680" y="251"/>
                    <a:pt x="681" y="245"/>
                    <a:pt x="685" y="241"/>
                  </a:cubicBezTo>
                  <a:cubicBezTo>
                    <a:pt x="689" y="238"/>
                    <a:pt x="696" y="239"/>
                    <a:pt x="699" y="243"/>
                  </a:cubicBezTo>
                  <a:cubicBezTo>
                    <a:pt x="709" y="256"/>
                    <a:pt x="718" y="269"/>
                    <a:pt x="727" y="282"/>
                  </a:cubicBezTo>
                  <a:cubicBezTo>
                    <a:pt x="730" y="287"/>
                    <a:pt x="729" y="293"/>
                    <a:pt x="724" y="296"/>
                  </a:cubicBezTo>
                  <a:cubicBezTo>
                    <a:pt x="722" y="297"/>
                    <a:pt x="720" y="298"/>
                    <a:pt x="718" y="298"/>
                  </a:cubicBezTo>
                  <a:close/>
                  <a:moveTo>
                    <a:pt x="661" y="223"/>
                  </a:moveTo>
                  <a:cubicBezTo>
                    <a:pt x="658" y="223"/>
                    <a:pt x="655" y="222"/>
                    <a:pt x="653" y="220"/>
                  </a:cubicBezTo>
                  <a:cubicBezTo>
                    <a:pt x="643" y="208"/>
                    <a:pt x="632" y="197"/>
                    <a:pt x="621" y="186"/>
                  </a:cubicBezTo>
                  <a:cubicBezTo>
                    <a:pt x="617" y="183"/>
                    <a:pt x="617" y="176"/>
                    <a:pt x="620" y="172"/>
                  </a:cubicBezTo>
                  <a:cubicBezTo>
                    <a:pt x="624" y="168"/>
                    <a:pt x="631" y="168"/>
                    <a:pt x="635" y="172"/>
                  </a:cubicBezTo>
                  <a:cubicBezTo>
                    <a:pt x="646" y="183"/>
                    <a:pt x="657" y="195"/>
                    <a:pt x="668" y="206"/>
                  </a:cubicBezTo>
                  <a:cubicBezTo>
                    <a:pt x="672" y="210"/>
                    <a:pt x="671" y="217"/>
                    <a:pt x="667" y="221"/>
                  </a:cubicBezTo>
                  <a:cubicBezTo>
                    <a:pt x="665" y="222"/>
                    <a:pt x="663" y="223"/>
                    <a:pt x="661" y="223"/>
                  </a:cubicBezTo>
                  <a:close/>
                  <a:moveTo>
                    <a:pt x="592" y="158"/>
                  </a:moveTo>
                  <a:cubicBezTo>
                    <a:pt x="590" y="158"/>
                    <a:pt x="588" y="157"/>
                    <a:pt x="586" y="156"/>
                  </a:cubicBezTo>
                  <a:cubicBezTo>
                    <a:pt x="574" y="146"/>
                    <a:pt x="561" y="137"/>
                    <a:pt x="549" y="128"/>
                  </a:cubicBezTo>
                  <a:cubicBezTo>
                    <a:pt x="544" y="125"/>
                    <a:pt x="543" y="118"/>
                    <a:pt x="546" y="114"/>
                  </a:cubicBezTo>
                  <a:cubicBezTo>
                    <a:pt x="549" y="109"/>
                    <a:pt x="556" y="108"/>
                    <a:pt x="560" y="111"/>
                  </a:cubicBezTo>
                  <a:cubicBezTo>
                    <a:pt x="573" y="120"/>
                    <a:pt x="586" y="130"/>
                    <a:pt x="599" y="140"/>
                  </a:cubicBezTo>
                  <a:cubicBezTo>
                    <a:pt x="603" y="144"/>
                    <a:pt x="603" y="150"/>
                    <a:pt x="600" y="154"/>
                  </a:cubicBezTo>
                  <a:cubicBezTo>
                    <a:pt x="598" y="157"/>
                    <a:pt x="595" y="158"/>
                    <a:pt x="592" y="158"/>
                  </a:cubicBezTo>
                  <a:close/>
                  <a:moveTo>
                    <a:pt x="515" y="104"/>
                  </a:moveTo>
                  <a:cubicBezTo>
                    <a:pt x="513" y="104"/>
                    <a:pt x="511" y="104"/>
                    <a:pt x="510" y="103"/>
                  </a:cubicBezTo>
                  <a:cubicBezTo>
                    <a:pt x="496" y="95"/>
                    <a:pt x="482" y="87"/>
                    <a:pt x="469" y="81"/>
                  </a:cubicBezTo>
                  <a:cubicBezTo>
                    <a:pt x="464" y="78"/>
                    <a:pt x="462" y="72"/>
                    <a:pt x="464" y="67"/>
                  </a:cubicBezTo>
                  <a:cubicBezTo>
                    <a:pt x="466" y="62"/>
                    <a:pt x="472" y="60"/>
                    <a:pt x="477" y="63"/>
                  </a:cubicBezTo>
                  <a:cubicBezTo>
                    <a:pt x="492" y="70"/>
                    <a:pt x="506" y="77"/>
                    <a:pt x="520" y="85"/>
                  </a:cubicBezTo>
                  <a:cubicBezTo>
                    <a:pt x="524" y="88"/>
                    <a:pt x="526" y="94"/>
                    <a:pt x="523" y="99"/>
                  </a:cubicBezTo>
                  <a:cubicBezTo>
                    <a:pt x="521" y="102"/>
                    <a:pt x="518" y="104"/>
                    <a:pt x="515" y="104"/>
                  </a:cubicBezTo>
                  <a:close/>
                  <a:moveTo>
                    <a:pt x="430" y="63"/>
                  </a:moveTo>
                  <a:cubicBezTo>
                    <a:pt x="428" y="63"/>
                    <a:pt x="427" y="63"/>
                    <a:pt x="426" y="62"/>
                  </a:cubicBezTo>
                  <a:cubicBezTo>
                    <a:pt x="412" y="56"/>
                    <a:pt x="397" y="51"/>
                    <a:pt x="382" y="47"/>
                  </a:cubicBezTo>
                  <a:cubicBezTo>
                    <a:pt x="377" y="45"/>
                    <a:pt x="374" y="40"/>
                    <a:pt x="375" y="34"/>
                  </a:cubicBezTo>
                  <a:cubicBezTo>
                    <a:pt x="377" y="29"/>
                    <a:pt x="383" y="26"/>
                    <a:pt x="388" y="28"/>
                  </a:cubicBezTo>
                  <a:cubicBezTo>
                    <a:pt x="403" y="32"/>
                    <a:pt x="418" y="38"/>
                    <a:pt x="433" y="43"/>
                  </a:cubicBezTo>
                  <a:cubicBezTo>
                    <a:pt x="438" y="45"/>
                    <a:pt x="441" y="51"/>
                    <a:pt x="439" y="56"/>
                  </a:cubicBezTo>
                  <a:cubicBezTo>
                    <a:pt x="437" y="60"/>
                    <a:pt x="434" y="63"/>
                    <a:pt x="430" y="63"/>
                  </a:cubicBezTo>
                  <a:close/>
                  <a:moveTo>
                    <a:pt x="12" y="52"/>
                  </a:moveTo>
                  <a:cubicBezTo>
                    <a:pt x="8" y="52"/>
                    <a:pt x="4" y="49"/>
                    <a:pt x="3" y="45"/>
                  </a:cubicBezTo>
                  <a:cubicBezTo>
                    <a:pt x="1" y="39"/>
                    <a:pt x="4" y="34"/>
                    <a:pt x="9" y="32"/>
                  </a:cubicBezTo>
                  <a:cubicBezTo>
                    <a:pt x="24" y="27"/>
                    <a:pt x="40" y="23"/>
                    <a:pt x="55" y="19"/>
                  </a:cubicBezTo>
                  <a:cubicBezTo>
                    <a:pt x="61" y="17"/>
                    <a:pt x="66" y="21"/>
                    <a:pt x="68" y="26"/>
                  </a:cubicBezTo>
                  <a:cubicBezTo>
                    <a:pt x="69" y="31"/>
                    <a:pt x="66" y="37"/>
                    <a:pt x="60" y="38"/>
                  </a:cubicBezTo>
                  <a:cubicBezTo>
                    <a:pt x="45" y="42"/>
                    <a:pt x="30" y="46"/>
                    <a:pt x="16" y="51"/>
                  </a:cubicBezTo>
                  <a:cubicBezTo>
                    <a:pt x="15" y="51"/>
                    <a:pt x="13" y="52"/>
                    <a:pt x="12" y="52"/>
                  </a:cubicBezTo>
                  <a:close/>
                  <a:moveTo>
                    <a:pt x="339" y="35"/>
                  </a:moveTo>
                  <a:cubicBezTo>
                    <a:pt x="339" y="35"/>
                    <a:pt x="338" y="35"/>
                    <a:pt x="337" y="35"/>
                  </a:cubicBezTo>
                  <a:cubicBezTo>
                    <a:pt x="322" y="32"/>
                    <a:pt x="307" y="29"/>
                    <a:pt x="291" y="27"/>
                  </a:cubicBezTo>
                  <a:cubicBezTo>
                    <a:pt x="286" y="26"/>
                    <a:pt x="282" y="21"/>
                    <a:pt x="283" y="15"/>
                  </a:cubicBezTo>
                  <a:cubicBezTo>
                    <a:pt x="284" y="10"/>
                    <a:pt x="289" y="6"/>
                    <a:pt x="294" y="7"/>
                  </a:cubicBezTo>
                  <a:cubicBezTo>
                    <a:pt x="310" y="9"/>
                    <a:pt x="326" y="12"/>
                    <a:pt x="341" y="15"/>
                  </a:cubicBezTo>
                  <a:cubicBezTo>
                    <a:pt x="347" y="17"/>
                    <a:pt x="350" y="22"/>
                    <a:pt x="349" y="27"/>
                  </a:cubicBezTo>
                  <a:cubicBezTo>
                    <a:pt x="348" y="32"/>
                    <a:pt x="344" y="35"/>
                    <a:pt x="339" y="35"/>
                  </a:cubicBezTo>
                  <a:close/>
                  <a:moveTo>
                    <a:pt x="104" y="29"/>
                  </a:moveTo>
                  <a:cubicBezTo>
                    <a:pt x="99" y="29"/>
                    <a:pt x="95" y="25"/>
                    <a:pt x="94" y="20"/>
                  </a:cubicBezTo>
                  <a:cubicBezTo>
                    <a:pt x="93" y="15"/>
                    <a:pt x="97" y="10"/>
                    <a:pt x="103" y="9"/>
                  </a:cubicBezTo>
                  <a:cubicBezTo>
                    <a:pt x="118" y="6"/>
                    <a:pt x="134" y="4"/>
                    <a:pt x="150" y="3"/>
                  </a:cubicBezTo>
                  <a:cubicBezTo>
                    <a:pt x="156" y="2"/>
                    <a:pt x="161" y="6"/>
                    <a:pt x="161" y="12"/>
                  </a:cubicBezTo>
                  <a:cubicBezTo>
                    <a:pt x="162" y="17"/>
                    <a:pt x="158" y="22"/>
                    <a:pt x="152" y="23"/>
                  </a:cubicBezTo>
                  <a:cubicBezTo>
                    <a:pt x="137" y="24"/>
                    <a:pt x="121" y="26"/>
                    <a:pt x="106" y="29"/>
                  </a:cubicBezTo>
                  <a:cubicBezTo>
                    <a:pt x="105" y="29"/>
                    <a:pt x="105" y="29"/>
                    <a:pt x="104" y="29"/>
                  </a:cubicBezTo>
                  <a:close/>
                  <a:moveTo>
                    <a:pt x="246" y="22"/>
                  </a:moveTo>
                  <a:cubicBezTo>
                    <a:pt x="246" y="22"/>
                    <a:pt x="245" y="22"/>
                    <a:pt x="245" y="22"/>
                  </a:cubicBezTo>
                  <a:cubicBezTo>
                    <a:pt x="230" y="21"/>
                    <a:pt x="214" y="20"/>
                    <a:pt x="199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3" y="21"/>
                    <a:pt x="188" y="16"/>
                    <a:pt x="188" y="11"/>
                  </a:cubicBezTo>
                  <a:cubicBezTo>
                    <a:pt x="188" y="5"/>
                    <a:pt x="193" y="1"/>
                    <a:pt x="198" y="1"/>
                  </a:cubicBezTo>
                  <a:cubicBezTo>
                    <a:pt x="214" y="0"/>
                    <a:pt x="230" y="1"/>
                    <a:pt x="246" y="2"/>
                  </a:cubicBezTo>
                  <a:cubicBezTo>
                    <a:pt x="252" y="2"/>
                    <a:pt x="256" y="7"/>
                    <a:pt x="256" y="12"/>
                  </a:cubicBezTo>
                  <a:cubicBezTo>
                    <a:pt x="255" y="18"/>
                    <a:pt x="251" y="22"/>
                    <a:pt x="246" y="22"/>
                  </a:cubicBezTo>
                  <a:close/>
                </a:path>
              </a:pathLst>
            </a:custGeom>
            <a:solidFill>
              <a:srgbClr val="C0DC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159" name="Freeform 28">
              <a:extLst>
                <a:ext uri="{FF2B5EF4-FFF2-40B4-BE49-F238E27FC236}">
                  <a16:creationId xmlns:a16="http://schemas.microsoft.com/office/drawing/2014/main" id="{46FFBFAB-5BA1-161C-28D1-DC9512515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2 w 45"/>
                <a:gd name="T3" fmla="*/ 26 h 31"/>
                <a:gd name="T4" fmla="*/ 7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7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4" y="29"/>
                    <a:pt x="2" y="26"/>
                  </a:cubicBezTo>
                  <a:cubicBezTo>
                    <a:pt x="0" y="21"/>
                    <a:pt x="2" y="15"/>
                    <a:pt x="7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3"/>
                    <a:pt x="43" y="8"/>
                  </a:cubicBezTo>
                  <a:cubicBezTo>
                    <a:pt x="45" y="13"/>
                    <a:pt x="42" y="19"/>
                    <a:pt x="37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4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id="{CF73DFC4-F83D-3C5D-93E6-DC53F4B396E4}"/>
              </a:ext>
            </a:extLst>
          </p:cNvPr>
          <p:cNvSpPr txBox="1"/>
          <p:nvPr/>
        </p:nvSpPr>
        <p:spPr>
          <a:xfrm>
            <a:off x="107494" y="3248119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скусствен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нтеллект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4D249C36-FF51-0447-B15B-31D335C9FD3C}"/>
              </a:ext>
            </a:extLst>
          </p:cNvPr>
          <p:cNvSpPr txBox="1"/>
          <p:nvPr/>
        </p:nvSpPr>
        <p:spPr>
          <a:xfrm>
            <a:off x="2766315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иксельный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29C65B57-3AA0-D6FE-C94C-E370A4EDD7B9}"/>
              </a:ext>
            </a:extLst>
          </p:cNvPr>
          <p:cNvSpPr txBox="1"/>
          <p:nvPr/>
        </p:nvSpPr>
        <p:spPr>
          <a:xfrm>
            <a:off x="495374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Яркие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цвета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395AFBD5-9B99-F345-FDFD-93A5D5B71B8B}"/>
              </a:ext>
            </a:extLst>
          </p:cNvPr>
          <p:cNvSpPr txBox="1"/>
          <p:nvPr/>
        </p:nvSpPr>
        <p:spPr>
          <a:xfrm>
            <a:off x="7433291" y="3248119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Ретр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иль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5313716C-B7B8-C6FF-ACED-F428CB2ACDAA}"/>
              </a:ext>
            </a:extLst>
          </p:cNvPr>
          <p:cNvSpPr txBox="1"/>
          <p:nvPr/>
        </p:nvSpPr>
        <p:spPr>
          <a:xfrm>
            <a:off x="9798659" y="3248119"/>
            <a:ext cx="2284517" cy="352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Минимализм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8570A41B-47BE-1ADC-53D4-B5C4C87BF32A}"/>
              </a:ext>
            </a:extLst>
          </p:cNvPr>
          <p:cNvSpPr txBox="1"/>
          <p:nvPr/>
        </p:nvSpPr>
        <p:spPr>
          <a:xfrm>
            <a:off x="107494" y="5684038"/>
            <a:ext cx="281136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Перегружен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композиция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900F5795-34FF-8E0C-5755-2A87841E1FE5}"/>
              </a:ext>
            </a:extLst>
          </p:cNvPr>
          <p:cNvSpPr txBox="1"/>
          <p:nvPr/>
        </p:nvSpPr>
        <p:spPr>
          <a:xfrm>
            <a:off x="2766315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Нестандартная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ипографика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6DD45F9-5584-5D17-58D5-4194B430A37C}"/>
              </a:ext>
            </a:extLst>
          </p:cNvPr>
          <p:cNvSpPr txBox="1"/>
          <p:nvPr/>
        </p:nvSpPr>
        <p:spPr>
          <a:xfrm>
            <a:off x="495374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Черн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белый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90A2FE5A-C11E-3349-F29A-A3A4CDFD8145}"/>
              </a:ext>
            </a:extLst>
          </p:cNvPr>
          <p:cNvSpPr txBox="1"/>
          <p:nvPr/>
        </p:nvSpPr>
        <p:spPr>
          <a:xfrm>
            <a:off x="7433291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Стекло-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дизайн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2ECDF986-333B-B886-9B05-C45E5BC23EDE}"/>
              </a:ext>
            </a:extLst>
          </p:cNvPr>
          <p:cNvSpPr txBox="1"/>
          <p:nvPr/>
        </p:nvSpPr>
        <p:spPr>
          <a:xfrm>
            <a:off x="9798659" y="5684038"/>
            <a:ext cx="2284517" cy="63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Текстуры</a:t>
            </a:r>
            <a:b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latin typeface="Unbounded" panose="020B0305040102020103" pitchFamily="34" charset="0"/>
                <a:cs typeface="Times New Roman" panose="02020603050405020304" pitchFamily="18" charset="0"/>
              </a:rPr>
              <a:t>и фактуры</a:t>
            </a:r>
          </a:p>
        </p:txBody>
      </p:sp>
      <p:sp>
        <p:nvSpPr>
          <p:cNvPr id="4" name="!!12">
            <a:extLst>
              <a:ext uri="{FF2B5EF4-FFF2-40B4-BE49-F238E27FC236}">
                <a16:creationId xmlns:a16="http://schemas.microsoft.com/office/drawing/2014/main" id="{CDDE1027-7079-FBC4-1DEC-CFACC1600C57}"/>
              </a:ext>
            </a:extLst>
          </p:cNvPr>
          <p:cNvSpPr>
            <a:spLocks noEditPoints="1"/>
          </p:cNvSpPr>
          <p:nvPr/>
        </p:nvSpPr>
        <p:spPr bwMode="auto">
          <a:xfrm>
            <a:off x="-5762177" y="-497437"/>
            <a:ext cx="5017787" cy="8132663"/>
          </a:xfrm>
          <a:custGeom>
            <a:avLst/>
            <a:gdLst>
              <a:gd name="T0" fmla="*/ 197 w 828"/>
              <a:gd name="T1" fmla="*/ 1225 h 1245"/>
              <a:gd name="T2" fmla="*/ 245 w 828"/>
              <a:gd name="T3" fmla="*/ 1244 h 1245"/>
              <a:gd name="T4" fmla="*/ 102 w 828"/>
              <a:gd name="T5" fmla="*/ 1237 h 1245"/>
              <a:gd name="T6" fmla="*/ 160 w 828"/>
              <a:gd name="T7" fmla="*/ 1234 h 1245"/>
              <a:gd name="T8" fmla="*/ 290 w 828"/>
              <a:gd name="T9" fmla="*/ 1219 h 1245"/>
              <a:gd name="T10" fmla="*/ 293 w 828"/>
              <a:gd name="T11" fmla="*/ 1239 h 1245"/>
              <a:gd name="T12" fmla="*/ 8 w 828"/>
              <a:gd name="T13" fmla="*/ 1214 h 1245"/>
              <a:gd name="T14" fmla="*/ 67 w 828"/>
              <a:gd name="T15" fmla="*/ 1220 h 1245"/>
              <a:gd name="T16" fmla="*/ 381 w 828"/>
              <a:gd name="T17" fmla="*/ 1199 h 1245"/>
              <a:gd name="T18" fmla="*/ 387 w 828"/>
              <a:gd name="T19" fmla="*/ 1218 h 1245"/>
              <a:gd name="T20" fmla="*/ 468 w 828"/>
              <a:gd name="T21" fmla="*/ 1165 h 1245"/>
              <a:gd name="T22" fmla="*/ 477 w 828"/>
              <a:gd name="T23" fmla="*/ 1183 h 1245"/>
              <a:gd name="T24" fmla="*/ 548 w 828"/>
              <a:gd name="T25" fmla="*/ 1119 h 1245"/>
              <a:gd name="T26" fmla="*/ 560 w 828"/>
              <a:gd name="T27" fmla="*/ 1135 h 1245"/>
              <a:gd name="T28" fmla="*/ 620 w 828"/>
              <a:gd name="T29" fmla="*/ 1060 h 1245"/>
              <a:gd name="T30" fmla="*/ 634 w 828"/>
              <a:gd name="T31" fmla="*/ 1074 h 1245"/>
              <a:gd name="T32" fmla="*/ 683 w 828"/>
              <a:gd name="T33" fmla="*/ 991 h 1245"/>
              <a:gd name="T34" fmla="*/ 698 w 828"/>
              <a:gd name="T35" fmla="*/ 1003 h 1245"/>
              <a:gd name="T36" fmla="*/ 734 w 828"/>
              <a:gd name="T37" fmla="*/ 913 h 1245"/>
              <a:gd name="T38" fmla="*/ 751 w 828"/>
              <a:gd name="T39" fmla="*/ 923 h 1245"/>
              <a:gd name="T40" fmla="*/ 772 w 828"/>
              <a:gd name="T41" fmla="*/ 828 h 1245"/>
              <a:gd name="T42" fmla="*/ 791 w 828"/>
              <a:gd name="T43" fmla="*/ 835 h 1245"/>
              <a:gd name="T44" fmla="*/ 797 w 828"/>
              <a:gd name="T45" fmla="*/ 739 h 1245"/>
              <a:gd name="T46" fmla="*/ 816 w 828"/>
              <a:gd name="T47" fmla="*/ 743 h 1245"/>
              <a:gd name="T48" fmla="*/ 807 w 828"/>
              <a:gd name="T49" fmla="*/ 647 h 1245"/>
              <a:gd name="T50" fmla="*/ 828 w 828"/>
              <a:gd name="T51" fmla="*/ 599 h 1245"/>
              <a:gd name="T52" fmla="*/ 814 w 828"/>
              <a:gd name="T53" fmla="*/ 562 h 1245"/>
              <a:gd name="T54" fmla="*/ 817 w 828"/>
              <a:gd name="T55" fmla="*/ 504 h 1245"/>
              <a:gd name="T56" fmla="*/ 796 w 828"/>
              <a:gd name="T57" fmla="*/ 470 h 1245"/>
              <a:gd name="T58" fmla="*/ 791 w 828"/>
              <a:gd name="T59" fmla="*/ 411 h 1245"/>
              <a:gd name="T60" fmla="*/ 764 w 828"/>
              <a:gd name="T61" fmla="*/ 381 h 1245"/>
              <a:gd name="T62" fmla="*/ 751 w 828"/>
              <a:gd name="T63" fmla="*/ 324 h 1245"/>
              <a:gd name="T64" fmla="*/ 718 w 828"/>
              <a:gd name="T65" fmla="*/ 298 h 1245"/>
              <a:gd name="T66" fmla="*/ 699 w 828"/>
              <a:gd name="T67" fmla="*/ 243 h 1245"/>
              <a:gd name="T68" fmla="*/ 661 w 828"/>
              <a:gd name="T69" fmla="*/ 223 h 1245"/>
              <a:gd name="T70" fmla="*/ 634 w 828"/>
              <a:gd name="T71" fmla="*/ 172 h 1245"/>
              <a:gd name="T72" fmla="*/ 592 w 828"/>
              <a:gd name="T73" fmla="*/ 158 h 1245"/>
              <a:gd name="T74" fmla="*/ 560 w 828"/>
              <a:gd name="T75" fmla="*/ 111 h 1245"/>
              <a:gd name="T76" fmla="*/ 514 w 828"/>
              <a:gd name="T77" fmla="*/ 104 h 1245"/>
              <a:gd name="T78" fmla="*/ 477 w 828"/>
              <a:gd name="T79" fmla="*/ 63 h 1245"/>
              <a:gd name="T80" fmla="*/ 430 w 828"/>
              <a:gd name="T81" fmla="*/ 63 h 1245"/>
              <a:gd name="T82" fmla="*/ 388 w 828"/>
              <a:gd name="T83" fmla="*/ 28 h 1245"/>
              <a:gd name="T84" fmla="*/ 12 w 828"/>
              <a:gd name="T85" fmla="*/ 51 h 1245"/>
              <a:gd name="T86" fmla="*/ 68 w 828"/>
              <a:gd name="T87" fmla="*/ 26 h 1245"/>
              <a:gd name="T88" fmla="*/ 339 w 828"/>
              <a:gd name="T89" fmla="*/ 35 h 1245"/>
              <a:gd name="T90" fmla="*/ 294 w 828"/>
              <a:gd name="T91" fmla="*/ 7 h 1245"/>
              <a:gd name="T92" fmla="*/ 104 w 828"/>
              <a:gd name="T93" fmla="*/ 29 h 1245"/>
              <a:gd name="T94" fmla="*/ 161 w 828"/>
              <a:gd name="T95" fmla="*/ 12 h 1245"/>
              <a:gd name="T96" fmla="*/ 246 w 828"/>
              <a:gd name="T97" fmla="*/ 22 h 1245"/>
              <a:gd name="T98" fmla="*/ 198 w 828"/>
              <a:gd name="T99" fmla="*/ 20 h 1245"/>
              <a:gd name="T100" fmla="*/ 246 w 828"/>
              <a:gd name="T101" fmla="*/ 2 h 1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28" h="1245">
                <a:moveTo>
                  <a:pt x="205" y="1245"/>
                </a:moveTo>
                <a:cubicBezTo>
                  <a:pt x="203" y="1245"/>
                  <a:pt x="200" y="1245"/>
                  <a:pt x="197" y="1245"/>
                </a:cubicBezTo>
                <a:cubicBezTo>
                  <a:pt x="192" y="1245"/>
                  <a:pt x="187" y="1241"/>
                  <a:pt x="187" y="1235"/>
                </a:cubicBezTo>
                <a:cubicBezTo>
                  <a:pt x="188" y="1230"/>
                  <a:pt x="192" y="1225"/>
                  <a:pt x="197" y="1225"/>
                </a:cubicBezTo>
                <a:cubicBezTo>
                  <a:pt x="198" y="1225"/>
                  <a:pt x="198" y="1225"/>
                  <a:pt x="198" y="1225"/>
                </a:cubicBezTo>
                <a:cubicBezTo>
                  <a:pt x="213" y="1226"/>
                  <a:pt x="229" y="1225"/>
                  <a:pt x="244" y="1224"/>
                </a:cubicBezTo>
                <a:cubicBezTo>
                  <a:pt x="250" y="1224"/>
                  <a:pt x="254" y="1228"/>
                  <a:pt x="255" y="1234"/>
                </a:cubicBezTo>
                <a:cubicBezTo>
                  <a:pt x="255" y="1239"/>
                  <a:pt x="251" y="1244"/>
                  <a:pt x="245" y="1244"/>
                </a:cubicBezTo>
                <a:cubicBezTo>
                  <a:pt x="232" y="1245"/>
                  <a:pt x="219" y="1245"/>
                  <a:pt x="205" y="1245"/>
                </a:cubicBezTo>
                <a:close/>
                <a:moveTo>
                  <a:pt x="150" y="1243"/>
                </a:moveTo>
                <a:cubicBezTo>
                  <a:pt x="150" y="1243"/>
                  <a:pt x="150" y="1243"/>
                  <a:pt x="149" y="1243"/>
                </a:cubicBezTo>
                <a:cubicBezTo>
                  <a:pt x="133" y="1241"/>
                  <a:pt x="117" y="1239"/>
                  <a:pt x="102" y="1237"/>
                </a:cubicBezTo>
                <a:cubicBezTo>
                  <a:pt x="96" y="1236"/>
                  <a:pt x="93" y="1231"/>
                  <a:pt x="93" y="1225"/>
                </a:cubicBezTo>
                <a:cubicBezTo>
                  <a:pt x="94" y="1220"/>
                  <a:pt x="100" y="1216"/>
                  <a:pt x="105" y="1217"/>
                </a:cubicBezTo>
                <a:cubicBezTo>
                  <a:pt x="120" y="1220"/>
                  <a:pt x="136" y="1222"/>
                  <a:pt x="151" y="1223"/>
                </a:cubicBezTo>
                <a:cubicBezTo>
                  <a:pt x="157" y="1223"/>
                  <a:pt x="161" y="1228"/>
                  <a:pt x="160" y="1234"/>
                </a:cubicBezTo>
                <a:cubicBezTo>
                  <a:pt x="160" y="1239"/>
                  <a:pt x="155" y="1243"/>
                  <a:pt x="150" y="1243"/>
                </a:cubicBezTo>
                <a:close/>
                <a:moveTo>
                  <a:pt x="292" y="1239"/>
                </a:moveTo>
                <a:cubicBezTo>
                  <a:pt x="287" y="1239"/>
                  <a:pt x="283" y="1236"/>
                  <a:pt x="282" y="1231"/>
                </a:cubicBezTo>
                <a:cubicBezTo>
                  <a:pt x="281" y="1225"/>
                  <a:pt x="285" y="1220"/>
                  <a:pt x="290" y="1219"/>
                </a:cubicBezTo>
                <a:cubicBezTo>
                  <a:pt x="306" y="1217"/>
                  <a:pt x="321" y="1214"/>
                  <a:pt x="336" y="1211"/>
                </a:cubicBezTo>
                <a:cubicBezTo>
                  <a:pt x="342" y="1210"/>
                  <a:pt x="347" y="1213"/>
                  <a:pt x="348" y="1219"/>
                </a:cubicBezTo>
                <a:cubicBezTo>
                  <a:pt x="349" y="1224"/>
                  <a:pt x="346" y="1229"/>
                  <a:pt x="341" y="1231"/>
                </a:cubicBezTo>
                <a:cubicBezTo>
                  <a:pt x="325" y="1234"/>
                  <a:pt x="309" y="1237"/>
                  <a:pt x="293" y="1239"/>
                </a:cubicBezTo>
                <a:cubicBezTo>
                  <a:pt x="293" y="1239"/>
                  <a:pt x="292" y="1239"/>
                  <a:pt x="292" y="1239"/>
                </a:cubicBezTo>
                <a:close/>
                <a:moveTo>
                  <a:pt x="57" y="1227"/>
                </a:moveTo>
                <a:cubicBezTo>
                  <a:pt x="56" y="1227"/>
                  <a:pt x="55" y="1227"/>
                  <a:pt x="55" y="1227"/>
                </a:cubicBezTo>
                <a:cubicBezTo>
                  <a:pt x="39" y="1223"/>
                  <a:pt x="24" y="1219"/>
                  <a:pt x="8" y="1214"/>
                </a:cubicBezTo>
                <a:cubicBezTo>
                  <a:pt x="3" y="1212"/>
                  <a:pt x="0" y="1206"/>
                  <a:pt x="2" y="1201"/>
                </a:cubicBezTo>
                <a:cubicBezTo>
                  <a:pt x="4" y="1196"/>
                  <a:pt x="10" y="1193"/>
                  <a:pt x="15" y="1195"/>
                </a:cubicBezTo>
                <a:cubicBezTo>
                  <a:pt x="29" y="1199"/>
                  <a:pt x="44" y="1204"/>
                  <a:pt x="59" y="1208"/>
                </a:cubicBezTo>
                <a:cubicBezTo>
                  <a:pt x="65" y="1209"/>
                  <a:pt x="68" y="1214"/>
                  <a:pt x="67" y="1220"/>
                </a:cubicBezTo>
                <a:cubicBezTo>
                  <a:pt x="66" y="1224"/>
                  <a:pt x="62" y="1227"/>
                  <a:pt x="57" y="1227"/>
                </a:cubicBezTo>
                <a:close/>
                <a:moveTo>
                  <a:pt x="384" y="1219"/>
                </a:moveTo>
                <a:cubicBezTo>
                  <a:pt x="380" y="1219"/>
                  <a:pt x="376" y="1216"/>
                  <a:pt x="375" y="1212"/>
                </a:cubicBezTo>
                <a:cubicBezTo>
                  <a:pt x="373" y="1207"/>
                  <a:pt x="376" y="1201"/>
                  <a:pt x="381" y="1199"/>
                </a:cubicBezTo>
                <a:cubicBezTo>
                  <a:pt x="396" y="1195"/>
                  <a:pt x="411" y="1190"/>
                  <a:pt x="425" y="1184"/>
                </a:cubicBezTo>
                <a:cubicBezTo>
                  <a:pt x="430" y="1182"/>
                  <a:pt x="436" y="1185"/>
                  <a:pt x="438" y="1190"/>
                </a:cubicBezTo>
                <a:cubicBezTo>
                  <a:pt x="440" y="1195"/>
                  <a:pt x="438" y="1201"/>
                  <a:pt x="432" y="1203"/>
                </a:cubicBezTo>
                <a:cubicBezTo>
                  <a:pt x="418" y="1209"/>
                  <a:pt x="402" y="1214"/>
                  <a:pt x="387" y="1218"/>
                </a:cubicBezTo>
                <a:cubicBezTo>
                  <a:pt x="386" y="1219"/>
                  <a:pt x="385" y="1219"/>
                  <a:pt x="384" y="1219"/>
                </a:cubicBezTo>
                <a:close/>
                <a:moveTo>
                  <a:pt x="472" y="1184"/>
                </a:moveTo>
                <a:cubicBezTo>
                  <a:pt x="468" y="1184"/>
                  <a:pt x="465" y="1182"/>
                  <a:pt x="463" y="1179"/>
                </a:cubicBezTo>
                <a:cubicBezTo>
                  <a:pt x="461" y="1174"/>
                  <a:pt x="463" y="1168"/>
                  <a:pt x="468" y="1165"/>
                </a:cubicBezTo>
                <a:cubicBezTo>
                  <a:pt x="482" y="1159"/>
                  <a:pt x="496" y="1151"/>
                  <a:pt x="509" y="1144"/>
                </a:cubicBezTo>
                <a:cubicBezTo>
                  <a:pt x="514" y="1141"/>
                  <a:pt x="520" y="1142"/>
                  <a:pt x="523" y="1147"/>
                </a:cubicBezTo>
                <a:cubicBezTo>
                  <a:pt x="525" y="1152"/>
                  <a:pt x="524" y="1158"/>
                  <a:pt x="519" y="1161"/>
                </a:cubicBezTo>
                <a:cubicBezTo>
                  <a:pt x="505" y="1169"/>
                  <a:pt x="491" y="1176"/>
                  <a:pt x="477" y="1183"/>
                </a:cubicBezTo>
                <a:cubicBezTo>
                  <a:pt x="475" y="1184"/>
                  <a:pt x="474" y="1184"/>
                  <a:pt x="472" y="1184"/>
                </a:cubicBezTo>
                <a:close/>
                <a:moveTo>
                  <a:pt x="554" y="1137"/>
                </a:moveTo>
                <a:cubicBezTo>
                  <a:pt x="551" y="1137"/>
                  <a:pt x="548" y="1135"/>
                  <a:pt x="546" y="1132"/>
                </a:cubicBezTo>
                <a:cubicBezTo>
                  <a:pt x="542" y="1128"/>
                  <a:pt x="544" y="1122"/>
                  <a:pt x="548" y="1119"/>
                </a:cubicBezTo>
                <a:cubicBezTo>
                  <a:pt x="561" y="1110"/>
                  <a:pt x="573" y="1100"/>
                  <a:pt x="585" y="1091"/>
                </a:cubicBezTo>
                <a:cubicBezTo>
                  <a:pt x="590" y="1087"/>
                  <a:pt x="596" y="1088"/>
                  <a:pt x="599" y="1092"/>
                </a:cubicBezTo>
                <a:cubicBezTo>
                  <a:pt x="603" y="1096"/>
                  <a:pt x="602" y="1103"/>
                  <a:pt x="598" y="1106"/>
                </a:cubicBezTo>
                <a:cubicBezTo>
                  <a:pt x="586" y="1116"/>
                  <a:pt x="573" y="1126"/>
                  <a:pt x="560" y="1135"/>
                </a:cubicBezTo>
                <a:cubicBezTo>
                  <a:pt x="558" y="1136"/>
                  <a:pt x="556" y="1137"/>
                  <a:pt x="554" y="1137"/>
                </a:cubicBezTo>
                <a:close/>
                <a:moveTo>
                  <a:pt x="627" y="1077"/>
                </a:moveTo>
                <a:cubicBezTo>
                  <a:pt x="625" y="1077"/>
                  <a:pt x="622" y="1076"/>
                  <a:pt x="620" y="1074"/>
                </a:cubicBezTo>
                <a:cubicBezTo>
                  <a:pt x="616" y="1070"/>
                  <a:pt x="616" y="1064"/>
                  <a:pt x="620" y="1060"/>
                </a:cubicBezTo>
                <a:cubicBezTo>
                  <a:pt x="632" y="1049"/>
                  <a:pt x="642" y="1038"/>
                  <a:pt x="653" y="1026"/>
                </a:cubicBezTo>
                <a:cubicBezTo>
                  <a:pt x="656" y="1022"/>
                  <a:pt x="663" y="1022"/>
                  <a:pt x="667" y="1026"/>
                </a:cubicBezTo>
                <a:cubicBezTo>
                  <a:pt x="671" y="1029"/>
                  <a:pt x="671" y="1036"/>
                  <a:pt x="668" y="1040"/>
                </a:cubicBezTo>
                <a:cubicBezTo>
                  <a:pt x="657" y="1052"/>
                  <a:pt x="646" y="1063"/>
                  <a:pt x="634" y="1074"/>
                </a:cubicBezTo>
                <a:cubicBezTo>
                  <a:pt x="632" y="1076"/>
                  <a:pt x="630" y="1077"/>
                  <a:pt x="627" y="1077"/>
                </a:cubicBezTo>
                <a:close/>
                <a:moveTo>
                  <a:pt x="691" y="1007"/>
                </a:moveTo>
                <a:cubicBezTo>
                  <a:pt x="688" y="1007"/>
                  <a:pt x="686" y="1006"/>
                  <a:pt x="684" y="1005"/>
                </a:cubicBezTo>
                <a:cubicBezTo>
                  <a:pt x="680" y="1001"/>
                  <a:pt x="679" y="995"/>
                  <a:pt x="683" y="991"/>
                </a:cubicBezTo>
                <a:cubicBezTo>
                  <a:pt x="692" y="979"/>
                  <a:pt x="701" y="966"/>
                  <a:pt x="710" y="953"/>
                </a:cubicBezTo>
                <a:cubicBezTo>
                  <a:pt x="713" y="948"/>
                  <a:pt x="719" y="947"/>
                  <a:pt x="723" y="950"/>
                </a:cubicBezTo>
                <a:cubicBezTo>
                  <a:pt x="728" y="953"/>
                  <a:pt x="729" y="959"/>
                  <a:pt x="726" y="964"/>
                </a:cubicBezTo>
                <a:cubicBezTo>
                  <a:pt x="718" y="977"/>
                  <a:pt x="708" y="990"/>
                  <a:pt x="698" y="1003"/>
                </a:cubicBezTo>
                <a:cubicBezTo>
                  <a:pt x="696" y="1006"/>
                  <a:pt x="694" y="1007"/>
                  <a:pt x="691" y="1007"/>
                </a:cubicBezTo>
                <a:close/>
                <a:moveTo>
                  <a:pt x="742" y="928"/>
                </a:moveTo>
                <a:cubicBezTo>
                  <a:pt x="741" y="928"/>
                  <a:pt x="739" y="928"/>
                  <a:pt x="738" y="927"/>
                </a:cubicBezTo>
                <a:cubicBezTo>
                  <a:pt x="733" y="924"/>
                  <a:pt x="731" y="918"/>
                  <a:pt x="734" y="913"/>
                </a:cubicBezTo>
                <a:cubicBezTo>
                  <a:pt x="741" y="900"/>
                  <a:pt x="748" y="886"/>
                  <a:pt x="754" y="872"/>
                </a:cubicBezTo>
                <a:cubicBezTo>
                  <a:pt x="757" y="866"/>
                  <a:pt x="763" y="864"/>
                  <a:pt x="768" y="867"/>
                </a:cubicBezTo>
                <a:cubicBezTo>
                  <a:pt x="773" y="869"/>
                  <a:pt x="775" y="875"/>
                  <a:pt x="773" y="880"/>
                </a:cubicBezTo>
                <a:cubicBezTo>
                  <a:pt x="766" y="894"/>
                  <a:pt x="759" y="909"/>
                  <a:pt x="751" y="923"/>
                </a:cubicBezTo>
                <a:cubicBezTo>
                  <a:pt x="749" y="926"/>
                  <a:pt x="746" y="928"/>
                  <a:pt x="742" y="928"/>
                </a:cubicBezTo>
                <a:close/>
                <a:moveTo>
                  <a:pt x="781" y="842"/>
                </a:moveTo>
                <a:cubicBezTo>
                  <a:pt x="780" y="842"/>
                  <a:pt x="779" y="842"/>
                  <a:pt x="778" y="841"/>
                </a:cubicBezTo>
                <a:cubicBezTo>
                  <a:pt x="773" y="839"/>
                  <a:pt x="770" y="834"/>
                  <a:pt x="772" y="828"/>
                </a:cubicBezTo>
                <a:cubicBezTo>
                  <a:pt x="777" y="814"/>
                  <a:pt x="782" y="799"/>
                  <a:pt x="786" y="784"/>
                </a:cubicBezTo>
                <a:cubicBezTo>
                  <a:pt x="788" y="779"/>
                  <a:pt x="793" y="776"/>
                  <a:pt x="798" y="777"/>
                </a:cubicBezTo>
                <a:cubicBezTo>
                  <a:pt x="804" y="779"/>
                  <a:pt x="807" y="784"/>
                  <a:pt x="805" y="790"/>
                </a:cubicBezTo>
                <a:cubicBezTo>
                  <a:pt x="801" y="805"/>
                  <a:pt x="796" y="820"/>
                  <a:pt x="791" y="835"/>
                </a:cubicBezTo>
                <a:cubicBezTo>
                  <a:pt x="789" y="839"/>
                  <a:pt x="785" y="842"/>
                  <a:pt x="781" y="842"/>
                </a:cubicBezTo>
                <a:close/>
                <a:moveTo>
                  <a:pt x="807" y="751"/>
                </a:moveTo>
                <a:cubicBezTo>
                  <a:pt x="806" y="751"/>
                  <a:pt x="805" y="751"/>
                  <a:pt x="805" y="751"/>
                </a:cubicBezTo>
                <a:cubicBezTo>
                  <a:pt x="799" y="750"/>
                  <a:pt x="796" y="744"/>
                  <a:pt x="797" y="739"/>
                </a:cubicBezTo>
                <a:cubicBezTo>
                  <a:pt x="800" y="724"/>
                  <a:pt x="802" y="708"/>
                  <a:pt x="804" y="693"/>
                </a:cubicBezTo>
                <a:cubicBezTo>
                  <a:pt x="805" y="687"/>
                  <a:pt x="809" y="683"/>
                  <a:pt x="815" y="684"/>
                </a:cubicBezTo>
                <a:cubicBezTo>
                  <a:pt x="820" y="685"/>
                  <a:pt x="824" y="690"/>
                  <a:pt x="824" y="695"/>
                </a:cubicBezTo>
                <a:cubicBezTo>
                  <a:pt x="822" y="711"/>
                  <a:pt x="819" y="727"/>
                  <a:pt x="816" y="743"/>
                </a:cubicBezTo>
                <a:cubicBezTo>
                  <a:pt x="815" y="748"/>
                  <a:pt x="811" y="751"/>
                  <a:pt x="807" y="751"/>
                </a:cubicBezTo>
                <a:close/>
                <a:moveTo>
                  <a:pt x="817" y="657"/>
                </a:moveTo>
                <a:cubicBezTo>
                  <a:pt x="817" y="657"/>
                  <a:pt x="817" y="657"/>
                  <a:pt x="817" y="657"/>
                </a:cubicBezTo>
                <a:cubicBezTo>
                  <a:pt x="812" y="657"/>
                  <a:pt x="807" y="652"/>
                  <a:pt x="807" y="647"/>
                </a:cubicBezTo>
                <a:cubicBezTo>
                  <a:pt x="808" y="639"/>
                  <a:pt x="808" y="631"/>
                  <a:pt x="808" y="623"/>
                </a:cubicBezTo>
                <a:cubicBezTo>
                  <a:pt x="808" y="615"/>
                  <a:pt x="808" y="608"/>
                  <a:pt x="808" y="600"/>
                </a:cubicBezTo>
                <a:cubicBezTo>
                  <a:pt x="807" y="594"/>
                  <a:pt x="812" y="590"/>
                  <a:pt x="817" y="590"/>
                </a:cubicBezTo>
                <a:cubicBezTo>
                  <a:pt x="823" y="590"/>
                  <a:pt x="827" y="594"/>
                  <a:pt x="828" y="599"/>
                </a:cubicBezTo>
                <a:cubicBezTo>
                  <a:pt x="828" y="607"/>
                  <a:pt x="828" y="615"/>
                  <a:pt x="828" y="623"/>
                </a:cubicBezTo>
                <a:cubicBezTo>
                  <a:pt x="828" y="631"/>
                  <a:pt x="828" y="639"/>
                  <a:pt x="827" y="647"/>
                </a:cubicBezTo>
                <a:cubicBezTo>
                  <a:pt x="827" y="653"/>
                  <a:pt x="823" y="657"/>
                  <a:pt x="817" y="657"/>
                </a:cubicBezTo>
                <a:close/>
                <a:moveTo>
                  <a:pt x="814" y="562"/>
                </a:moveTo>
                <a:cubicBezTo>
                  <a:pt x="809" y="562"/>
                  <a:pt x="805" y="559"/>
                  <a:pt x="804" y="554"/>
                </a:cubicBezTo>
                <a:cubicBezTo>
                  <a:pt x="802" y="538"/>
                  <a:pt x="800" y="523"/>
                  <a:pt x="797" y="508"/>
                </a:cubicBezTo>
                <a:cubicBezTo>
                  <a:pt x="796" y="502"/>
                  <a:pt x="799" y="497"/>
                  <a:pt x="805" y="496"/>
                </a:cubicBezTo>
                <a:cubicBezTo>
                  <a:pt x="810" y="495"/>
                  <a:pt x="816" y="498"/>
                  <a:pt x="817" y="504"/>
                </a:cubicBezTo>
                <a:cubicBezTo>
                  <a:pt x="820" y="519"/>
                  <a:pt x="822" y="535"/>
                  <a:pt x="824" y="551"/>
                </a:cubicBezTo>
                <a:cubicBezTo>
                  <a:pt x="825" y="557"/>
                  <a:pt x="821" y="562"/>
                  <a:pt x="815" y="562"/>
                </a:cubicBezTo>
                <a:cubicBezTo>
                  <a:pt x="815" y="562"/>
                  <a:pt x="814" y="562"/>
                  <a:pt x="814" y="562"/>
                </a:cubicBezTo>
                <a:close/>
                <a:moveTo>
                  <a:pt x="796" y="470"/>
                </a:moveTo>
                <a:cubicBezTo>
                  <a:pt x="792" y="470"/>
                  <a:pt x="788" y="467"/>
                  <a:pt x="786" y="462"/>
                </a:cubicBezTo>
                <a:cubicBezTo>
                  <a:pt x="782" y="447"/>
                  <a:pt x="777" y="433"/>
                  <a:pt x="772" y="418"/>
                </a:cubicBezTo>
                <a:cubicBezTo>
                  <a:pt x="770" y="413"/>
                  <a:pt x="773" y="407"/>
                  <a:pt x="778" y="405"/>
                </a:cubicBezTo>
                <a:cubicBezTo>
                  <a:pt x="783" y="403"/>
                  <a:pt x="789" y="406"/>
                  <a:pt x="791" y="411"/>
                </a:cubicBezTo>
                <a:cubicBezTo>
                  <a:pt x="796" y="426"/>
                  <a:pt x="801" y="442"/>
                  <a:pt x="806" y="457"/>
                </a:cubicBezTo>
                <a:cubicBezTo>
                  <a:pt x="807" y="462"/>
                  <a:pt x="804" y="468"/>
                  <a:pt x="799" y="469"/>
                </a:cubicBezTo>
                <a:cubicBezTo>
                  <a:pt x="798" y="470"/>
                  <a:pt x="797" y="470"/>
                  <a:pt x="796" y="470"/>
                </a:cubicBezTo>
                <a:close/>
                <a:moveTo>
                  <a:pt x="764" y="381"/>
                </a:moveTo>
                <a:cubicBezTo>
                  <a:pt x="760" y="381"/>
                  <a:pt x="756" y="379"/>
                  <a:pt x="755" y="375"/>
                </a:cubicBezTo>
                <a:cubicBezTo>
                  <a:pt x="748" y="361"/>
                  <a:pt x="741" y="347"/>
                  <a:pt x="734" y="333"/>
                </a:cubicBezTo>
                <a:cubicBezTo>
                  <a:pt x="731" y="328"/>
                  <a:pt x="733" y="322"/>
                  <a:pt x="738" y="320"/>
                </a:cubicBezTo>
                <a:cubicBezTo>
                  <a:pt x="743" y="317"/>
                  <a:pt x="749" y="319"/>
                  <a:pt x="751" y="324"/>
                </a:cubicBezTo>
                <a:cubicBezTo>
                  <a:pt x="759" y="338"/>
                  <a:pt x="766" y="352"/>
                  <a:pt x="773" y="367"/>
                </a:cubicBezTo>
                <a:cubicBezTo>
                  <a:pt x="775" y="372"/>
                  <a:pt x="773" y="378"/>
                  <a:pt x="768" y="380"/>
                </a:cubicBezTo>
                <a:cubicBezTo>
                  <a:pt x="767" y="381"/>
                  <a:pt x="765" y="381"/>
                  <a:pt x="764" y="381"/>
                </a:cubicBezTo>
                <a:close/>
                <a:moveTo>
                  <a:pt x="718" y="298"/>
                </a:moveTo>
                <a:cubicBezTo>
                  <a:pt x="715" y="298"/>
                  <a:pt x="712" y="296"/>
                  <a:pt x="710" y="293"/>
                </a:cubicBezTo>
                <a:cubicBezTo>
                  <a:pt x="701" y="280"/>
                  <a:pt x="692" y="268"/>
                  <a:pt x="683" y="255"/>
                </a:cubicBezTo>
                <a:cubicBezTo>
                  <a:pt x="680" y="251"/>
                  <a:pt x="680" y="245"/>
                  <a:pt x="685" y="241"/>
                </a:cubicBezTo>
                <a:cubicBezTo>
                  <a:pt x="689" y="238"/>
                  <a:pt x="695" y="239"/>
                  <a:pt x="699" y="243"/>
                </a:cubicBezTo>
                <a:cubicBezTo>
                  <a:pt x="709" y="256"/>
                  <a:pt x="718" y="269"/>
                  <a:pt x="727" y="282"/>
                </a:cubicBezTo>
                <a:cubicBezTo>
                  <a:pt x="730" y="287"/>
                  <a:pt x="728" y="293"/>
                  <a:pt x="724" y="296"/>
                </a:cubicBezTo>
                <a:cubicBezTo>
                  <a:pt x="722" y="297"/>
                  <a:pt x="720" y="298"/>
                  <a:pt x="718" y="298"/>
                </a:cubicBezTo>
                <a:close/>
                <a:moveTo>
                  <a:pt x="661" y="223"/>
                </a:moveTo>
                <a:cubicBezTo>
                  <a:pt x="658" y="223"/>
                  <a:pt x="655" y="222"/>
                  <a:pt x="653" y="220"/>
                </a:cubicBezTo>
                <a:cubicBezTo>
                  <a:pt x="643" y="208"/>
                  <a:pt x="632" y="197"/>
                  <a:pt x="621" y="186"/>
                </a:cubicBezTo>
                <a:cubicBezTo>
                  <a:pt x="617" y="183"/>
                  <a:pt x="617" y="176"/>
                  <a:pt x="620" y="172"/>
                </a:cubicBezTo>
                <a:cubicBezTo>
                  <a:pt x="624" y="168"/>
                  <a:pt x="630" y="168"/>
                  <a:pt x="634" y="172"/>
                </a:cubicBezTo>
                <a:cubicBezTo>
                  <a:pt x="646" y="183"/>
                  <a:pt x="657" y="194"/>
                  <a:pt x="668" y="206"/>
                </a:cubicBezTo>
                <a:cubicBezTo>
                  <a:pt x="672" y="210"/>
                  <a:pt x="671" y="217"/>
                  <a:pt x="667" y="220"/>
                </a:cubicBezTo>
                <a:cubicBezTo>
                  <a:pt x="665" y="222"/>
                  <a:pt x="663" y="223"/>
                  <a:pt x="661" y="223"/>
                </a:cubicBezTo>
                <a:close/>
                <a:moveTo>
                  <a:pt x="592" y="158"/>
                </a:moveTo>
                <a:cubicBezTo>
                  <a:pt x="590" y="158"/>
                  <a:pt x="588" y="157"/>
                  <a:pt x="586" y="156"/>
                </a:cubicBezTo>
                <a:cubicBezTo>
                  <a:pt x="574" y="146"/>
                  <a:pt x="561" y="136"/>
                  <a:pt x="549" y="128"/>
                </a:cubicBezTo>
                <a:cubicBezTo>
                  <a:pt x="544" y="124"/>
                  <a:pt x="543" y="118"/>
                  <a:pt x="546" y="114"/>
                </a:cubicBezTo>
                <a:cubicBezTo>
                  <a:pt x="549" y="109"/>
                  <a:pt x="556" y="108"/>
                  <a:pt x="560" y="111"/>
                </a:cubicBezTo>
                <a:cubicBezTo>
                  <a:pt x="573" y="120"/>
                  <a:pt x="586" y="130"/>
                  <a:pt x="598" y="140"/>
                </a:cubicBezTo>
                <a:cubicBezTo>
                  <a:pt x="603" y="144"/>
                  <a:pt x="603" y="150"/>
                  <a:pt x="600" y="154"/>
                </a:cubicBezTo>
                <a:cubicBezTo>
                  <a:pt x="598" y="157"/>
                  <a:pt x="595" y="158"/>
                  <a:pt x="592" y="158"/>
                </a:cubicBezTo>
                <a:close/>
                <a:moveTo>
                  <a:pt x="514" y="104"/>
                </a:moveTo>
                <a:cubicBezTo>
                  <a:pt x="513" y="104"/>
                  <a:pt x="511" y="104"/>
                  <a:pt x="509" y="103"/>
                </a:cubicBezTo>
                <a:cubicBezTo>
                  <a:pt x="496" y="95"/>
                  <a:pt x="482" y="87"/>
                  <a:pt x="468" y="81"/>
                </a:cubicBezTo>
                <a:cubicBezTo>
                  <a:pt x="463" y="78"/>
                  <a:pt x="461" y="72"/>
                  <a:pt x="464" y="67"/>
                </a:cubicBezTo>
                <a:cubicBezTo>
                  <a:pt x="466" y="62"/>
                  <a:pt x="472" y="60"/>
                  <a:pt x="477" y="63"/>
                </a:cubicBezTo>
                <a:cubicBezTo>
                  <a:pt x="492" y="70"/>
                  <a:pt x="506" y="77"/>
                  <a:pt x="520" y="85"/>
                </a:cubicBezTo>
                <a:cubicBezTo>
                  <a:pt x="524" y="88"/>
                  <a:pt x="526" y="94"/>
                  <a:pt x="523" y="99"/>
                </a:cubicBezTo>
                <a:cubicBezTo>
                  <a:pt x="521" y="102"/>
                  <a:pt x="518" y="104"/>
                  <a:pt x="514" y="104"/>
                </a:cubicBezTo>
                <a:close/>
                <a:moveTo>
                  <a:pt x="430" y="63"/>
                </a:moveTo>
                <a:cubicBezTo>
                  <a:pt x="428" y="63"/>
                  <a:pt x="427" y="62"/>
                  <a:pt x="426" y="62"/>
                </a:cubicBezTo>
                <a:cubicBezTo>
                  <a:pt x="412" y="56"/>
                  <a:pt x="397" y="51"/>
                  <a:pt x="382" y="47"/>
                </a:cubicBezTo>
                <a:cubicBezTo>
                  <a:pt x="377" y="45"/>
                  <a:pt x="374" y="39"/>
                  <a:pt x="375" y="34"/>
                </a:cubicBezTo>
                <a:cubicBezTo>
                  <a:pt x="377" y="29"/>
                  <a:pt x="383" y="26"/>
                  <a:pt x="388" y="28"/>
                </a:cubicBezTo>
                <a:cubicBezTo>
                  <a:pt x="403" y="32"/>
                  <a:pt x="418" y="38"/>
                  <a:pt x="433" y="43"/>
                </a:cubicBezTo>
                <a:cubicBezTo>
                  <a:pt x="438" y="45"/>
                  <a:pt x="441" y="51"/>
                  <a:pt x="439" y="56"/>
                </a:cubicBezTo>
                <a:cubicBezTo>
                  <a:pt x="437" y="60"/>
                  <a:pt x="434" y="63"/>
                  <a:pt x="430" y="63"/>
                </a:cubicBezTo>
                <a:close/>
                <a:moveTo>
                  <a:pt x="12" y="51"/>
                </a:moveTo>
                <a:cubicBezTo>
                  <a:pt x="8" y="51"/>
                  <a:pt x="4" y="49"/>
                  <a:pt x="3" y="45"/>
                </a:cubicBezTo>
                <a:cubicBezTo>
                  <a:pt x="1" y="39"/>
                  <a:pt x="4" y="34"/>
                  <a:pt x="9" y="32"/>
                </a:cubicBezTo>
                <a:cubicBezTo>
                  <a:pt x="24" y="27"/>
                  <a:pt x="40" y="22"/>
                  <a:pt x="55" y="19"/>
                </a:cubicBezTo>
                <a:cubicBezTo>
                  <a:pt x="61" y="17"/>
                  <a:pt x="66" y="21"/>
                  <a:pt x="68" y="26"/>
                </a:cubicBezTo>
                <a:cubicBezTo>
                  <a:pt x="69" y="31"/>
                  <a:pt x="66" y="37"/>
                  <a:pt x="60" y="38"/>
                </a:cubicBezTo>
                <a:cubicBezTo>
                  <a:pt x="45" y="42"/>
                  <a:pt x="30" y="46"/>
                  <a:pt x="16" y="51"/>
                </a:cubicBezTo>
                <a:cubicBezTo>
                  <a:pt x="14" y="51"/>
                  <a:pt x="13" y="51"/>
                  <a:pt x="12" y="51"/>
                </a:cubicBezTo>
                <a:close/>
                <a:moveTo>
                  <a:pt x="339" y="35"/>
                </a:moveTo>
                <a:cubicBezTo>
                  <a:pt x="338" y="35"/>
                  <a:pt x="338" y="35"/>
                  <a:pt x="337" y="35"/>
                </a:cubicBezTo>
                <a:cubicBezTo>
                  <a:pt x="322" y="31"/>
                  <a:pt x="307" y="29"/>
                  <a:pt x="291" y="26"/>
                </a:cubicBezTo>
                <a:cubicBezTo>
                  <a:pt x="286" y="26"/>
                  <a:pt x="282" y="21"/>
                  <a:pt x="283" y="15"/>
                </a:cubicBezTo>
                <a:cubicBezTo>
                  <a:pt x="284" y="10"/>
                  <a:pt x="289" y="6"/>
                  <a:pt x="294" y="7"/>
                </a:cubicBezTo>
                <a:cubicBezTo>
                  <a:pt x="310" y="9"/>
                  <a:pt x="326" y="12"/>
                  <a:pt x="341" y="15"/>
                </a:cubicBezTo>
                <a:cubicBezTo>
                  <a:pt x="347" y="16"/>
                  <a:pt x="350" y="22"/>
                  <a:pt x="349" y="27"/>
                </a:cubicBezTo>
                <a:cubicBezTo>
                  <a:pt x="348" y="32"/>
                  <a:pt x="344" y="35"/>
                  <a:pt x="339" y="35"/>
                </a:cubicBezTo>
                <a:close/>
                <a:moveTo>
                  <a:pt x="104" y="29"/>
                </a:moveTo>
                <a:cubicBezTo>
                  <a:pt x="99" y="29"/>
                  <a:pt x="95" y="25"/>
                  <a:pt x="94" y="20"/>
                </a:cubicBezTo>
                <a:cubicBezTo>
                  <a:pt x="93" y="15"/>
                  <a:pt x="97" y="10"/>
                  <a:pt x="102" y="9"/>
                </a:cubicBezTo>
                <a:cubicBezTo>
                  <a:pt x="118" y="6"/>
                  <a:pt x="134" y="4"/>
                  <a:pt x="150" y="3"/>
                </a:cubicBezTo>
                <a:cubicBezTo>
                  <a:pt x="156" y="2"/>
                  <a:pt x="161" y="6"/>
                  <a:pt x="161" y="12"/>
                </a:cubicBezTo>
                <a:cubicBezTo>
                  <a:pt x="162" y="17"/>
                  <a:pt x="157" y="22"/>
                  <a:pt x="152" y="23"/>
                </a:cubicBezTo>
                <a:cubicBezTo>
                  <a:pt x="137" y="24"/>
                  <a:pt x="121" y="26"/>
                  <a:pt x="106" y="29"/>
                </a:cubicBezTo>
                <a:cubicBezTo>
                  <a:pt x="105" y="29"/>
                  <a:pt x="105" y="29"/>
                  <a:pt x="104" y="29"/>
                </a:cubicBezTo>
                <a:close/>
                <a:moveTo>
                  <a:pt x="246" y="22"/>
                </a:moveTo>
                <a:cubicBezTo>
                  <a:pt x="245" y="22"/>
                  <a:pt x="245" y="22"/>
                  <a:pt x="245" y="22"/>
                </a:cubicBezTo>
                <a:cubicBezTo>
                  <a:pt x="232" y="21"/>
                  <a:pt x="219" y="20"/>
                  <a:pt x="206" y="20"/>
                </a:cubicBezTo>
                <a:cubicBezTo>
                  <a:pt x="203" y="20"/>
                  <a:pt x="201" y="20"/>
                  <a:pt x="198" y="20"/>
                </a:cubicBezTo>
                <a:cubicBezTo>
                  <a:pt x="198" y="20"/>
                  <a:pt x="198" y="20"/>
                  <a:pt x="198" y="20"/>
                </a:cubicBezTo>
                <a:cubicBezTo>
                  <a:pt x="193" y="20"/>
                  <a:pt x="188" y="16"/>
                  <a:pt x="188" y="11"/>
                </a:cubicBezTo>
                <a:cubicBezTo>
                  <a:pt x="188" y="5"/>
                  <a:pt x="193" y="0"/>
                  <a:pt x="198" y="0"/>
                </a:cubicBezTo>
                <a:cubicBezTo>
                  <a:pt x="201" y="0"/>
                  <a:pt x="203" y="0"/>
                  <a:pt x="206" y="0"/>
                </a:cubicBezTo>
                <a:cubicBezTo>
                  <a:pt x="219" y="0"/>
                  <a:pt x="233" y="1"/>
                  <a:pt x="246" y="2"/>
                </a:cubicBezTo>
                <a:cubicBezTo>
                  <a:pt x="252" y="2"/>
                  <a:pt x="256" y="7"/>
                  <a:pt x="256" y="12"/>
                </a:cubicBezTo>
                <a:cubicBezTo>
                  <a:pt x="255" y="18"/>
                  <a:pt x="251" y="22"/>
                  <a:pt x="246" y="22"/>
                </a:cubicBezTo>
                <a:close/>
              </a:path>
            </a:pathLst>
          </a:custGeom>
          <a:solidFill>
            <a:srgbClr val="C0DC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3107226-ED0F-D86A-B584-A307189390AF}"/>
              </a:ext>
            </a:extLst>
          </p:cNvPr>
          <p:cNvSpPr/>
          <p:nvPr/>
        </p:nvSpPr>
        <p:spPr>
          <a:xfrm rot="20717813">
            <a:off x="16063978" y="-372177"/>
            <a:ext cx="18810710" cy="3633537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" name="Group 73">
            <a:extLst>
              <a:ext uri="{FF2B5EF4-FFF2-40B4-BE49-F238E27FC236}">
                <a16:creationId xmlns:a16="http://schemas.microsoft.com/office/drawing/2014/main" id="{7C13F3C1-9A2F-67DE-D28F-FD4A86C18FBD}"/>
              </a:ext>
            </a:extLst>
          </p:cNvPr>
          <p:cNvGrpSpPr/>
          <p:nvPr/>
        </p:nvGrpSpPr>
        <p:grpSpPr>
          <a:xfrm>
            <a:off x="6467269" y="9478340"/>
            <a:ext cx="10519612" cy="9792204"/>
            <a:chOff x="-2" y="0"/>
            <a:chExt cx="6428641" cy="6858000"/>
          </a:xfrm>
        </p:grpSpPr>
        <p:sp>
          <p:nvSpPr>
            <p:cNvPr id="7" name="Rectangle 36">
              <a:extLst>
                <a:ext uri="{FF2B5EF4-FFF2-40B4-BE49-F238E27FC236}">
                  <a16:creationId xmlns:a16="http://schemas.microsoft.com/office/drawing/2014/main" id="{B6D72C79-4C00-F5D0-42BF-C4C1971A3FEA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F41F6203-0D0E-0588-1CDD-1CF6D48D41AB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9" name="Rectangle 31">
              <a:extLst>
                <a:ext uri="{FF2B5EF4-FFF2-40B4-BE49-F238E27FC236}">
                  <a16:creationId xmlns:a16="http://schemas.microsoft.com/office/drawing/2014/main" id="{1CE58933-DD21-6080-7430-6CECA684888B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0" name="Rectangle 32">
              <a:extLst>
                <a:ext uri="{FF2B5EF4-FFF2-40B4-BE49-F238E27FC236}">
                  <a16:creationId xmlns:a16="http://schemas.microsoft.com/office/drawing/2014/main" id="{13EB9B5E-7F71-7E07-A1EF-B91AE168C5A6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" name="Rectangle 33">
              <a:extLst>
                <a:ext uri="{FF2B5EF4-FFF2-40B4-BE49-F238E27FC236}">
                  <a16:creationId xmlns:a16="http://schemas.microsoft.com/office/drawing/2014/main" id="{B003D50F-0121-E9AA-1580-EC8BB048E157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" name="Rectangle 34">
              <a:extLst>
                <a:ext uri="{FF2B5EF4-FFF2-40B4-BE49-F238E27FC236}">
                  <a16:creationId xmlns:a16="http://schemas.microsoft.com/office/drawing/2014/main" id="{E9E34B79-A35E-982C-EF16-F0D50AED9BC1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3" name="Rectangle 35">
              <a:extLst>
                <a:ext uri="{FF2B5EF4-FFF2-40B4-BE49-F238E27FC236}">
                  <a16:creationId xmlns:a16="http://schemas.microsoft.com/office/drawing/2014/main" id="{E4B37FB4-C122-C58C-62A3-50D82F1413B0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4" name="Rectangle 37">
              <a:extLst>
                <a:ext uri="{FF2B5EF4-FFF2-40B4-BE49-F238E27FC236}">
                  <a16:creationId xmlns:a16="http://schemas.microsoft.com/office/drawing/2014/main" id="{2229C00C-9A5C-A7C6-A4ED-441E0890A8D7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5" name="Rectangle 48">
              <a:extLst>
                <a:ext uri="{FF2B5EF4-FFF2-40B4-BE49-F238E27FC236}">
                  <a16:creationId xmlns:a16="http://schemas.microsoft.com/office/drawing/2014/main" id="{16FA7CBE-6851-3248-66DF-49DBC28D1B92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6" name="Rectangle 49">
              <a:extLst>
                <a:ext uri="{FF2B5EF4-FFF2-40B4-BE49-F238E27FC236}">
                  <a16:creationId xmlns:a16="http://schemas.microsoft.com/office/drawing/2014/main" id="{A3608916-97BD-E908-680E-D3B867D38173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pic>
        <p:nvPicPr>
          <p:cNvPr id="17" name="Picture 2" descr="Шаблон PowerPoint для многоцелевых иллюстраций">
            <a:extLst>
              <a:ext uri="{FF2B5EF4-FFF2-40B4-BE49-F238E27FC236}">
                <a16:creationId xmlns:a16="http://schemas.microsoft.com/office/drawing/2014/main" id="{D0ACDF63-4191-D934-CB3E-2360F1195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631653" y="3095625"/>
            <a:ext cx="10287000" cy="6858000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88442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22222E-6 L 0.06576 2.22222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!!1">
            <a:extLst>
              <a:ext uri="{FF2B5EF4-FFF2-40B4-BE49-F238E27FC236}">
                <a16:creationId xmlns:a16="http://schemas.microsoft.com/office/drawing/2014/main" id="{1B6685FD-2224-14ED-F6B7-878D19276587}"/>
              </a:ext>
            </a:extLst>
          </p:cNvPr>
          <p:cNvGrpSpPr/>
          <p:nvPr/>
        </p:nvGrpSpPr>
        <p:grpSpPr>
          <a:xfrm>
            <a:off x="2407838" y="3429000"/>
            <a:ext cx="16369553" cy="2754715"/>
            <a:chOff x="-978299" y="3429000"/>
            <a:chExt cx="16369553" cy="2754715"/>
          </a:xfrm>
        </p:grpSpPr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23D435A4-124F-B022-48AD-70507FBBCC67}"/>
                </a:ext>
              </a:extLst>
            </p:cNvPr>
            <p:cNvSpPr/>
            <p:nvPr/>
          </p:nvSpPr>
          <p:spPr>
            <a:xfrm>
              <a:off x="1953955" y="3429000"/>
              <a:ext cx="3322536" cy="697484"/>
            </a:xfrm>
            <a:custGeom>
              <a:avLst/>
              <a:gdLst>
                <a:gd name="connsiteX0" fmla="*/ 2618174 w 5360120"/>
                <a:gd name="connsiteY0" fmla="*/ 0 h 1115727"/>
                <a:gd name="connsiteX1" fmla="*/ 2679502 w 5360120"/>
                <a:gd name="connsiteY1" fmla="*/ 0 h 1115727"/>
                <a:gd name="connsiteX2" fmla="*/ 2740830 w 5360120"/>
                <a:gd name="connsiteY2" fmla="*/ 0 h 1115727"/>
                <a:gd name="connsiteX3" fmla="*/ 2803273 w 5360120"/>
                <a:gd name="connsiteY3" fmla="*/ 3340 h 1115727"/>
                <a:gd name="connsiteX4" fmla="*/ 2864601 w 5360120"/>
                <a:gd name="connsiteY4" fmla="*/ 7793 h 1115727"/>
                <a:gd name="connsiteX5" fmla="*/ 2923699 w 5360120"/>
                <a:gd name="connsiteY5" fmla="*/ 14473 h 1115727"/>
                <a:gd name="connsiteX6" fmla="*/ 2985027 w 5360120"/>
                <a:gd name="connsiteY6" fmla="*/ 23379 h 1115727"/>
                <a:gd name="connsiteX7" fmla="*/ 3043010 w 5360120"/>
                <a:gd name="connsiteY7" fmla="*/ 33399 h 1115727"/>
                <a:gd name="connsiteX8" fmla="*/ 3102109 w 5360120"/>
                <a:gd name="connsiteY8" fmla="*/ 46758 h 1115727"/>
                <a:gd name="connsiteX9" fmla="*/ 3160091 w 5360120"/>
                <a:gd name="connsiteY9" fmla="*/ 61231 h 1115727"/>
                <a:gd name="connsiteX10" fmla="*/ 3215843 w 5360120"/>
                <a:gd name="connsiteY10" fmla="*/ 77930 h 1115727"/>
                <a:gd name="connsiteX11" fmla="*/ 3270481 w 5360120"/>
                <a:gd name="connsiteY11" fmla="*/ 95743 h 1115727"/>
                <a:gd name="connsiteX12" fmla="*/ 3325119 w 5360120"/>
                <a:gd name="connsiteY12" fmla="*/ 116895 h 1115727"/>
                <a:gd name="connsiteX13" fmla="*/ 3376411 w 5360120"/>
                <a:gd name="connsiteY13" fmla="*/ 139161 h 1115727"/>
                <a:gd name="connsiteX14" fmla="*/ 3427704 w 5360120"/>
                <a:gd name="connsiteY14" fmla="*/ 163653 h 1115727"/>
                <a:gd name="connsiteX15" fmla="*/ 3477881 w 5360120"/>
                <a:gd name="connsiteY15" fmla="*/ 189259 h 1115727"/>
                <a:gd name="connsiteX16" fmla="*/ 3524713 w 5360120"/>
                <a:gd name="connsiteY16" fmla="*/ 215978 h 1115727"/>
                <a:gd name="connsiteX17" fmla="*/ 3569315 w 5360120"/>
                <a:gd name="connsiteY17" fmla="*/ 247150 h 1115727"/>
                <a:gd name="connsiteX18" fmla="*/ 3570430 w 5360120"/>
                <a:gd name="connsiteY18" fmla="*/ 248263 h 1115727"/>
                <a:gd name="connsiteX19" fmla="*/ 3581581 w 5360120"/>
                <a:gd name="connsiteY19" fmla="*/ 256056 h 1115727"/>
                <a:gd name="connsiteX20" fmla="*/ 3612802 w 5360120"/>
                <a:gd name="connsiteY20" fmla="*/ 277209 h 1115727"/>
                <a:gd name="connsiteX21" fmla="*/ 3671900 w 5360120"/>
                <a:gd name="connsiteY21" fmla="*/ 318401 h 1115727"/>
                <a:gd name="connsiteX22" fmla="*/ 3767795 w 5360120"/>
                <a:gd name="connsiteY22" fmla="*/ 386311 h 1115727"/>
                <a:gd name="connsiteX23" fmla="*/ 3912752 w 5360120"/>
                <a:gd name="connsiteY23" fmla="*/ 487620 h 1115727"/>
                <a:gd name="connsiteX24" fmla="*/ 4114577 w 5360120"/>
                <a:gd name="connsiteY24" fmla="*/ 627895 h 1115727"/>
                <a:gd name="connsiteX25" fmla="*/ 4383305 w 5360120"/>
                <a:gd name="connsiteY25" fmla="*/ 817154 h 1115727"/>
                <a:gd name="connsiteX26" fmla="*/ 4434597 w 5360120"/>
                <a:gd name="connsiteY26" fmla="*/ 851666 h 1115727"/>
                <a:gd name="connsiteX27" fmla="*/ 4490350 w 5360120"/>
                <a:gd name="connsiteY27" fmla="*/ 885065 h 1115727"/>
                <a:gd name="connsiteX28" fmla="*/ 4548333 w 5360120"/>
                <a:gd name="connsiteY28" fmla="*/ 915123 h 1115727"/>
                <a:gd name="connsiteX29" fmla="*/ 4608546 w 5360120"/>
                <a:gd name="connsiteY29" fmla="*/ 944069 h 1115727"/>
                <a:gd name="connsiteX30" fmla="*/ 4670989 w 5360120"/>
                <a:gd name="connsiteY30" fmla="*/ 971901 h 1115727"/>
                <a:gd name="connsiteX31" fmla="*/ 4736777 w 5360120"/>
                <a:gd name="connsiteY31" fmla="*/ 995280 h 1115727"/>
                <a:gd name="connsiteX32" fmla="*/ 4802565 w 5360120"/>
                <a:gd name="connsiteY32" fmla="*/ 1017546 h 1115727"/>
                <a:gd name="connsiteX33" fmla="*/ 4871699 w 5360120"/>
                <a:gd name="connsiteY33" fmla="*/ 1038698 h 1115727"/>
                <a:gd name="connsiteX34" fmla="*/ 4940832 w 5360120"/>
                <a:gd name="connsiteY34" fmla="*/ 1056511 h 1115727"/>
                <a:gd name="connsiteX35" fmla="*/ 5012195 w 5360120"/>
                <a:gd name="connsiteY35" fmla="*/ 1072097 h 1115727"/>
                <a:gd name="connsiteX36" fmla="*/ 5086904 w 5360120"/>
                <a:gd name="connsiteY36" fmla="*/ 1086570 h 1115727"/>
                <a:gd name="connsiteX37" fmla="*/ 5160497 w 5360120"/>
                <a:gd name="connsiteY37" fmla="*/ 1097703 h 1115727"/>
                <a:gd name="connsiteX38" fmla="*/ 5236321 w 5360120"/>
                <a:gd name="connsiteY38" fmla="*/ 1106609 h 1115727"/>
                <a:gd name="connsiteX39" fmla="*/ 5311030 w 5360120"/>
                <a:gd name="connsiteY39" fmla="*/ 1112176 h 1115727"/>
                <a:gd name="connsiteX40" fmla="*/ 5360120 w 5360120"/>
                <a:gd name="connsiteY40" fmla="*/ 1115727 h 1115727"/>
                <a:gd name="connsiteX41" fmla="*/ 0 w 5360120"/>
                <a:gd name="connsiteY41" fmla="*/ 1115727 h 1115727"/>
                <a:gd name="connsiteX42" fmla="*/ 49090 w 5360120"/>
                <a:gd name="connsiteY42" fmla="*/ 1112176 h 1115727"/>
                <a:gd name="connsiteX43" fmla="*/ 124914 w 5360120"/>
                <a:gd name="connsiteY43" fmla="*/ 1106609 h 1115727"/>
                <a:gd name="connsiteX44" fmla="*/ 200738 w 5360120"/>
                <a:gd name="connsiteY44" fmla="*/ 1097703 h 1115727"/>
                <a:gd name="connsiteX45" fmla="*/ 275446 w 5360120"/>
                <a:gd name="connsiteY45" fmla="*/ 1086570 h 1115727"/>
                <a:gd name="connsiteX46" fmla="*/ 347925 w 5360120"/>
                <a:gd name="connsiteY46" fmla="*/ 1072097 h 1115727"/>
                <a:gd name="connsiteX47" fmla="*/ 420403 w 5360120"/>
                <a:gd name="connsiteY47" fmla="*/ 1056511 h 1115727"/>
                <a:gd name="connsiteX48" fmla="*/ 489537 w 5360120"/>
                <a:gd name="connsiteY48" fmla="*/ 1038698 h 1115727"/>
                <a:gd name="connsiteX49" fmla="*/ 558670 w 5360120"/>
                <a:gd name="connsiteY49" fmla="*/ 1017546 h 1115727"/>
                <a:gd name="connsiteX50" fmla="*/ 624458 w 5360120"/>
                <a:gd name="connsiteY50" fmla="*/ 995280 h 1115727"/>
                <a:gd name="connsiteX51" fmla="*/ 690246 w 5360120"/>
                <a:gd name="connsiteY51" fmla="*/ 971901 h 1115727"/>
                <a:gd name="connsiteX52" fmla="*/ 751574 w 5360120"/>
                <a:gd name="connsiteY52" fmla="*/ 944069 h 1115727"/>
                <a:gd name="connsiteX53" fmla="*/ 811787 w 5360120"/>
                <a:gd name="connsiteY53" fmla="*/ 915123 h 1115727"/>
                <a:gd name="connsiteX54" fmla="*/ 869770 w 5360120"/>
                <a:gd name="connsiteY54" fmla="*/ 885065 h 1115727"/>
                <a:gd name="connsiteX55" fmla="*/ 924408 w 5360120"/>
                <a:gd name="connsiteY55" fmla="*/ 851666 h 1115727"/>
                <a:gd name="connsiteX56" fmla="*/ 977930 w 5360120"/>
                <a:gd name="connsiteY56" fmla="*/ 817154 h 1115727"/>
                <a:gd name="connsiteX57" fmla="*/ 979045 w 5360120"/>
                <a:gd name="connsiteY57" fmla="*/ 816041 h 1115727"/>
                <a:gd name="connsiteX58" fmla="*/ 990196 w 5360120"/>
                <a:gd name="connsiteY58" fmla="*/ 808248 h 1115727"/>
                <a:gd name="connsiteX59" fmla="*/ 1021417 w 5360120"/>
                <a:gd name="connsiteY59" fmla="*/ 787095 h 1115727"/>
                <a:gd name="connsiteX60" fmla="*/ 1078285 w 5360120"/>
                <a:gd name="connsiteY60" fmla="*/ 745904 h 1115727"/>
                <a:gd name="connsiteX61" fmla="*/ 1176410 w 5360120"/>
                <a:gd name="connsiteY61" fmla="*/ 677993 h 1115727"/>
                <a:gd name="connsiteX62" fmla="*/ 1321367 w 5360120"/>
                <a:gd name="connsiteY62" fmla="*/ 576684 h 1115727"/>
                <a:gd name="connsiteX63" fmla="*/ 1522076 w 5360120"/>
                <a:gd name="connsiteY63" fmla="*/ 434183 h 1115727"/>
                <a:gd name="connsiteX64" fmla="*/ 1789689 w 5360120"/>
                <a:gd name="connsiteY64" fmla="*/ 247150 h 1115727"/>
                <a:gd name="connsiteX65" fmla="*/ 1836522 w 5360120"/>
                <a:gd name="connsiteY65" fmla="*/ 215978 h 1115727"/>
                <a:gd name="connsiteX66" fmla="*/ 1883354 w 5360120"/>
                <a:gd name="connsiteY66" fmla="*/ 189259 h 1115727"/>
                <a:gd name="connsiteX67" fmla="*/ 1931301 w 5360120"/>
                <a:gd name="connsiteY67" fmla="*/ 163653 h 1115727"/>
                <a:gd name="connsiteX68" fmla="*/ 1982594 w 5360120"/>
                <a:gd name="connsiteY68" fmla="*/ 139161 h 1115727"/>
                <a:gd name="connsiteX69" fmla="*/ 2036116 w 5360120"/>
                <a:gd name="connsiteY69" fmla="*/ 116895 h 1115727"/>
                <a:gd name="connsiteX70" fmla="*/ 2088524 w 5360120"/>
                <a:gd name="connsiteY70" fmla="*/ 95743 h 1115727"/>
                <a:gd name="connsiteX71" fmla="*/ 2145392 w 5360120"/>
                <a:gd name="connsiteY71" fmla="*/ 77930 h 1115727"/>
                <a:gd name="connsiteX72" fmla="*/ 2201144 w 5360120"/>
                <a:gd name="connsiteY72" fmla="*/ 61231 h 1115727"/>
                <a:gd name="connsiteX73" fmla="*/ 2259127 w 5360120"/>
                <a:gd name="connsiteY73" fmla="*/ 46758 h 1115727"/>
                <a:gd name="connsiteX74" fmla="*/ 2317110 w 5360120"/>
                <a:gd name="connsiteY74" fmla="*/ 33399 h 1115727"/>
                <a:gd name="connsiteX75" fmla="*/ 2376208 w 5360120"/>
                <a:gd name="connsiteY75" fmla="*/ 23379 h 1115727"/>
                <a:gd name="connsiteX76" fmla="*/ 2435305 w 5360120"/>
                <a:gd name="connsiteY76" fmla="*/ 14473 h 1115727"/>
                <a:gd name="connsiteX77" fmla="*/ 2496633 w 5360120"/>
                <a:gd name="connsiteY77" fmla="*/ 7793 h 1115727"/>
                <a:gd name="connsiteX78" fmla="*/ 2557961 w 5360120"/>
                <a:gd name="connsiteY78" fmla="*/ 3340 h 11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60120" h="1115727">
                  <a:moveTo>
                    <a:pt x="2618174" y="0"/>
                  </a:moveTo>
                  <a:lnTo>
                    <a:pt x="2679502" y="0"/>
                  </a:lnTo>
                  <a:lnTo>
                    <a:pt x="2740830" y="0"/>
                  </a:lnTo>
                  <a:lnTo>
                    <a:pt x="2803273" y="3340"/>
                  </a:lnTo>
                  <a:lnTo>
                    <a:pt x="2864601" y="7793"/>
                  </a:lnTo>
                  <a:lnTo>
                    <a:pt x="2923699" y="14473"/>
                  </a:lnTo>
                  <a:lnTo>
                    <a:pt x="2985027" y="23379"/>
                  </a:lnTo>
                  <a:lnTo>
                    <a:pt x="3043010" y="33399"/>
                  </a:lnTo>
                  <a:lnTo>
                    <a:pt x="3102109" y="46758"/>
                  </a:lnTo>
                  <a:lnTo>
                    <a:pt x="3160091" y="61231"/>
                  </a:lnTo>
                  <a:lnTo>
                    <a:pt x="3215843" y="77930"/>
                  </a:lnTo>
                  <a:lnTo>
                    <a:pt x="3270481" y="95743"/>
                  </a:lnTo>
                  <a:lnTo>
                    <a:pt x="3325119" y="116895"/>
                  </a:lnTo>
                  <a:lnTo>
                    <a:pt x="3376411" y="139161"/>
                  </a:lnTo>
                  <a:lnTo>
                    <a:pt x="3427704" y="163653"/>
                  </a:lnTo>
                  <a:lnTo>
                    <a:pt x="3477881" y="189259"/>
                  </a:lnTo>
                  <a:lnTo>
                    <a:pt x="3524713" y="215978"/>
                  </a:lnTo>
                  <a:lnTo>
                    <a:pt x="3569315" y="247150"/>
                  </a:lnTo>
                  <a:lnTo>
                    <a:pt x="3570430" y="248263"/>
                  </a:lnTo>
                  <a:lnTo>
                    <a:pt x="3581581" y="256056"/>
                  </a:lnTo>
                  <a:lnTo>
                    <a:pt x="3612802" y="277209"/>
                  </a:lnTo>
                  <a:lnTo>
                    <a:pt x="3671900" y="318401"/>
                  </a:lnTo>
                  <a:lnTo>
                    <a:pt x="3767795" y="386311"/>
                  </a:lnTo>
                  <a:lnTo>
                    <a:pt x="3912752" y="487620"/>
                  </a:lnTo>
                  <a:lnTo>
                    <a:pt x="4114577" y="627895"/>
                  </a:lnTo>
                  <a:lnTo>
                    <a:pt x="4383305" y="817154"/>
                  </a:lnTo>
                  <a:lnTo>
                    <a:pt x="4434597" y="851666"/>
                  </a:lnTo>
                  <a:lnTo>
                    <a:pt x="4490350" y="885065"/>
                  </a:lnTo>
                  <a:lnTo>
                    <a:pt x="4548333" y="915123"/>
                  </a:lnTo>
                  <a:lnTo>
                    <a:pt x="4608546" y="944069"/>
                  </a:lnTo>
                  <a:lnTo>
                    <a:pt x="4670989" y="971901"/>
                  </a:lnTo>
                  <a:lnTo>
                    <a:pt x="4736777" y="995280"/>
                  </a:lnTo>
                  <a:lnTo>
                    <a:pt x="4802565" y="1017546"/>
                  </a:lnTo>
                  <a:lnTo>
                    <a:pt x="4871699" y="1038698"/>
                  </a:lnTo>
                  <a:lnTo>
                    <a:pt x="4940832" y="1056511"/>
                  </a:lnTo>
                  <a:lnTo>
                    <a:pt x="5012195" y="1072097"/>
                  </a:lnTo>
                  <a:lnTo>
                    <a:pt x="5086904" y="1086570"/>
                  </a:lnTo>
                  <a:lnTo>
                    <a:pt x="5160497" y="1097703"/>
                  </a:lnTo>
                  <a:lnTo>
                    <a:pt x="5236321" y="1106609"/>
                  </a:lnTo>
                  <a:lnTo>
                    <a:pt x="5311030" y="1112176"/>
                  </a:lnTo>
                  <a:lnTo>
                    <a:pt x="5360120" y="1115727"/>
                  </a:lnTo>
                  <a:lnTo>
                    <a:pt x="0" y="1115727"/>
                  </a:lnTo>
                  <a:lnTo>
                    <a:pt x="49090" y="1112176"/>
                  </a:lnTo>
                  <a:lnTo>
                    <a:pt x="124914" y="1106609"/>
                  </a:lnTo>
                  <a:lnTo>
                    <a:pt x="200738" y="1097703"/>
                  </a:lnTo>
                  <a:lnTo>
                    <a:pt x="275446" y="1086570"/>
                  </a:lnTo>
                  <a:lnTo>
                    <a:pt x="347925" y="1072097"/>
                  </a:lnTo>
                  <a:lnTo>
                    <a:pt x="420403" y="1056511"/>
                  </a:lnTo>
                  <a:lnTo>
                    <a:pt x="489537" y="1038698"/>
                  </a:lnTo>
                  <a:lnTo>
                    <a:pt x="558670" y="1017546"/>
                  </a:lnTo>
                  <a:lnTo>
                    <a:pt x="624458" y="995280"/>
                  </a:lnTo>
                  <a:lnTo>
                    <a:pt x="690246" y="971901"/>
                  </a:lnTo>
                  <a:lnTo>
                    <a:pt x="751574" y="944069"/>
                  </a:lnTo>
                  <a:lnTo>
                    <a:pt x="811787" y="915123"/>
                  </a:lnTo>
                  <a:lnTo>
                    <a:pt x="869770" y="885065"/>
                  </a:lnTo>
                  <a:lnTo>
                    <a:pt x="924408" y="851666"/>
                  </a:lnTo>
                  <a:lnTo>
                    <a:pt x="977930" y="817154"/>
                  </a:lnTo>
                  <a:lnTo>
                    <a:pt x="979045" y="816041"/>
                  </a:lnTo>
                  <a:lnTo>
                    <a:pt x="990196" y="808248"/>
                  </a:lnTo>
                  <a:lnTo>
                    <a:pt x="1021417" y="787095"/>
                  </a:lnTo>
                  <a:lnTo>
                    <a:pt x="1078285" y="745904"/>
                  </a:lnTo>
                  <a:lnTo>
                    <a:pt x="1176410" y="677993"/>
                  </a:lnTo>
                  <a:lnTo>
                    <a:pt x="1321367" y="576684"/>
                  </a:lnTo>
                  <a:lnTo>
                    <a:pt x="1522076" y="434183"/>
                  </a:lnTo>
                  <a:lnTo>
                    <a:pt x="1789689" y="247150"/>
                  </a:lnTo>
                  <a:lnTo>
                    <a:pt x="1836522" y="215978"/>
                  </a:lnTo>
                  <a:lnTo>
                    <a:pt x="1883354" y="189259"/>
                  </a:lnTo>
                  <a:lnTo>
                    <a:pt x="1931301" y="163653"/>
                  </a:lnTo>
                  <a:lnTo>
                    <a:pt x="1982594" y="139161"/>
                  </a:lnTo>
                  <a:lnTo>
                    <a:pt x="2036116" y="116895"/>
                  </a:lnTo>
                  <a:lnTo>
                    <a:pt x="2088524" y="95743"/>
                  </a:lnTo>
                  <a:lnTo>
                    <a:pt x="2145392" y="77930"/>
                  </a:lnTo>
                  <a:lnTo>
                    <a:pt x="2201144" y="61231"/>
                  </a:lnTo>
                  <a:lnTo>
                    <a:pt x="2259127" y="46758"/>
                  </a:lnTo>
                  <a:lnTo>
                    <a:pt x="2317110" y="33399"/>
                  </a:lnTo>
                  <a:lnTo>
                    <a:pt x="2376208" y="23379"/>
                  </a:lnTo>
                  <a:lnTo>
                    <a:pt x="2435305" y="14473"/>
                  </a:lnTo>
                  <a:lnTo>
                    <a:pt x="2496633" y="7793"/>
                  </a:lnTo>
                  <a:lnTo>
                    <a:pt x="2557961" y="334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B7892DE0-DE09-18E4-54AA-0046A60D0B8F}"/>
                </a:ext>
              </a:extLst>
            </p:cNvPr>
            <p:cNvSpPr/>
            <p:nvPr/>
          </p:nvSpPr>
          <p:spPr>
            <a:xfrm>
              <a:off x="-978299" y="4107544"/>
              <a:ext cx="16369553" cy="2076171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85E240F0-CCEB-3BE7-AB27-3AEC8DE0CC0B}"/>
                </a:ext>
              </a:extLst>
            </p:cNvPr>
            <p:cNvSpPr/>
            <p:nvPr/>
          </p:nvSpPr>
          <p:spPr>
            <a:xfrm>
              <a:off x="2882469" y="3674312"/>
              <a:ext cx="2063749" cy="433233"/>
            </a:xfrm>
            <a:custGeom>
              <a:avLst/>
              <a:gdLst>
                <a:gd name="connsiteX0" fmla="*/ 2618174 w 5360120"/>
                <a:gd name="connsiteY0" fmla="*/ 0 h 1115727"/>
                <a:gd name="connsiteX1" fmla="*/ 2679502 w 5360120"/>
                <a:gd name="connsiteY1" fmla="*/ 0 h 1115727"/>
                <a:gd name="connsiteX2" fmla="*/ 2740830 w 5360120"/>
                <a:gd name="connsiteY2" fmla="*/ 0 h 1115727"/>
                <a:gd name="connsiteX3" fmla="*/ 2803273 w 5360120"/>
                <a:gd name="connsiteY3" fmla="*/ 3340 h 1115727"/>
                <a:gd name="connsiteX4" fmla="*/ 2864601 w 5360120"/>
                <a:gd name="connsiteY4" fmla="*/ 7793 h 1115727"/>
                <a:gd name="connsiteX5" fmla="*/ 2923699 w 5360120"/>
                <a:gd name="connsiteY5" fmla="*/ 14473 h 1115727"/>
                <a:gd name="connsiteX6" fmla="*/ 2985027 w 5360120"/>
                <a:gd name="connsiteY6" fmla="*/ 23379 h 1115727"/>
                <a:gd name="connsiteX7" fmla="*/ 3043010 w 5360120"/>
                <a:gd name="connsiteY7" fmla="*/ 33399 h 1115727"/>
                <a:gd name="connsiteX8" fmla="*/ 3102109 w 5360120"/>
                <a:gd name="connsiteY8" fmla="*/ 46758 h 1115727"/>
                <a:gd name="connsiteX9" fmla="*/ 3160091 w 5360120"/>
                <a:gd name="connsiteY9" fmla="*/ 61231 h 1115727"/>
                <a:gd name="connsiteX10" fmla="*/ 3215843 w 5360120"/>
                <a:gd name="connsiteY10" fmla="*/ 77930 h 1115727"/>
                <a:gd name="connsiteX11" fmla="*/ 3270481 w 5360120"/>
                <a:gd name="connsiteY11" fmla="*/ 95743 h 1115727"/>
                <a:gd name="connsiteX12" fmla="*/ 3325119 w 5360120"/>
                <a:gd name="connsiteY12" fmla="*/ 116895 h 1115727"/>
                <a:gd name="connsiteX13" fmla="*/ 3376411 w 5360120"/>
                <a:gd name="connsiteY13" fmla="*/ 139161 h 1115727"/>
                <a:gd name="connsiteX14" fmla="*/ 3427704 w 5360120"/>
                <a:gd name="connsiteY14" fmla="*/ 163653 h 1115727"/>
                <a:gd name="connsiteX15" fmla="*/ 3477881 w 5360120"/>
                <a:gd name="connsiteY15" fmla="*/ 189259 h 1115727"/>
                <a:gd name="connsiteX16" fmla="*/ 3524713 w 5360120"/>
                <a:gd name="connsiteY16" fmla="*/ 215978 h 1115727"/>
                <a:gd name="connsiteX17" fmla="*/ 3569315 w 5360120"/>
                <a:gd name="connsiteY17" fmla="*/ 247150 h 1115727"/>
                <a:gd name="connsiteX18" fmla="*/ 3570430 w 5360120"/>
                <a:gd name="connsiteY18" fmla="*/ 248263 h 1115727"/>
                <a:gd name="connsiteX19" fmla="*/ 3581581 w 5360120"/>
                <a:gd name="connsiteY19" fmla="*/ 256056 h 1115727"/>
                <a:gd name="connsiteX20" fmla="*/ 3612802 w 5360120"/>
                <a:gd name="connsiteY20" fmla="*/ 277209 h 1115727"/>
                <a:gd name="connsiteX21" fmla="*/ 3671900 w 5360120"/>
                <a:gd name="connsiteY21" fmla="*/ 318401 h 1115727"/>
                <a:gd name="connsiteX22" fmla="*/ 3767795 w 5360120"/>
                <a:gd name="connsiteY22" fmla="*/ 386311 h 1115727"/>
                <a:gd name="connsiteX23" fmla="*/ 3912752 w 5360120"/>
                <a:gd name="connsiteY23" fmla="*/ 487620 h 1115727"/>
                <a:gd name="connsiteX24" fmla="*/ 4114577 w 5360120"/>
                <a:gd name="connsiteY24" fmla="*/ 627895 h 1115727"/>
                <a:gd name="connsiteX25" fmla="*/ 4383305 w 5360120"/>
                <a:gd name="connsiteY25" fmla="*/ 817154 h 1115727"/>
                <a:gd name="connsiteX26" fmla="*/ 4434597 w 5360120"/>
                <a:gd name="connsiteY26" fmla="*/ 851666 h 1115727"/>
                <a:gd name="connsiteX27" fmla="*/ 4490350 w 5360120"/>
                <a:gd name="connsiteY27" fmla="*/ 885065 h 1115727"/>
                <a:gd name="connsiteX28" fmla="*/ 4548333 w 5360120"/>
                <a:gd name="connsiteY28" fmla="*/ 915123 h 1115727"/>
                <a:gd name="connsiteX29" fmla="*/ 4608546 w 5360120"/>
                <a:gd name="connsiteY29" fmla="*/ 944069 h 1115727"/>
                <a:gd name="connsiteX30" fmla="*/ 4670989 w 5360120"/>
                <a:gd name="connsiteY30" fmla="*/ 971901 h 1115727"/>
                <a:gd name="connsiteX31" fmla="*/ 4736777 w 5360120"/>
                <a:gd name="connsiteY31" fmla="*/ 995280 h 1115727"/>
                <a:gd name="connsiteX32" fmla="*/ 4802565 w 5360120"/>
                <a:gd name="connsiteY32" fmla="*/ 1017546 h 1115727"/>
                <a:gd name="connsiteX33" fmla="*/ 4871699 w 5360120"/>
                <a:gd name="connsiteY33" fmla="*/ 1038698 h 1115727"/>
                <a:gd name="connsiteX34" fmla="*/ 4940832 w 5360120"/>
                <a:gd name="connsiteY34" fmla="*/ 1056511 h 1115727"/>
                <a:gd name="connsiteX35" fmla="*/ 5012195 w 5360120"/>
                <a:gd name="connsiteY35" fmla="*/ 1072097 h 1115727"/>
                <a:gd name="connsiteX36" fmla="*/ 5086904 w 5360120"/>
                <a:gd name="connsiteY36" fmla="*/ 1086570 h 1115727"/>
                <a:gd name="connsiteX37" fmla="*/ 5160497 w 5360120"/>
                <a:gd name="connsiteY37" fmla="*/ 1097703 h 1115727"/>
                <a:gd name="connsiteX38" fmla="*/ 5236321 w 5360120"/>
                <a:gd name="connsiteY38" fmla="*/ 1106609 h 1115727"/>
                <a:gd name="connsiteX39" fmla="*/ 5311030 w 5360120"/>
                <a:gd name="connsiteY39" fmla="*/ 1112176 h 1115727"/>
                <a:gd name="connsiteX40" fmla="*/ 5360120 w 5360120"/>
                <a:gd name="connsiteY40" fmla="*/ 1115727 h 1115727"/>
                <a:gd name="connsiteX41" fmla="*/ 0 w 5360120"/>
                <a:gd name="connsiteY41" fmla="*/ 1115727 h 1115727"/>
                <a:gd name="connsiteX42" fmla="*/ 49090 w 5360120"/>
                <a:gd name="connsiteY42" fmla="*/ 1112176 h 1115727"/>
                <a:gd name="connsiteX43" fmla="*/ 124914 w 5360120"/>
                <a:gd name="connsiteY43" fmla="*/ 1106609 h 1115727"/>
                <a:gd name="connsiteX44" fmla="*/ 200738 w 5360120"/>
                <a:gd name="connsiteY44" fmla="*/ 1097703 h 1115727"/>
                <a:gd name="connsiteX45" fmla="*/ 275446 w 5360120"/>
                <a:gd name="connsiteY45" fmla="*/ 1086570 h 1115727"/>
                <a:gd name="connsiteX46" fmla="*/ 347925 w 5360120"/>
                <a:gd name="connsiteY46" fmla="*/ 1072097 h 1115727"/>
                <a:gd name="connsiteX47" fmla="*/ 420403 w 5360120"/>
                <a:gd name="connsiteY47" fmla="*/ 1056511 h 1115727"/>
                <a:gd name="connsiteX48" fmla="*/ 489537 w 5360120"/>
                <a:gd name="connsiteY48" fmla="*/ 1038698 h 1115727"/>
                <a:gd name="connsiteX49" fmla="*/ 558670 w 5360120"/>
                <a:gd name="connsiteY49" fmla="*/ 1017546 h 1115727"/>
                <a:gd name="connsiteX50" fmla="*/ 624458 w 5360120"/>
                <a:gd name="connsiteY50" fmla="*/ 995280 h 1115727"/>
                <a:gd name="connsiteX51" fmla="*/ 690246 w 5360120"/>
                <a:gd name="connsiteY51" fmla="*/ 971901 h 1115727"/>
                <a:gd name="connsiteX52" fmla="*/ 751574 w 5360120"/>
                <a:gd name="connsiteY52" fmla="*/ 944069 h 1115727"/>
                <a:gd name="connsiteX53" fmla="*/ 811787 w 5360120"/>
                <a:gd name="connsiteY53" fmla="*/ 915123 h 1115727"/>
                <a:gd name="connsiteX54" fmla="*/ 869770 w 5360120"/>
                <a:gd name="connsiteY54" fmla="*/ 885065 h 1115727"/>
                <a:gd name="connsiteX55" fmla="*/ 924408 w 5360120"/>
                <a:gd name="connsiteY55" fmla="*/ 851666 h 1115727"/>
                <a:gd name="connsiteX56" fmla="*/ 977930 w 5360120"/>
                <a:gd name="connsiteY56" fmla="*/ 817154 h 1115727"/>
                <a:gd name="connsiteX57" fmla="*/ 979045 w 5360120"/>
                <a:gd name="connsiteY57" fmla="*/ 816041 h 1115727"/>
                <a:gd name="connsiteX58" fmla="*/ 990196 w 5360120"/>
                <a:gd name="connsiteY58" fmla="*/ 808248 h 1115727"/>
                <a:gd name="connsiteX59" fmla="*/ 1021417 w 5360120"/>
                <a:gd name="connsiteY59" fmla="*/ 787095 h 1115727"/>
                <a:gd name="connsiteX60" fmla="*/ 1078285 w 5360120"/>
                <a:gd name="connsiteY60" fmla="*/ 745904 h 1115727"/>
                <a:gd name="connsiteX61" fmla="*/ 1176410 w 5360120"/>
                <a:gd name="connsiteY61" fmla="*/ 677993 h 1115727"/>
                <a:gd name="connsiteX62" fmla="*/ 1321367 w 5360120"/>
                <a:gd name="connsiteY62" fmla="*/ 576684 h 1115727"/>
                <a:gd name="connsiteX63" fmla="*/ 1522076 w 5360120"/>
                <a:gd name="connsiteY63" fmla="*/ 434183 h 1115727"/>
                <a:gd name="connsiteX64" fmla="*/ 1789689 w 5360120"/>
                <a:gd name="connsiteY64" fmla="*/ 247150 h 1115727"/>
                <a:gd name="connsiteX65" fmla="*/ 1836522 w 5360120"/>
                <a:gd name="connsiteY65" fmla="*/ 215978 h 1115727"/>
                <a:gd name="connsiteX66" fmla="*/ 1883354 w 5360120"/>
                <a:gd name="connsiteY66" fmla="*/ 189259 h 1115727"/>
                <a:gd name="connsiteX67" fmla="*/ 1931301 w 5360120"/>
                <a:gd name="connsiteY67" fmla="*/ 163653 h 1115727"/>
                <a:gd name="connsiteX68" fmla="*/ 1982594 w 5360120"/>
                <a:gd name="connsiteY68" fmla="*/ 139161 h 1115727"/>
                <a:gd name="connsiteX69" fmla="*/ 2036116 w 5360120"/>
                <a:gd name="connsiteY69" fmla="*/ 116895 h 1115727"/>
                <a:gd name="connsiteX70" fmla="*/ 2088524 w 5360120"/>
                <a:gd name="connsiteY70" fmla="*/ 95743 h 1115727"/>
                <a:gd name="connsiteX71" fmla="*/ 2145392 w 5360120"/>
                <a:gd name="connsiteY71" fmla="*/ 77930 h 1115727"/>
                <a:gd name="connsiteX72" fmla="*/ 2201144 w 5360120"/>
                <a:gd name="connsiteY72" fmla="*/ 61231 h 1115727"/>
                <a:gd name="connsiteX73" fmla="*/ 2259127 w 5360120"/>
                <a:gd name="connsiteY73" fmla="*/ 46758 h 1115727"/>
                <a:gd name="connsiteX74" fmla="*/ 2317110 w 5360120"/>
                <a:gd name="connsiteY74" fmla="*/ 33399 h 1115727"/>
                <a:gd name="connsiteX75" fmla="*/ 2376208 w 5360120"/>
                <a:gd name="connsiteY75" fmla="*/ 23379 h 1115727"/>
                <a:gd name="connsiteX76" fmla="*/ 2435305 w 5360120"/>
                <a:gd name="connsiteY76" fmla="*/ 14473 h 1115727"/>
                <a:gd name="connsiteX77" fmla="*/ 2496633 w 5360120"/>
                <a:gd name="connsiteY77" fmla="*/ 7793 h 1115727"/>
                <a:gd name="connsiteX78" fmla="*/ 2557961 w 5360120"/>
                <a:gd name="connsiteY78" fmla="*/ 3340 h 11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60120" h="1115727">
                  <a:moveTo>
                    <a:pt x="2618174" y="0"/>
                  </a:moveTo>
                  <a:lnTo>
                    <a:pt x="2679502" y="0"/>
                  </a:lnTo>
                  <a:lnTo>
                    <a:pt x="2740830" y="0"/>
                  </a:lnTo>
                  <a:lnTo>
                    <a:pt x="2803273" y="3340"/>
                  </a:lnTo>
                  <a:lnTo>
                    <a:pt x="2864601" y="7793"/>
                  </a:lnTo>
                  <a:lnTo>
                    <a:pt x="2923699" y="14473"/>
                  </a:lnTo>
                  <a:lnTo>
                    <a:pt x="2985027" y="23379"/>
                  </a:lnTo>
                  <a:lnTo>
                    <a:pt x="3043010" y="33399"/>
                  </a:lnTo>
                  <a:lnTo>
                    <a:pt x="3102109" y="46758"/>
                  </a:lnTo>
                  <a:lnTo>
                    <a:pt x="3160091" y="61231"/>
                  </a:lnTo>
                  <a:lnTo>
                    <a:pt x="3215843" y="77930"/>
                  </a:lnTo>
                  <a:lnTo>
                    <a:pt x="3270481" y="95743"/>
                  </a:lnTo>
                  <a:lnTo>
                    <a:pt x="3325119" y="116895"/>
                  </a:lnTo>
                  <a:lnTo>
                    <a:pt x="3376411" y="139161"/>
                  </a:lnTo>
                  <a:lnTo>
                    <a:pt x="3427704" y="163653"/>
                  </a:lnTo>
                  <a:lnTo>
                    <a:pt x="3477881" y="189259"/>
                  </a:lnTo>
                  <a:lnTo>
                    <a:pt x="3524713" y="215978"/>
                  </a:lnTo>
                  <a:lnTo>
                    <a:pt x="3569315" y="247150"/>
                  </a:lnTo>
                  <a:lnTo>
                    <a:pt x="3570430" y="248263"/>
                  </a:lnTo>
                  <a:lnTo>
                    <a:pt x="3581581" y="256056"/>
                  </a:lnTo>
                  <a:lnTo>
                    <a:pt x="3612802" y="277209"/>
                  </a:lnTo>
                  <a:lnTo>
                    <a:pt x="3671900" y="318401"/>
                  </a:lnTo>
                  <a:lnTo>
                    <a:pt x="3767795" y="386311"/>
                  </a:lnTo>
                  <a:lnTo>
                    <a:pt x="3912752" y="487620"/>
                  </a:lnTo>
                  <a:lnTo>
                    <a:pt x="4114577" y="627895"/>
                  </a:lnTo>
                  <a:lnTo>
                    <a:pt x="4383305" y="817154"/>
                  </a:lnTo>
                  <a:lnTo>
                    <a:pt x="4434597" y="851666"/>
                  </a:lnTo>
                  <a:lnTo>
                    <a:pt x="4490350" y="885065"/>
                  </a:lnTo>
                  <a:lnTo>
                    <a:pt x="4548333" y="915123"/>
                  </a:lnTo>
                  <a:lnTo>
                    <a:pt x="4608546" y="944069"/>
                  </a:lnTo>
                  <a:lnTo>
                    <a:pt x="4670989" y="971901"/>
                  </a:lnTo>
                  <a:lnTo>
                    <a:pt x="4736777" y="995280"/>
                  </a:lnTo>
                  <a:lnTo>
                    <a:pt x="4802565" y="1017546"/>
                  </a:lnTo>
                  <a:lnTo>
                    <a:pt x="4871699" y="1038698"/>
                  </a:lnTo>
                  <a:lnTo>
                    <a:pt x="4940832" y="1056511"/>
                  </a:lnTo>
                  <a:lnTo>
                    <a:pt x="5012195" y="1072097"/>
                  </a:lnTo>
                  <a:lnTo>
                    <a:pt x="5086904" y="1086570"/>
                  </a:lnTo>
                  <a:lnTo>
                    <a:pt x="5160497" y="1097703"/>
                  </a:lnTo>
                  <a:lnTo>
                    <a:pt x="5236321" y="1106609"/>
                  </a:lnTo>
                  <a:lnTo>
                    <a:pt x="5311030" y="1112176"/>
                  </a:lnTo>
                  <a:lnTo>
                    <a:pt x="5360120" y="1115727"/>
                  </a:lnTo>
                  <a:lnTo>
                    <a:pt x="0" y="1115727"/>
                  </a:lnTo>
                  <a:lnTo>
                    <a:pt x="49090" y="1112176"/>
                  </a:lnTo>
                  <a:lnTo>
                    <a:pt x="124914" y="1106609"/>
                  </a:lnTo>
                  <a:lnTo>
                    <a:pt x="200738" y="1097703"/>
                  </a:lnTo>
                  <a:lnTo>
                    <a:pt x="275446" y="1086570"/>
                  </a:lnTo>
                  <a:lnTo>
                    <a:pt x="347925" y="1072097"/>
                  </a:lnTo>
                  <a:lnTo>
                    <a:pt x="420403" y="1056511"/>
                  </a:lnTo>
                  <a:lnTo>
                    <a:pt x="489537" y="1038698"/>
                  </a:lnTo>
                  <a:lnTo>
                    <a:pt x="558670" y="1017546"/>
                  </a:lnTo>
                  <a:lnTo>
                    <a:pt x="624458" y="995280"/>
                  </a:lnTo>
                  <a:lnTo>
                    <a:pt x="690246" y="971901"/>
                  </a:lnTo>
                  <a:lnTo>
                    <a:pt x="751574" y="944069"/>
                  </a:lnTo>
                  <a:lnTo>
                    <a:pt x="811787" y="915123"/>
                  </a:lnTo>
                  <a:lnTo>
                    <a:pt x="869770" y="885065"/>
                  </a:lnTo>
                  <a:lnTo>
                    <a:pt x="924408" y="851666"/>
                  </a:lnTo>
                  <a:lnTo>
                    <a:pt x="977930" y="817154"/>
                  </a:lnTo>
                  <a:lnTo>
                    <a:pt x="979045" y="816041"/>
                  </a:lnTo>
                  <a:lnTo>
                    <a:pt x="990196" y="808248"/>
                  </a:lnTo>
                  <a:lnTo>
                    <a:pt x="1021417" y="787095"/>
                  </a:lnTo>
                  <a:lnTo>
                    <a:pt x="1078285" y="745904"/>
                  </a:lnTo>
                  <a:lnTo>
                    <a:pt x="1176410" y="677993"/>
                  </a:lnTo>
                  <a:lnTo>
                    <a:pt x="1321367" y="576684"/>
                  </a:lnTo>
                  <a:lnTo>
                    <a:pt x="1522076" y="434183"/>
                  </a:lnTo>
                  <a:lnTo>
                    <a:pt x="1789689" y="247150"/>
                  </a:lnTo>
                  <a:lnTo>
                    <a:pt x="1836522" y="215978"/>
                  </a:lnTo>
                  <a:lnTo>
                    <a:pt x="1883354" y="189259"/>
                  </a:lnTo>
                  <a:lnTo>
                    <a:pt x="1931301" y="163653"/>
                  </a:lnTo>
                  <a:lnTo>
                    <a:pt x="1982594" y="139161"/>
                  </a:lnTo>
                  <a:lnTo>
                    <a:pt x="2036116" y="116895"/>
                  </a:lnTo>
                  <a:lnTo>
                    <a:pt x="2088524" y="95743"/>
                  </a:lnTo>
                  <a:lnTo>
                    <a:pt x="2145392" y="77930"/>
                  </a:lnTo>
                  <a:lnTo>
                    <a:pt x="2201144" y="61231"/>
                  </a:lnTo>
                  <a:lnTo>
                    <a:pt x="2259127" y="46758"/>
                  </a:lnTo>
                  <a:lnTo>
                    <a:pt x="2317110" y="33399"/>
                  </a:lnTo>
                  <a:lnTo>
                    <a:pt x="2376208" y="23379"/>
                  </a:lnTo>
                  <a:lnTo>
                    <a:pt x="2435305" y="14473"/>
                  </a:lnTo>
                  <a:lnTo>
                    <a:pt x="2496633" y="7793"/>
                  </a:lnTo>
                  <a:lnTo>
                    <a:pt x="2557961" y="3340"/>
                  </a:ln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</p:grp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27059130-641E-7247-9B2B-0602940EE081}"/>
              </a:ext>
            </a:extLst>
          </p:cNvPr>
          <p:cNvSpPr txBox="1"/>
          <p:nvPr/>
        </p:nvSpPr>
        <p:spPr>
          <a:xfrm>
            <a:off x="513614" y="1220703"/>
            <a:ext cx="11389623" cy="22082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5500"/>
              </a:lnSpc>
            </a:pP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БИЗНЕС </a:t>
            </a:r>
            <a:b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</a:b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СТРОИТСЯ </a:t>
            </a:r>
            <a:b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</a:b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НА КОММУНИКАЦИЯХ</a:t>
            </a:r>
          </a:p>
        </p:txBody>
      </p: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0" name="Овал 9">
            <a:extLst>
              <a:ext uri="{FF2B5EF4-FFF2-40B4-BE49-F238E27FC236}">
                <a16:creationId xmlns:a16="http://schemas.microsoft.com/office/drawing/2014/main" id="{A81C2DB6-A998-6597-E1F1-2A3CD37395C3}"/>
              </a:ext>
            </a:extLst>
          </p:cNvPr>
          <p:cNvSpPr/>
          <p:nvPr/>
        </p:nvSpPr>
        <p:spPr>
          <a:xfrm rot="5400000">
            <a:off x="6404103" y="-99293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C1EC4CF1-79D8-4A01-3854-D85FF539982E}"/>
              </a:ext>
            </a:extLst>
          </p:cNvPr>
          <p:cNvSpPr/>
          <p:nvPr/>
        </p:nvSpPr>
        <p:spPr>
          <a:xfrm rot="5732377">
            <a:off x="9932721" y="0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043FB44F-0804-1010-B971-6339147A5F13}"/>
              </a:ext>
            </a:extLst>
          </p:cNvPr>
          <p:cNvSpPr/>
          <p:nvPr/>
        </p:nvSpPr>
        <p:spPr>
          <a:xfrm rot="11095245">
            <a:off x="4796846" y="-62609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FCCF162F-9745-F382-66CD-C0B273DE6C18}"/>
              </a:ext>
            </a:extLst>
          </p:cNvPr>
          <p:cNvSpPr/>
          <p:nvPr/>
        </p:nvSpPr>
        <p:spPr>
          <a:xfrm rot="17731941">
            <a:off x="10889004" y="1164763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AB0D6405-D85B-B4A1-00E0-A94CB0603189}"/>
              </a:ext>
            </a:extLst>
          </p:cNvPr>
          <p:cNvGrpSpPr/>
          <p:nvPr/>
        </p:nvGrpSpPr>
        <p:grpSpPr>
          <a:xfrm>
            <a:off x="6925412" y="3863300"/>
            <a:ext cx="750136" cy="750136"/>
            <a:chOff x="7871724" y="7154806"/>
            <a:chExt cx="2600444" cy="2600444"/>
          </a:xfrm>
        </p:grpSpPr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93462B23-6DF3-5557-B154-19790FA2DF47}"/>
                </a:ext>
              </a:extLst>
            </p:cNvPr>
            <p:cNvSpPr/>
            <p:nvPr/>
          </p:nvSpPr>
          <p:spPr>
            <a:xfrm>
              <a:off x="7871724" y="7154806"/>
              <a:ext cx="2600444" cy="2600444"/>
            </a:xfrm>
            <a:prstGeom prst="ellipse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 dirty="0"/>
            </a:p>
          </p:txBody>
        </p:sp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622AC6CC-FBB3-9CB4-3AD8-CF30A707DFD9}"/>
                </a:ext>
              </a:extLst>
            </p:cNvPr>
            <p:cNvSpPr/>
            <p:nvPr/>
          </p:nvSpPr>
          <p:spPr>
            <a:xfrm>
              <a:off x="8097382" y="7606122"/>
              <a:ext cx="2149128" cy="2149128"/>
            </a:xfrm>
            <a:prstGeom prst="ellipse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 dirty="0"/>
            </a:p>
          </p:txBody>
        </p: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E4C29DA3-83A7-D074-723C-C318399DC8F5}"/>
                </a:ext>
              </a:extLst>
            </p:cNvPr>
            <p:cNvSpPr/>
            <p:nvPr/>
          </p:nvSpPr>
          <p:spPr>
            <a:xfrm>
              <a:off x="8364611" y="8140579"/>
              <a:ext cx="1614671" cy="1614671"/>
            </a:xfrm>
            <a:prstGeom prst="ellipse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Unbounded" panose="020B0305040102020103" pitchFamily="34" charset="0"/>
                </a:rPr>
                <a:t>5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44E2BA5-30A2-3DE9-18E6-AF722143FFB5}"/>
              </a:ext>
            </a:extLst>
          </p:cNvPr>
          <p:cNvSpPr txBox="1"/>
          <p:nvPr/>
        </p:nvSpPr>
        <p:spPr>
          <a:xfrm>
            <a:off x="7001360" y="4743625"/>
            <a:ext cx="6796863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4500"/>
              </a:lnSpc>
            </a:pPr>
            <a:r>
              <a:rPr lang="ru-RU" sz="4000" dirty="0">
                <a:solidFill>
                  <a:schemeClr val="bg1"/>
                </a:solidFill>
                <a:effectLst/>
                <a:latin typeface="Unbounded" panose="020B0305040102020103" pitchFamily="34" charset="0"/>
              </a:rPr>
              <a:t>Оффлайн-</a:t>
            </a:r>
            <a:br>
              <a:rPr lang="ru-RU" sz="4000" dirty="0">
                <a:solidFill>
                  <a:schemeClr val="bg1"/>
                </a:solidFill>
                <a:effectLst/>
                <a:latin typeface="Unbounded" panose="020B0305040102020103" pitchFamily="34" charset="0"/>
              </a:rPr>
            </a:br>
            <a:r>
              <a:rPr lang="ru-RU" sz="4000" dirty="0">
                <a:solidFill>
                  <a:schemeClr val="bg1"/>
                </a:solidFill>
                <a:effectLst/>
                <a:latin typeface="Unbounded" panose="020B0305040102020103" pitchFamily="34" charset="0"/>
              </a:rPr>
              <a:t>выступления</a:t>
            </a:r>
            <a:endParaRPr lang="ru-RU" sz="3600" dirty="0">
              <a:solidFill>
                <a:schemeClr val="bg1"/>
              </a:solidFill>
              <a:effectLst/>
              <a:latin typeface="Unbounde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4728E87-16EE-2440-F20B-1ED4283BB48D}"/>
              </a:ext>
            </a:extLst>
          </p:cNvPr>
          <p:cNvSpPr/>
          <p:nvPr/>
        </p:nvSpPr>
        <p:spPr>
          <a:xfrm>
            <a:off x="-3262184" y="4107544"/>
            <a:ext cx="5725099" cy="2076171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Oval 132">
            <a:extLst>
              <a:ext uri="{FF2B5EF4-FFF2-40B4-BE49-F238E27FC236}">
                <a16:creationId xmlns:a16="http://schemas.microsoft.com/office/drawing/2014/main" id="{CB3D5EAD-C55B-5D3E-D93B-C46E6ADD7130}"/>
              </a:ext>
            </a:extLst>
          </p:cNvPr>
          <p:cNvSpPr/>
          <p:nvPr/>
        </p:nvSpPr>
        <p:spPr>
          <a:xfrm rot="16660433">
            <a:off x="-1552515" y="5990119"/>
            <a:ext cx="2207427" cy="2207427"/>
          </a:xfrm>
          <a:prstGeom prst="ellipse">
            <a:avLst/>
          </a:prstGeom>
          <a:gradFill flip="none" rotWithShape="1">
            <a:gsLst>
              <a:gs pos="100000">
                <a:schemeClr val="accent2">
                  <a:lumMod val="20000"/>
                  <a:lumOff val="80000"/>
                  <a:alpha val="0"/>
                </a:schemeClr>
              </a:gs>
              <a:gs pos="0">
                <a:srgbClr val="C0DCFD"/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Oval 131">
            <a:extLst>
              <a:ext uri="{FF2B5EF4-FFF2-40B4-BE49-F238E27FC236}">
                <a16:creationId xmlns:a16="http://schemas.microsoft.com/office/drawing/2014/main" id="{B3A29306-C48C-12D0-A15B-825911070038}"/>
              </a:ext>
            </a:extLst>
          </p:cNvPr>
          <p:cNvSpPr/>
          <p:nvPr/>
        </p:nvSpPr>
        <p:spPr>
          <a:xfrm rot="17860360" flipH="1">
            <a:off x="13570190" y="-1500448"/>
            <a:ext cx="1388192" cy="1388192"/>
          </a:xfrm>
          <a:prstGeom prst="ellipse">
            <a:avLst/>
          </a:prstGeom>
          <a:gradFill flip="none" rotWithShape="1">
            <a:gsLst>
              <a:gs pos="100000">
                <a:srgbClr val="C0DCFD">
                  <a:alpha val="0"/>
                </a:srgbClr>
              </a:gs>
              <a:gs pos="0">
                <a:srgbClr val="620CFD">
                  <a:alpha val="28632"/>
                </a:srgbClr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2" name="Group 73">
            <a:extLst>
              <a:ext uri="{FF2B5EF4-FFF2-40B4-BE49-F238E27FC236}">
                <a16:creationId xmlns:a16="http://schemas.microsoft.com/office/drawing/2014/main" id="{722FB2C2-5675-C76B-EB83-456362C10C52}"/>
              </a:ext>
            </a:extLst>
          </p:cNvPr>
          <p:cNvGrpSpPr/>
          <p:nvPr/>
        </p:nvGrpSpPr>
        <p:grpSpPr>
          <a:xfrm>
            <a:off x="13327232" y="3017520"/>
            <a:ext cx="5280661" cy="3840480"/>
            <a:chOff x="-2" y="0"/>
            <a:chExt cx="6428641" cy="6858000"/>
          </a:xfrm>
        </p:grpSpPr>
        <p:sp>
          <p:nvSpPr>
            <p:cNvPr id="23" name="Rectangle 36">
              <a:extLst>
                <a:ext uri="{FF2B5EF4-FFF2-40B4-BE49-F238E27FC236}">
                  <a16:creationId xmlns:a16="http://schemas.microsoft.com/office/drawing/2014/main" id="{97C6C80A-F9DC-F7E2-C877-6F81544A3D78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24" name="Rectangle 9">
              <a:extLst>
                <a:ext uri="{FF2B5EF4-FFF2-40B4-BE49-F238E27FC236}">
                  <a16:creationId xmlns:a16="http://schemas.microsoft.com/office/drawing/2014/main" id="{DCBF5BDF-BB86-C124-04D3-F5418F88BF7A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25" name="Rectangle 31">
              <a:extLst>
                <a:ext uri="{FF2B5EF4-FFF2-40B4-BE49-F238E27FC236}">
                  <a16:creationId xmlns:a16="http://schemas.microsoft.com/office/drawing/2014/main" id="{23D6236A-A394-ADA2-EE89-93C1430AA84B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26" name="Rectangle 32">
              <a:extLst>
                <a:ext uri="{FF2B5EF4-FFF2-40B4-BE49-F238E27FC236}">
                  <a16:creationId xmlns:a16="http://schemas.microsoft.com/office/drawing/2014/main" id="{9C26B4FF-9C83-5DF7-8E40-444C4D55D283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27" name="Rectangle 33">
              <a:extLst>
                <a:ext uri="{FF2B5EF4-FFF2-40B4-BE49-F238E27FC236}">
                  <a16:creationId xmlns:a16="http://schemas.microsoft.com/office/drawing/2014/main" id="{ABF23D55-821C-6217-6BCA-12D4F5A76D4C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28" name="Rectangle 34">
              <a:extLst>
                <a:ext uri="{FF2B5EF4-FFF2-40B4-BE49-F238E27FC236}">
                  <a16:creationId xmlns:a16="http://schemas.microsoft.com/office/drawing/2014/main" id="{10C223B4-981D-8EC5-C590-CB9852DD5388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29" name="Rectangle 35">
              <a:extLst>
                <a:ext uri="{FF2B5EF4-FFF2-40B4-BE49-F238E27FC236}">
                  <a16:creationId xmlns:a16="http://schemas.microsoft.com/office/drawing/2014/main" id="{2C8DAB05-C16A-BA3D-CCCD-CF882EAC9EA6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0" name="Rectangle 37">
              <a:extLst>
                <a:ext uri="{FF2B5EF4-FFF2-40B4-BE49-F238E27FC236}">
                  <a16:creationId xmlns:a16="http://schemas.microsoft.com/office/drawing/2014/main" id="{08C186C9-ED2D-7416-3CE0-2D64ADE43791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1" name="Rectangle 48">
              <a:extLst>
                <a:ext uri="{FF2B5EF4-FFF2-40B4-BE49-F238E27FC236}">
                  <a16:creationId xmlns:a16="http://schemas.microsoft.com/office/drawing/2014/main" id="{11205286-5AA4-1C3A-BB76-B1AFB48F2904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2" name="Rectangle 49">
              <a:extLst>
                <a:ext uri="{FF2B5EF4-FFF2-40B4-BE49-F238E27FC236}">
                  <a16:creationId xmlns:a16="http://schemas.microsoft.com/office/drawing/2014/main" id="{B18F1C04-F43D-9315-1E24-AA6703527B97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07660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1.11111E-6 L 0.06576 1.11111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8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3000" fill="hold"/>
                                        <p:tgtEl>
                                          <p:spTgt spid="1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8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5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3000" fill="hold"/>
                                        <p:tgtEl>
                                          <p:spTgt spid="1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0" dur="8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5000" fill="hold"/>
                                        <p:tgtEl>
                                          <p:spTgt spid="1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  <p:bldP spid="10" grpId="0" animBg="1"/>
      <p:bldP spid="10" grpId="1" animBg="1"/>
      <p:bldP spid="12" grpId="0" animBg="1"/>
      <p:bldP spid="12" grpId="1" animBg="1"/>
      <p:bldP spid="14" grpId="0" animBg="1"/>
      <p:bldP spid="14" grpId="1" animBg="1"/>
      <p:bldP spid="15" grpId="0" animBg="1"/>
      <p:bldP spid="15" grpId="1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10780308" y="583253"/>
            <a:ext cx="852384" cy="44087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52" name="Freeform 22">
            <a:extLst>
              <a:ext uri="{FF2B5EF4-FFF2-40B4-BE49-F238E27FC236}">
                <a16:creationId xmlns:a16="http://schemas.microsoft.com/office/drawing/2014/main" id="{8E6FD6D1-0690-0E47-11F1-32AEE325EB8F}"/>
              </a:ext>
            </a:extLst>
          </p:cNvPr>
          <p:cNvSpPr>
            <a:spLocks noEditPoints="1"/>
          </p:cNvSpPr>
          <p:nvPr/>
        </p:nvSpPr>
        <p:spPr bwMode="auto">
          <a:xfrm>
            <a:off x="10578442" y="4071540"/>
            <a:ext cx="1014557" cy="1529774"/>
          </a:xfrm>
          <a:custGeom>
            <a:avLst/>
            <a:gdLst>
              <a:gd name="T0" fmla="*/ 197 w 827"/>
              <a:gd name="T1" fmla="*/ 1225 h 1245"/>
              <a:gd name="T2" fmla="*/ 245 w 827"/>
              <a:gd name="T3" fmla="*/ 1244 h 1245"/>
              <a:gd name="T4" fmla="*/ 101 w 827"/>
              <a:gd name="T5" fmla="*/ 1237 h 1245"/>
              <a:gd name="T6" fmla="*/ 160 w 827"/>
              <a:gd name="T7" fmla="*/ 1234 h 1245"/>
              <a:gd name="T8" fmla="*/ 290 w 827"/>
              <a:gd name="T9" fmla="*/ 1219 h 1245"/>
              <a:gd name="T10" fmla="*/ 293 w 827"/>
              <a:gd name="T11" fmla="*/ 1239 h 1245"/>
              <a:gd name="T12" fmla="*/ 8 w 827"/>
              <a:gd name="T13" fmla="*/ 1214 h 1245"/>
              <a:gd name="T14" fmla="*/ 66 w 827"/>
              <a:gd name="T15" fmla="*/ 1220 h 1245"/>
              <a:gd name="T16" fmla="*/ 381 w 827"/>
              <a:gd name="T17" fmla="*/ 1199 h 1245"/>
              <a:gd name="T18" fmla="*/ 386 w 827"/>
              <a:gd name="T19" fmla="*/ 1218 h 1245"/>
              <a:gd name="T20" fmla="*/ 467 w 827"/>
              <a:gd name="T21" fmla="*/ 1165 h 1245"/>
              <a:gd name="T22" fmla="*/ 476 w 827"/>
              <a:gd name="T23" fmla="*/ 1183 h 1245"/>
              <a:gd name="T24" fmla="*/ 548 w 827"/>
              <a:gd name="T25" fmla="*/ 1119 h 1245"/>
              <a:gd name="T26" fmla="*/ 559 w 827"/>
              <a:gd name="T27" fmla="*/ 1135 h 1245"/>
              <a:gd name="T28" fmla="*/ 620 w 827"/>
              <a:gd name="T29" fmla="*/ 1060 h 1245"/>
              <a:gd name="T30" fmla="*/ 633 w 827"/>
              <a:gd name="T31" fmla="*/ 1074 h 1245"/>
              <a:gd name="T32" fmla="*/ 682 w 827"/>
              <a:gd name="T33" fmla="*/ 991 h 1245"/>
              <a:gd name="T34" fmla="*/ 698 w 827"/>
              <a:gd name="T35" fmla="*/ 1003 h 1245"/>
              <a:gd name="T36" fmla="*/ 733 w 827"/>
              <a:gd name="T37" fmla="*/ 913 h 1245"/>
              <a:gd name="T38" fmla="*/ 751 w 827"/>
              <a:gd name="T39" fmla="*/ 923 h 1245"/>
              <a:gd name="T40" fmla="*/ 771 w 827"/>
              <a:gd name="T41" fmla="*/ 828 h 1245"/>
              <a:gd name="T42" fmla="*/ 790 w 827"/>
              <a:gd name="T43" fmla="*/ 835 h 1245"/>
              <a:gd name="T44" fmla="*/ 796 w 827"/>
              <a:gd name="T45" fmla="*/ 739 h 1245"/>
              <a:gd name="T46" fmla="*/ 816 w 827"/>
              <a:gd name="T47" fmla="*/ 743 h 1245"/>
              <a:gd name="T48" fmla="*/ 807 w 827"/>
              <a:gd name="T49" fmla="*/ 647 h 1245"/>
              <a:gd name="T50" fmla="*/ 827 w 827"/>
              <a:gd name="T51" fmla="*/ 599 h 1245"/>
              <a:gd name="T52" fmla="*/ 813 w 827"/>
              <a:gd name="T53" fmla="*/ 562 h 1245"/>
              <a:gd name="T54" fmla="*/ 816 w 827"/>
              <a:gd name="T55" fmla="*/ 504 h 1245"/>
              <a:gd name="T56" fmla="*/ 795 w 827"/>
              <a:gd name="T57" fmla="*/ 470 h 1245"/>
              <a:gd name="T58" fmla="*/ 790 w 827"/>
              <a:gd name="T59" fmla="*/ 411 h 1245"/>
              <a:gd name="T60" fmla="*/ 763 w 827"/>
              <a:gd name="T61" fmla="*/ 381 h 1245"/>
              <a:gd name="T62" fmla="*/ 751 w 827"/>
              <a:gd name="T63" fmla="*/ 324 h 1245"/>
              <a:gd name="T64" fmla="*/ 718 w 827"/>
              <a:gd name="T65" fmla="*/ 298 h 1245"/>
              <a:gd name="T66" fmla="*/ 698 w 827"/>
              <a:gd name="T67" fmla="*/ 243 h 1245"/>
              <a:gd name="T68" fmla="*/ 660 w 827"/>
              <a:gd name="T69" fmla="*/ 223 h 1245"/>
              <a:gd name="T70" fmla="*/ 634 w 827"/>
              <a:gd name="T71" fmla="*/ 172 h 1245"/>
              <a:gd name="T72" fmla="*/ 592 w 827"/>
              <a:gd name="T73" fmla="*/ 158 h 1245"/>
              <a:gd name="T74" fmla="*/ 559 w 827"/>
              <a:gd name="T75" fmla="*/ 111 h 1245"/>
              <a:gd name="T76" fmla="*/ 514 w 827"/>
              <a:gd name="T77" fmla="*/ 104 h 1245"/>
              <a:gd name="T78" fmla="*/ 477 w 827"/>
              <a:gd name="T79" fmla="*/ 63 h 1245"/>
              <a:gd name="T80" fmla="*/ 429 w 827"/>
              <a:gd name="T81" fmla="*/ 63 h 1245"/>
              <a:gd name="T82" fmla="*/ 387 w 827"/>
              <a:gd name="T83" fmla="*/ 28 h 1245"/>
              <a:gd name="T84" fmla="*/ 12 w 827"/>
              <a:gd name="T85" fmla="*/ 51 h 1245"/>
              <a:gd name="T86" fmla="*/ 67 w 827"/>
              <a:gd name="T87" fmla="*/ 26 h 1245"/>
              <a:gd name="T88" fmla="*/ 339 w 827"/>
              <a:gd name="T89" fmla="*/ 35 h 1245"/>
              <a:gd name="T90" fmla="*/ 293 w 827"/>
              <a:gd name="T91" fmla="*/ 7 h 1245"/>
              <a:gd name="T92" fmla="*/ 104 w 827"/>
              <a:gd name="T93" fmla="*/ 29 h 1245"/>
              <a:gd name="T94" fmla="*/ 160 w 827"/>
              <a:gd name="T95" fmla="*/ 12 h 1245"/>
              <a:gd name="T96" fmla="*/ 245 w 827"/>
              <a:gd name="T97" fmla="*/ 22 h 1245"/>
              <a:gd name="T98" fmla="*/ 188 w 827"/>
              <a:gd name="T99" fmla="*/ 11 h 1245"/>
              <a:gd name="T100" fmla="*/ 245 w 827"/>
              <a:gd name="T101" fmla="*/ 22 h 1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27" h="1245">
                <a:moveTo>
                  <a:pt x="205" y="1245"/>
                </a:moveTo>
                <a:cubicBezTo>
                  <a:pt x="202" y="1245"/>
                  <a:pt x="199" y="1245"/>
                  <a:pt x="197" y="1245"/>
                </a:cubicBezTo>
                <a:cubicBezTo>
                  <a:pt x="191" y="1245"/>
                  <a:pt x="187" y="1241"/>
                  <a:pt x="187" y="1235"/>
                </a:cubicBezTo>
                <a:cubicBezTo>
                  <a:pt x="187" y="1230"/>
                  <a:pt x="191" y="1225"/>
                  <a:pt x="197" y="1225"/>
                </a:cubicBezTo>
                <a:cubicBezTo>
                  <a:pt x="197" y="1225"/>
                  <a:pt x="197" y="1225"/>
                  <a:pt x="197" y="1225"/>
                </a:cubicBezTo>
                <a:cubicBezTo>
                  <a:pt x="212" y="1226"/>
                  <a:pt x="228" y="1225"/>
                  <a:pt x="244" y="1224"/>
                </a:cubicBezTo>
                <a:cubicBezTo>
                  <a:pt x="249" y="1224"/>
                  <a:pt x="254" y="1228"/>
                  <a:pt x="254" y="1234"/>
                </a:cubicBezTo>
                <a:cubicBezTo>
                  <a:pt x="255" y="1239"/>
                  <a:pt x="250" y="1244"/>
                  <a:pt x="245" y="1244"/>
                </a:cubicBezTo>
                <a:cubicBezTo>
                  <a:pt x="232" y="1245"/>
                  <a:pt x="218" y="1245"/>
                  <a:pt x="205" y="1245"/>
                </a:cubicBezTo>
                <a:close/>
                <a:moveTo>
                  <a:pt x="150" y="1243"/>
                </a:moveTo>
                <a:cubicBezTo>
                  <a:pt x="149" y="1243"/>
                  <a:pt x="149" y="1243"/>
                  <a:pt x="149" y="1243"/>
                </a:cubicBezTo>
                <a:cubicBezTo>
                  <a:pt x="133" y="1241"/>
                  <a:pt x="117" y="1239"/>
                  <a:pt x="101" y="1237"/>
                </a:cubicBezTo>
                <a:cubicBezTo>
                  <a:pt x="96" y="1236"/>
                  <a:pt x="92" y="1231"/>
                  <a:pt x="93" y="1225"/>
                </a:cubicBezTo>
                <a:cubicBezTo>
                  <a:pt x="94" y="1220"/>
                  <a:pt x="99" y="1216"/>
                  <a:pt x="104" y="1217"/>
                </a:cubicBezTo>
                <a:cubicBezTo>
                  <a:pt x="120" y="1220"/>
                  <a:pt x="135" y="1222"/>
                  <a:pt x="151" y="1223"/>
                </a:cubicBezTo>
                <a:cubicBezTo>
                  <a:pt x="156" y="1223"/>
                  <a:pt x="160" y="1228"/>
                  <a:pt x="160" y="1234"/>
                </a:cubicBezTo>
                <a:cubicBezTo>
                  <a:pt x="159" y="1239"/>
                  <a:pt x="155" y="1243"/>
                  <a:pt x="150" y="1243"/>
                </a:cubicBezTo>
                <a:close/>
                <a:moveTo>
                  <a:pt x="291" y="1239"/>
                </a:moveTo>
                <a:cubicBezTo>
                  <a:pt x="286" y="1239"/>
                  <a:pt x="282" y="1236"/>
                  <a:pt x="281" y="1231"/>
                </a:cubicBezTo>
                <a:cubicBezTo>
                  <a:pt x="281" y="1225"/>
                  <a:pt x="284" y="1220"/>
                  <a:pt x="290" y="1219"/>
                </a:cubicBezTo>
                <a:cubicBezTo>
                  <a:pt x="305" y="1217"/>
                  <a:pt x="321" y="1214"/>
                  <a:pt x="336" y="1211"/>
                </a:cubicBezTo>
                <a:cubicBezTo>
                  <a:pt x="341" y="1210"/>
                  <a:pt x="346" y="1213"/>
                  <a:pt x="348" y="1219"/>
                </a:cubicBezTo>
                <a:cubicBezTo>
                  <a:pt x="349" y="1224"/>
                  <a:pt x="345" y="1229"/>
                  <a:pt x="340" y="1231"/>
                </a:cubicBezTo>
                <a:cubicBezTo>
                  <a:pt x="324" y="1234"/>
                  <a:pt x="308" y="1237"/>
                  <a:pt x="293" y="1239"/>
                </a:cubicBezTo>
                <a:cubicBezTo>
                  <a:pt x="292" y="1239"/>
                  <a:pt x="292" y="1239"/>
                  <a:pt x="291" y="1239"/>
                </a:cubicBezTo>
                <a:close/>
                <a:moveTo>
                  <a:pt x="56" y="1227"/>
                </a:moveTo>
                <a:cubicBezTo>
                  <a:pt x="56" y="1227"/>
                  <a:pt x="55" y="1227"/>
                  <a:pt x="54" y="1227"/>
                </a:cubicBezTo>
                <a:cubicBezTo>
                  <a:pt x="39" y="1223"/>
                  <a:pt x="23" y="1219"/>
                  <a:pt x="8" y="1214"/>
                </a:cubicBezTo>
                <a:cubicBezTo>
                  <a:pt x="3" y="1212"/>
                  <a:pt x="0" y="1206"/>
                  <a:pt x="2" y="1201"/>
                </a:cubicBezTo>
                <a:cubicBezTo>
                  <a:pt x="3" y="1196"/>
                  <a:pt x="9" y="1193"/>
                  <a:pt x="14" y="1195"/>
                </a:cubicBezTo>
                <a:cubicBezTo>
                  <a:pt x="29" y="1199"/>
                  <a:pt x="44" y="1204"/>
                  <a:pt x="59" y="1208"/>
                </a:cubicBezTo>
                <a:cubicBezTo>
                  <a:pt x="64" y="1209"/>
                  <a:pt x="67" y="1214"/>
                  <a:pt x="66" y="1220"/>
                </a:cubicBezTo>
                <a:cubicBezTo>
                  <a:pt x="65" y="1224"/>
                  <a:pt x="61" y="1227"/>
                  <a:pt x="56" y="1227"/>
                </a:cubicBezTo>
                <a:close/>
                <a:moveTo>
                  <a:pt x="384" y="1219"/>
                </a:moveTo>
                <a:cubicBezTo>
                  <a:pt x="379" y="1219"/>
                  <a:pt x="375" y="1216"/>
                  <a:pt x="374" y="1212"/>
                </a:cubicBezTo>
                <a:cubicBezTo>
                  <a:pt x="372" y="1207"/>
                  <a:pt x="375" y="1201"/>
                  <a:pt x="381" y="1199"/>
                </a:cubicBezTo>
                <a:cubicBezTo>
                  <a:pt x="395" y="1195"/>
                  <a:pt x="410" y="1190"/>
                  <a:pt x="425" y="1184"/>
                </a:cubicBezTo>
                <a:cubicBezTo>
                  <a:pt x="430" y="1182"/>
                  <a:pt x="436" y="1185"/>
                  <a:pt x="438" y="1190"/>
                </a:cubicBezTo>
                <a:cubicBezTo>
                  <a:pt x="440" y="1195"/>
                  <a:pt x="437" y="1201"/>
                  <a:pt x="432" y="1203"/>
                </a:cubicBezTo>
                <a:cubicBezTo>
                  <a:pt x="417" y="1209"/>
                  <a:pt x="402" y="1214"/>
                  <a:pt x="386" y="1218"/>
                </a:cubicBezTo>
                <a:cubicBezTo>
                  <a:pt x="385" y="1219"/>
                  <a:pt x="384" y="1219"/>
                  <a:pt x="384" y="1219"/>
                </a:cubicBezTo>
                <a:close/>
                <a:moveTo>
                  <a:pt x="472" y="1184"/>
                </a:moveTo>
                <a:cubicBezTo>
                  <a:pt x="468" y="1184"/>
                  <a:pt x="464" y="1182"/>
                  <a:pt x="463" y="1179"/>
                </a:cubicBezTo>
                <a:cubicBezTo>
                  <a:pt x="460" y="1174"/>
                  <a:pt x="462" y="1168"/>
                  <a:pt x="467" y="1165"/>
                </a:cubicBezTo>
                <a:cubicBezTo>
                  <a:pt x="481" y="1159"/>
                  <a:pt x="495" y="1151"/>
                  <a:pt x="508" y="1144"/>
                </a:cubicBezTo>
                <a:cubicBezTo>
                  <a:pt x="513" y="1141"/>
                  <a:pt x="519" y="1142"/>
                  <a:pt x="522" y="1147"/>
                </a:cubicBezTo>
                <a:cubicBezTo>
                  <a:pt x="525" y="1152"/>
                  <a:pt x="523" y="1158"/>
                  <a:pt x="518" y="1161"/>
                </a:cubicBezTo>
                <a:cubicBezTo>
                  <a:pt x="505" y="1169"/>
                  <a:pt x="490" y="1176"/>
                  <a:pt x="476" y="1183"/>
                </a:cubicBezTo>
                <a:cubicBezTo>
                  <a:pt x="475" y="1184"/>
                  <a:pt x="473" y="1184"/>
                  <a:pt x="472" y="1184"/>
                </a:cubicBezTo>
                <a:close/>
                <a:moveTo>
                  <a:pt x="553" y="1137"/>
                </a:moveTo>
                <a:cubicBezTo>
                  <a:pt x="550" y="1137"/>
                  <a:pt x="547" y="1135"/>
                  <a:pt x="545" y="1132"/>
                </a:cubicBezTo>
                <a:cubicBezTo>
                  <a:pt x="542" y="1128"/>
                  <a:pt x="543" y="1122"/>
                  <a:pt x="548" y="1119"/>
                </a:cubicBezTo>
                <a:cubicBezTo>
                  <a:pt x="560" y="1110"/>
                  <a:pt x="573" y="1100"/>
                  <a:pt x="585" y="1091"/>
                </a:cubicBezTo>
                <a:cubicBezTo>
                  <a:pt x="589" y="1087"/>
                  <a:pt x="595" y="1088"/>
                  <a:pt x="599" y="1092"/>
                </a:cubicBezTo>
                <a:cubicBezTo>
                  <a:pt x="602" y="1096"/>
                  <a:pt x="602" y="1103"/>
                  <a:pt x="597" y="1106"/>
                </a:cubicBezTo>
                <a:cubicBezTo>
                  <a:pt x="585" y="1116"/>
                  <a:pt x="572" y="1126"/>
                  <a:pt x="559" y="1135"/>
                </a:cubicBezTo>
                <a:cubicBezTo>
                  <a:pt x="557" y="1136"/>
                  <a:pt x="555" y="1137"/>
                  <a:pt x="553" y="1137"/>
                </a:cubicBezTo>
                <a:close/>
                <a:moveTo>
                  <a:pt x="627" y="1077"/>
                </a:moveTo>
                <a:cubicBezTo>
                  <a:pt x="624" y="1077"/>
                  <a:pt x="621" y="1076"/>
                  <a:pt x="619" y="1074"/>
                </a:cubicBezTo>
                <a:cubicBezTo>
                  <a:pt x="616" y="1070"/>
                  <a:pt x="616" y="1064"/>
                  <a:pt x="620" y="1060"/>
                </a:cubicBezTo>
                <a:cubicBezTo>
                  <a:pt x="631" y="1049"/>
                  <a:pt x="642" y="1038"/>
                  <a:pt x="652" y="1026"/>
                </a:cubicBezTo>
                <a:cubicBezTo>
                  <a:pt x="656" y="1022"/>
                  <a:pt x="662" y="1022"/>
                  <a:pt x="666" y="1026"/>
                </a:cubicBezTo>
                <a:cubicBezTo>
                  <a:pt x="670" y="1029"/>
                  <a:pt x="671" y="1036"/>
                  <a:pt x="667" y="1040"/>
                </a:cubicBezTo>
                <a:cubicBezTo>
                  <a:pt x="656" y="1052"/>
                  <a:pt x="645" y="1063"/>
                  <a:pt x="633" y="1074"/>
                </a:cubicBezTo>
                <a:cubicBezTo>
                  <a:pt x="632" y="1076"/>
                  <a:pt x="629" y="1077"/>
                  <a:pt x="627" y="1077"/>
                </a:cubicBezTo>
                <a:close/>
                <a:moveTo>
                  <a:pt x="690" y="1007"/>
                </a:moveTo>
                <a:cubicBezTo>
                  <a:pt x="688" y="1007"/>
                  <a:pt x="686" y="1006"/>
                  <a:pt x="684" y="1005"/>
                </a:cubicBezTo>
                <a:cubicBezTo>
                  <a:pt x="679" y="1001"/>
                  <a:pt x="679" y="995"/>
                  <a:pt x="682" y="991"/>
                </a:cubicBezTo>
                <a:cubicBezTo>
                  <a:pt x="691" y="979"/>
                  <a:pt x="701" y="966"/>
                  <a:pt x="709" y="953"/>
                </a:cubicBezTo>
                <a:cubicBezTo>
                  <a:pt x="712" y="948"/>
                  <a:pt x="718" y="947"/>
                  <a:pt x="723" y="950"/>
                </a:cubicBezTo>
                <a:cubicBezTo>
                  <a:pt x="727" y="953"/>
                  <a:pt x="729" y="959"/>
                  <a:pt x="726" y="964"/>
                </a:cubicBezTo>
                <a:cubicBezTo>
                  <a:pt x="717" y="977"/>
                  <a:pt x="708" y="990"/>
                  <a:pt x="698" y="1003"/>
                </a:cubicBezTo>
                <a:cubicBezTo>
                  <a:pt x="696" y="1006"/>
                  <a:pt x="693" y="1007"/>
                  <a:pt x="690" y="1007"/>
                </a:cubicBezTo>
                <a:close/>
                <a:moveTo>
                  <a:pt x="742" y="928"/>
                </a:moveTo>
                <a:cubicBezTo>
                  <a:pt x="740" y="928"/>
                  <a:pt x="738" y="928"/>
                  <a:pt x="737" y="927"/>
                </a:cubicBezTo>
                <a:cubicBezTo>
                  <a:pt x="732" y="924"/>
                  <a:pt x="730" y="918"/>
                  <a:pt x="733" y="913"/>
                </a:cubicBezTo>
                <a:cubicBezTo>
                  <a:pt x="740" y="900"/>
                  <a:pt x="747" y="886"/>
                  <a:pt x="754" y="872"/>
                </a:cubicBezTo>
                <a:cubicBezTo>
                  <a:pt x="756" y="866"/>
                  <a:pt x="762" y="864"/>
                  <a:pt x="767" y="867"/>
                </a:cubicBezTo>
                <a:cubicBezTo>
                  <a:pt x="772" y="869"/>
                  <a:pt x="774" y="875"/>
                  <a:pt x="772" y="880"/>
                </a:cubicBezTo>
                <a:cubicBezTo>
                  <a:pt x="765" y="894"/>
                  <a:pt x="758" y="909"/>
                  <a:pt x="751" y="923"/>
                </a:cubicBezTo>
                <a:cubicBezTo>
                  <a:pt x="749" y="926"/>
                  <a:pt x="745" y="928"/>
                  <a:pt x="742" y="928"/>
                </a:cubicBezTo>
                <a:close/>
                <a:moveTo>
                  <a:pt x="781" y="842"/>
                </a:moveTo>
                <a:cubicBezTo>
                  <a:pt x="780" y="842"/>
                  <a:pt x="778" y="842"/>
                  <a:pt x="777" y="841"/>
                </a:cubicBezTo>
                <a:cubicBezTo>
                  <a:pt x="772" y="839"/>
                  <a:pt x="769" y="834"/>
                  <a:pt x="771" y="828"/>
                </a:cubicBezTo>
                <a:cubicBezTo>
                  <a:pt x="777" y="814"/>
                  <a:pt x="781" y="799"/>
                  <a:pt x="786" y="784"/>
                </a:cubicBezTo>
                <a:cubicBezTo>
                  <a:pt x="787" y="779"/>
                  <a:pt x="793" y="776"/>
                  <a:pt x="798" y="777"/>
                </a:cubicBezTo>
                <a:cubicBezTo>
                  <a:pt x="803" y="779"/>
                  <a:pt x="806" y="784"/>
                  <a:pt x="805" y="790"/>
                </a:cubicBezTo>
                <a:cubicBezTo>
                  <a:pt x="801" y="805"/>
                  <a:pt x="796" y="820"/>
                  <a:pt x="790" y="835"/>
                </a:cubicBezTo>
                <a:cubicBezTo>
                  <a:pt x="789" y="839"/>
                  <a:pt x="785" y="842"/>
                  <a:pt x="781" y="842"/>
                </a:cubicBezTo>
                <a:close/>
                <a:moveTo>
                  <a:pt x="806" y="751"/>
                </a:moveTo>
                <a:cubicBezTo>
                  <a:pt x="805" y="751"/>
                  <a:pt x="805" y="751"/>
                  <a:pt x="804" y="751"/>
                </a:cubicBezTo>
                <a:cubicBezTo>
                  <a:pt x="799" y="750"/>
                  <a:pt x="795" y="744"/>
                  <a:pt x="796" y="739"/>
                </a:cubicBezTo>
                <a:cubicBezTo>
                  <a:pt x="799" y="724"/>
                  <a:pt x="802" y="708"/>
                  <a:pt x="803" y="693"/>
                </a:cubicBezTo>
                <a:cubicBezTo>
                  <a:pt x="804" y="687"/>
                  <a:pt x="809" y="684"/>
                  <a:pt x="814" y="684"/>
                </a:cubicBezTo>
                <a:cubicBezTo>
                  <a:pt x="820" y="685"/>
                  <a:pt x="824" y="690"/>
                  <a:pt x="823" y="695"/>
                </a:cubicBezTo>
                <a:cubicBezTo>
                  <a:pt x="821" y="711"/>
                  <a:pt x="819" y="727"/>
                  <a:pt x="816" y="743"/>
                </a:cubicBezTo>
                <a:cubicBezTo>
                  <a:pt x="815" y="748"/>
                  <a:pt x="811" y="751"/>
                  <a:pt x="806" y="751"/>
                </a:cubicBezTo>
                <a:close/>
                <a:moveTo>
                  <a:pt x="817" y="657"/>
                </a:moveTo>
                <a:cubicBezTo>
                  <a:pt x="817" y="657"/>
                  <a:pt x="817" y="657"/>
                  <a:pt x="817" y="657"/>
                </a:cubicBezTo>
                <a:cubicBezTo>
                  <a:pt x="811" y="657"/>
                  <a:pt x="807" y="652"/>
                  <a:pt x="807" y="647"/>
                </a:cubicBezTo>
                <a:cubicBezTo>
                  <a:pt x="807" y="639"/>
                  <a:pt x="807" y="631"/>
                  <a:pt x="807" y="623"/>
                </a:cubicBezTo>
                <a:cubicBezTo>
                  <a:pt x="807" y="615"/>
                  <a:pt x="807" y="608"/>
                  <a:pt x="807" y="600"/>
                </a:cubicBezTo>
                <a:cubicBezTo>
                  <a:pt x="807" y="594"/>
                  <a:pt x="811" y="590"/>
                  <a:pt x="817" y="590"/>
                </a:cubicBezTo>
                <a:cubicBezTo>
                  <a:pt x="822" y="590"/>
                  <a:pt x="827" y="594"/>
                  <a:pt x="827" y="599"/>
                </a:cubicBezTo>
                <a:cubicBezTo>
                  <a:pt x="827" y="607"/>
                  <a:pt x="827" y="615"/>
                  <a:pt x="827" y="623"/>
                </a:cubicBezTo>
                <a:cubicBezTo>
                  <a:pt x="827" y="631"/>
                  <a:pt x="827" y="639"/>
                  <a:pt x="827" y="647"/>
                </a:cubicBezTo>
                <a:cubicBezTo>
                  <a:pt x="827" y="653"/>
                  <a:pt x="822" y="657"/>
                  <a:pt x="817" y="657"/>
                </a:cubicBezTo>
                <a:close/>
                <a:moveTo>
                  <a:pt x="813" y="562"/>
                </a:moveTo>
                <a:cubicBezTo>
                  <a:pt x="808" y="562"/>
                  <a:pt x="804" y="559"/>
                  <a:pt x="803" y="554"/>
                </a:cubicBezTo>
                <a:cubicBezTo>
                  <a:pt x="802" y="538"/>
                  <a:pt x="799" y="523"/>
                  <a:pt x="796" y="508"/>
                </a:cubicBezTo>
                <a:cubicBezTo>
                  <a:pt x="795" y="502"/>
                  <a:pt x="799" y="497"/>
                  <a:pt x="804" y="496"/>
                </a:cubicBezTo>
                <a:cubicBezTo>
                  <a:pt x="810" y="495"/>
                  <a:pt x="815" y="498"/>
                  <a:pt x="816" y="504"/>
                </a:cubicBezTo>
                <a:cubicBezTo>
                  <a:pt x="819" y="519"/>
                  <a:pt x="821" y="535"/>
                  <a:pt x="823" y="551"/>
                </a:cubicBezTo>
                <a:cubicBezTo>
                  <a:pt x="824" y="557"/>
                  <a:pt x="820" y="562"/>
                  <a:pt x="814" y="562"/>
                </a:cubicBezTo>
                <a:cubicBezTo>
                  <a:pt x="814" y="562"/>
                  <a:pt x="814" y="562"/>
                  <a:pt x="813" y="562"/>
                </a:cubicBezTo>
                <a:close/>
                <a:moveTo>
                  <a:pt x="795" y="470"/>
                </a:moveTo>
                <a:cubicBezTo>
                  <a:pt x="791" y="470"/>
                  <a:pt x="787" y="467"/>
                  <a:pt x="786" y="462"/>
                </a:cubicBezTo>
                <a:cubicBezTo>
                  <a:pt x="782" y="447"/>
                  <a:pt x="777" y="433"/>
                  <a:pt x="772" y="418"/>
                </a:cubicBezTo>
                <a:cubicBezTo>
                  <a:pt x="770" y="413"/>
                  <a:pt x="772" y="407"/>
                  <a:pt x="778" y="405"/>
                </a:cubicBezTo>
                <a:cubicBezTo>
                  <a:pt x="783" y="403"/>
                  <a:pt x="789" y="406"/>
                  <a:pt x="790" y="411"/>
                </a:cubicBezTo>
                <a:cubicBezTo>
                  <a:pt x="796" y="426"/>
                  <a:pt x="801" y="442"/>
                  <a:pt x="805" y="457"/>
                </a:cubicBezTo>
                <a:cubicBezTo>
                  <a:pt x="806" y="462"/>
                  <a:pt x="803" y="468"/>
                  <a:pt x="798" y="469"/>
                </a:cubicBezTo>
                <a:cubicBezTo>
                  <a:pt x="797" y="470"/>
                  <a:pt x="796" y="470"/>
                  <a:pt x="795" y="470"/>
                </a:cubicBezTo>
                <a:close/>
                <a:moveTo>
                  <a:pt x="763" y="381"/>
                </a:moveTo>
                <a:cubicBezTo>
                  <a:pt x="759" y="381"/>
                  <a:pt x="756" y="379"/>
                  <a:pt x="754" y="375"/>
                </a:cubicBezTo>
                <a:cubicBezTo>
                  <a:pt x="748" y="361"/>
                  <a:pt x="741" y="347"/>
                  <a:pt x="733" y="333"/>
                </a:cubicBezTo>
                <a:cubicBezTo>
                  <a:pt x="731" y="328"/>
                  <a:pt x="732" y="322"/>
                  <a:pt x="737" y="320"/>
                </a:cubicBezTo>
                <a:cubicBezTo>
                  <a:pt x="742" y="317"/>
                  <a:pt x="748" y="319"/>
                  <a:pt x="751" y="324"/>
                </a:cubicBezTo>
                <a:cubicBezTo>
                  <a:pt x="759" y="338"/>
                  <a:pt x="766" y="352"/>
                  <a:pt x="772" y="367"/>
                </a:cubicBezTo>
                <a:cubicBezTo>
                  <a:pt x="775" y="372"/>
                  <a:pt x="772" y="378"/>
                  <a:pt x="767" y="380"/>
                </a:cubicBezTo>
                <a:cubicBezTo>
                  <a:pt x="766" y="381"/>
                  <a:pt x="765" y="381"/>
                  <a:pt x="763" y="381"/>
                </a:cubicBezTo>
                <a:close/>
                <a:moveTo>
                  <a:pt x="718" y="298"/>
                </a:moveTo>
                <a:cubicBezTo>
                  <a:pt x="714" y="298"/>
                  <a:pt x="711" y="296"/>
                  <a:pt x="709" y="293"/>
                </a:cubicBezTo>
                <a:cubicBezTo>
                  <a:pt x="701" y="280"/>
                  <a:pt x="692" y="268"/>
                  <a:pt x="682" y="255"/>
                </a:cubicBezTo>
                <a:cubicBezTo>
                  <a:pt x="679" y="251"/>
                  <a:pt x="680" y="245"/>
                  <a:pt x="684" y="241"/>
                </a:cubicBezTo>
                <a:cubicBezTo>
                  <a:pt x="689" y="238"/>
                  <a:pt x="695" y="239"/>
                  <a:pt x="698" y="243"/>
                </a:cubicBezTo>
                <a:cubicBezTo>
                  <a:pt x="708" y="256"/>
                  <a:pt x="717" y="269"/>
                  <a:pt x="726" y="282"/>
                </a:cubicBezTo>
                <a:cubicBezTo>
                  <a:pt x="729" y="287"/>
                  <a:pt x="728" y="293"/>
                  <a:pt x="723" y="296"/>
                </a:cubicBezTo>
                <a:cubicBezTo>
                  <a:pt x="722" y="297"/>
                  <a:pt x="720" y="298"/>
                  <a:pt x="718" y="298"/>
                </a:cubicBezTo>
                <a:close/>
                <a:moveTo>
                  <a:pt x="660" y="223"/>
                </a:moveTo>
                <a:cubicBezTo>
                  <a:pt x="657" y="223"/>
                  <a:pt x="655" y="222"/>
                  <a:pt x="653" y="220"/>
                </a:cubicBezTo>
                <a:cubicBezTo>
                  <a:pt x="642" y="208"/>
                  <a:pt x="631" y="197"/>
                  <a:pt x="620" y="186"/>
                </a:cubicBezTo>
                <a:cubicBezTo>
                  <a:pt x="616" y="183"/>
                  <a:pt x="616" y="176"/>
                  <a:pt x="620" y="172"/>
                </a:cubicBezTo>
                <a:cubicBezTo>
                  <a:pt x="624" y="168"/>
                  <a:pt x="630" y="168"/>
                  <a:pt x="634" y="172"/>
                </a:cubicBezTo>
                <a:cubicBezTo>
                  <a:pt x="645" y="183"/>
                  <a:pt x="657" y="194"/>
                  <a:pt x="667" y="206"/>
                </a:cubicBezTo>
                <a:cubicBezTo>
                  <a:pt x="671" y="210"/>
                  <a:pt x="671" y="217"/>
                  <a:pt x="667" y="220"/>
                </a:cubicBezTo>
                <a:cubicBezTo>
                  <a:pt x="665" y="222"/>
                  <a:pt x="662" y="223"/>
                  <a:pt x="660" y="223"/>
                </a:cubicBezTo>
                <a:close/>
                <a:moveTo>
                  <a:pt x="592" y="158"/>
                </a:moveTo>
                <a:cubicBezTo>
                  <a:pt x="589" y="158"/>
                  <a:pt x="587" y="157"/>
                  <a:pt x="585" y="156"/>
                </a:cubicBezTo>
                <a:cubicBezTo>
                  <a:pt x="573" y="146"/>
                  <a:pt x="561" y="136"/>
                  <a:pt x="548" y="128"/>
                </a:cubicBezTo>
                <a:cubicBezTo>
                  <a:pt x="544" y="124"/>
                  <a:pt x="542" y="118"/>
                  <a:pt x="546" y="114"/>
                </a:cubicBezTo>
                <a:cubicBezTo>
                  <a:pt x="549" y="109"/>
                  <a:pt x="555" y="108"/>
                  <a:pt x="559" y="111"/>
                </a:cubicBezTo>
                <a:cubicBezTo>
                  <a:pt x="573" y="120"/>
                  <a:pt x="585" y="130"/>
                  <a:pt x="598" y="140"/>
                </a:cubicBezTo>
                <a:cubicBezTo>
                  <a:pt x="602" y="144"/>
                  <a:pt x="603" y="150"/>
                  <a:pt x="599" y="154"/>
                </a:cubicBezTo>
                <a:cubicBezTo>
                  <a:pt x="597" y="157"/>
                  <a:pt x="594" y="158"/>
                  <a:pt x="592" y="158"/>
                </a:cubicBezTo>
                <a:close/>
                <a:moveTo>
                  <a:pt x="514" y="104"/>
                </a:moveTo>
                <a:cubicBezTo>
                  <a:pt x="512" y="104"/>
                  <a:pt x="510" y="104"/>
                  <a:pt x="509" y="103"/>
                </a:cubicBezTo>
                <a:cubicBezTo>
                  <a:pt x="496" y="95"/>
                  <a:pt x="482" y="87"/>
                  <a:pt x="468" y="81"/>
                </a:cubicBezTo>
                <a:cubicBezTo>
                  <a:pt x="463" y="78"/>
                  <a:pt x="461" y="72"/>
                  <a:pt x="463" y="67"/>
                </a:cubicBezTo>
                <a:cubicBezTo>
                  <a:pt x="466" y="62"/>
                  <a:pt x="472" y="60"/>
                  <a:pt x="477" y="63"/>
                </a:cubicBezTo>
                <a:cubicBezTo>
                  <a:pt x="491" y="70"/>
                  <a:pt x="505" y="77"/>
                  <a:pt x="519" y="85"/>
                </a:cubicBezTo>
                <a:cubicBezTo>
                  <a:pt x="524" y="88"/>
                  <a:pt x="525" y="94"/>
                  <a:pt x="523" y="99"/>
                </a:cubicBezTo>
                <a:cubicBezTo>
                  <a:pt x="521" y="102"/>
                  <a:pt x="517" y="104"/>
                  <a:pt x="514" y="104"/>
                </a:cubicBezTo>
                <a:close/>
                <a:moveTo>
                  <a:pt x="429" y="63"/>
                </a:moveTo>
                <a:cubicBezTo>
                  <a:pt x="428" y="63"/>
                  <a:pt x="426" y="62"/>
                  <a:pt x="425" y="62"/>
                </a:cubicBezTo>
                <a:cubicBezTo>
                  <a:pt x="411" y="56"/>
                  <a:pt x="396" y="51"/>
                  <a:pt x="381" y="47"/>
                </a:cubicBezTo>
                <a:cubicBezTo>
                  <a:pt x="376" y="45"/>
                  <a:pt x="373" y="39"/>
                  <a:pt x="375" y="34"/>
                </a:cubicBezTo>
                <a:cubicBezTo>
                  <a:pt x="376" y="29"/>
                  <a:pt x="382" y="26"/>
                  <a:pt x="387" y="28"/>
                </a:cubicBezTo>
                <a:cubicBezTo>
                  <a:pt x="402" y="32"/>
                  <a:pt x="418" y="38"/>
                  <a:pt x="433" y="43"/>
                </a:cubicBezTo>
                <a:cubicBezTo>
                  <a:pt x="438" y="45"/>
                  <a:pt x="440" y="51"/>
                  <a:pt x="438" y="56"/>
                </a:cubicBezTo>
                <a:cubicBezTo>
                  <a:pt x="437" y="60"/>
                  <a:pt x="433" y="63"/>
                  <a:pt x="429" y="63"/>
                </a:cubicBezTo>
                <a:close/>
                <a:moveTo>
                  <a:pt x="12" y="51"/>
                </a:moveTo>
                <a:cubicBezTo>
                  <a:pt x="8" y="51"/>
                  <a:pt x="4" y="49"/>
                  <a:pt x="2" y="45"/>
                </a:cubicBezTo>
                <a:cubicBezTo>
                  <a:pt x="1" y="39"/>
                  <a:pt x="3" y="34"/>
                  <a:pt x="9" y="32"/>
                </a:cubicBezTo>
                <a:cubicBezTo>
                  <a:pt x="24" y="27"/>
                  <a:pt x="39" y="22"/>
                  <a:pt x="55" y="19"/>
                </a:cubicBezTo>
                <a:cubicBezTo>
                  <a:pt x="60" y="17"/>
                  <a:pt x="66" y="21"/>
                  <a:pt x="67" y="26"/>
                </a:cubicBezTo>
                <a:cubicBezTo>
                  <a:pt x="68" y="31"/>
                  <a:pt x="65" y="37"/>
                  <a:pt x="60" y="38"/>
                </a:cubicBezTo>
                <a:cubicBezTo>
                  <a:pt x="45" y="42"/>
                  <a:pt x="30" y="46"/>
                  <a:pt x="15" y="51"/>
                </a:cubicBezTo>
                <a:cubicBezTo>
                  <a:pt x="14" y="51"/>
                  <a:pt x="13" y="51"/>
                  <a:pt x="12" y="51"/>
                </a:cubicBezTo>
                <a:close/>
                <a:moveTo>
                  <a:pt x="339" y="35"/>
                </a:moveTo>
                <a:cubicBezTo>
                  <a:pt x="338" y="35"/>
                  <a:pt x="337" y="35"/>
                  <a:pt x="336" y="35"/>
                </a:cubicBezTo>
                <a:cubicBezTo>
                  <a:pt x="321" y="31"/>
                  <a:pt x="306" y="29"/>
                  <a:pt x="291" y="26"/>
                </a:cubicBezTo>
                <a:cubicBezTo>
                  <a:pt x="285" y="26"/>
                  <a:pt x="281" y="21"/>
                  <a:pt x="282" y="15"/>
                </a:cubicBezTo>
                <a:cubicBezTo>
                  <a:pt x="283" y="10"/>
                  <a:pt x="288" y="6"/>
                  <a:pt x="293" y="7"/>
                </a:cubicBezTo>
                <a:cubicBezTo>
                  <a:pt x="309" y="9"/>
                  <a:pt x="325" y="12"/>
                  <a:pt x="341" y="15"/>
                </a:cubicBezTo>
                <a:cubicBezTo>
                  <a:pt x="346" y="16"/>
                  <a:pt x="350" y="22"/>
                  <a:pt x="348" y="27"/>
                </a:cubicBezTo>
                <a:cubicBezTo>
                  <a:pt x="347" y="32"/>
                  <a:pt x="343" y="35"/>
                  <a:pt x="339" y="35"/>
                </a:cubicBezTo>
                <a:close/>
                <a:moveTo>
                  <a:pt x="104" y="29"/>
                </a:moveTo>
                <a:cubicBezTo>
                  <a:pt x="99" y="29"/>
                  <a:pt x="94" y="25"/>
                  <a:pt x="94" y="20"/>
                </a:cubicBezTo>
                <a:cubicBezTo>
                  <a:pt x="93" y="15"/>
                  <a:pt x="96" y="10"/>
                  <a:pt x="102" y="9"/>
                </a:cubicBezTo>
                <a:cubicBezTo>
                  <a:pt x="118" y="6"/>
                  <a:pt x="134" y="4"/>
                  <a:pt x="150" y="3"/>
                </a:cubicBezTo>
                <a:cubicBezTo>
                  <a:pt x="155" y="2"/>
                  <a:pt x="160" y="6"/>
                  <a:pt x="160" y="12"/>
                </a:cubicBezTo>
                <a:cubicBezTo>
                  <a:pt x="161" y="17"/>
                  <a:pt x="157" y="22"/>
                  <a:pt x="151" y="23"/>
                </a:cubicBezTo>
                <a:cubicBezTo>
                  <a:pt x="136" y="24"/>
                  <a:pt x="120" y="26"/>
                  <a:pt x="105" y="29"/>
                </a:cubicBezTo>
                <a:cubicBezTo>
                  <a:pt x="105" y="29"/>
                  <a:pt x="104" y="29"/>
                  <a:pt x="104" y="29"/>
                </a:cubicBezTo>
                <a:close/>
                <a:moveTo>
                  <a:pt x="245" y="22"/>
                </a:moveTo>
                <a:cubicBezTo>
                  <a:pt x="245" y="22"/>
                  <a:pt x="245" y="22"/>
                  <a:pt x="244" y="22"/>
                </a:cubicBezTo>
                <a:cubicBezTo>
                  <a:pt x="229" y="21"/>
                  <a:pt x="213" y="20"/>
                  <a:pt x="198" y="20"/>
                </a:cubicBezTo>
                <a:cubicBezTo>
                  <a:pt x="198" y="20"/>
                  <a:pt x="198" y="20"/>
                  <a:pt x="198" y="20"/>
                </a:cubicBezTo>
                <a:cubicBezTo>
                  <a:pt x="192" y="20"/>
                  <a:pt x="188" y="16"/>
                  <a:pt x="188" y="11"/>
                </a:cubicBezTo>
                <a:cubicBezTo>
                  <a:pt x="188" y="5"/>
                  <a:pt x="192" y="0"/>
                  <a:pt x="198" y="0"/>
                </a:cubicBezTo>
                <a:cubicBezTo>
                  <a:pt x="214" y="0"/>
                  <a:pt x="230" y="1"/>
                  <a:pt x="246" y="2"/>
                </a:cubicBezTo>
                <a:cubicBezTo>
                  <a:pt x="251" y="2"/>
                  <a:pt x="255" y="7"/>
                  <a:pt x="255" y="12"/>
                </a:cubicBezTo>
                <a:cubicBezTo>
                  <a:pt x="255" y="18"/>
                  <a:pt x="250" y="22"/>
                  <a:pt x="245" y="22"/>
                </a:cubicBezTo>
                <a:close/>
              </a:path>
            </a:pathLst>
          </a:custGeom>
          <a:solidFill>
            <a:srgbClr val="C0DC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0F85613A-AD04-6720-BEBC-4EA54CD29380}"/>
              </a:ext>
            </a:extLst>
          </p:cNvPr>
          <p:cNvGrpSpPr/>
          <p:nvPr/>
        </p:nvGrpSpPr>
        <p:grpSpPr>
          <a:xfrm>
            <a:off x="-9107715" y="-497437"/>
            <a:ext cx="12000140" cy="9137953"/>
            <a:chOff x="9428163" y="4083807"/>
            <a:chExt cx="2151847" cy="1638604"/>
          </a:xfrm>
        </p:grpSpPr>
        <p:sp>
          <p:nvSpPr>
            <p:cNvPr id="5" name="Rectangle 21">
              <a:extLst>
                <a:ext uri="{FF2B5EF4-FFF2-40B4-BE49-F238E27FC236}">
                  <a16:creationId xmlns:a16="http://schemas.microsoft.com/office/drawing/2014/main" id="{1FD3BCA0-8E81-A7EA-3CB9-96AEC2EA2CC7}"/>
                </a:ext>
              </a:extLst>
            </p:cNvPr>
            <p:cNvSpPr/>
            <p:nvPr/>
          </p:nvSpPr>
          <p:spPr>
            <a:xfrm>
              <a:off x="9428163" y="4152751"/>
              <a:ext cx="1657944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600" dirty="0">
                  <a:solidFill>
                    <a:srgbClr val="620CFD"/>
                  </a:solidFill>
                  <a:latin typeface="Poppins SemiBold" panose="00000700000000000000" pitchFamily="2" charset="0"/>
                  <a:ea typeface="Roboto Bold" panose="02000000000000000000" pitchFamily="2" charset="0"/>
                  <a:cs typeface="Poppins SemiBold" panose="00000700000000000000" pitchFamily="2" charset="0"/>
                </a:rPr>
                <a:t>10</a:t>
              </a:r>
              <a:endParaRPr lang="en-US" sz="9600" dirty="0">
                <a:solidFill>
                  <a:srgbClr val="620CFD"/>
                </a:solidFill>
                <a:latin typeface="Poppins SemiBold" panose="00000700000000000000" pitchFamily="2" charset="0"/>
                <a:ea typeface="Roboto Bold" panose="02000000000000000000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6" name="Freeform 20">
              <a:extLst>
                <a:ext uri="{FF2B5EF4-FFF2-40B4-BE49-F238E27FC236}">
                  <a16:creationId xmlns:a16="http://schemas.microsoft.com/office/drawing/2014/main" id="{8C3E9810-B83B-216D-A484-D2DE13467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613" y="4083807"/>
              <a:ext cx="1069397" cy="1505240"/>
            </a:xfrm>
            <a:custGeom>
              <a:avLst/>
              <a:gdLst>
                <a:gd name="T0" fmla="*/ 260 w 872"/>
                <a:gd name="T1" fmla="*/ 0 h 1225"/>
                <a:gd name="T2" fmla="*/ 0 w 872"/>
                <a:gd name="T3" fmla="*/ 58 h 1225"/>
                <a:gd name="T4" fmla="*/ 0 w 872"/>
                <a:gd name="T5" fmla="*/ 1168 h 1225"/>
                <a:gd name="T6" fmla="*/ 260 w 872"/>
                <a:gd name="T7" fmla="*/ 1225 h 1225"/>
                <a:gd name="T8" fmla="*/ 872 w 872"/>
                <a:gd name="T9" fmla="*/ 613 h 1225"/>
                <a:gd name="T10" fmla="*/ 260 w 872"/>
                <a:gd name="T11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1225">
                  <a:moveTo>
                    <a:pt x="260" y="0"/>
                  </a:moveTo>
                  <a:cubicBezTo>
                    <a:pt x="167" y="0"/>
                    <a:pt x="79" y="21"/>
                    <a:pt x="0" y="58"/>
                  </a:cubicBezTo>
                  <a:cubicBezTo>
                    <a:pt x="0" y="1168"/>
                    <a:pt x="0" y="1168"/>
                    <a:pt x="0" y="1168"/>
                  </a:cubicBezTo>
                  <a:cubicBezTo>
                    <a:pt x="79" y="1205"/>
                    <a:pt x="167" y="1225"/>
                    <a:pt x="260" y="1225"/>
                  </a:cubicBezTo>
                  <a:cubicBezTo>
                    <a:pt x="598" y="1225"/>
                    <a:pt x="872" y="951"/>
                    <a:pt x="872" y="613"/>
                  </a:cubicBezTo>
                  <a:cubicBezTo>
                    <a:pt x="872" y="275"/>
                    <a:pt x="598" y="0"/>
                    <a:pt x="2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76200" dist="38100" dir="10800000" algn="r" rotWithShape="0">
                <a:prstClr val="black">
                  <a:alpha val="3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7" name="Freeform 21">
              <a:extLst>
                <a:ext uri="{FF2B5EF4-FFF2-40B4-BE49-F238E27FC236}">
                  <a16:creationId xmlns:a16="http://schemas.microsoft.com/office/drawing/2014/main" id="{B0640F93-37EB-D217-11B3-EC25DE511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5503178"/>
              <a:ext cx="54841" cy="38966"/>
            </a:xfrm>
            <a:custGeom>
              <a:avLst/>
              <a:gdLst>
                <a:gd name="T0" fmla="*/ 34 w 45"/>
                <a:gd name="T1" fmla="*/ 31 h 31"/>
                <a:gd name="T2" fmla="*/ 30 w 45"/>
                <a:gd name="T3" fmla="*/ 31 h 31"/>
                <a:gd name="T4" fmla="*/ 8 w 45"/>
                <a:gd name="T5" fmla="*/ 21 h 31"/>
                <a:gd name="T6" fmla="*/ 3 w 45"/>
                <a:gd name="T7" fmla="*/ 7 h 31"/>
                <a:gd name="T8" fmla="*/ 16 w 45"/>
                <a:gd name="T9" fmla="*/ 3 h 31"/>
                <a:gd name="T10" fmla="*/ 38 w 45"/>
                <a:gd name="T11" fmla="*/ 12 h 31"/>
                <a:gd name="T12" fmla="*/ 43 w 45"/>
                <a:gd name="T13" fmla="*/ 25 h 31"/>
                <a:gd name="T14" fmla="*/ 3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34" y="31"/>
                  </a:moveTo>
                  <a:cubicBezTo>
                    <a:pt x="32" y="31"/>
                    <a:pt x="31" y="31"/>
                    <a:pt x="30" y="31"/>
                  </a:cubicBezTo>
                  <a:cubicBezTo>
                    <a:pt x="22" y="27"/>
                    <a:pt x="15" y="24"/>
                    <a:pt x="8" y="21"/>
                  </a:cubicBezTo>
                  <a:cubicBezTo>
                    <a:pt x="3" y="18"/>
                    <a:pt x="0" y="12"/>
                    <a:pt x="3" y="7"/>
                  </a:cubicBezTo>
                  <a:cubicBezTo>
                    <a:pt x="5" y="2"/>
                    <a:pt x="11" y="0"/>
                    <a:pt x="16" y="3"/>
                  </a:cubicBezTo>
                  <a:cubicBezTo>
                    <a:pt x="23" y="6"/>
                    <a:pt x="30" y="9"/>
                    <a:pt x="38" y="12"/>
                  </a:cubicBezTo>
                  <a:cubicBezTo>
                    <a:pt x="43" y="14"/>
                    <a:pt x="45" y="20"/>
                    <a:pt x="43" y="25"/>
                  </a:cubicBezTo>
                  <a:cubicBezTo>
                    <a:pt x="41" y="29"/>
                    <a:pt x="38" y="31"/>
                    <a:pt x="34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  <p:sp>
          <p:nvSpPr>
            <p:cNvPr id="8" name="Freeform 23">
              <a:extLst>
                <a:ext uri="{FF2B5EF4-FFF2-40B4-BE49-F238E27FC236}">
                  <a16:creationId xmlns:a16="http://schemas.microsoft.com/office/drawing/2014/main" id="{CDD7C1BD-F4EC-FAC9-0CA9-F9097934B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6181" y="4129268"/>
              <a:ext cx="54841" cy="37523"/>
            </a:xfrm>
            <a:custGeom>
              <a:avLst/>
              <a:gdLst>
                <a:gd name="T0" fmla="*/ 12 w 45"/>
                <a:gd name="T1" fmla="*/ 31 h 31"/>
                <a:gd name="T2" fmla="*/ 3 w 45"/>
                <a:gd name="T3" fmla="*/ 25 h 31"/>
                <a:gd name="T4" fmla="*/ 8 w 45"/>
                <a:gd name="T5" fmla="*/ 12 h 31"/>
                <a:gd name="T6" fmla="*/ 30 w 45"/>
                <a:gd name="T7" fmla="*/ 2 h 31"/>
                <a:gd name="T8" fmla="*/ 43 w 45"/>
                <a:gd name="T9" fmla="*/ 8 h 31"/>
                <a:gd name="T10" fmla="*/ 38 w 45"/>
                <a:gd name="T11" fmla="*/ 21 h 31"/>
                <a:gd name="T12" fmla="*/ 16 w 45"/>
                <a:gd name="T13" fmla="*/ 30 h 31"/>
                <a:gd name="T14" fmla="*/ 12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12" y="31"/>
                  </a:moveTo>
                  <a:cubicBezTo>
                    <a:pt x="8" y="31"/>
                    <a:pt x="5" y="29"/>
                    <a:pt x="3" y="25"/>
                  </a:cubicBezTo>
                  <a:cubicBezTo>
                    <a:pt x="0" y="20"/>
                    <a:pt x="3" y="15"/>
                    <a:pt x="8" y="12"/>
                  </a:cubicBezTo>
                  <a:cubicBezTo>
                    <a:pt x="15" y="9"/>
                    <a:pt x="22" y="5"/>
                    <a:pt x="30" y="2"/>
                  </a:cubicBezTo>
                  <a:cubicBezTo>
                    <a:pt x="35" y="0"/>
                    <a:pt x="41" y="2"/>
                    <a:pt x="43" y="8"/>
                  </a:cubicBezTo>
                  <a:cubicBezTo>
                    <a:pt x="45" y="13"/>
                    <a:pt x="43" y="19"/>
                    <a:pt x="38" y="21"/>
                  </a:cubicBezTo>
                  <a:cubicBezTo>
                    <a:pt x="30" y="24"/>
                    <a:pt x="23" y="27"/>
                    <a:pt x="16" y="30"/>
                  </a:cubicBezTo>
                  <a:cubicBezTo>
                    <a:pt x="15" y="31"/>
                    <a:pt x="13" y="31"/>
                    <a:pt x="12" y="3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sp>
        <p:nvSpPr>
          <p:cNvPr id="9" name="!!12">
            <a:extLst>
              <a:ext uri="{FF2B5EF4-FFF2-40B4-BE49-F238E27FC236}">
                <a16:creationId xmlns:a16="http://schemas.microsoft.com/office/drawing/2014/main" id="{DB719951-CFDA-B24A-D117-12B606F99C5A}"/>
              </a:ext>
            </a:extLst>
          </p:cNvPr>
          <p:cNvSpPr>
            <a:spLocks noEditPoints="1"/>
          </p:cNvSpPr>
          <p:nvPr/>
        </p:nvSpPr>
        <p:spPr bwMode="auto">
          <a:xfrm>
            <a:off x="-2125362" y="-497437"/>
            <a:ext cx="5017787" cy="8132663"/>
          </a:xfrm>
          <a:custGeom>
            <a:avLst/>
            <a:gdLst>
              <a:gd name="T0" fmla="*/ 197 w 828"/>
              <a:gd name="T1" fmla="*/ 1225 h 1245"/>
              <a:gd name="T2" fmla="*/ 245 w 828"/>
              <a:gd name="T3" fmla="*/ 1244 h 1245"/>
              <a:gd name="T4" fmla="*/ 102 w 828"/>
              <a:gd name="T5" fmla="*/ 1237 h 1245"/>
              <a:gd name="T6" fmla="*/ 160 w 828"/>
              <a:gd name="T7" fmla="*/ 1234 h 1245"/>
              <a:gd name="T8" fmla="*/ 290 w 828"/>
              <a:gd name="T9" fmla="*/ 1219 h 1245"/>
              <a:gd name="T10" fmla="*/ 293 w 828"/>
              <a:gd name="T11" fmla="*/ 1239 h 1245"/>
              <a:gd name="T12" fmla="*/ 8 w 828"/>
              <a:gd name="T13" fmla="*/ 1214 h 1245"/>
              <a:gd name="T14" fmla="*/ 67 w 828"/>
              <a:gd name="T15" fmla="*/ 1220 h 1245"/>
              <a:gd name="T16" fmla="*/ 381 w 828"/>
              <a:gd name="T17" fmla="*/ 1199 h 1245"/>
              <a:gd name="T18" fmla="*/ 387 w 828"/>
              <a:gd name="T19" fmla="*/ 1218 h 1245"/>
              <a:gd name="T20" fmla="*/ 468 w 828"/>
              <a:gd name="T21" fmla="*/ 1165 h 1245"/>
              <a:gd name="T22" fmla="*/ 477 w 828"/>
              <a:gd name="T23" fmla="*/ 1183 h 1245"/>
              <a:gd name="T24" fmla="*/ 548 w 828"/>
              <a:gd name="T25" fmla="*/ 1119 h 1245"/>
              <a:gd name="T26" fmla="*/ 560 w 828"/>
              <a:gd name="T27" fmla="*/ 1135 h 1245"/>
              <a:gd name="T28" fmla="*/ 620 w 828"/>
              <a:gd name="T29" fmla="*/ 1060 h 1245"/>
              <a:gd name="T30" fmla="*/ 634 w 828"/>
              <a:gd name="T31" fmla="*/ 1074 h 1245"/>
              <a:gd name="T32" fmla="*/ 683 w 828"/>
              <a:gd name="T33" fmla="*/ 991 h 1245"/>
              <a:gd name="T34" fmla="*/ 698 w 828"/>
              <a:gd name="T35" fmla="*/ 1003 h 1245"/>
              <a:gd name="T36" fmla="*/ 734 w 828"/>
              <a:gd name="T37" fmla="*/ 913 h 1245"/>
              <a:gd name="T38" fmla="*/ 751 w 828"/>
              <a:gd name="T39" fmla="*/ 923 h 1245"/>
              <a:gd name="T40" fmla="*/ 772 w 828"/>
              <a:gd name="T41" fmla="*/ 828 h 1245"/>
              <a:gd name="T42" fmla="*/ 791 w 828"/>
              <a:gd name="T43" fmla="*/ 835 h 1245"/>
              <a:gd name="T44" fmla="*/ 797 w 828"/>
              <a:gd name="T45" fmla="*/ 739 h 1245"/>
              <a:gd name="T46" fmla="*/ 816 w 828"/>
              <a:gd name="T47" fmla="*/ 743 h 1245"/>
              <a:gd name="T48" fmla="*/ 807 w 828"/>
              <a:gd name="T49" fmla="*/ 647 h 1245"/>
              <a:gd name="T50" fmla="*/ 828 w 828"/>
              <a:gd name="T51" fmla="*/ 599 h 1245"/>
              <a:gd name="T52" fmla="*/ 814 w 828"/>
              <a:gd name="T53" fmla="*/ 562 h 1245"/>
              <a:gd name="T54" fmla="*/ 817 w 828"/>
              <a:gd name="T55" fmla="*/ 504 h 1245"/>
              <a:gd name="T56" fmla="*/ 796 w 828"/>
              <a:gd name="T57" fmla="*/ 470 h 1245"/>
              <a:gd name="T58" fmla="*/ 791 w 828"/>
              <a:gd name="T59" fmla="*/ 411 h 1245"/>
              <a:gd name="T60" fmla="*/ 764 w 828"/>
              <a:gd name="T61" fmla="*/ 381 h 1245"/>
              <a:gd name="T62" fmla="*/ 751 w 828"/>
              <a:gd name="T63" fmla="*/ 324 h 1245"/>
              <a:gd name="T64" fmla="*/ 718 w 828"/>
              <a:gd name="T65" fmla="*/ 298 h 1245"/>
              <a:gd name="T66" fmla="*/ 699 w 828"/>
              <a:gd name="T67" fmla="*/ 243 h 1245"/>
              <a:gd name="T68" fmla="*/ 661 w 828"/>
              <a:gd name="T69" fmla="*/ 223 h 1245"/>
              <a:gd name="T70" fmla="*/ 634 w 828"/>
              <a:gd name="T71" fmla="*/ 172 h 1245"/>
              <a:gd name="T72" fmla="*/ 592 w 828"/>
              <a:gd name="T73" fmla="*/ 158 h 1245"/>
              <a:gd name="T74" fmla="*/ 560 w 828"/>
              <a:gd name="T75" fmla="*/ 111 h 1245"/>
              <a:gd name="T76" fmla="*/ 514 w 828"/>
              <a:gd name="T77" fmla="*/ 104 h 1245"/>
              <a:gd name="T78" fmla="*/ 477 w 828"/>
              <a:gd name="T79" fmla="*/ 63 h 1245"/>
              <a:gd name="T80" fmla="*/ 430 w 828"/>
              <a:gd name="T81" fmla="*/ 63 h 1245"/>
              <a:gd name="T82" fmla="*/ 388 w 828"/>
              <a:gd name="T83" fmla="*/ 28 h 1245"/>
              <a:gd name="T84" fmla="*/ 12 w 828"/>
              <a:gd name="T85" fmla="*/ 51 h 1245"/>
              <a:gd name="T86" fmla="*/ 68 w 828"/>
              <a:gd name="T87" fmla="*/ 26 h 1245"/>
              <a:gd name="T88" fmla="*/ 339 w 828"/>
              <a:gd name="T89" fmla="*/ 35 h 1245"/>
              <a:gd name="T90" fmla="*/ 294 w 828"/>
              <a:gd name="T91" fmla="*/ 7 h 1245"/>
              <a:gd name="T92" fmla="*/ 104 w 828"/>
              <a:gd name="T93" fmla="*/ 29 h 1245"/>
              <a:gd name="T94" fmla="*/ 161 w 828"/>
              <a:gd name="T95" fmla="*/ 12 h 1245"/>
              <a:gd name="T96" fmla="*/ 246 w 828"/>
              <a:gd name="T97" fmla="*/ 22 h 1245"/>
              <a:gd name="T98" fmla="*/ 198 w 828"/>
              <a:gd name="T99" fmla="*/ 20 h 1245"/>
              <a:gd name="T100" fmla="*/ 246 w 828"/>
              <a:gd name="T101" fmla="*/ 2 h 1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28" h="1245">
                <a:moveTo>
                  <a:pt x="205" y="1245"/>
                </a:moveTo>
                <a:cubicBezTo>
                  <a:pt x="203" y="1245"/>
                  <a:pt x="200" y="1245"/>
                  <a:pt x="197" y="1245"/>
                </a:cubicBezTo>
                <a:cubicBezTo>
                  <a:pt x="192" y="1245"/>
                  <a:pt x="187" y="1241"/>
                  <a:pt x="187" y="1235"/>
                </a:cubicBezTo>
                <a:cubicBezTo>
                  <a:pt x="188" y="1230"/>
                  <a:pt x="192" y="1225"/>
                  <a:pt x="197" y="1225"/>
                </a:cubicBezTo>
                <a:cubicBezTo>
                  <a:pt x="198" y="1225"/>
                  <a:pt x="198" y="1225"/>
                  <a:pt x="198" y="1225"/>
                </a:cubicBezTo>
                <a:cubicBezTo>
                  <a:pt x="213" y="1226"/>
                  <a:pt x="229" y="1225"/>
                  <a:pt x="244" y="1224"/>
                </a:cubicBezTo>
                <a:cubicBezTo>
                  <a:pt x="250" y="1224"/>
                  <a:pt x="254" y="1228"/>
                  <a:pt x="255" y="1234"/>
                </a:cubicBezTo>
                <a:cubicBezTo>
                  <a:pt x="255" y="1239"/>
                  <a:pt x="251" y="1244"/>
                  <a:pt x="245" y="1244"/>
                </a:cubicBezTo>
                <a:cubicBezTo>
                  <a:pt x="232" y="1245"/>
                  <a:pt x="219" y="1245"/>
                  <a:pt x="205" y="1245"/>
                </a:cubicBezTo>
                <a:close/>
                <a:moveTo>
                  <a:pt x="150" y="1243"/>
                </a:moveTo>
                <a:cubicBezTo>
                  <a:pt x="150" y="1243"/>
                  <a:pt x="150" y="1243"/>
                  <a:pt x="149" y="1243"/>
                </a:cubicBezTo>
                <a:cubicBezTo>
                  <a:pt x="133" y="1241"/>
                  <a:pt x="117" y="1239"/>
                  <a:pt x="102" y="1237"/>
                </a:cubicBezTo>
                <a:cubicBezTo>
                  <a:pt x="96" y="1236"/>
                  <a:pt x="93" y="1231"/>
                  <a:pt x="93" y="1225"/>
                </a:cubicBezTo>
                <a:cubicBezTo>
                  <a:pt x="94" y="1220"/>
                  <a:pt x="100" y="1216"/>
                  <a:pt x="105" y="1217"/>
                </a:cubicBezTo>
                <a:cubicBezTo>
                  <a:pt x="120" y="1220"/>
                  <a:pt x="136" y="1222"/>
                  <a:pt x="151" y="1223"/>
                </a:cubicBezTo>
                <a:cubicBezTo>
                  <a:pt x="157" y="1223"/>
                  <a:pt x="161" y="1228"/>
                  <a:pt x="160" y="1234"/>
                </a:cubicBezTo>
                <a:cubicBezTo>
                  <a:pt x="160" y="1239"/>
                  <a:pt x="155" y="1243"/>
                  <a:pt x="150" y="1243"/>
                </a:cubicBezTo>
                <a:close/>
                <a:moveTo>
                  <a:pt x="292" y="1239"/>
                </a:moveTo>
                <a:cubicBezTo>
                  <a:pt x="287" y="1239"/>
                  <a:pt x="283" y="1236"/>
                  <a:pt x="282" y="1231"/>
                </a:cubicBezTo>
                <a:cubicBezTo>
                  <a:pt x="281" y="1225"/>
                  <a:pt x="285" y="1220"/>
                  <a:pt x="290" y="1219"/>
                </a:cubicBezTo>
                <a:cubicBezTo>
                  <a:pt x="306" y="1217"/>
                  <a:pt x="321" y="1214"/>
                  <a:pt x="336" y="1211"/>
                </a:cubicBezTo>
                <a:cubicBezTo>
                  <a:pt x="342" y="1210"/>
                  <a:pt x="347" y="1213"/>
                  <a:pt x="348" y="1219"/>
                </a:cubicBezTo>
                <a:cubicBezTo>
                  <a:pt x="349" y="1224"/>
                  <a:pt x="346" y="1229"/>
                  <a:pt x="341" y="1231"/>
                </a:cubicBezTo>
                <a:cubicBezTo>
                  <a:pt x="325" y="1234"/>
                  <a:pt x="309" y="1237"/>
                  <a:pt x="293" y="1239"/>
                </a:cubicBezTo>
                <a:cubicBezTo>
                  <a:pt x="293" y="1239"/>
                  <a:pt x="292" y="1239"/>
                  <a:pt x="292" y="1239"/>
                </a:cubicBezTo>
                <a:close/>
                <a:moveTo>
                  <a:pt x="57" y="1227"/>
                </a:moveTo>
                <a:cubicBezTo>
                  <a:pt x="56" y="1227"/>
                  <a:pt x="55" y="1227"/>
                  <a:pt x="55" y="1227"/>
                </a:cubicBezTo>
                <a:cubicBezTo>
                  <a:pt x="39" y="1223"/>
                  <a:pt x="24" y="1219"/>
                  <a:pt x="8" y="1214"/>
                </a:cubicBezTo>
                <a:cubicBezTo>
                  <a:pt x="3" y="1212"/>
                  <a:pt x="0" y="1206"/>
                  <a:pt x="2" y="1201"/>
                </a:cubicBezTo>
                <a:cubicBezTo>
                  <a:pt x="4" y="1196"/>
                  <a:pt x="10" y="1193"/>
                  <a:pt x="15" y="1195"/>
                </a:cubicBezTo>
                <a:cubicBezTo>
                  <a:pt x="29" y="1199"/>
                  <a:pt x="44" y="1204"/>
                  <a:pt x="59" y="1208"/>
                </a:cubicBezTo>
                <a:cubicBezTo>
                  <a:pt x="65" y="1209"/>
                  <a:pt x="68" y="1214"/>
                  <a:pt x="67" y="1220"/>
                </a:cubicBezTo>
                <a:cubicBezTo>
                  <a:pt x="66" y="1224"/>
                  <a:pt x="62" y="1227"/>
                  <a:pt x="57" y="1227"/>
                </a:cubicBezTo>
                <a:close/>
                <a:moveTo>
                  <a:pt x="384" y="1219"/>
                </a:moveTo>
                <a:cubicBezTo>
                  <a:pt x="380" y="1219"/>
                  <a:pt x="376" y="1216"/>
                  <a:pt x="375" y="1212"/>
                </a:cubicBezTo>
                <a:cubicBezTo>
                  <a:pt x="373" y="1207"/>
                  <a:pt x="376" y="1201"/>
                  <a:pt x="381" y="1199"/>
                </a:cubicBezTo>
                <a:cubicBezTo>
                  <a:pt x="396" y="1195"/>
                  <a:pt x="411" y="1190"/>
                  <a:pt x="425" y="1184"/>
                </a:cubicBezTo>
                <a:cubicBezTo>
                  <a:pt x="430" y="1182"/>
                  <a:pt x="436" y="1185"/>
                  <a:pt x="438" y="1190"/>
                </a:cubicBezTo>
                <a:cubicBezTo>
                  <a:pt x="440" y="1195"/>
                  <a:pt x="438" y="1201"/>
                  <a:pt x="432" y="1203"/>
                </a:cubicBezTo>
                <a:cubicBezTo>
                  <a:pt x="418" y="1209"/>
                  <a:pt x="402" y="1214"/>
                  <a:pt x="387" y="1218"/>
                </a:cubicBezTo>
                <a:cubicBezTo>
                  <a:pt x="386" y="1219"/>
                  <a:pt x="385" y="1219"/>
                  <a:pt x="384" y="1219"/>
                </a:cubicBezTo>
                <a:close/>
                <a:moveTo>
                  <a:pt x="472" y="1184"/>
                </a:moveTo>
                <a:cubicBezTo>
                  <a:pt x="468" y="1184"/>
                  <a:pt x="465" y="1182"/>
                  <a:pt x="463" y="1179"/>
                </a:cubicBezTo>
                <a:cubicBezTo>
                  <a:pt x="461" y="1174"/>
                  <a:pt x="463" y="1168"/>
                  <a:pt x="468" y="1165"/>
                </a:cubicBezTo>
                <a:cubicBezTo>
                  <a:pt x="482" y="1159"/>
                  <a:pt x="496" y="1151"/>
                  <a:pt x="509" y="1144"/>
                </a:cubicBezTo>
                <a:cubicBezTo>
                  <a:pt x="514" y="1141"/>
                  <a:pt x="520" y="1142"/>
                  <a:pt x="523" y="1147"/>
                </a:cubicBezTo>
                <a:cubicBezTo>
                  <a:pt x="525" y="1152"/>
                  <a:pt x="524" y="1158"/>
                  <a:pt x="519" y="1161"/>
                </a:cubicBezTo>
                <a:cubicBezTo>
                  <a:pt x="505" y="1169"/>
                  <a:pt x="491" y="1176"/>
                  <a:pt x="477" y="1183"/>
                </a:cubicBezTo>
                <a:cubicBezTo>
                  <a:pt x="475" y="1184"/>
                  <a:pt x="474" y="1184"/>
                  <a:pt x="472" y="1184"/>
                </a:cubicBezTo>
                <a:close/>
                <a:moveTo>
                  <a:pt x="554" y="1137"/>
                </a:moveTo>
                <a:cubicBezTo>
                  <a:pt x="551" y="1137"/>
                  <a:pt x="548" y="1135"/>
                  <a:pt x="546" y="1132"/>
                </a:cubicBezTo>
                <a:cubicBezTo>
                  <a:pt x="542" y="1128"/>
                  <a:pt x="544" y="1122"/>
                  <a:pt x="548" y="1119"/>
                </a:cubicBezTo>
                <a:cubicBezTo>
                  <a:pt x="561" y="1110"/>
                  <a:pt x="573" y="1100"/>
                  <a:pt x="585" y="1091"/>
                </a:cubicBezTo>
                <a:cubicBezTo>
                  <a:pt x="590" y="1087"/>
                  <a:pt x="596" y="1088"/>
                  <a:pt x="599" y="1092"/>
                </a:cubicBezTo>
                <a:cubicBezTo>
                  <a:pt x="603" y="1096"/>
                  <a:pt x="602" y="1103"/>
                  <a:pt x="598" y="1106"/>
                </a:cubicBezTo>
                <a:cubicBezTo>
                  <a:pt x="586" y="1116"/>
                  <a:pt x="573" y="1126"/>
                  <a:pt x="560" y="1135"/>
                </a:cubicBezTo>
                <a:cubicBezTo>
                  <a:pt x="558" y="1136"/>
                  <a:pt x="556" y="1137"/>
                  <a:pt x="554" y="1137"/>
                </a:cubicBezTo>
                <a:close/>
                <a:moveTo>
                  <a:pt x="627" y="1077"/>
                </a:moveTo>
                <a:cubicBezTo>
                  <a:pt x="625" y="1077"/>
                  <a:pt x="622" y="1076"/>
                  <a:pt x="620" y="1074"/>
                </a:cubicBezTo>
                <a:cubicBezTo>
                  <a:pt x="616" y="1070"/>
                  <a:pt x="616" y="1064"/>
                  <a:pt x="620" y="1060"/>
                </a:cubicBezTo>
                <a:cubicBezTo>
                  <a:pt x="632" y="1049"/>
                  <a:pt x="642" y="1038"/>
                  <a:pt x="653" y="1026"/>
                </a:cubicBezTo>
                <a:cubicBezTo>
                  <a:pt x="656" y="1022"/>
                  <a:pt x="663" y="1022"/>
                  <a:pt x="667" y="1026"/>
                </a:cubicBezTo>
                <a:cubicBezTo>
                  <a:pt x="671" y="1029"/>
                  <a:pt x="671" y="1036"/>
                  <a:pt x="668" y="1040"/>
                </a:cubicBezTo>
                <a:cubicBezTo>
                  <a:pt x="657" y="1052"/>
                  <a:pt x="646" y="1063"/>
                  <a:pt x="634" y="1074"/>
                </a:cubicBezTo>
                <a:cubicBezTo>
                  <a:pt x="632" y="1076"/>
                  <a:pt x="630" y="1077"/>
                  <a:pt x="627" y="1077"/>
                </a:cubicBezTo>
                <a:close/>
                <a:moveTo>
                  <a:pt x="691" y="1007"/>
                </a:moveTo>
                <a:cubicBezTo>
                  <a:pt x="688" y="1007"/>
                  <a:pt x="686" y="1006"/>
                  <a:pt x="684" y="1005"/>
                </a:cubicBezTo>
                <a:cubicBezTo>
                  <a:pt x="680" y="1001"/>
                  <a:pt x="679" y="995"/>
                  <a:pt x="683" y="991"/>
                </a:cubicBezTo>
                <a:cubicBezTo>
                  <a:pt x="692" y="979"/>
                  <a:pt x="701" y="966"/>
                  <a:pt x="710" y="953"/>
                </a:cubicBezTo>
                <a:cubicBezTo>
                  <a:pt x="713" y="948"/>
                  <a:pt x="719" y="947"/>
                  <a:pt x="723" y="950"/>
                </a:cubicBezTo>
                <a:cubicBezTo>
                  <a:pt x="728" y="953"/>
                  <a:pt x="729" y="959"/>
                  <a:pt x="726" y="964"/>
                </a:cubicBezTo>
                <a:cubicBezTo>
                  <a:pt x="718" y="977"/>
                  <a:pt x="708" y="990"/>
                  <a:pt x="698" y="1003"/>
                </a:cubicBezTo>
                <a:cubicBezTo>
                  <a:pt x="696" y="1006"/>
                  <a:pt x="694" y="1007"/>
                  <a:pt x="691" y="1007"/>
                </a:cubicBezTo>
                <a:close/>
                <a:moveTo>
                  <a:pt x="742" y="928"/>
                </a:moveTo>
                <a:cubicBezTo>
                  <a:pt x="741" y="928"/>
                  <a:pt x="739" y="928"/>
                  <a:pt x="738" y="927"/>
                </a:cubicBezTo>
                <a:cubicBezTo>
                  <a:pt x="733" y="924"/>
                  <a:pt x="731" y="918"/>
                  <a:pt x="734" y="913"/>
                </a:cubicBezTo>
                <a:cubicBezTo>
                  <a:pt x="741" y="900"/>
                  <a:pt x="748" y="886"/>
                  <a:pt x="754" y="872"/>
                </a:cubicBezTo>
                <a:cubicBezTo>
                  <a:pt x="757" y="866"/>
                  <a:pt x="763" y="864"/>
                  <a:pt x="768" y="867"/>
                </a:cubicBezTo>
                <a:cubicBezTo>
                  <a:pt x="773" y="869"/>
                  <a:pt x="775" y="875"/>
                  <a:pt x="773" y="880"/>
                </a:cubicBezTo>
                <a:cubicBezTo>
                  <a:pt x="766" y="894"/>
                  <a:pt x="759" y="909"/>
                  <a:pt x="751" y="923"/>
                </a:cubicBezTo>
                <a:cubicBezTo>
                  <a:pt x="749" y="926"/>
                  <a:pt x="746" y="928"/>
                  <a:pt x="742" y="928"/>
                </a:cubicBezTo>
                <a:close/>
                <a:moveTo>
                  <a:pt x="781" y="842"/>
                </a:moveTo>
                <a:cubicBezTo>
                  <a:pt x="780" y="842"/>
                  <a:pt x="779" y="842"/>
                  <a:pt x="778" y="841"/>
                </a:cubicBezTo>
                <a:cubicBezTo>
                  <a:pt x="773" y="839"/>
                  <a:pt x="770" y="834"/>
                  <a:pt x="772" y="828"/>
                </a:cubicBezTo>
                <a:cubicBezTo>
                  <a:pt x="777" y="814"/>
                  <a:pt x="782" y="799"/>
                  <a:pt x="786" y="784"/>
                </a:cubicBezTo>
                <a:cubicBezTo>
                  <a:pt x="788" y="779"/>
                  <a:pt x="793" y="776"/>
                  <a:pt x="798" y="777"/>
                </a:cubicBezTo>
                <a:cubicBezTo>
                  <a:pt x="804" y="779"/>
                  <a:pt x="807" y="784"/>
                  <a:pt x="805" y="790"/>
                </a:cubicBezTo>
                <a:cubicBezTo>
                  <a:pt x="801" y="805"/>
                  <a:pt x="796" y="820"/>
                  <a:pt x="791" y="835"/>
                </a:cubicBezTo>
                <a:cubicBezTo>
                  <a:pt x="789" y="839"/>
                  <a:pt x="785" y="842"/>
                  <a:pt x="781" y="842"/>
                </a:cubicBezTo>
                <a:close/>
                <a:moveTo>
                  <a:pt x="807" y="751"/>
                </a:moveTo>
                <a:cubicBezTo>
                  <a:pt x="806" y="751"/>
                  <a:pt x="805" y="751"/>
                  <a:pt x="805" y="751"/>
                </a:cubicBezTo>
                <a:cubicBezTo>
                  <a:pt x="799" y="750"/>
                  <a:pt x="796" y="744"/>
                  <a:pt x="797" y="739"/>
                </a:cubicBezTo>
                <a:cubicBezTo>
                  <a:pt x="800" y="724"/>
                  <a:pt x="802" y="708"/>
                  <a:pt x="804" y="693"/>
                </a:cubicBezTo>
                <a:cubicBezTo>
                  <a:pt x="805" y="687"/>
                  <a:pt x="809" y="683"/>
                  <a:pt x="815" y="684"/>
                </a:cubicBezTo>
                <a:cubicBezTo>
                  <a:pt x="820" y="685"/>
                  <a:pt x="824" y="690"/>
                  <a:pt x="824" y="695"/>
                </a:cubicBezTo>
                <a:cubicBezTo>
                  <a:pt x="822" y="711"/>
                  <a:pt x="819" y="727"/>
                  <a:pt x="816" y="743"/>
                </a:cubicBezTo>
                <a:cubicBezTo>
                  <a:pt x="815" y="748"/>
                  <a:pt x="811" y="751"/>
                  <a:pt x="807" y="751"/>
                </a:cubicBezTo>
                <a:close/>
                <a:moveTo>
                  <a:pt x="817" y="657"/>
                </a:moveTo>
                <a:cubicBezTo>
                  <a:pt x="817" y="657"/>
                  <a:pt x="817" y="657"/>
                  <a:pt x="817" y="657"/>
                </a:cubicBezTo>
                <a:cubicBezTo>
                  <a:pt x="812" y="657"/>
                  <a:pt x="807" y="652"/>
                  <a:pt x="807" y="647"/>
                </a:cubicBezTo>
                <a:cubicBezTo>
                  <a:pt x="808" y="639"/>
                  <a:pt x="808" y="631"/>
                  <a:pt x="808" y="623"/>
                </a:cubicBezTo>
                <a:cubicBezTo>
                  <a:pt x="808" y="615"/>
                  <a:pt x="808" y="608"/>
                  <a:pt x="808" y="600"/>
                </a:cubicBezTo>
                <a:cubicBezTo>
                  <a:pt x="807" y="594"/>
                  <a:pt x="812" y="590"/>
                  <a:pt x="817" y="590"/>
                </a:cubicBezTo>
                <a:cubicBezTo>
                  <a:pt x="823" y="590"/>
                  <a:pt x="827" y="594"/>
                  <a:pt x="828" y="599"/>
                </a:cubicBezTo>
                <a:cubicBezTo>
                  <a:pt x="828" y="607"/>
                  <a:pt x="828" y="615"/>
                  <a:pt x="828" y="623"/>
                </a:cubicBezTo>
                <a:cubicBezTo>
                  <a:pt x="828" y="631"/>
                  <a:pt x="828" y="639"/>
                  <a:pt x="827" y="647"/>
                </a:cubicBezTo>
                <a:cubicBezTo>
                  <a:pt x="827" y="653"/>
                  <a:pt x="823" y="657"/>
                  <a:pt x="817" y="657"/>
                </a:cubicBezTo>
                <a:close/>
                <a:moveTo>
                  <a:pt x="814" y="562"/>
                </a:moveTo>
                <a:cubicBezTo>
                  <a:pt x="809" y="562"/>
                  <a:pt x="805" y="559"/>
                  <a:pt x="804" y="554"/>
                </a:cubicBezTo>
                <a:cubicBezTo>
                  <a:pt x="802" y="538"/>
                  <a:pt x="800" y="523"/>
                  <a:pt x="797" y="508"/>
                </a:cubicBezTo>
                <a:cubicBezTo>
                  <a:pt x="796" y="502"/>
                  <a:pt x="799" y="497"/>
                  <a:pt x="805" y="496"/>
                </a:cubicBezTo>
                <a:cubicBezTo>
                  <a:pt x="810" y="495"/>
                  <a:pt x="816" y="498"/>
                  <a:pt x="817" y="504"/>
                </a:cubicBezTo>
                <a:cubicBezTo>
                  <a:pt x="820" y="519"/>
                  <a:pt x="822" y="535"/>
                  <a:pt x="824" y="551"/>
                </a:cubicBezTo>
                <a:cubicBezTo>
                  <a:pt x="825" y="557"/>
                  <a:pt x="821" y="562"/>
                  <a:pt x="815" y="562"/>
                </a:cubicBezTo>
                <a:cubicBezTo>
                  <a:pt x="815" y="562"/>
                  <a:pt x="814" y="562"/>
                  <a:pt x="814" y="562"/>
                </a:cubicBezTo>
                <a:close/>
                <a:moveTo>
                  <a:pt x="796" y="470"/>
                </a:moveTo>
                <a:cubicBezTo>
                  <a:pt x="792" y="470"/>
                  <a:pt x="788" y="467"/>
                  <a:pt x="786" y="462"/>
                </a:cubicBezTo>
                <a:cubicBezTo>
                  <a:pt x="782" y="447"/>
                  <a:pt x="777" y="433"/>
                  <a:pt x="772" y="418"/>
                </a:cubicBezTo>
                <a:cubicBezTo>
                  <a:pt x="770" y="413"/>
                  <a:pt x="773" y="407"/>
                  <a:pt x="778" y="405"/>
                </a:cubicBezTo>
                <a:cubicBezTo>
                  <a:pt x="783" y="403"/>
                  <a:pt x="789" y="406"/>
                  <a:pt x="791" y="411"/>
                </a:cubicBezTo>
                <a:cubicBezTo>
                  <a:pt x="796" y="426"/>
                  <a:pt x="801" y="442"/>
                  <a:pt x="806" y="457"/>
                </a:cubicBezTo>
                <a:cubicBezTo>
                  <a:pt x="807" y="462"/>
                  <a:pt x="804" y="468"/>
                  <a:pt x="799" y="469"/>
                </a:cubicBezTo>
                <a:cubicBezTo>
                  <a:pt x="798" y="470"/>
                  <a:pt x="797" y="470"/>
                  <a:pt x="796" y="470"/>
                </a:cubicBezTo>
                <a:close/>
                <a:moveTo>
                  <a:pt x="764" y="381"/>
                </a:moveTo>
                <a:cubicBezTo>
                  <a:pt x="760" y="381"/>
                  <a:pt x="756" y="379"/>
                  <a:pt x="755" y="375"/>
                </a:cubicBezTo>
                <a:cubicBezTo>
                  <a:pt x="748" y="361"/>
                  <a:pt x="741" y="347"/>
                  <a:pt x="734" y="333"/>
                </a:cubicBezTo>
                <a:cubicBezTo>
                  <a:pt x="731" y="328"/>
                  <a:pt x="733" y="322"/>
                  <a:pt x="738" y="320"/>
                </a:cubicBezTo>
                <a:cubicBezTo>
                  <a:pt x="743" y="317"/>
                  <a:pt x="749" y="319"/>
                  <a:pt x="751" y="324"/>
                </a:cubicBezTo>
                <a:cubicBezTo>
                  <a:pt x="759" y="338"/>
                  <a:pt x="766" y="352"/>
                  <a:pt x="773" y="367"/>
                </a:cubicBezTo>
                <a:cubicBezTo>
                  <a:pt x="775" y="372"/>
                  <a:pt x="773" y="378"/>
                  <a:pt x="768" y="380"/>
                </a:cubicBezTo>
                <a:cubicBezTo>
                  <a:pt x="767" y="381"/>
                  <a:pt x="765" y="381"/>
                  <a:pt x="764" y="381"/>
                </a:cubicBezTo>
                <a:close/>
                <a:moveTo>
                  <a:pt x="718" y="298"/>
                </a:moveTo>
                <a:cubicBezTo>
                  <a:pt x="715" y="298"/>
                  <a:pt x="712" y="296"/>
                  <a:pt x="710" y="293"/>
                </a:cubicBezTo>
                <a:cubicBezTo>
                  <a:pt x="701" y="280"/>
                  <a:pt x="692" y="268"/>
                  <a:pt x="683" y="255"/>
                </a:cubicBezTo>
                <a:cubicBezTo>
                  <a:pt x="680" y="251"/>
                  <a:pt x="680" y="245"/>
                  <a:pt x="685" y="241"/>
                </a:cubicBezTo>
                <a:cubicBezTo>
                  <a:pt x="689" y="238"/>
                  <a:pt x="695" y="239"/>
                  <a:pt x="699" y="243"/>
                </a:cubicBezTo>
                <a:cubicBezTo>
                  <a:pt x="709" y="256"/>
                  <a:pt x="718" y="269"/>
                  <a:pt x="727" y="282"/>
                </a:cubicBezTo>
                <a:cubicBezTo>
                  <a:pt x="730" y="287"/>
                  <a:pt x="728" y="293"/>
                  <a:pt x="724" y="296"/>
                </a:cubicBezTo>
                <a:cubicBezTo>
                  <a:pt x="722" y="297"/>
                  <a:pt x="720" y="298"/>
                  <a:pt x="718" y="298"/>
                </a:cubicBezTo>
                <a:close/>
                <a:moveTo>
                  <a:pt x="661" y="223"/>
                </a:moveTo>
                <a:cubicBezTo>
                  <a:pt x="658" y="223"/>
                  <a:pt x="655" y="222"/>
                  <a:pt x="653" y="220"/>
                </a:cubicBezTo>
                <a:cubicBezTo>
                  <a:pt x="643" y="208"/>
                  <a:pt x="632" y="197"/>
                  <a:pt x="621" y="186"/>
                </a:cubicBezTo>
                <a:cubicBezTo>
                  <a:pt x="617" y="183"/>
                  <a:pt x="617" y="176"/>
                  <a:pt x="620" y="172"/>
                </a:cubicBezTo>
                <a:cubicBezTo>
                  <a:pt x="624" y="168"/>
                  <a:pt x="630" y="168"/>
                  <a:pt x="634" y="172"/>
                </a:cubicBezTo>
                <a:cubicBezTo>
                  <a:pt x="646" y="183"/>
                  <a:pt x="657" y="194"/>
                  <a:pt x="668" y="206"/>
                </a:cubicBezTo>
                <a:cubicBezTo>
                  <a:pt x="672" y="210"/>
                  <a:pt x="671" y="217"/>
                  <a:pt x="667" y="220"/>
                </a:cubicBezTo>
                <a:cubicBezTo>
                  <a:pt x="665" y="222"/>
                  <a:pt x="663" y="223"/>
                  <a:pt x="661" y="223"/>
                </a:cubicBezTo>
                <a:close/>
                <a:moveTo>
                  <a:pt x="592" y="158"/>
                </a:moveTo>
                <a:cubicBezTo>
                  <a:pt x="590" y="158"/>
                  <a:pt x="588" y="157"/>
                  <a:pt x="586" y="156"/>
                </a:cubicBezTo>
                <a:cubicBezTo>
                  <a:pt x="574" y="146"/>
                  <a:pt x="561" y="136"/>
                  <a:pt x="549" y="128"/>
                </a:cubicBezTo>
                <a:cubicBezTo>
                  <a:pt x="544" y="124"/>
                  <a:pt x="543" y="118"/>
                  <a:pt x="546" y="114"/>
                </a:cubicBezTo>
                <a:cubicBezTo>
                  <a:pt x="549" y="109"/>
                  <a:pt x="556" y="108"/>
                  <a:pt x="560" y="111"/>
                </a:cubicBezTo>
                <a:cubicBezTo>
                  <a:pt x="573" y="120"/>
                  <a:pt x="586" y="130"/>
                  <a:pt x="598" y="140"/>
                </a:cubicBezTo>
                <a:cubicBezTo>
                  <a:pt x="603" y="144"/>
                  <a:pt x="603" y="150"/>
                  <a:pt x="600" y="154"/>
                </a:cubicBezTo>
                <a:cubicBezTo>
                  <a:pt x="598" y="157"/>
                  <a:pt x="595" y="158"/>
                  <a:pt x="592" y="158"/>
                </a:cubicBezTo>
                <a:close/>
                <a:moveTo>
                  <a:pt x="514" y="104"/>
                </a:moveTo>
                <a:cubicBezTo>
                  <a:pt x="513" y="104"/>
                  <a:pt x="511" y="104"/>
                  <a:pt x="509" y="103"/>
                </a:cubicBezTo>
                <a:cubicBezTo>
                  <a:pt x="496" y="95"/>
                  <a:pt x="482" y="87"/>
                  <a:pt x="468" y="81"/>
                </a:cubicBezTo>
                <a:cubicBezTo>
                  <a:pt x="463" y="78"/>
                  <a:pt x="461" y="72"/>
                  <a:pt x="464" y="67"/>
                </a:cubicBezTo>
                <a:cubicBezTo>
                  <a:pt x="466" y="62"/>
                  <a:pt x="472" y="60"/>
                  <a:pt x="477" y="63"/>
                </a:cubicBezTo>
                <a:cubicBezTo>
                  <a:pt x="492" y="70"/>
                  <a:pt x="506" y="77"/>
                  <a:pt x="520" y="85"/>
                </a:cubicBezTo>
                <a:cubicBezTo>
                  <a:pt x="524" y="88"/>
                  <a:pt x="526" y="94"/>
                  <a:pt x="523" y="99"/>
                </a:cubicBezTo>
                <a:cubicBezTo>
                  <a:pt x="521" y="102"/>
                  <a:pt x="518" y="104"/>
                  <a:pt x="514" y="104"/>
                </a:cubicBezTo>
                <a:close/>
                <a:moveTo>
                  <a:pt x="430" y="63"/>
                </a:moveTo>
                <a:cubicBezTo>
                  <a:pt x="428" y="63"/>
                  <a:pt x="427" y="62"/>
                  <a:pt x="426" y="62"/>
                </a:cubicBezTo>
                <a:cubicBezTo>
                  <a:pt x="412" y="56"/>
                  <a:pt x="397" y="51"/>
                  <a:pt x="382" y="47"/>
                </a:cubicBezTo>
                <a:cubicBezTo>
                  <a:pt x="377" y="45"/>
                  <a:pt x="374" y="39"/>
                  <a:pt x="375" y="34"/>
                </a:cubicBezTo>
                <a:cubicBezTo>
                  <a:pt x="377" y="29"/>
                  <a:pt x="383" y="26"/>
                  <a:pt x="388" y="28"/>
                </a:cubicBezTo>
                <a:cubicBezTo>
                  <a:pt x="403" y="32"/>
                  <a:pt x="418" y="38"/>
                  <a:pt x="433" y="43"/>
                </a:cubicBezTo>
                <a:cubicBezTo>
                  <a:pt x="438" y="45"/>
                  <a:pt x="441" y="51"/>
                  <a:pt x="439" y="56"/>
                </a:cubicBezTo>
                <a:cubicBezTo>
                  <a:pt x="437" y="60"/>
                  <a:pt x="434" y="63"/>
                  <a:pt x="430" y="63"/>
                </a:cubicBezTo>
                <a:close/>
                <a:moveTo>
                  <a:pt x="12" y="51"/>
                </a:moveTo>
                <a:cubicBezTo>
                  <a:pt x="8" y="51"/>
                  <a:pt x="4" y="49"/>
                  <a:pt x="3" y="45"/>
                </a:cubicBezTo>
                <a:cubicBezTo>
                  <a:pt x="1" y="39"/>
                  <a:pt x="4" y="34"/>
                  <a:pt x="9" y="32"/>
                </a:cubicBezTo>
                <a:cubicBezTo>
                  <a:pt x="24" y="27"/>
                  <a:pt x="40" y="22"/>
                  <a:pt x="55" y="19"/>
                </a:cubicBezTo>
                <a:cubicBezTo>
                  <a:pt x="61" y="17"/>
                  <a:pt x="66" y="21"/>
                  <a:pt x="68" y="26"/>
                </a:cubicBezTo>
                <a:cubicBezTo>
                  <a:pt x="69" y="31"/>
                  <a:pt x="66" y="37"/>
                  <a:pt x="60" y="38"/>
                </a:cubicBezTo>
                <a:cubicBezTo>
                  <a:pt x="45" y="42"/>
                  <a:pt x="30" y="46"/>
                  <a:pt x="16" y="51"/>
                </a:cubicBezTo>
                <a:cubicBezTo>
                  <a:pt x="14" y="51"/>
                  <a:pt x="13" y="51"/>
                  <a:pt x="12" y="51"/>
                </a:cubicBezTo>
                <a:close/>
                <a:moveTo>
                  <a:pt x="339" y="35"/>
                </a:moveTo>
                <a:cubicBezTo>
                  <a:pt x="338" y="35"/>
                  <a:pt x="338" y="35"/>
                  <a:pt x="337" y="35"/>
                </a:cubicBezTo>
                <a:cubicBezTo>
                  <a:pt x="322" y="31"/>
                  <a:pt x="307" y="29"/>
                  <a:pt x="291" y="26"/>
                </a:cubicBezTo>
                <a:cubicBezTo>
                  <a:pt x="286" y="26"/>
                  <a:pt x="282" y="21"/>
                  <a:pt x="283" y="15"/>
                </a:cubicBezTo>
                <a:cubicBezTo>
                  <a:pt x="284" y="10"/>
                  <a:pt x="289" y="6"/>
                  <a:pt x="294" y="7"/>
                </a:cubicBezTo>
                <a:cubicBezTo>
                  <a:pt x="310" y="9"/>
                  <a:pt x="326" y="12"/>
                  <a:pt x="341" y="15"/>
                </a:cubicBezTo>
                <a:cubicBezTo>
                  <a:pt x="347" y="16"/>
                  <a:pt x="350" y="22"/>
                  <a:pt x="349" y="27"/>
                </a:cubicBezTo>
                <a:cubicBezTo>
                  <a:pt x="348" y="32"/>
                  <a:pt x="344" y="35"/>
                  <a:pt x="339" y="35"/>
                </a:cubicBezTo>
                <a:close/>
                <a:moveTo>
                  <a:pt x="104" y="29"/>
                </a:moveTo>
                <a:cubicBezTo>
                  <a:pt x="99" y="29"/>
                  <a:pt x="95" y="25"/>
                  <a:pt x="94" y="20"/>
                </a:cubicBezTo>
                <a:cubicBezTo>
                  <a:pt x="93" y="15"/>
                  <a:pt x="97" y="10"/>
                  <a:pt x="102" y="9"/>
                </a:cubicBezTo>
                <a:cubicBezTo>
                  <a:pt x="118" y="6"/>
                  <a:pt x="134" y="4"/>
                  <a:pt x="150" y="3"/>
                </a:cubicBezTo>
                <a:cubicBezTo>
                  <a:pt x="156" y="2"/>
                  <a:pt x="161" y="6"/>
                  <a:pt x="161" y="12"/>
                </a:cubicBezTo>
                <a:cubicBezTo>
                  <a:pt x="162" y="17"/>
                  <a:pt x="157" y="22"/>
                  <a:pt x="152" y="23"/>
                </a:cubicBezTo>
                <a:cubicBezTo>
                  <a:pt x="137" y="24"/>
                  <a:pt x="121" y="26"/>
                  <a:pt x="106" y="29"/>
                </a:cubicBezTo>
                <a:cubicBezTo>
                  <a:pt x="105" y="29"/>
                  <a:pt x="105" y="29"/>
                  <a:pt x="104" y="29"/>
                </a:cubicBezTo>
                <a:close/>
                <a:moveTo>
                  <a:pt x="246" y="22"/>
                </a:moveTo>
                <a:cubicBezTo>
                  <a:pt x="245" y="22"/>
                  <a:pt x="245" y="22"/>
                  <a:pt x="245" y="22"/>
                </a:cubicBezTo>
                <a:cubicBezTo>
                  <a:pt x="232" y="21"/>
                  <a:pt x="219" y="20"/>
                  <a:pt x="206" y="20"/>
                </a:cubicBezTo>
                <a:cubicBezTo>
                  <a:pt x="203" y="20"/>
                  <a:pt x="201" y="20"/>
                  <a:pt x="198" y="20"/>
                </a:cubicBezTo>
                <a:cubicBezTo>
                  <a:pt x="198" y="20"/>
                  <a:pt x="198" y="20"/>
                  <a:pt x="198" y="20"/>
                </a:cubicBezTo>
                <a:cubicBezTo>
                  <a:pt x="193" y="20"/>
                  <a:pt x="188" y="16"/>
                  <a:pt x="188" y="11"/>
                </a:cubicBezTo>
                <a:cubicBezTo>
                  <a:pt x="188" y="5"/>
                  <a:pt x="193" y="0"/>
                  <a:pt x="198" y="0"/>
                </a:cubicBezTo>
                <a:cubicBezTo>
                  <a:pt x="201" y="0"/>
                  <a:pt x="203" y="0"/>
                  <a:pt x="206" y="0"/>
                </a:cubicBezTo>
                <a:cubicBezTo>
                  <a:pt x="219" y="0"/>
                  <a:pt x="233" y="1"/>
                  <a:pt x="246" y="2"/>
                </a:cubicBezTo>
                <a:cubicBezTo>
                  <a:pt x="252" y="2"/>
                  <a:pt x="256" y="7"/>
                  <a:pt x="256" y="12"/>
                </a:cubicBezTo>
                <a:cubicBezTo>
                  <a:pt x="255" y="18"/>
                  <a:pt x="251" y="22"/>
                  <a:pt x="246" y="22"/>
                </a:cubicBezTo>
                <a:close/>
              </a:path>
            </a:pathLst>
          </a:custGeom>
          <a:solidFill>
            <a:srgbClr val="C0DC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4915D8-4A99-BAFC-7CA0-C3F382F89C1D}"/>
              </a:ext>
            </a:extLst>
          </p:cNvPr>
          <p:cNvSpPr txBox="1"/>
          <p:nvPr/>
        </p:nvSpPr>
        <p:spPr>
          <a:xfrm>
            <a:off x="1043932" y="1195583"/>
            <a:ext cx="9667656" cy="1724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ТЕКСТУРЫ </a:t>
            </a:r>
            <a:b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</a:br>
            <a:r>
              <a:rPr lang="ru-RU" sz="48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И ФАКТУРЫ</a:t>
            </a:r>
          </a:p>
        </p:txBody>
      </p:sp>
      <p:pic>
        <p:nvPicPr>
          <p:cNvPr id="16386" name="Picture 2" descr="Шаблон PowerPoint для многоцелевых иллюстраций">
            <a:extLst>
              <a:ext uri="{FF2B5EF4-FFF2-40B4-BE49-F238E27FC236}">
                <a16:creationId xmlns:a16="http://schemas.microsoft.com/office/drawing/2014/main" id="{ECEDD872-EF42-CF80-3559-CA470DBFB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" y="3095625"/>
            <a:ext cx="10287000" cy="6858000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45087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B99F30B1-D048-C09E-39B6-ED7AE02EE1D2}"/>
              </a:ext>
            </a:extLst>
          </p:cNvPr>
          <p:cNvSpPr/>
          <p:nvPr/>
        </p:nvSpPr>
        <p:spPr>
          <a:xfrm>
            <a:off x="9140923" y="3234597"/>
            <a:ext cx="711200" cy="388806"/>
          </a:xfrm>
          <a:prstGeom prst="rect">
            <a:avLst/>
          </a:prstGeom>
          <a:gradFill>
            <a:gsLst>
              <a:gs pos="98000">
                <a:srgbClr val="C0DCFD">
                  <a:alpha val="53000"/>
                </a:srgbClr>
              </a:gs>
              <a:gs pos="55000">
                <a:srgbClr val="C0DCFD">
                  <a:alpha val="0"/>
                </a:srgbClr>
              </a:gs>
              <a:gs pos="0">
                <a:srgbClr val="C0DCFD">
                  <a:alpha val="46085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53B8E41-42E0-7E42-881A-F133F990B9FF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D6060DB4-0F01-0B4C-9220-FA022056DB40}"/>
              </a:ext>
            </a:extLst>
          </p:cNvPr>
          <p:cNvSpPr/>
          <p:nvPr/>
        </p:nvSpPr>
        <p:spPr>
          <a:xfrm>
            <a:off x="1384596" y="131497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6FC6CD61-C8E2-1840-B545-18445EFDEB81}"/>
              </a:ext>
            </a:extLst>
          </p:cNvPr>
          <p:cNvSpPr/>
          <p:nvPr/>
        </p:nvSpPr>
        <p:spPr>
          <a:xfrm>
            <a:off x="-703394" y="-56200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C71B5425-872C-DD41-8B9E-F1798F09F6E7}"/>
              </a:ext>
            </a:extLst>
          </p:cNvPr>
          <p:cNvSpPr/>
          <p:nvPr/>
        </p:nvSpPr>
        <p:spPr>
          <a:xfrm>
            <a:off x="4660581" y="132408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310D618A-B4B7-034E-B73A-C121C1C0BE50}"/>
              </a:ext>
            </a:extLst>
          </p:cNvPr>
          <p:cNvSpPr/>
          <p:nvPr/>
        </p:nvSpPr>
        <p:spPr>
          <a:xfrm>
            <a:off x="5792288" y="-53818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6C40936F-D36D-FA48-A8C3-7BA561AC4874}"/>
              </a:ext>
            </a:extLst>
          </p:cNvPr>
          <p:cNvSpPr/>
          <p:nvPr/>
        </p:nvSpPr>
        <p:spPr>
          <a:xfrm>
            <a:off x="11099977" y="1309990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613DA252-4CF3-C744-9A08-DADA0FE63D2A}"/>
              </a:ext>
            </a:extLst>
          </p:cNvPr>
          <p:cNvSpPr/>
          <p:nvPr/>
        </p:nvSpPr>
        <p:spPr>
          <a:xfrm>
            <a:off x="9011986" y="-566982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FFECE060-9699-E144-AC26-9BF9717D9003}"/>
              </a:ext>
            </a:extLst>
          </p:cNvPr>
          <p:cNvSpPr/>
          <p:nvPr/>
        </p:nvSpPr>
        <p:spPr>
          <a:xfrm>
            <a:off x="-975099" y="381462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0DFB3F8E-46F8-4945-A1DE-D85D09671761}"/>
              </a:ext>
            </a:extLst>
          </p:cNvPr>
          <p:cNvSpPr/>
          <p:nvPr/>
        </p:nvSpPr>
        <p:spPr>
          <a:xfrm>
            <a:off x="5520584" y="383844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488C54A6-E50D-284F-A23A-3C1FE397932D}"/>
              </a:ext>
            </a:extLst>
          </p:cNvPr>
          <p:cNvSpPr/>
          <p:nvPr/>
        </p:nvSpPr>
        <p:spPr>
          <a:xfrm>
            <a:off x="-1563397" y="1596492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15DD9C33-2ACE-9249-93D1-504E86586B24}"/>
              </a:ext>
            </a:extLst>
          </p:cNvPr>
          <p:cNvSpPr/>
          <p:nvPr/>
        </p:nvSpPr>
        <p:spPr>
          <a:xfrm>
            <a:off x="2572591" y="-55288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02BC4B67-72BC-394B-839C-35E53E97C3A2}"/>
              </a:ext>
            </a:extLst>
          </p:cNvPr>
          <p:cNvSpPr/>
          <p:nvPr/>
        </p:nvSpPr>
        <p:spPr>
          <a:xfrm>
            <a:off x="7880279" y="1338788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3AA47CF2-18A3-6F42-8716-B7645120992B}"/>
              </a:ext>
            </a:extLst>
          </p:cNvPr>
          <p:cNvSpPr/>
          <p:nvPr/>
        </p:nvSpPr>
        <p:spPr>
          <a:xfrm>
            <a:off x="8527425" y="4115829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88B7C0BF-4578-AE42-A26E-E310C95FFA6A}"/>
              </a:ext>
            </a:extLst>
          </p:cNvPr>
          <p:cNvSpPr/>
          <p:nvPr/>
        </p:nvSpPr>
        <p:spPr>
          <a:xfrm>
            <a:off x="2088030" y="412992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0A138D62-A848-C647-A10B-CDD14293FDFF}"/>
              </a:ext>
            </a:extLst>
          </p:cNvPr>
          <p:cNvSpPr/>
          <p:nvPr/>
        </p:nvSpPr>
        <p:spPr>
          <a:xfrm>
            <a:off x="4443032" y="79009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67C7B3F4-4796-364E-9F51-78443E67CFAD}"/>
              </a:ext>
            </a:extLst>
          </p:cNvPr>
          <p:cNvSpPr/>
          <p:nvPr/>
        </p:nvSpPr>
        <p:spPr>
          <a:xfrm>
            <a:off x="9968269" y="597781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8DFA698-38E6-03BB-332C-E1CF55AA2EA3}"/>
              </a:ext>
            </a:extLst>
          </p:cNvPr>
          <p:cNvGrpSpPr/>
          <p:nvPr/>
        </p:nvGrpSpPr>
        <p:grpSpPr>
          <a:xfrm>
            <a:off x="623888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5A60490B-4325-0161-B20C-B88B12AE90BB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2F391B36-BE1D-E8D4-256B-A74A3155DB3E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" name="Рисунок 3">
            <a:extLst>
              <a:ext uri="{FF2B5EF4-FFF2-40B4-BE49-F238E27FC236}">
                <a16:creationId xmlns:a16="http://schemas.microsoft.com/office/drawing/2014/main" id="{3161A2EE-E4FE-9EFF-E54E-BBFE2738AE74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11" name="Полилиния 10">
              <a:extLst>
                <a:ext uri="{FF2B5EF4-FFF2-40B4-BE49-F238E27FC236}">
                  <a16:creationId xmlns:a16="http://schemas.microsoft.com/office/drawing/2014/main" id="{D5317DD2-416D-CAF5-6A74-2DC83FBED045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id="{D86E0946-D873-603A-EEED-A8AC44B862A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C10C4818-7638-E966-E7FD-3627A9462C5C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id="{1C82B3CC-C076-0AB5-1827-686EDE07B7CC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FE017B9F-C139-C5E7-684F-4B6A955E91A7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 16">
              <a:extLst>
                <a:ext uri="{FF2B5EF4-FFF2-40B4-BE49-F238E27FC236}">
                  <a16:creationId xmlns:a16="http://schemas.microsoft.com/office/drawing/2014/main" id="{A7EBA4C5-3227-2992-F35A-0F5D61BB83D1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ABED481D-93F3-36B8-D3F6-560BB8145AE9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 19">
              <a:extLst>
                <a:ext uri="{FF2B5EF4-FFF2-40B4-BE49-F238E27FC236}">
                  <a16:creationId xmlns:a16="http://schemas.microsoft.com/office/drawing/2014/main" id="{0BF81DE4-B694-E375-7460-B52134B4D520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 24">
              <a:extLst>
                <a:ext uri="{FF2B5EF4-FFF2-40B4-BE49-F238E27FC236}">
                  <a16:creationId xmlns:a16="http://schemas.microsoft.com/office/drawing/2014/main" id="{33A67B84-0B90-C9A1-984E-BE9F7500EEE3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7A3CB6ED-34ED-940C-E167-41AE91068E0E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AECC1CE8-C9B0-EF33-CBFC-069B3953E2F2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53788A5A-AAB6-6A52-08DE-9BF7A6BD8E4A}"/>
              </a:ext>
            </a:extLst>
          </p:cNvPr>
          <p:cNvSpPr txBox="1"/>
          <p:nvPr/>
        </p:nvSpPr>
        <p:spPr>
          <a:xfrm>
            <a:off x="527074" y="1521175"/>
            <a:ext cx="1322753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7200"/>
              </a:lnSpc>
              <a:spcAft>
                <a:spcPts val="1000"/>
              </a:spcAft>
            </a:pPr>
            <a:r>
              <a:rPr lang="ru-RU" sz="6000" b="1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SemiBold" panose="020B0305040102020103" pitchFamily="34" charset="0"/>
              </a:rPr>
              <a:t>АЗБУКА </a:t>
            </a:r>
            <a:br>
              <a:rPr lang="ru-RU" sz="6000" b="1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SemiBold" panose="020B0305040102020103" pitchFamily="34" charset="0"/>
              </a:rPr>
            </a:br>
            <a:r>
              <a:rPr lang="ru-RU" sz="6000" b="1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SemiBold" panose="020B0305040102020103" pitchFamily="34" charset="0"/>
              </a:rPr>
              <a:t>КАЧЕСТВЕННОГО </a:t>
            </a:r>
            <a:br>
              <a:rPr lang="ru-RU" sz="6000" b="1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SemiBold" panose="020B0305040102020103" pitchFamily="34" charset="0"/>
              </a:rPr>
            </a:br>
            <a:r>
              <a:rPr lang="ru-RU" sz="6000" b="1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SemiBold" panose="020B0305040102020103" pitchFamily="34" charset="0"/>
              </a:rPr>
              <a:t>ВИЗУАЛА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346AADDF-9773-2155-CAD1-C8C8F824F35A}"/>
              </a:ext>
            </a:extLst>
          </p:cNvPr>
          <p:cNvGrpSpPr/>
          <p:nvPr/>
        </p:nvGrpSpPr>
        <p:grpSpPr>
          <a:xfrm>
            <a:off x="-20459602" y="3429000"/>
            <a:ext cx="16369553" cy="2655607"/>
            <a:chOff x="-8380656" y="3711125"/>
            <a:chExt cx="39283186" cy="6372850"/>
          </a:xfrm>
        </p:grpSpPr>
        <p:sp>
          <p:nvSpPr>
            <p:cNvPr id="4" name="Полилиния 3">
              <a:extLst>
                <a:ext uri="{FF2B5EF4-FFF2-40B4-BE49-F238E27FC236}">
                  <a16:creationId xmlns:a16="http://schemas.microsoft.com/office/drawing/2014/main" id="{9F66FA7E-2874-FD0A-B8DC-861C20A8124B}"/>
                </a:ext>
              </a:extLst>
            </p:cNvPr>
            <p:cNvSpPr/>
            <p:nvPr/>
          </p:nvSpPr>
          <p:spPr>
            <a:xfrm>
              <a:off x="-1343917" y="3711125"/>
              <a:ext cx="7973327" cy="1673803"/>
            </a:xfrm>
            <a:custGeom>
              <a:avLst/>
              <a:gdLst>
                <a:gd name="connsiteX0" fmla="*/ 2618174 w 5360120"/>
                <a:gd name="connsiteY0" fmla="*/ 0 h 1115727"/>
                <a:gd name="connsiteX1" fmla="*/ 2679502 w 5360120"/>
                <a:gd name="connsiteY1" fmla="*/ 0 h 1115727"/>
                <a:gd name="connsiteX2" fmla="*/ 2740830 w 5360120"/>
                <a:gd name="connsiteY2" fmla="*/ 0 h 1115727"/>
                <a:gd name="connsiteX3" fmla="*/ 2803273 w 5360120"/>
                <a:gd name="connsiteY3" fmla="*/ 3340 h 1115727"/>
                <a:gd name="connsiteX4" fmla="*/ 2864601 w 5360120"/>
                <a:gd name="connsiteY4" fmla="*/ 7793 h 1115727"/>
                <a:gd name="connsiteX5" fmla="*/ 2923699 w 5360120"/>
                <a:gd name="connsiteY5" fmla="*/ 14473 h 1115727"/>
                <a:gd name="connsiteX6" fmla="*/ 2985027 w 5360120"/>
                <a:gd name="connsiteY6" fmla="*/ 23379 h 1115727"/>
                <a:gd name="connsiteX7" fmla="*/ 3043010 w 5360120"/>
                <a:gd name="connsiteY7" fmla="*/ 33399 h 1115727"/>
                <a:gd name="connsiteX8" fmla="*/ 3102109 w 5360120"/>
                <a:gd name="connsiteY8" fmla="*/ 46758 h 1115727"/>
                <a:gd name="connsiteX9" fmla="*/ 3160091 w 5360120"/>
                <a:gd name="connsiteY9" fmla="*/ 61231 h 1115727"/>
                <a:gd name="connsiteX10" fmla="*/ 3215843 w 5360120"/>
                <a:gd name="connsiteY10" fmla="*/ 77930 h 1115727"/>
                <a:gd name="connsiteX11" fmla="*/ 3270481 w 5360120"/>
                <a:gd name="connsiteY11" fmla="*/ 95743 h 1115727"/>
                <a:gd name="connsiteX12" fmla="*/ 3325119 w 5360120"/>
                <a:gd name="connsiteY12" fmla="*/ 116895 h 1115727"/>
                <a:gd name="connsiteX13" fmla="*/ 3376411 w 5360120"/>
                <a:gd name="connsiteY13" fmla="*/ 139161 h 1115727"/>
                <a:gd name="connsiteX14" fmla="*/ 3427704 w 5360120"/>
                <a:gd name="connsiteY14" fmla="*/ 163653 h 1115727"/>
                <a:gd name="connsiteX15" fmla="*/ 3477881 w 5360120"/>
                <a:gd name="connsiteY15" fmla="*/ 189259 h 1115727"/>
                <a:gd name="connsiteX16" fmla="*/ 3524713 w 5360120"/>
                <a:gd name="connsiteY16" fmla="*/ 215978 h 1115727"/>
                <a:gd name="connsiteX17" fmla="*/ 3569315 w 5360120"/>
                <a:gd name="connsiteY17" fmla="*/ 247150 h 1115727"/>
                <a:gd name="connsiteX18" fmla="*/ 3570430 w 5360120"/>
                <a:gd name="connsiteY18" fmla="*/ 248263 h 1115727"/>
                <a:gd name="connsiteX19" fmla="*/ 3581581 w 5360120"/>
                <a:gd name="connsiteY19" fmla="*/ 256056 h 1115727"/>
                <a:gd name="connsiteX20" fmla="*/ 3612802 w 5360120"/>
                <a:gd name="connsiteY20" fmla="*/ 277209 h 1115727"/>
                <a:gd name="connsiteX21" fmla="*/ 3671900 w 5360120"/>
                <a:gd name="connsiteY21" fmla="*/ 318401 h 1115727"/>
                <a:gd name="connsiteX22" fmla="*/ 3767795 w 5360120"/>
                <a:gd name="connsiteY22" fmla="*/ 386311 h 1115727"/>
                <a:gd name="connsiteX23" fmla="*/ 3912752 w 5360120"/>
                <a:gd name="connsiteY23" fmla="*/ 487620 h 1115727"/>
                <a:gd name="connsiteX24" fmla="*/ 4114577 w 5360120"/>
                <a:gd name="connsiteY24" fmla="*/ 627895 h 1115727"/>
                <a:gd name="connsiteX25" fmla="*/ 4383305 w 5360120"/>
                <a:gd name="connsiteY25" fmla="*/ 817154 h 1115727"/>
                <a:gd name="connsiteX26" fmla="*/ 4434597 w 5360120"/>
                <a:gd name="connsiteY26" fmla="*/ 851666 h 1115727"/>
                <a:gd name="connsiteX27" fmla="*/ 4490350 w 5360120"/>
                <a:gd name="connsiteY27" fmla="*/ 885065 h 1115727"/>
                <a:gd name="connsiteX28" fmla="*/ 4548333 w 5360120"/>
                <a:gd name="connsiteY28" fmla="*/ 915123 h 1115727"/>
                <a:gd name="connsiteX29" fmla="*/ 4608546 w 5360120"/>
                <a:gd name="connsiteY29" fmla="*/ 944069 h 1115727"/>
                <a:gd name="connsiteX30" fmla="*/ 4670989 w 5360120"/>
                <a:gd name="connsiteY30" fmla="*/ 971901 h 1115727"/>
                <a:gd name="connsiteX31" fmla="*/ 4736777 w 5360120"/>
                <a:gd name="connsiteY31" fmla="*/ 995280 h 1115727"/>
                <a:gd name="connsiteX32" fmla="*/ 4802565 w 5360120"/>
                <a:gd name="connsiteY32" fmla="*/ 1017546 h 1115727"/>
                <a:gd name="connsiteX33" fmla="*/ 4871699 w 5360120"/>
                <a:gd name="connsiteY33" fmla="*/ 1038698 h 1115727"/>
                <a:gd name="connsiteX34" fmla="*/ 4940832 w 5360120"/>
                <a:gd name="connsiteY34" fmla="*/ 1056511 h 1115727"/>
                <a:gd name="connsiteX35" fmla="*/ 5012195 w 5360120"/>
                <a:gd name="connsiteY35" fmla="*/ 1072097 h 1115727"/>
                <a:gd name="connsiteX36" fmla="*/ 5086904 w 5360120"/>
                <a:gd name="connsiteY36" fmla="*/ 1086570 h 1115727"/>
                <a:gd name="connsiteX37" fmla="*/ 5160497 w 5360120"/>
                <a:gd name="connsiteY37" fmla="*/ 1097703 h 1115727"/>
                <a:gd name="connsiteX38" fmla="*/ 5236321 w 5360120"/>
                <a:gd name="connsiteY38" fmla="*/ 1106609 h 1115727"/>
                <a:gd name="connsiteX39" fmla="*/ 5311030 w 5360120"/>
                <a:gd name="connsiteY39" fmla="*/ 1112176 h 1115727"/>
                <a:gd name="connsiteX40" fmla="*/ 5360120 w 5360120"/>
                <a:gd name="connsiteY40" fmla="*/ 1115727 h 1115727"/>
                <a:gd name="connsiteX41" fmla="*/ 0 w 5360120"/>
                <a:gd name="connsiteY41" fmla="*/ 1115727 h 1115727"/>
                <a:gd name="connsiteX42" fmla="*/ 49090 w 5360120"/>
                <a:gd name="connsiteY42" fmla="*/ 1112176 h 1115727"/>
                <a:gd name="connsiteX43" fmla="*/ 124914 w 5360120"/>
                <a:gd name="connsiteY43" fmla="*/ 1106609 h 1115727"/>
                <a:gd name="connsiteX44" fmla="*/ 200738 w 5360120"/>
                <a:gd name="connsiteY44" fmla="*/ 1097703 h 1115727"/>
                <a:gd name="connsiteX45" fmla="*/ 275446 w 5360120"/>
                <a:gd name="connsiteY45" fmla="*/ 1086570 h 1115727"/>
                <a:gd name="connsiteX46" fmla="*/ 347925 w 5360120"/>
                <a:gd name="connsiteY46" fmla="*/ 1072097 h 1115727"/>
                <a:gd name="connsiteX47" fmla="*/ 420403 w 5360120"/>
                <a:gd name="connsiteY47" fmla="*/ 1056511 h 1115727"/>
                <a:gd name="connsiteX48" fmla="*/ 489537 w 5360120"/>
                <a:gd name="connsiteY48" fmla="*/ 1038698 h 1115727"/>
                <a:gd name="connsiteX49" fmla="*/ 558670 w 5360120"/>
                <a:gd name="connsiteY49" fmla="*/ 1017546 h 1115727"/>
                <a:gd name="connsiteX50" fmla="*/ 624458 w 5360120"/>
                <a:gd name="connsiteY50" fmla="*/ 995280 h 1115727"/>
                <a:gd name="connsiteX51" fmla="*/ 690246 w 5360120"/>
                <a:gd name="connsiteY51" fmla="*/ 971901 h 1115727"/>
                <a:gd name="connsiteX52" fmla="*/ 751574 w 5360120"/>
                <a:gd name="connsiteY52" fmla="*/ 944069 h 1115727"/>
                <a:gd name="connsiteX53" fmla="*/ 811787 w 5360120"/>
                <a:gd name="connsiteY53" fmla="*/ 915123 h 1115727"/>
                <a:gd name="connsiteX54" fmla="*/ 869770 w 5360120"/>
                <a:gd name="connsiteY54" fmla="*/ 885065 h 1115727"/>
                <a:gd name="connsiteX55" fmla="*/ 924408 w 5360120"/>
                <a:gd name="connsiteY55" fmla="*/ 851666 h 1115727"/>
                <a:gd name="connsiteX56" fmla="*/ 977930 w 5360120"/>
                <a:gd name="connsiteY56" fmla="*/ 817154 h 1115727"/>
                <a:gd name="connsiteX57" fmla="*/ 979045 w 5360120"/>
                <a:gd name="connsiteY57" fmla="*/ 816041 h 1115727"/>
                <a:gd name="connsiteX58" fmla="*/ 990196 w 5360120"/>
                <a:gd name="connsiteY58" fmla="*/ 808248 h 1115727"/>
                <a:gd name="connsiteX59" fmla="*/ 1021417 w 5360120"/>
                <a:gd name="connsiteY59" fmla="*/ 787095 h 1115727"/>
                <a:gd name="connsiteX60" fmla="*/ 1078285 w 5360120"/>
                <a:gd name="connsiteY60" fmla="*/ 745904 h 1115727"/>
                <a:gd name="connsiteX61" fmla="*/ 1176410 w 5360120"/>
                <a:gd name="connsiteY61" fmla="*/ 677993 h 1115727"/>
                <a:gd name="connsiteX62" fmla="*/ 1321367 w 5360120"/>
                <a:gd name="connsiteY62" fmla="*/ 576684 h 1115727"/>
                <a:gd name="connsiteX63" fmla="*/ 1522076 w 5360120"/>
                <a:gd name="connsiteY63" fmla="*/ 434183 h 1115727"/>
                <a:gd name="connsiteX64" fmla="*/ 1789689 w 5360120"/>
                <a:gd name="connsiteY64" fmla="*/ 247150 h 1115727"/>
                <a:gd name="connsiteX65" fmla="*/ 1836522 w 5360120"/>
                <a:gd name="connsiteY65" fmla="*/ 215978 h 1115727"/>
                <a:gd name="connsiteX66" fmla="*/ 1883354 w 5360120"/>
                <a:gd name="connsiteY66" fmla="*/ 189259 h 1115727"/>
                <a:gd name="connsiteX67" fmla="*/ 1931301 w 5360120"/>
                <a:gd name="connsiteY67" fmla="*/ 163653 h 1115727"/>
                <a:gd name="connsiteX68" fmla="*/ 1982594 w 5360120"/>
                <a:gd name="connsiteY68" fmla="*/ 139161 h 1115727"/>
                <a:gd name="connsiteX69" fmla="*/ 2036116 w 5360120"/>
                <a:gd name="connsiteY69" fmla="*/ 116895 h 1115727"/>
                <a:gd name="connsiteX70" fmla="*/ 2088524 w 5360120"/>
                <a:gd name="connsiteY70" fmla="*/ 95743 h 1115727"/>
                <a:gd name="connsiteX71" fmla="*/ 2145392 w 5360120"/>
                <a:gd name="connsiteY71" fmla="*/ 77930 h 1115727"/>
                <a:gd name="connsiteX72" fmla="*/ 2201144 w 5360120"/>
                <a:gd name="connsiteY72" fmla="*/ 61231 h 1115727"/>
                <a:gd name="connsiteX73" fmla="*/ 2259127 w 5360120"/>
                <a:gd name="connsiteY73" fmla="*/ 46758 h 1115727"/>
                <a:gd name="connsiteX74" fmla="*/ 2317110 w 5360120"/>
                <a:gd name="connsiteY74" fmla="*/ 33399 h 1115727"/>
                <a:gd name="connsiteX75" fmla="*/ 2376208 w 5360120"/>
                <a:gd name="connsiteY75" fmla="*/ 23379 h 1115727"/>
                <a:gd name="connsiteX76" fmla="*/ 2435305 w 5360120"/>
                <a:gd name="connsiteY76" fmla="*/ 14473 h 1115727"/>
                <a:gd name="connsiteX77" fmla="*/ 2496633 w 5360120"/>
                <a:gd name="connsiteY77" fmla="*/ 7793 h 1115727"/>
                <a:gd name="connsiteX78" fmla="*/ 2557961 w 5360120"/>
                <a:gd name="connsiteY78" fmla="*/ 3340 h 11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60120" h="1115727">
                  <a:moveTo>
                    <a:pt x="2618174" y="0"/>
                  </a:moveTo>
                  <a:lnTo>
                    <a:pt x="2679502" y="0"/>
                  </a:lnTo>
                  <a:lnTo>
                    <a:pt x="2740830" y="0"/>
                  </a:lnTo>
                  <a:lnTo>
                    <a:pt x="2803273" y="3340"/>
                  </a:lnTo>
                  <a:lnTo>
                    <a:pt x="2864601" y="7793"/>
                  </a:lnTo>
                  <a:lnTo>
                    <a:pt x="2923699" y="14473"/>
                  </a:lnTo>
                  <a:lnTo>
                    <a:pt x="2985027" y="23379"/>
                  </a:lnTo>
                  <a:lnTo>
                    <a:pt x="3043010" y="33399"/>
                  </a:lnTo>
                  <a:lnTo>
                    <a:pt x="3102109" y="46758"/>
                  </a:lnTo>
                  <a:lnTo>
                    <a:pt x="3160091" y="61231"/>
                  </a:lnTo>
                  <a:lnTo>
                    <a:pt x="3215843" y="77930"/>
                  </a:lnTo>
                  <a:lnTo>
                    <a:pt x="3270481" y="95743"/>
                  </a:lnTo>
                  <a:lnTo>
                    <a:pt x="3325119" y="116895"/>
                  </a:lnTo>
                  <a:lnTo>
                    <a:pt x="3376411" y="139161"/>
                  </a:lnTo>
                  <a:lnTo>
                    <a:pt x="3427704" y="163653"/>
                  </a:lnTo>
                  <a:lnTo>
                    <a:pt x="3477881" y="189259"/>
                  </a:lnTo>
                  <a:lnTo>
                    <a:pt x="3524713" y="215978"/>
                  </a:lnTo>
                  <a:lnTo>
                    <a:pt x="3569315" y="247150"/>
                  </a:lnTo>
                  <a:lnTo>
                    <a:pt x="3570430" y="248263"/>
                  </a:lnTo>
                  <a:lnTo>
                    <a:pt x="3581581" y="256056"/>
                  </a:lnTo>
                  <a:lnTo>
                    <a:pt x="3612802" y="277209"/>
                  </a:lnTo>
                  <a:lnTo>
                    <a:pt x="3671900" y="318401"/>
                  </a:lnTo>
                  <a:lnTo>
                    <a:pt x="3767795" y="386311"/>
                  </a:lnTo>
                  <a:lnTo>
                    <a:pt x="3912752" y="487620"/>
                  </a:lnTo>
                  <a:lnTo>
                    <a:pt x="4114577" y="627895"/>
                  </a:lnTo>
                  <a:lnTo>
                    <a:pt x="4383305" y="817154"/>
                  </a:lnTo>
                  <a:lnTo>
                    <a:pt x="4434597" y="851666"/>
                  </a:lnTo>
                  <a:lnTo>
                    <a:pt x="4490350" y="885065"/>
                  </a:lnTo>
                  <a:lnTo>
                    <a:pt x="4548333" y="915123"/>
                  </a:lnTo>
                  <a:lnTo>
                    <a:pt x="4608546" y="944069"/>
                  </a:lnTo>
                  <a:lnTo>
                    <a:pt x="4670989" y="971901"/>
                  </a:lnTo>
                  <a:lnTo>
                    <a:pt x="4736777" y="995280"/>
                  </a:lnTo>
                  <a:lnTo>
                    <a:pt x="4802565" y="1017546"/>
                  </a:lnTo>
                  <a:lnTo>
                    <a:pt x="4871699" y="1038698"/>
                  </a:lnTo>
                  <a:lnTo>
                    <a:pt x="4940832" y="1056511"/>
                  </a:lnTo>
                  <a:lnTo>
                    <a:pt x="5012195" y="1072097"/>
                  </a:lnTo>
                  <a:lnTo>
                    <a:pt x="5086904" y="1086570"/>
                  </a:lnTo>
                  <a:lnTo>
                    <a:pt x="5160497" y="1097703"/>
                  </a:lnTo>
                  <a:lnTo>
                    <a:pt x="5236321" y="1106609"/>
                  </a:lnTo>
                  <a:lnTo>
                    <a:pt x="5311030" y="1112176"/>
                  </a:lnTo>
                  <a:lnTo>
                    <a:pt x="5360120" y="1115727"/>
                  </a:lnTo>
                  <a:lnTo>
                    <a:pt x="0" y="1115727"/>
                  </a:lnTo>
                  <a:lnTo>
                    <a:pt x="49090" y="1112176"/>
                  </a:lnTo>
                  <a:lnTo>
                    <a:pt x="124914" y="1106609"/>
                  </a:lnTo>
                  <a:lnTo>
                    <a:pt x="200738" y="1097703"/>
                  </a:lnTo>
                  <a:lnTo>
                    <a:pt x="275446" y="1086570"/>
                  </a:lnTo>
                  <a:lnTo>
                    <a:pt x="347925" y="1072097"/>
                  </a:lnTo>
                  <a:lnTo>
                    <a:pt x="420403" y="1056511"/>
                  </a:lnTo>
                  <a:lnTo>
                    <a:pt x="489537" y="1038698"/>
                  </a:lnTo>
                  <a:lnTo>
                    <a:pt x="558670" y="1017546"/>
                  </a:lnTo>
                  <a:lnTo>
                    <a:pt x="624458" y="995280"/>
                  </a:lnTo>
                  <a:lnTo>
                    <a:pt x="690246" y="971901"/>
                  </a:lnTo>
                  <a:lnTo>
                    <a:pt x="751574" y="944069"/>
                  </a:lnTo>
                  <a:lnTo>
                    <a:pt x="811787" y="915123"/>
                  </a:lnTo>
                  <a:lnTo>
                    <a:pt x="869770" y="885065"/>
                  </a:lnTo>
                  <a:lnTo>
                    <a:pt x="924408" y="851666"/>
                  </a:lnTo>
                  <a:lnTo>
                    <a:pt x="977930" y="817154"/>
                  </a:lnTo>
                  <a:lnTo>
                    <a:pt x="979045" y="816041"/>
                  </a:lnTo>
                  <a:lnTo>
                    <a:pt x="990196" y="808248"/>
                  </a:lnTo>
                  <a:lnTo>
                    <a:pt x="1021417" y="787095"/>
                  </a:lnTo>
                  <a:lnTo>
                    <a:pt x="1078285" y="745904"/>
                  </a:lnTo>
                  <a:lnTo>
                    <a:pt x="1176410" y="677993"/>
                  </a:lnTo>
                  <a:lnTo>
                    <a:pt x="1321367" y="576684"/>
                  </a:lnTo>
                  <a:lnTo>
                    <a:pt x="1522076" y="434183"/>
                  </a:lnTo>
                  <a:lnTo>
                    <a:pt x="1789689" y="247150"/>
                  </a:lnTo>
                  <a:lnTo>
                    <a:pt x="1836522" y="215978"/>
                  </a:lnTo>
                  <a:lnTo>
                    <a:pt x="1883354" y="189259"/>
                  </a:lnTo>
                  <a:lnTo>
                    <a:pt x="1931301" y="163653"/>
                  </a:lnTo>
                  <a:lnTo>
                    <a:pt x="1982594" y="139161"/>
                  </a:lnTo>
                  <a:lnTo>
                    <a:pt x="2036116" y="116895"/>
                  </a:lnTo>
                  <a:lnTo>
                    <a:pt x="2088524" y="95743"/>
                  </a:lnTo>
                  <a:lnTo>
                    <a:pt x="2145392" y="77930"/>
                  </a:lnTo>
                  <a:lnTo>
                    <a:pt x="2201144" y="61231"/>
                  </a:lnTo>
                  <a:lnTo>
                    <a:pt x="2259127" y="46758"/>
                  </a:lnTo>
                  <a:lnTo>
                    <a:pt x="2317110" y="33399"/>
                  </a:lnTo>
                  <a:lnTo>
                    <a:pt x="2376208" y="23379"/>
                  </a:lnTo>
                  <a:lnTo>
                    <a:pt x="2435305" y="14473"/>
                  </a:lnTo>
                  <a:lnTo>
                    <a:pt x="2496633" y="7793"/>
                  </a:lnTo>
                  <a:lnTo>
                    <a:pt x="2557961" y="334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44FD296D-0C44-1407-4D1B-3319C9A8EC82}"/>
                </a:ext>
              </a:extLst>
            </p:cNvPr>
            <p:cNvSpPr/>
            <p:nvPr/>
          </p:nvSpPr>
          <p:spPr>
            <a:xfrm>
              <a:off x="-8380656" y="5339478"/>
              <a:ext cx="39283186" cy="4744497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4D9CF40C-BC59-F959-C9C4-C87D7FE23108}"/>
                </a:ext>
              </a:extLst>
            </p:cNvPr>
            <p:cNvSpPr/>
            <p:nvPr/>
          </p:nvSpPr>
          <p:spPr>
            <a:xfrm>
              <a:off x="884305" y="4299818"/>
              <a:ext cx="4952525" cy="1039660"/>
            </a:xfrm>
            <a:custGeom>
              <a:avLst/>
              <a:gdLst>
                <a:gd name="connsiteX0" fmla="*/ 2618174 w 5360120"/>
                <a:gd name="connsiteY0" fmla="*/ 0 h 1115727"/>
                <a:gd name="connsiteX1" fmla="*/ 2679502 w 5360120"/>
                <a:gd name="connsiteY1" fmla="*/ 0 h 1115727"/>
                <a:gd name="connsiteX2" fmla="*/ 2740830 w 5360120"/>
                <a:gd name="connsiteY2" fmla="*/ 0 h 1115727"/>
                <a:gd name="connsiteX3" fmla="*/ 2803273 w 5360120"/>
                <a:gd name="connsiteY3" fmla="*/ 3340 h 1115727"/>
                <a:gd name="connsiteX4" fmla="*/ 2864601 w 5360120"/>
                <a:gd name="connsiteY4" fmla="*/ 7793 h 1115727"/>
                <a:gd name="connsiteX5" fmla="*/ 2923699 w 5360120"/>
                <a:gd name="connsiteY5" fmla="*/ 14473 h 1115727"/>
                <a:gd name="connsiteX6" fmla="*/ 2985027 w 5360120"/>
                <a:gd name="connsiteY6" fmla="*/ 23379 h 1115727"/>
                <a:gd name="connsiteX7" fmla="*/ 3043010 w 5360120"/>
                <a:gd name="connsiteY7" fmla="*/ 33399 h 1115727"/>
                <a:gd name="connsiteX8" fmla="*/ 3102109 w 5360120"/>
                <a:gd name="connsiteY8" fmla="*/ 46758 h 1115727"/>
                <a:gd name="connsiteX9" fmla="*/ 3160091 w 5360120"/>
                <a:gd name="connsiteY9" fmla="*/ 61231 h 1115727"/>
                <a:gd name="connsiteX10" fmla="*/ 3215843 w 5360120"/>
                <a:gd name="connsiteY10" fmla="*/ 77930 h 1115727"/>
                <a:gd name="connsiteX11" fmla="*/ 3270481 w 5360120"/>
                <a:gd name="connsiteY11" fmla="*/ 95743 h 1115727"/>
                <a:gd name="connsiteX12" fmla="*/ 3325119 w 5360120"/>
                <a:gd name="connsiteY12" fmla="*/ 116895 h 1115727"/>
                <a:gd name="connsiteX13" fmla="*/ 3376411 w 5360120"/>
                <a:gd name="connsiteY13" fmla="*/ 139161 h 1115727"/>
                <a:gd name="connsiteX14" fmla="*/ 3427704 w 5360120"/>
                <a:gd name="connsiteY14" fmla="*/ 163653 h 1115727"/>
                <a:gd name="connsiteX15" fmla="*/ 3477881 w 5360120"/>
                <a:gd name="connsiteY15" fmla="*/ 189259 h 1115727"/>
                <a:gd name="connsiteX16" fmla="*/ 3524713 w 5360120"/>
                <a:gd name="connsiteY16" fmla="*/ 215978 h 1115727"/>
                <a:gd name="connsiteX17" fmla="*/ 3569315 w 5360120"/>
                <a:gd name="connsiteY17" fmla="*/ 247150 h 1115727"/>
                <a:gd name="connsiteX18" fmla="*/ 3570430 w 5360120"/>
                <a:gd name="connsiteY18" fmla="*/ 248263 h 1115727"/>
                <a:gd name="connsiteX19" fmla="*/ 3581581 w 5360120"/>
                <a:gd name="connsiteY19" fmla="*/ 256056 h 1115727"/>
                <a:gd name="connsiteX20" fmla="*/ 3612802 w 5360120"/>
                <a:gd name="connsiteY20" fmla="*/ 277209 h 1115727"/>
                <a:gd name="connsiteX21" fmla="*/ 3671900 w 5360120"/>
                <a:gd name="connsiteY21" fmla="*/ 318401 h 1115727"/>
                <a:gd name="connsiteX22" fmla="*/ 3767795 w 5360120"/>
                <a:gd name="connsiteY22" fmla="*/ 386311 h 1115727"/>
                <a:gd name="connsiteX23" fmla="*/ 3912752 w 5360120"/>
                <a:gd name="connsiteY23" fmla="*/ 487620 h 1115727"/>
                <a:gd name="connsiteX24" fmla="*/ 4114577 w 5360120"/>
                <a:gd name="connsiteY24" fmla="*/ 627895 h 1115727"/>
                <a:gd name="connsiteX25" fmla="*/ 4383305 w 5360120"/>
                <a:gd name="connsiteY25" fmla="*/ 817154 h 1115727"/>
                <a:gd name="connsiteX26" fmla="*/ 4434597 w 5360120"/>
                <a:gd name="connsiteY26" fmla="*/ 851666 h 1115727"/>
                <a:gd name="connsiteX27" fmla="*/ 4490350 w 5360120"/>
                <a:gd name="connsiteY27" fmla="*/ 885065 h 1115727"/>
                <a:gd name="connsiteX28" fmla="*/ 4548333 w 5360120"/>
                <a:gd name="connsiteY28" fmla="*/ 915123 h 1115727"/>
                <a:gd name="connsiteX29" fmla="*/ 4608546 w 5360120"/>
                <a:gd name="connsiteY29" fmla="*/ 944069 h 1115727"/>
                <a:gd name="connsiteX30" fmla="*/ 4670989 w 5360120"/>
                <a:gd name="connsiteY30" fmla="*/ 971901 h 1115727"/>
                <a:gd name="connsiteX31" fmla="*/ 4736777 w 5360120"/>
                <a:gd name="connsiteY31" fmla="*/ 995280 h 1115727"/>
                <a:gd name="connsiteX32" fmla="*/ 4802565 w 5360120"/>
                <a:gd name="connsiteY32" fmla="*/ 1017546 h 1115727"/>
                <a:gd name="connsiteX33" fmla="*/ 4871699 w 5360120"/>
                <a:gd name="connsiteY33" fmla="*/ 1038698 h 1115727"/>
                <a:gd name="connsiteX34" fmla="*/ 4940832 w 5360120"/>
                <a:gd name="connsiteY34" fmla="*/ 1056511 h 1115727"/>
                <a:gd name="connsiteX35" fmla="*/ 5012195 w 5360120"/>
                <a:gd name="connsiteY35" fmla="*/ 1072097 h 1115727"/>
                <a:gd name="connsiteX36" fmla="*/ 5086904 w 5360120"/>
                <a:gd name="connsiteY36" fmla="*/ 1086570 h 1115727"/>
                <a:gd name="connsiteX37" fmla="*/ 5160497 w 5360120"/>
                <a:gd name="connsiteY37" fmla="*/ 1097703 h 1115727"/>
                <a:gd name="connsiteX38" fmla="*/ 5236321 w 5360120"/>
                <a:gd name="connsiteY38" fmla="*/ 1106609 h 1115727"/>
                <a:gd name="connsiteX39" fmla="*/ 5311030 w 5360120"/>
                <a:gd name="connsiteY39" fmla="*/ 1112176 h 1115727"/>
                <a:gd name="connsiteX40" fmla="*/ 5360120 w 5360120"/>
                <a:gd name="connsiteY40" fmla="*/ 1115727 h 1115727"/>
                <a:gd name="connsiteX41" fmla="*/ 0 w 5360120"/>
                <a:gd name="connsiteY41" fmla="*/ 1115727 h 1115727"/>
                <a:gd name="connsiteX42" fmla="*/ 49090 w 5360120"/>
                <a:gd name="connsiteY42" fmla="*/ 1112176 h 1115727"/>
                <a:gd name="connsiteX43" fmla="*/ 124914 w 5360120"/>
                <a:gd name="connsiteY43" fmla="*/ 1106609 h 1115727"/>
                <a:gd name="connsiteX44" fmla="*/ 200738 w 5360120"/>
                <a:gd name="connsiteY44" fmla="*/ 1097703 h 1115727"/>
                <a:gd name="connsiteX45" fmla="*/ 275446 w 5360120"/>
                <a:gd name="connsiteY45" fmla="*/ 1086570 h 1115727"/>
                <a:gd name="connsiteX46" fmla="*/ 347925 w 5360120"/>
                <a:gd name="connsiteY46" fmla="*/ 1072097 h 1115727"/>
                <a:gd name="connsiteX47" fmla="*/ 420403 w 5360120"/>
                <a:gd name="connsiteY47" fmla="*/ 1056511 h 1115727"/>
                <a:gd name="connsiteX48" fmla="*/ 489537 w 5360120"/>
                <a:gd name="connsiteY48" fmla="*/ 1038698 h 1115727"/>
                <a:gd name="connsiteX49" fmla="*/ 558670 w 5360120"/>
                <a:gd name="connsiteY49" fmla="*/ 1017546 h 1115727"/>
                <a:gd name="connsiteX50" fmla="*/ 624458 w 5360120"/>
                <a:gd name="connsiteY50" fmla="*/ 995280 h 1115727"/>
                <a:gd name="connsiteX51" fmla="*/ 690246 w 5360120"/>
                <a:gd name="connsiteY51" fmla="*/ 971901 h 1115727"/>
                <a:gd name="connsiteX52" fmla="*/ 751574 w 5360120"/>
                <a:gd name="connsiteY52" fmla="*/ 944069 h 1115727"/>
                <a:gd name="connsiteX53" fmla="*/ 811787 w 5360120"/>
                <a:gd name="connsiteY53" fmla="*/ 915123 h 1115727"/>
                <a:gd name="connsiteX54" fmla="*/ 869770 w 5360120"/>
                <a:gd name="connsiteY54" fmla="*/ 885065 h 1115727"/>
                <a:gd name="connsiteX55" fmla="*/ 924408 w 5360120"/>
                <a:gd name="connsiteY55" fmla="*/ 851666 h 1115727"/>
                <a:gd name="connsiteX56" fmla="*/ 977930 w 5360120"/>
                <a:gd name="connsiteY56" fmla="*/ 817154 h 1115727"/>
                <a:gd name="connsiteX57" fmla="*/ 979045 w 5360120"/>
                <a:gd name="connsiteY57" fmla="*/ 816041 h 1115727"/>
                <a:gd name="connsiteX58" fmla="*/ 990196 w 5360120"/>
                <a:gd name="connsiteY58" fmla="*/ 808248 h 1115727"/>
                <a:gd name="connsiteX59" fmla="*/ 1021417 w 5360120"/>
                <a:gd name="connsiteY59" fmla="*/ 787095 h 1115727"/>
                <a:gd name="connsiteX60" fmla="*/ 1078285 w 5360120"/>
                <a:gd name="connsiteY60" fmla="*/ 745904 h 1115727"/>
                <a:gd name="connsiteX61" fmla="*/ 1176410 w 5360120"/>
                <a:gd name="connsiteY61" fmla="*/ 677993 h 1115727"/>
                <a:gd name="connsiteX62" fmla="*/ 1321367 w 5360120"/>
                <a:gd name="connsiteY62" fmla="*/ 576684 h 1115727"/>
                <a:gd name="connsiteX63" fmla="*/ 1522076 w 5360120"/>
                <a:gd name="connsiteY63" fmla="*/ 434183 h 1115727"/>
                <a:gd name="connsiteX64" fmla="*/ 1789689 w 5360120"/>
                <a:gd name="connsiteY64" fmla="*/ 247150 h 1115727"/>
                <a:gd name="connsiteX65" fmla="*/ 1836522 w 5360120"/>
                <a:gd name="connsiteY65" fmla="*/ 215978 h 1115727"/>
                <a:gd name="connsiteX66" fmla="*/ 1883354 w 5360120"/>
                <a:gd name="connsiteY66" fmla="*/ 189259 h 1115727"/>
                <a:gd name="connsiteX67" fmla="*/ 1931301 w 5360120"/>
                <a:gd name="connsiteY67" fmla="*/ 163653 h 1115727"/>
                <a:gd name="connsiteX68" fmla="*/ 1982594 w 5360120"/>
                <a:gd name="connsiteY68" fmla="*/ 139161 h 1115727"/>
                <a:gd name="connsiteX69" fmla="*/ 2036116 w 5360120"/>
                <a:gd name="connsiteY69" fmla="*/ 116895 h 1115727"/>
                <a:gd name="connsiteX70" fmla="*/ 2088524 w 5360120"/>
                <a:gd name="connsiteY70" fmla="*/ 95743 h 1115727"/>
                <a:gd name="connsiteX71" fmla="*/ 2145392 w 5360120"/>
                <a:gd name="connsiteY71" fmla="*/ 77930 h 1115727"/>
                <a:gd name="connsiteX72" fmla="*/ 2201144 w 5360120"/>
                <a:gd name="connsiteY72" fmla="*/ 61231 h 1115727"/>
                <a:gd name="connsiteX73" fmla="*/ 2259127 w 5360120"/>
                <a:gd name="connsiteY73" fmla="*/ 46758 h 1115727"/>
                <a:gd name="connsiteX74" fmla="*/ 2317110 w 5360120"/>
                <a:gd name="connsiteY74" fmla="*/ 33399 h 1115727"/>
                <a:gd name="connsiteX75" fmla="*/ 2376208 w 5360120"/>
                <a:gd name="connsiteY75" fmla="*/ 23379 h 1115727"/>
                <a:gd name="connsiteX76" fmla="*/ 2435305 w 5360120"/>
                <a:gd name="connsiteY76" fmla="*/ 14473 h 1115727"/>
                <a:gd name="connsiteX77" fmla="*/ 2496633 w 5360120"/>
                <a:gd name="connsiteY77" fmla="*/ 7793 h 1115727"/>
                <a:gd name="connsiteX78" fmla="*/ 2557961 w 5360120"/>
                <a:gd name="connsiteY78" fmla="*/ 3340 h 11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60120" h="1115727">
                  <a:moveTo>
                    <a:pt x="2618174" y="0"/>
                  </a:moveTo>
                  <a:lnTo>
                    <a:pt x="2679502" y="0"/>
                  </a:lnTo>
                  <a:lnTo>
                    <a:pt x="2740830" y="0"/>
                  </a:lnTo>
                  <a:lnTo>
                    <a:pt x="2803273" y="3340"/>
                  </a:lnTo>
                  <a:lnTo>
                    <a:pt x="2864601" y="7793"/>
                  </a:lnTo>
                  <a:lnTo>
                    <a:pt x="2923699" y="14473"/>
                  </a:lnTo>
                  <a:lnTo>
                    <a:pt x="2985027" y="23379"/>
                  </a:lnTo>
                  <a:lnTo>
                    <a:pt x="3043010" y="33399"/>
                  </a:lnTo>
                  <a:lnTo>
                    <a:pt x="3102109" y="46758"/>
                  </a:lnTo>
                  <a:lnTo>
                    <a:pt x="3160091" y="61231"/>
                  </a:lnTo>
                  <a:lnTo>
                    <a:pt x="3215843" y="77930"/>
                  </a:lnTo>
                  <a:lnTo>
                    <a:pt x="3270481" y="95743"/>
                  </a:lnTo>
                  <a:lnTo>
                    <a:pt x="3325119" y="116895"/>
                  </a:lnTo>
                  <a:lnTo>
                    <a:pt x="3376411" y="139161"/>
                  </a:lnTo>
                  <a:lnTo>
                    <a:pt x="3427704" y="163653"/>
                  </a:lnTo>
                  <a:lnTo>
                    <a:pt x="3477881" y="189259"/>
                  </a:lnTo>
                  <a:lnTo>
                    <a:pt x="3524713" y="215978"/>
                  </a:lnTo>
                  <a:lnTo>
                    <a:pt x="3569315" y="247150"/>
                  </a:lnTo>
                  <a:lnTo>
                    <a:pt x="3570430" y="248263"/>
                  </a:lnTo>
                  <a:lnTo>
                    <a:pt x="3581581" y="256056"/>
                  </a:lnTo>
                  <a:lnTo>
                    <a:pt x="3612802" y="277209"/>
                  </a:lnTo>
                  <a:lnTo>
                    <a:pt x="3671900" y="318401"/>
                  </a:lnTo>
                  <a:lnTo>
                    <a:pt x="3767795" y="386311"/>
                  </a:lnTo>
                  <a:lnTo>
                    <a:pt x="3912752" y="487620"/>
                  </a:lnTo>
                  <a:lnTo>
                    <a:pt x="4114577" y="627895"/>
                  </a:lnTo>
                  <a:lnTo>
                    <a:pt x="4383305" y="817154"/>
                  </a:lnTo>
                  <a:lnTo>
                    <a:pt x="4434597" y="851666"/>
                  </a:lnTo>
                  <a:lnTo>
                    <a:pt x="4490350" y="885065"/>
                  </a:lnTo>
                  <a:lnTo>
                    <a:pt x="4548333" y="915123"/>
                  </a:lnTo>
                  <a:lnTo>
                    <a:pt x="4608546" y="944069"/>
                  </a:lnTo>
                  <a:lnTo>
                    <a:pt x="4670989" y="971901"/>
                  </a:lnTo>
                  <a:lnTo>
                    <a:pt x="4736777" y="995280"/>
                  </a:lnTo>
                  <a:lnTo>
                    <a:pt x="4802565" y="1017546"/>
                  </a:lnTo>
                  <a:lnTo>
                    <a:pt x="4871699" y="1038698"/>
                  </a:lnTo>
                  <a:lnTo>
                    <a:pt x="4940832" y="1056511"/>
                  </a:lnTo>
                  <a:lnTo>
                    <a:pt x="5012195" y="1072097"/>
                  </a:lnTo>
                  <a:lnTo>
                    <a:pt x="5086904" y="1086570"/>
                  </a:lnTo>
                  <a:lnTo>
                    <a:pt x="5160497" y="1097703"/>
                  </a:lnTo>
                  <a:lnTo>
                    <a:pt x="5236321" y="1106609"/>
                  </a:lnTo>
                  <a:lnTo>
                    <a:pt x="5311030" y="1112176"/>
                  </a:lnTo>
                  <a:lnTo>
                    <a:pt x="5360120" y="1115727"/>
                  </a:lnTo>
                  <a:lnTo>
                    <a:pt x="0" y="1115727"/>
                  </a:lnTo>
                  <a:lnTo>
                    <a:pt x="49090" y="1112176"/>
                  </a:lnTo>
                  <a:lnTo>
                    <a:pt x="124914" y="1106609"/>
                  </a:lnTo>
                  <a:lnTo>
                    <a:pt x="200738" y="1097703"/>
                  </a:lnTo>
                  <a:lnTo>
                    <a:pt x="275446" y="1086570"/>
                  </a:lnTo>
                  <a:lnTo>
                    <a:pt x="347925" y="1072097"/>
                  </a:lnTo>
                  <a:lnTo>
                    <a:pt x="420403" y="1056511"/>
                  </a:lnTo>
                  <a:lnTo>
                    <a:pt x="489537" y="1038698"/>
                  </a:lnTo>
                  <a:lnTo>
                    <a:pt x="558670" y="1017546"/>
                  </a:lnTo>
                  <a:lnTo>
                    <a:pt x="624458" y="995280"/>
                  </a:lnTo>
                  <a:lnTo>
                    <a:pt x="690246" y="971901"/>
                  </a:lnTo>
                  <a:lnTo>
                    <a:pt x="751574" y="944069"/>
                  </a:lnTo>
                  <a:lnTo>
                    <a:pt x="811787" y="915123"/>
                  </a:lnTo>
                  <a:lnTo>
                    <a:pt x="869770" y="885065"/>
                  </a:lnTo>
                  <a:lnTo>
                    <a:pt x="924408" y="851666"/>
                  </a:lnTo>
                  <a:lnTo>
                    <a:pt x="977930" y="817154"/>
                  </a:lnTo>
                  <a:lnTo>
                    <a:pt x="979045" y="816041"/>
                  </a:lnTo>
                  <a:lnTo>
                    <a:pt x="990196" y="808248"/>
                  </a:lnTo>
                  <a:lnTo>
                    <a:pt x="1021417" y="787095"/>
                  </a:lnTo>
                  <a:lnTo>
                    <a:pt x="1078285" y="745904"/>
                  </a:lnTo>
                  <a:lnTo>
                    <a:pt x="1176410" y="677993"/>
                  </a:lnTo>
                  <a:lnTo>
                    <a:pt x="1321367" y="576684"/>
                  </a:lnTo>
                  <a:lnTo>
                    <a:pt x="1522076" y="434183"/>
                  </a:lnTo>
                  <a:lnTo>
                    <a:pt x="1789689" y="247150"/>
                  </a:lnTo>
                  <a:lnTo>
                    <a:pt x="1836522" y="215978"/>
                  </a:lnTo>
                  <a:lnTo>
                    <a:pt x="1883354" y="189259"/>
                  </a:lnTo>
                  <a:lnTo>
                    <a:pt x="1931301" y="163653"/>
                  </a:lnTo>
                  <a:lnTo>
                    <a:pt x="1982594" y="139161"/>
                  </a:lnTo>
                  <a:lnTo>
                    <a:pt x="2036116" y="116895"/>
                  </a:lnTo>
                  <a:lnTo>
                    <a:pt x="2088524" y="95743"/>
                  </a:lnTo>
                  <a:lnTo>
                    <a:pt x="2145392" y="77930"/>
                  </a:lnTo>
                  <a:lnTo>
                    <a:pt x="2201144" y="61231"/>
                  </a:lnTo>
                  <a:lnTo>
                    <a:pt x="2259127" y="46758"/>
                  </a:lnTo>
                  <a:lnTo>
                    <a:pt x="2317110" y="33399"/>
                  </a:lnTo>
                  <a:lnTo>
                    <a:pt x="2376208" y="23379"/>
                  </a:lnTo>
                  <a:lnTo>
                    <a:pt x="2435305" y="14473"/>
                  </a:lnTo>
                  <a:lnTo>
                    <a:pt x="2496633" y="7793"/>
                  </a:lnTo>
                  <a:lnTo>
                    <a:pt x="2557961" y="3340"/>
                  </a:ln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</p:grpSp>
      <p:sp>
        <p:nvSpPr>
          <p:cNvPr id="7" name="Rectangle: Rounded Corners 70">
            <a:extLst>
              <a:ext uri="{FF2B5EF4-FFF2-40B4-BE49-F238E27FC236}">
                <a16:creationId xmlns:a16="http://schemas.microsoft.com/office/drawing/2014/main" id="{974ECD36-6A24-AB15-BBDF-98186AF1B663}"/>
              </a:ext>
            </a:extLst>
          </p:cNvPr>
          <p:cNvSpPr/>
          <p:nvPr/>
        </p:nvSpPr>
        <p:spPr>
          <a:xfrm rot="10800000">
            <a:off x="507863" y="7849440"/>
            <a:ext cx="5913850" cy="4381822"/>
          </a:xfrm>
          <a:prstGeom prst="roundRect">
            <a:avLst>
              <a:gd name="adj" fmla="val 9043"/>
            </a:avLst>
          </a:prstGeom>
          <a:solidFill>
            <a:srgbClr val="620CFD"/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B4E3D36-6949-D466-A14E-5093DC2DC9E9}"/>
              </a:ext>
            </a:extLst>
          </p:cNvPr>
          <p:cNvSpPr txBox="1"/>
          <p:nvPr/>
        </p:nvSpPr>
        <p:spPr>
          <a:xfrm>
            <a:off x="772809" y="8307384"/>
            <a:ext cx="5323191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4500"/>
              </a:lnSpc>
            </a:pPr>
            <a:r>
              <a:rPr lang="ru-RU" sz="40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ЭФФЕКТ </a:t>
            </a:r>
            <a:br>
              <a:rPr lang="ru-RU" sz="40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</a:br>
            <a:r>
              <a:rPr lang="ru-RU" sz="40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БЛИЗОСТИ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0A527A4-F738-91B5-ADB4-859DB7CA9190}"/>
              </a:ext>
            </a:extLst>
          </p:cNvPr>
          <p:cNvSpPr txBox="1"/>
          <p:nvPr/>
        </p:nvSpPr>
        <p:spPr>
          <a:xfrm>
            <a:off x="772809" y="9553879"/>
            <a:ext cx="5098613" cy="17570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400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rPr>
              <a:t>Чем ближе элементы </a:t>
            </a:r>
            <a:br>
              <a:rPr lang="ru-RU" sz="2400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rPr>
              <a:t>на странице или слайде, тем ближе их смысловая нагрузка</a:t>
            </a:r>
          </a:p>
        </p:txBody>
      </p:sp>
      <p:sp>
        <p:nvSpPr>
          <p:cNvPr id="43" name="Rectangle: Rounded Corners 70">
            <a:extLst>
              <a:ext uri="{FF2B5EF4-FFF2-40B4-BE49-F238E27FC236}">
                <a16:creationId xmlns:a16="http://schemas.microsoft.com/office/drawing/2014/main" id="{3EA50D41-584A-AB41-019B-90B2427FC47E}"/>
              </a:ext>
            </a:extLst>
          </p:cNvPr>
          <p:cNvSpPr/>
          <p:nvPr/>
        </p:nvSpPr>
        <p:spPr>
          <a:xfrm rot="10800000">
            <a:off x="507863" y="-2299003"/>
            <a:ext cx="5997183" cy="1136385"/>
          </a:xfrm>
          <a:prstGeom prst="roundRect">
            <a:avLst>
              <a:gd name="adj" fmla="val 27611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40729235-7706-2346-D3D2-53D6C5A037AE}"/>
              </a:ext>
            </a:extLst>
          </p:cNvPr>
          <p:cNvSpPr/>
          <p:nvPr/>
        </p:nvSpPr>
        <p:spPr>
          <a:xfrm rot="5400000">
            <a:off x="1335478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2FC23343-0242-E0C1-E61E-DFDF8EDBB4F2}"/>
              </a:ext>
            </a:extLst>
          </p:cNvPr>
          <p:cNvSpPr/>
          <p:nvPr/>
        </p:nvSpPr>
        <p:spPr>
          <a:xfrm rot="5400000">
            <a:off x="1780257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DAB044F4-9FCA-369D-6353-52C096264D70}"/>
              </a:ext>
            </a:extLst>
          </p:cNvPr>
          <p:cNvSpPr/>
          <p:nvPr/>
        </p:nvSpPr>
        <p:spPr>
          <a:xfrm rot="5400000">
            <a:off x="2225036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E1C04F78-2BA0-25C8-8050-7C7F7D5A923B}"/>
              </a:ext>
            </a:extLst>
          </p:cNvPr>
          <p:cNvSpPr/>
          <p:nvPr/>
        </p:nvSpPr>
        <p:spPr>
          <a:xfrm rot="5400000">
            <a:off x="2669815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58CD7D83-B22D-2F38-BC61-41322E552EC9}"/>
              </a:ext>
            </a:extLst>
          </p:cNvPr>
          <p:cNvSpPr/>
          <p:nvPr/>
        </p:nvSpPr>
        <p:spPr>
          <a:xfrm rot="5400000">
            <a:off x="3114594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>
            <a:extLst>
              <a:ext uri="{FF2B5EF4-FFF2-40B4-BE49-F238E27FC236}">
                <a16:creationId xmlns:a16="http://schemas.microsoft.com/office/drawing/2014/main" id="{0E18D4F0-71C6-171D-E1A8-1E2266FE0C91}"/>
              </a:ext>
            </a:extLst>
          </p:cNvPr>
          <p:cNvSpPr/>
          <p:nvPr/>
        </p:nvSpPr>
        <p:spPr>
          <a:xfrm rot="5400000">
            <a:off x="3559373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Скругленный прямоугольник 49">
            <a:extLst>
              <a:ext uri="{FF2B5EF4-FFF2-40B4-BE49-F238E27FC236}">
                <a16:creationId xmlns:a16="http://schemas.microsoft.com/office/drawing/2014/main" id="{12709B9D-CF4E-7906-4FC4-0F3C5305B56F}"/>
              </a:ext>
            </a:extLst>
          </p:cNvPr>
          <p:cNvSpPr/>
          <p:nvPr/>
        </p:nvSpPr>
        <p:spPr>
          <a:xfrm rot="5400000">
            <a:off x="4004152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Скругленный прямоугольник 50">
            <a:extLst>
              <a:ext uri="{FF2B5EF4-FFF2-40B4-BE49-F238E27FC236}">
                <a16:creationId xmlns:a16="http://schemas.microsoft.com/office/drawing/2014/main" id="{3A5392D6-ACBB-F9FC-D049-3630473521B5}"/>
              </a:ext>
            </a:extLst>
          </p:cNvPr>
          <p:cNvSpPr/>
          <p:nvPr/>
        </p:nvSpPr>
        <p:spPr>
          <a:xfrm rot="5400000">
            <a:off x="5338493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кругленный прямоугольник 51">
            <a:extLst>
              <a:ext uri="{FF2B5EF4-FFF2-40B4-BE49-F238E27FC236}">
                <a16:creationId xmlns:a16="http://schemas.microsoft.com/office/drawing/2014/main" id="{11D12723-F0FD-22A8-99BF-DC5808532D2F}"/>
              </a:ext>
            </a:extLst>
          </p:cNvPr>
          <p:cNvSpPr/>
          <p:nvPr/>
        </p:nvSpPr>
        <p:spPr>
          <a:xfrm rot="5400000">
            <a:off x="4893710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кругленный прямоугольник 52">
            <a:extLst>
              <a:ext uri="{FF2B5EF4-FFF2-40B4-BE49-F238E27FC236}">
                <a16:creationId xmlns:a16="http://schemas.microsoft.com/office/drawing/2014/main" id="{0ABB5716-93DA-86EF-FE2E-33EEAC68C99B}"/>
              </a:ext>
            </a:extLst>
          </p:cNvPr>
          <p:cNvSpPr/>
          <p:nvPr/>
        </p:nvSpPr>
        <p:spPr>
          <a:xfrm rot="5400000">
            <a:off x="4448931" y="-2091010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5AD49C4-4A9F-8232-D2BF-8971273A9022}"/>
              </a:ext>
            </a:extLst>
          </p:cNvPr>
          <p:cNvSpPr txBox="1"/>
          <p:nvPr/>
        </p:nvSpPr>
        <p:spPr>
          <a:xfrm>
            <a:off x="1289469" y="-1730811"/>
            <a:ext cx="5188527" cy="385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" panose="020B0305040102020103" pitchFamily="34" charset="0"/>
                <a:cs typeface="Times New Roman" panose="02020603050405020304" pitchFamily="18" charset="0"/>
              </a:rPr>
              <a:t>Азбука качественного визуала</a:t>
            </a:r>
          </a:p>
        </p:txBody>
      </p:sp>
      <p:sp>
        <p:nvSpPr>
          <p:cNvPr id="57" name="Овал 56">
            <a:extLst>
              <a:ext uri="{FF2B5EF4-FFF2-40B4-BE49-F238E27FC236}">
                <a16:creationId xmlns:a16="http://schemas.microsoft.com/office/drawing/2014/main" id="{291D6ABD-FB36-2F9A-CE89-4FE61BA38470}"/>
              </a:ext>
            </a:extLst>
          </p:cNvPr>
          <p:cNvSpPr/>
          <p:nvPr/>
        </p:nvSpPr>
        <p:spPr>
          <a:xfrm>
            <a:off x="9320664" y="13625274"/>
            <a:ext cx="343933" cy="343933"/>
          </a:xfrm>
          <a:prstGeom prst="ellipse">
            <a:avLst/>
          </a:prstGeom>
          <a:solidFill>
            <a:srgbClr val="C0D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7706585C-5D0A-8A38-630E-243E838BCD48}"/>
              </a:ext>
            </a:extLst>
          </p:cNvPr>
          <p:cNvCxnSpPr/>
          <p:nvPr/>
        </p:nvCxnSpPr>
        <p:spPr>
          <a:xfrm>
            <a:off x="9492630" y="13969207"/>
            <a:ext cx="1" cy="618004"/>
          </a:xfrm>
          <a:prstGeom prst="line">
            <a:avLst/>
          </a:prstGeom>
          <a:ln w="19050">
            <a:solidFill>
              <a:srgbClr val="C0DC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C2B81127-9170-C798-716C-DA65E31F2904}"/>
              </a:ext>
            </a:extLst>
          </p:cNvPr>
          <p:cNvGrpSpPr/>
          <p:nvPr/>
        </p:nvGrpSpPr>
        <p:grpSpPr>
          <a:xfrm>
            <a:off x="7388422" y="7913960"/>
            <a:ext cx="4216202" cy="5839143"/>
            <a:chOff x="7388422" y="685479"/>
            <a:chExt cx="4216202" cy="5839143"/>
          </a:xfrm>
        </p:grpSpPr>
        <p:sp>
          <p:nvSpPr>
            <p:cNvPr id="63" name="Rectangle: Rounded Corners 70">
              <a:extLst>
                <a:ext uri="{FF2B5EF4-FFF2-40B4-BE49-F238E27FC236}">
                  <a16:creationId xmlns:a16="http://schemas.microsoft.com/office/drawing/2014/main" id="{96E2265F-6166-92D3-3AA1-8802E121F00C}"/>
                </a:ext>
              </a:extLst>
            </p:cNvPr>
            <p:cNvSpPr/>
            <p:nvPr/>
          </p:nvSpPr>
          <p:spPr>
            <a:xfrm rot="10800000">
              <a:off x="7388422" y="685479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pic>
          <p:nvPicPr>
            <p:cNvPr id="64" name="Рисунок 63">
              <a:extLst>
                <a:ext uri="{FF2B5EF4-FFF2-40B4-BE49-F238E27FC236}">
                  <a16:creationId xmlns:a16="http://schemas.microsoft.com/office/drawing/2014/main" id="{466AD778-6234-E330-D376-7EFA70EB4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98351" y="1084341"/>
              <a:ext cx="2557782" cy="2489344"/>
            </a:xfrm>
            <a:prstGeom prst="rect">
              <a:avLst/>
            </a:prstGeom>
          </p:spPr>
        </p:pic>
        <p:pic>
          <p:nvPicPr>
            <p:cNvPr id="65" name="Рисунок 64">
              <a:extLst>
                <a:ext uri="{FF2B5EF4-FFF2-40B4-BE49-F238E27FC236}">
                  <a16:creationId xmlns:a16="http://schemas.microsoft.com/office/drawing/2014/main" id="{7ABCDF83-1901-869F-F9DD-CA472C61C8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73108" y="3683177"/>
              <a:ext cx="2566336" cy="2489344"/>
            </a:xfrm>
            <a:prstGeom prst="rect">
              <a:avLst/>
            </a:prstGeom>
          </p:spPr>
        </p:pic>
      </p:grpSp>
      <p:sp useBgFill="1">
        <p:nvSpPr>
          <p:cNvPr id="70" name="Полилиния 69">
            <a:extLst>
              <a:ext uri="{FF2B5EF4-FFF2-40B4-BE49-F238E27FC236}">
                <a16:creationId xmlns:a16="http://schemas.microsoft.com/office/drawing/2014/main" id="{24DE8412-9751-DB1A-8373-40D74883F18E}"/>
              </a:ext>
            </a:extLst>
          </p:cNvPr>
          <p:cNvSpPr/>
          <p:nvPr/>
        </p:nvSpPr>
        <p:spPr>
          <a:xfrm>
            <a:off x="507862" y="-4173817"/>
            <a:ext cx="5997184" cy="3047995"/>
          </a:xfrm>
          <a:custGeom>
            <a:avLst/>
            <a:gdLst>
              <a:gd name="connsiteX0" fmla="*/ 0 w 5997184"/>
              <a:gd name="connsiteY0" fmla="*/ 0 h 3047995"/>
              <a:gd name="connsiteX1" fmla="*/ 5997184 w 5997184"/>
              <a:gd name="connsiteY1" fmla="*/ 0 h 3047995"/>
              <a:gd name="connsiteX2" fmla="*/ 5997184 w 5997184"/>
              <a:gd name="connsiteY2" fmla="*/ 2225376 h 3047995"/>
              <a:gd name="connsiteX3" fmla="*/ 5997184 w 5997184"/>
              <a:gd name="connsiteY3" fmla="*/ 2734227 h 3047995"/>
              <a:gd name="connsiteX4" fmla="*/ 5997184 w 5997184"/>
              <a:gd name="connsiteY4" fmla="*/ 3047995 h 3047995"/>
              <a:gd name="connsiteX5" fmla="*/ 0 w 5997184"/>
              <a:gd name="connsiteY5" fmla="*/ 3047995 h 304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97184" h="3047995">
                <a:moveTo>
                  <a:pt x="0" y="0"/>
                </a:moveTo>
                <a:lnTo>
                  <a:pt x="5997184" y="0"/>
                </a:lnTo>
                <a:lnTo>
                  <a:pt x="5997184" y="2225376"/>
                </a:lnTo>
                <a:lnTo>
                  <a:pt x="5997184" y="2734227"/>
                </a:lnTo>
                <a:lnTo>
                  <a:pt x="5997184" y="3047995"/>
                </a:lnTo>
                <a:lnTo>
                  <a:pt x="0" y="304799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1648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 isContent="1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3000" fill="hold"/>
                                        <p:tgtEl>
                                          <p:spTgt spid="1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8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5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8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2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8" dur="8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" dur="5000" fill="hold"/>
                                        <p:tgtEl>
                                          <p:spTgt spid="2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2" dur="8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3000" fill="hold"/>
                                        <p:tgtEl>
                                          <p:spTgt spid="2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6" dur="8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2000" fill="hold"/>
                                        <p:tgtEl>
                                          <p:spTgt spid="2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0" dur="8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5000" fill="hold"/>
                                        <p:tgtEl>
                                          <p:spTgt spid="3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4" dur="3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6" dur="5000" fill="hold"/>
                                        <p:tgtEl>
                                          <p:spTgt spid="3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8" dur="8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0" dur="2000" fill="hold"/>
                                        <p:tgtEl>
                                          <p:spTgt spid="3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2" dur="8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4" dur="5000" fill="hold"/>
                                        <p:tgtEl>
                                          <p:spTgt spid="3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6" dur="5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8" dur="2000" fill="hold"/>
                                        <p:tgtEl>
                                          <p:spTgt spid="3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0" dur="8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2" dur="3000" fill="hold"/>
                                        <p:tgtEl>
                                          <p:spTgt spid="2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4" dur="8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6" dur="5000" fill="hold"/>
                                        <p:tgtEl>
                                          <p:spTgt spid="2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8" dur="5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0" dur="3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2" dur="8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4" dur="5000" fill="hold"/>
                                        <p:tgtEl>
                                          <p:spTgt spid="2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-4.07407E-6 L 0.06575 -4.07407E-6 " pathEditMode="relative" rAng="0" ptsTypes="AA">
                                      <p:cBhvr>
                                        <p:cTn id="66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15" grpId="0" animBg="1"/>
      <p:bldP spid="15" grpId="1" animBg="1"/>
      <p:bldP spid="26" grpId="0" animBg="1"/>
      <p:bldP spid="26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4" grpId="0" animBg="1"/>
      <p:bldP spid="34" grpId="1" animBg="1"/>
      <p:bldP spid="36" grpId="0" animBg="1"/>
      <p:bldP spid="36" grpId="1" animBg="1"/>
      <p:bldP spid="27" grpId="0" animBg="1"/>
      <p:bldP spid="27" grpId="1" animBg="1"/>
      <p:bldP spid="28" grpId="0" animBg="1"/>
      <p:bldP spid="28" grpId="1" animBg="1"/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4" grpId="1" animBg="1"/>
      <p:bldP spid="41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" name="Группа 125">
            <a:extLst>
              <a:ext uri="{FF2B5EF4-FFF2-40B4-BE49-F238E27FC236}">
                <a16:creationId xmlns:a16="http://schemas.microsoft.com/office/drawing/2014/main" id="{66B296A5-483B-DD52-D55C-AC5C41FEAA5F}"/>
              </a:ext>
            </a:extLst>
          </p:cNvPr>
          <p:cNvGrpSpPr/>
          <p:nvPr/>
        </p:nvGrpSpPr>
        <p:grpSpPr>
          <a:xfrm>
            <a:off x="507863" y="2142803"/>
            <a:ext cx="5913850" cy="4381822"/>
            <a:chOff x="507863" y="2142803"/>
            <a:chExt cx="5913850" cy="4381822"/>
          </a:xfrm>
        </p:grpSpPr>
        <p:sp>
          <p:nvSpPr>
            <p:cNvPr id="54" name="Rectangle: Rounded Corners 70">
              <a:extLst>
                <a:ext uri="{FF2B5EF4-FFF2-40B4-BE49-F238E27FC236}">
                  <a16:creationId xmlns:a16="http://schemas.microsoft.com/office/drawing/2014/main" id="{4327CDC1-48EC-6BD3-AF66-6729DE9D59C1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B7539D73-F8F6-2914-A67A-79B607D90E13}"/>
                </a:ext>
              </a:extLst>
            </p:cNvPr>
            <p:cNvSpPr txBox="1"/>
            <p:nvPr/>
          </p:nvSpPr>
          <p:spPr>
            <a:xfrm>
              <a:off x="772809" y="2600747"/>
              <a:ext cx="5323191" cy="12464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ЭФФЕКТ </a:t>
              </a:r>
              <a:b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БЛИЗОСТИ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AD39E21-A082-1D5B-77FB-38B6989CD4D4}"/>
                </a:ext>
              </a:extLst>
            </p:cNvPr>
            <p:cNvSpPr txBox="1"/>
            <p:nvPr/>
          </p:nvSpPr>
          <p:spPr>
            <a:xfrm>
              <a:off x="772809" y="3847242"/>
              <a:ext cx="5098613" cy="17570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Чем ближе элементы </a:t>
              </a:r>
              <a:b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на странице или слайде, тем ближе их смысловая нагрузка</a:t>
              </a:r>
            </a:p>
          </p:txBody>
        </p:sp>
      </p:grp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7C342864-C1B9-43B3-69DB-26D509EDFF30}"/>
              </a:ext>
            </a:extLst>
          </p:cNvPr>
          <p:cNvSpPr/>
          <p:nvPr/>
        </p:nvSpPr>
        <p:spPr>
          <a:xfrm>
            <a:off x="9140923" y="0"/>
            <a:ext cx="711200" cy="6858000"/>
          </a:xfrm>
          <a:prstGeom prst="rect">
            <a:avLst/>
          </a:prstGeom>
          <a:gradFill>
            <a:gsLst>
              <a:gs pos="98000">
                <a:srgbClr val="C0DCFD">
                  <a:alpha val="53000"/>
                </a:srgbClr>
              </a:gs>
              <a:gs pos="55000">
                <a:srgbClr val="C0DCFD">
                  <a:alpha val="0"/>
                </a:srgbClr>
              </a:gs>
              <a:gs pos="0">
                <a:srgbClr val="C0DCFD">
                  <a:alpha val="46085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Rectangle: Rounded Corners 70">
            <a:extLst>
              <a:ext uri="{FF2B5EF4-FFF2-40B4-BE49-F238E27FC236}">
                <a16:creationId xmlns:a16="http://schemas.microsoft.com/office/drawing/2014/main" id="{4E72B930-5E19-99B7-E393-DC73487B625A}"/>
              </a:ext>
            </a:extLst>
          </p:cNvPr>
          <p:cNvSpPr/>
          <p:nvPr/>
        </p:nvSpPr>
        <p:spPr>
          <a:xfrm rot="10800000">
            <a:off x="507863" y="685482"/>
            <a:ext cx="5997183" cy="1136385"/>
          </a:xfrm>
          <a:prstGeom prst="roundRect">
            <a:avLst>
              <a:gd name="adj" fmla="val 27611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57" name="Скругленный прямоугольник 56">
            <a:extLst>
              <a:ext uri="{FF2B5EF4-FFF2-40B4-BE49-F238E27FC236}">
                <a16:creationId xmlns:a16="http://schemas.microsoft.com/office/drawing/2014/main" id="{EC685C8B-9F8C-5931-CC05-7A74BFA71560}"/>
              </a:ext>
            </a:extLst>
          </p:cNvPr>
          <p:cNvSpPr/>
          <p:nvPr/>
        </p:nvSpPr>
        <p:spPr>
          <a:xfrm rot="5400000">
            <a:off x="1335478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Скругленный прямоугольник 57">
            <a:extLst>
              <a:ext uri="{FF2B5EF4-FFF2-40B4-BE49-F238E27FC236}">
                <a16:creationId xmlns:a16="http://schemas.microsoft.com/office/drawing/2014/main" id="{3AF22607-5A27-1866-739C-78BEAB03302E}"/>
              </a:ext>
            </a:extLst>
          </p:cNvPr>
          <p:cNvSpPr/>
          <p:nvPr/>
        </p:nvSpPr>
        <p:spPr>
          <a:xfrm rot="5400000">
            <a:off x="1780257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Скругленный прямоугольник 58">
            <a:extLst>
              <a:ext uri="{FF2B5EF4-FFF2-40B4-BE49-F238E27FC236}">
                <a16:creationId xmlns:a16="http://schemas.microsoft.com/office/drawing/2014/main" id="{CC1E7B9B-6937-C246-CBBB-2368CEFD595B}"/>
              </a:ext>
            </a:extLst>
          </p:cNvPr>
          <p:cNvSpPr/>
          <p:nvPr/>
        </p:nvSpPr>
        <p:spPr>
          <a:xfrm rot="5400000">
            <a:off x="2225036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Скругленный прямоугольник 59">
            <a:extLst>
              <a:ext uri="{FF2B5EF4-FFF2-40B4-BE49-F238E27FC236}">
                <a16:creationId xmlns:a16="http://schemas.microsoft.com/office/drawing/2014/main" id="{34093E35-2865-2CE2-22ED-4B0A04F7077A}"/>
              </a:ext>
            </a:extLst>
          </p:cNvPr>
          <p:cNvSpPr/>
          <p:nvPr/>
        </p:nvSpPr>
        <p:spPr>
          <a:xfrm rot="5400000">
            <a:off x="2669815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Скругленный прямоугольник 60">
            <a:extLst>
              <a:ext uri="{FF2B5EF4-FFF2-40B4-BE49-F238E27FC236}">
                <a16:creationId xmlns:a16="http://schemas.microsoft.com/office/drawing/2014/main" id="{6C55457C-5990-E4C0-2080-3B6BF8D224A4}"/>
              </a:ext>
            </a:extLst>
          </p:cNvPr>
          <p:cNvSpPr/>
          <p:nvPr/>
        </p:nvSpPr>
        <p:spPr>
          <a:xfrm rot="5400000">
            <a:off x="3114594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Скругленный прямоугольник 61">
            <a:extLst>
              <a:ext uri="{FF2B5EF4-FFF2-40B4-BE49-F238E27FC236}">
                <a16:creationId xmlns:a16="http://schemas.microsoft.com/office/drawing/2014/main" id="{E2C3767B-DF73-EB57-4922-922FE33EBCFA}"/>
              </a:ext>
            </a:extLst>
          </p:cNvPr>
          <p:cNvSpPr/>
          <p:nvPr/>
        </p:nvSpPr>
        <p:spPr>
          <a:xfrm rot="5400000">
            <a:off x="355937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кругленный прямоугольник 62">
            <a:extLst>
              <a:ext uri="{FF2B5EF4-FFF2-40B4-BE49-F238E27FC236}">
                <a16:creationId xmlns:a16="http://schemas.microsoft.com/office/drawing/2014/main" id="{B96ED38E-92EE-71D4-E04D-D5F092255D9C}"/>
              </a:ext>
            </a:extLst>
          </p:cNvPr>
          <p:cNvSpPr/>
          <p:nvPr/>
        </p:nvSpPr>
        <p:spPr>
          <a:xfrm rot="5400000">
            <a:off x="4004152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Скругленный прямоугольник 63">
            <a:extLst>
              <a:ext uri="{FF2B5EF4-FFF2-40B4-BE49-F238E27FC236}">
                <a16:creationId xmlns:a16="http://schemas.microsoft.com/office/drawing/2014/main" id="{AD39B888-1BA2-5380-C7E7-12D35A0DA290}"/>
              </a:ext>
            </a:extLst>
          </p:cNvPr>
          <p:cNvSpPr/>
          <p:nvPr/>
        </p:nvSpPr>
        <p:spPr>
          <a:xfrm rot="5400000">
            <a:off x="533849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Скругленный прямоугольник 64">
            <a:extLst>
              <a:ext uri="{FF2B5EF4-FFF2-40B4-BE49-F238E27FC236}">
                <a16:creationId xmlns:a16="http://schemas.microsoft.com/office/drawing/2014/main" id="{B57DEFAB-3198-35BC-C517-56267773D1A3}"/>
              </a:ext>
            </a:extLst>
          </p:cNvPr>
          <p:cNvSpPr/>
          <p:nvPr/>
        </p:nvSpPr>
        <p:spPr>
          <a:xfrm rot="5400000">
            <a:off x="4893710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кругленный прямоугольник 65">
            <a:extLst>
              <a:ext uri="{FF2B5EF4-FFF2-40B4-BE49-F238E27FC236}">
                <a16:creationId xmlns:a16="http://schemas.microsoft.com/office/drawing/2014/main" id="{7C5B89BA-91D6-4CBE-F3DA-5603D25E9265}"/>
              </a:ext>
            </a:extLst>
          </p:cNvPr>
          <p:cNvSpPr/>
          <p:nvPr/>
        </p:nvSpPr>
        <p:spPr>
          <a:xfrm rot="5400000">
            <a:off x="4448931" y="893475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AB4BB9A-DCC0-1935-48B9-818BA23D4A79}"/>
              </a:ext>
            </a:extLst>
          </p:cNvPr>
          <p:cNvSpPr txBox="1"/>
          <p:nvPr/>
        </p:nvSpPr>
        <p:spPr>
          <a:xfrm>
            <a:off x="1289469" y="1253674"/>
            <a:ext cx="5188527" cy="385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" panose="020B0305040102020103" pitchFamily="34" charset="0"/>
                <a:cs typeface="Times New Roman" panose="02020603050405020304" pitchFamily="18" charset="0"/>
              </a:rPr>
              <a:t>Азбука качественного визуала</a:t>
            </a:r>
          </a:p>
        </p:txBody>
      </p:sp>
      <p:sp useBgFill="1">
        <p:nvSpPr>
          <p:cNvPr id="71" name="Полилиния 70">
            <a:extLst>
              <a:ext uri="{FF2B5EF4-FFF2-40B4-BE49-F238E27FC236}">
                <a16:creationId xmlns:a16="http://schemas.microsoft.com/office/drawing/2014/main" id="{A119041F-0060-FE60-3BAD-0947D31F50E6}"/>
              </a:ext>
            </a:extLst>
          </p:cNvPr>
          <p:cNvSpPr/>
          <p:nvPr/>
        </p:nvSpPr>
        <p:spPr>
          <a:xfrm>
            <a:off x="507862" y="-1226127"/>
            <a:ext cx="5997184" cy="3047995"/>
          </a:xfrm>
          <a:custGeom>
            <a:avLst/>
            <a:gdLst>
              <a:gd name="connsiteX0" fmla="*/ 0 w 5997184"/>
              <a:gd name="connsiteY0" fmla="*/ 0 h 3047995"/>
              <a:gd name="connsiteX1" fmla="*/ 5997184 w 5997184"/>
              <a:gd name="connsiteY1" fmla="*/ 0 h 3047995"/>
              <a:gd name="connsiteX2" fmla="*/ 5997184 w 5997184"/>
              <a:gd name="connsiteY2" fmla="*/ 2225376 h 3047995"/>
              <a:gd name="connsiteX3" fmla="*/ 5683417 w 5997184"/>
              <a:gd name="connsiteY3" fmla="*/ 1911609 h 3047995"/>
              <a:gd name="connsiteX4" fmla="*/ 313768 w 5997184"/>
              <a:gd name="connsiteY4" fmla="*/ 1911609 h 3047995"/>
              <a:gd name="connsiteX5" fmla="*/ 1 w 5997184"/>
              <a:gd name="connsiteY5" fmla="*/ 2225376 h 3047995"/>
              <a:gd name="connsiteX6" fmla="*/ 1 w 5997184"/>
              <a:gd name="connsiteY6" fmla="*/ 2734227 h 3047995"/>
              <a:gd name="connsiteX7" fmla="*/ 313768 w 5997184"/>
              <a:gd name="connsiteY7" fmla="*/ 3047994 h 3047995"/>
              <a:gd name="connsiteX8" fmla="*/ 5683417 w 5997184"/>
              <a:gd name="connsiteY8" fmla="*/ 3047994 h 3047995"/>
              <a:gd name="connsiteX9" fmla="*/ 5997184 w 5997184"/>
              <a:gd name="connsiteY9" fmla="*/ 2734227 h 3047995"/>
              <a:gd name="connsiteX10" fmla="*/ 5997184 w 5997184"/>
              <a:gd name="connsiteY10" fmla="*/ 3047995 h 3047995"/>
              <a:gd name="connsiteX11" fmla="*/ 0 w 5997184"/>
              <a:gd name="connsiteY11" fmla="*/ 3047995 h 304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997184" h="3047995">
                <a:moveTo>
                  <a:pt x="0" y="0"/>
                </a:moveTo>
                <a:lnTo>
                  <a:pt x="5997184" y="0"/>
                </a:lnTo>
                <a:lnTo>
                  <a:pt x="5997184" y="2225376"/>
                </a:lnTo>
                <a:cubicBezTo>
                  <a:pt x="5997184" y="2052087"/>
                  <a:pt x="5856706" y="1911609"/>
                  <a:pt x="5683417" y="1911609"/>
                </a:cubicBezTo>
                <a:lnTo>
                  <a:pt x="313768" y="1911609"/>
                </a:lnTo>
                <a:cubicBezTo>
                  <a:pt x="140479" y="1911609"/>
                  <a:pt x="1" y="2052087"/>
                  <a:pt x="1" y="2225376"/>
                </a:cubicBezTo>
                <a:lnTo>
                  <a:pt x="1" y="2734227"/>
                </a:lnTo>
                <a:cubicBezTo>
                  <a:pt x="1" y="2907516"/>
                  <a:pt x="140479" y="3047994"/>
                  <a:pt x="313768" y="3047994"/>
                </a:cubicBezTo>
                <a:lnTo>
                  <a:pt x="5683417" y="3047994"/>
                </a:lnTo>
                <a:cubicBezTo>
                  <a:pt x="5856706" y="3047994"/>
                  <a:pt x="5997184" y="2907516"/>
                  <a:pt x="5997184" y="2734227"/>
                </a:cubicBezTo>
                <a:lnTo>
                  <a:pt x="5997184" y="3047995"/>
                </a:lnTo>
                <a:lnTo>
                  <a:pt x="0" y="304799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B9D371BF-803B-A30D-2911-3B9CEFDA344C}"/>
              </a:ext>
            </a:extLst>
          </p:cNvPr>
          <p:cNvGrpSpPr/>
          <p:nvPr/>
        </p:nvGrpSpPr>
        <p:grpSpPr>
          <a:xfrm>
            <a:off x="-3517807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2776F762-6191-9C3A-04B0-F7632B078202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79A7D83F-D501-8758-E699-6059DAC43E75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7" name="Рисунок 3">
            <a:extLst>
              <a:ext uri="{FF2B5EF4-FFF2-40B4-BE49-F238E27FC236}">
                <a16:creationId xmlns:a16="http://schemas.microsoft.com/office/drawing/2014/main" id="{56295991-5BE7-36A2-05FC-C41D90410B7A}"/>
              </a:ext>
            </a:extLst>
          </p:cNvPr>
          <p:cNvGrpSpPr/>
          <p:nvPr/>
        </p:nvGrpSpPr>
        <p:grpSpPr>
          <a:xfrm>
            <a:off x="-2846667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491CF97A-523B-F1DC-DC58-B5153C90AEB4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33256969-A9F0-82A9-8386-11518CF8D97B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D53FC78-1470-5880-CC4B-564B2D535439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2DA2E124-1C66-6FFE-FE8E-B01C1BA28622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5A820B68-6596-BDA0-EE3C-CDCF23BFD057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3A62DF1B-3CCD-FA09-535B-349066C73EEF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0F9983CE-6C20-A7DA-B20B-5531D5ECF0EC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27CF1737-278F-1365-6768-D7226C154BD2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F82A8CAF-5B1E-251F-D1C9-75583580C453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2F90F89D-256A-D452-B3CD-217CB800535C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82038AB9-EC9D-4C16-32DD-11D31DCD5A9D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9" name="Группа 108">
            <a:extLst>
              <a:ext uri="{FF2B5EF4-FFF2-40B4-BE49-F238E27FC236}">
                <a16:creationId xmlns:a16="http://schemas.microsoft.com/office/drawing/2014/main" id="{98EC8843-190A-CD35-5014-81662076100C}"/>
              </a:ext>
            </a:extLst>
          </p:cNvPr>
          <p:cNvGrpSpPr/>
          <p:nvPr/>
        </p:nvGrpSpPr>
        <p:grpSpPr>
          <a:xfrm>
            <a:off x="7388422" y="685479"/>
            <a:ext cx="4216202" cy="5839143"/>
            <a:chOff x="7388422" y="685479"/>
            <a:chExt cx="4216202" cy="5839143"/>
          </a:xfrm>
        </p:grpSpPr>
        <p:sp>
          <p:nvSpPr>
            <p:cNvPr id="95" name="Rectangle: Rounded Corners 70">
              <a:extLst>
                <a:ext uri="{FF2B5EF4-FFF2-40B4-BE49-F238E27FC236}">
                  <a16:creationId xmlns:a16="http://schemas.microsoft.com/office/drawing/2014/main" id="{5088481E-7EF9-46A1-388E-05E9EF44DA9F}"/>
                </a:ext>
              </a:extLst>
            </p:cNvPr>
            <p:cNvSpPr/>
            <p:nvPr/>
          </p:nvSpPr>
          <p:spPr>
            <a:xfrm rot="10800000">
              <a:off x="7388422" y="685479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pic>
          <p:nvPicPr>
            <p:cNvPr id="104" name="Рисунок 103">
              <a:extLst>
                <a:ext uri="{FF2B5EF4-FFF2-40B4-BE49-F238E27FC236}">
                  <a16:creationId xmlns:a16="http://schemas.microsoft.com/office/drawing/2014/main" id="{2DE7A166-7CED-EFF9-AE09-0FE3448E72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98351" y="1084341"/>
              <a:ext cx="2557782" cy="2489344"/>
            </a:xfrm>
            <a:prstGeom prst="rect">
              <a:avLst/>
            </a:prstGeom>
          </p:spPr>
        </p:pic>
        <p:pic>
          <p:nvPicPr>
            <p:cNvPr id="106" name="Рисунок 105">
              <a:extLst>
                <a:ext uri="{FF2B5EF4-FFF2-40B4-BE49-F238E27FC236}">
                  <a16:creationId xmlns:a16="http://schemas.microsoft.com/office/drawing/2014/main" id="{C539B730-3DC4-3938-CF68-C430FD83ED9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73108" y="3683177"/>
              <a:ext cx="2566336" cy="2489344"/>
            </a:xfrm>
            <a:prstGeom prst="rect">
              <a:avLst/>
            </a:prstGeom>
          </p:spPr>
        </p:pic>
      </p:grpSp>
      <p:grpSp>
        <p:nvGrpSpPr>
          <p:cNvPr id="125" name="Группа 124">
            <a:extLst>
              <a:ext uri="{FF2B5EF4-FFF2-40B4-BE49-F238E27FC236}">
                <a16:creationId xmlns:a16="http://schemas.microsoft.com/office/drawing/2014/main" id="{BED0F657-A21B-A4C7-A1EF-8783C0F149F0}"/>
              </a:ext>
            </a:extLst>
          </p:cNvPr>
          <p:cNvGrpSpPr/>
          <p:nvPr/>
        </p:nvGrpSpPr>
        <p:grpSpPr>
          <a:xfrm>
            <a:off x="7370966" y="7543479"/>
            <a:ext cx="4216202" cy="5839143"/>
            <a:chOff x="7370966" y="7543479"/>
            <a:chExt cx="4216202" cy="5839143"/>
          </a:xfrm>
        </p:grpSpPr>
        <p:sp>
          <p:nvSpPr>
            <p:cNvPr id="111" name="Rectangle: Rounded Corners 70">
              <a:extLst>
                <a:ext uri="{FF2B5EF4-FFF2-40B4-BE49-F238E27FC236}">
                  <a16:creationId xmlns:a16="http://schemas.microsoft.com/office/drawing/2014/main" id="{875A33D8-CA26-1D01-A0F6-339D359A2D7A}"/>
                </a:ext>
              </a:extLst>
            </p:cNvPr>
            <p:cNvSpPr/>
            <p:nvPr/>
          </p:nvSpPr>
          <p:spPr>
            <a:xfrm rot="10800000">
              <a:off x="7370966" y="7543479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grpSp>
          <p:nvGrpSpPr>
            <p:cNvPr id="114" name="Группа 113">
              <a:extLst>
                <a:ext uri="{FF2B5EF4-FFF2-40B4-BE49-F238E27FC236}">
                  <a16:creationId xmlns:a16="http://schemas.microsoft.com/office/drawing/2014/main" id="{FE626573-93C0-ABA4-E6DB-CBB9AEAEDD97}"/>
                </a:ext>
              </a:extLst>
            </p:cNvPr>
            <p:cNvGrpSpPr/>
            <p:nvPr/>
          </p:nvGrpSpPr>
          <p:grpSpPr>
            <a:xfrm rot="16200000" flipH="1">
              <a:off x="6933205" y="8891969"/>
              <a:ext cx="5091724" cy="3150367"/>
              <a:chOff x="1009062" y="8853984"/>
              <a:chExt cx="14822156" cy="6890163"/>
            </a:xfrm>
          </p:grpSpPr>
          <p:grpSp>
            <p:nvGrpSpPr>
              <p:cNvPr id="115" name="Группа 114">
                <a:extLst>
                  <a:ext uri="{FF2B5EF4-FFF2-40B4-BE49-F238E27FC236}">
                    <a16:creationId xmlns:a16="http://schemas.microsoft.com/office/drawing/2014/main" id="{DDF85851-B80C-E747-7FD7-5B0D768F2C41}"/>
                  </a:ext>
                </a:extLst>
              </p:cNvPr>
              <p:cNvGrpSpPr/>
              <p:nvPr/>
            </p:nvGrpSpPr>
            <p:grpSpPr>
              <a:xfrm>
                <a:off x="1009062" y="8853984"/>
                <a:ext cx="14822156" cy="3168038"/>
                <a:chOff x="1009062" y="8853984"/>
                <a:chExt cx="14822156" cy="3168038"/>
              </a:xfrm>
            </p:grpSpPr>
            <p:sp>
              <p:nvSpPr>
                <p:cNvPr id="121" name="Скругленный прямоугольник 120">
                  <a:extLst>
                    <a:ext uri="{FF2B5EF4-FFF2-40B4-BE49-F238E27FC236}">
                      <a16:creationId xmlns:a16="http://schemas.microsoft.com/office/drawing/2014/main" id="{C36BABA4-2AF3-3CFB-E27D-7ACE9B4265D5}"/>
                    </a:ext>
                  </a:extLst>
                </p:cNvPr>
                <p:cNvSpPr/>
                <p:nvPr/>
              </p:nvSpPr>
              <p:spPr>
                <a:xfrm>
                  <a:off x="1009062" y="8853984"/>
                  <a:ext cx="3168038" cy="3168038"/>
                </a:xfrm>
                <a:prstGeom prst="roundRect">
                  <a:avLst/>
                </a:prstGeom>
                <a:solidFill>
                  <a:srgbClr val="620CF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22" name="Скругленный прямоугольник 121">
                  <a:extLst>
                    <a:ext uri="{FF2B5EF4-FFF2-40B4-BE49-F238E27FC236}">
                      <a16:creationId xmlns:a16="http://schemas.microsoft.com/office/drawing/2014/main" id="{FBC1376E-9C72-2BEB-67C9-E407C282E995}"/>
                    </a:ext>
                  </a:extLst>
                </p:cNvPr>
                <p:cNvSpPr/>
                <p:nvPr/>
              </p:nvSpPr>
              <p:spPr>
                <a:xfrm>
                  <a:off x="4893768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23" name="Скругленный прямоугольник 122">
                  <a:extLst>
                    <a:ext uri="{FF2B5EF4-FFF2-40B4-BE49-F238E27FC236}">
                      <a16:creationId xmlns:a16="http://schemas.microsoft.com/office/drawing/2014/main" id="{16E6F471-082F-CE85-9F37-05C76DF9D7F7}"/>
                    </a:ext>
                  </a:extLst>
                </p:cNvPr>
                <p:cNvSpPr/>
                <p:nvPr/>
              </p:nvSpPr>
              <p:spPr>
                <a:xfrm>
                  <a:off x="8778474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24" name="Скругленный прямоугольник 123">
                  <a:extLst>
                    <a:ext uri="{FF2B5EF4-FFF2-40B4-BE49-F238E27FC236}">
                      <a16:creationId xmlns:a16="http://schemas.microsoft.com/office/drawing/2014/main" id="{AA1D6372-56C2-8304-D903-375A6C5BC37E}"/>
                    </a:ext>
                  </a:extLst>
                </p:cNvPr>
                <p:cNvSpPr/>
                <p:nvPr/>
              </p:nvSpPr>
              <p:spPr>
                <a:xfrm>
                  <a:off x="12663180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116" name="Группа 115">
                <a:extLst>
                  <a:ext uri="{FF2B5EF4-FFF2-40B4-BE49-F238E27FC236}">
                    <a16:creationId xmlns:a16="http://schemas.microsoft.com/office/drawing/2014/main" id="{B49275DA-B168-0925-97E3-C9E2A0D5A743}"/>
                  </a:ext>
                </a:extLst>
              </p:cNvPr>
              <p:cNvGrpSpPr/>
              <p:nvPr/>
            </p:nvGrpSpPr>
            <p:grpSpPr>
              <a:xfrm>
                <a:off x="1009062" y="12576109"/>
                <a:ext cx="14822156" cy="3168038"/>
                <a:chOff x="1009062" y="8853984"/>
                <a:chExt cx="14822156" cy="3168038"/>
              </a:xfrm>
            </p:grpSpPr>
            <p:sp>
              <p:nvSpPr>
                <p:cNvPr id="117" name="Скругленный прямоугольник 116">
                  <a:extLst>
                    <a:ext uri="{FF2B5EF4-FFF2-40B4-BE49-F238E27FC236}">
                      <a16:creationId xmlns:a16="http://schemas.microsoft.com/office/drawing/2014/main" id="{078534F7-1181-ACAE-65CC-12CFC71F329C}"/>
                    </a:ext>
                  </a:extLst>
                </p:cNvPr>
                <p:cNvSpPr/>
                <p:nvPr/>
              </p:nvSpPr>
              <p:spPr>
                <a:xfrm>
                  <a:off x="1009062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18" name="Скругленный прямоугольник 117">
                  <a:extLst>
                    <a:ext uri="{FF2B5EF4-FFF2-40B4-BE49-F238E27FC236}">
                      <a16:creationId xmlns:a16="http://schemas.microsoft.com/office/drawing/2014/main" id="{6A0BF32B-10FE-1C94-E42B-63763F5A0883}"/>
                    </a:ext>
                  </a:extLst>
                </p:cNvPr>
                <p:cNvSpPr/>
                <p:nvPr/>
              </p:nvSpPr>
              <p:spPr>
                <a:xfrm>
                  <a:off x="4893768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19" name="Скругленный прямоугольник 118">
                  <a:extLst>
                    <a:ext uri="{FF2B5EF4-FFF2-40B4-BE49-F238E27FC236}">
                      <a16:creationId xmlns:a16="http://schemas.microsoft.com/office/drawing/2014/main" id="{289EEB81-AF46-BC70-92F0-ED00640AC22A}"/>
                    </a:ext>
                  </a:extLst>
                </p:cNvPr>
                <p:cNvSpPr/>
                <p:nvPr/>
              </p:nvSpPr>
              <p:spPr>
                <a:xfrm>
                  <a:off x="8778474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20" name="Скругленный прямоугольник 119">
                  <a:extLst>
                    <a:ext uri="{FF2B5EF4-FFF2-40B4-BE49-F238E27FC236}">
                      <a16:creationId xmlns:a16="http://schemas.microsoft.com/office/drawing/2014/main" id="{C40371D2-CFB5-D66B-9CBD-97319D8257E6}"/>
                    </a:ext>
                  </a:extLst>
                </p:cNvPr>
                <p:cNvSpPr/>
                <p:nvPr/>
              </p:nvSpPr>
              <p:spPr>
                <a:xfrm>
                  <a:off x="12663180" y="8853984"/>
                  <a:ext cx="3168038" cy="3168038"/>
                </a:xfrm>
                <a:prstGeom prst="roundRect">
                  <a:avLst/>
                </a:prstGeom>
                <a:solidFill>
                  <a:srgbClr val="620CF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</p:grpSp>
      </p:grpSp>
      <p:grpSp>
        <p:nvGrpSpPr>
          <p:cNvPr id="127" name="Группа 126">
            <a:extLst>
              <a:ext uri="{FF2B5EF4-FFF2-40B4-BE49-F238E27FC236}">
                <a16:creationId xmlns:a16="http://schemas.microsoft.com/office/drawing/2014/main" id="{DCC07EF2-FE41-F790-2E2B-68B0A6D65BE1}"/>
              </a:ext>
            </a:extLst>
          </p:cNvPr>
          <p:cNvGrpSpPr/>
          <p:nvPr/>
        </p:nvGrpSpPr>
        <p:grpSpPr>
          <a:xfrm>
            <a:off x="507863" y="7609002"/>
            <a:ext cx="6167194" cy="4381822"/>
            <a:chOff x="507863" y="2142803"/>
            <a:chExt cx="6167194" cy="4381822"/>
          </a:xfrm>
        </p:grpSpPr>
        <p:sp>
          <p:nvSpPr>
            <p:cNvPr id="128" name="Rectangle: Rounded Corners 70">
              <a:extLst>
                <a:ext uri="{FF2B5EF4-FFF2-40B4-BE49-F238E27FC236}">
                  <a16:creationId xmlns:a16="http://schemas.microsoft.com/office/drawing/2014/main" id="{9BDD060C-F4FE-167F-18AD-C4CBA258EA69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BE9701D8-7AAA-28FB-FEBD-D07963A85D2D}"/>
                </a:ext>
              </a:extLst>
            </p:cNvPr>
            <p:cNvSpPr txBox="1"/>
            <p:nvPr/>
          </p:nvSpPr>
          <p:spPr>
            <a:xfrm>
              <a:off x="772809" y="2600747"/>
              <a:ext cx="5902248" cy="17887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36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ЭФФЕКТ</a:t>
              </a:r>
              <a:br>
                <a:rPr lang="ru-RU" sz="36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36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СЕРИЙНОГО РАСПОЛОЖЕНИЯ</a:t>
              </a:r>
              <a:endParaRPr lang="ru-RU" sz="44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B1846F8E-538D-7A9F-7C9A-EF6E7D4ED56B}"/>
                </a:ext>
              </a:extLst>
            </p:cNvPr>
            <p:cNvSpPr txBox="1"/>
            <p:nvPr/>
          </p:nvSpPr>
          <p:spPr>
            <a:xfrm>
              <a:off x="772809" y="4415435"/>
              <a:ext cx="5323191" cy="17570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Человек лучше запоминает первый </a:t>
              </a:r>
              <a:b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и последний элемент </a:t>
              </a:r>
              <a:b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в последовательности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825700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DC1B6C4E-E801-30BC-6203-04AF9E348227}"/>
              </a:ext>
            </a:extLst>
          </p:cNvPr>
          <p:cNvGrpSpPr/>
          <p:nvPr/>
        </p:nvGrpSpPr>
        <p:grpSpPr>
          <a:xfrm>
            <a:off x="547574" y="-4659385"/>
            <a:ext cx="5913850" cy="4381822"/>
            <a:chOff x="507863" y="2142803"/>
            <a:chExt cx="5913850" cy="4381822"/>
          </a:xfrm>
        </p:grpSpPr>
        <p:sp>
          <p:nvSpPr>
            <p:cNvPr id="32" name="Rectangle: Rounded Corners 70">
              <a:extLst>
                <a:ext uri="{FF2B5EF4-FFF2-40B4-BE49-F238E27FC236}">
                  <a16:creationId xmlns:a16="http://schemas.microsoft.com/office/drawing/2014/main" id="{CB736749-F7DC-9BA9-95F5-5236B9504399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0E71FEF-5AE7-EA21-83B7-6C146AFCBAB1}"/>
                </a:ext>
              </a:extLst>
            </p:cNvPr>
            <p:cNvSpPr txBox="1"/>
            <p:nvPr/>
          </p:nvSpPr>
          <p:spPr>
            <a:xfrm>
              <a:off x="772809" y="2600747"/>
              <a:ext cx="5323191" cy="12464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ЭФФЕКТ </a:t>
              </a:r>
              <a:b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БЛИЗОСТИ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7C81D1C-CCA6-2827-8FA7-FDE8E6BBCF4F}"/>
                </a:ext>
              </a:extLst>
            </p:cNvPr>
            <p:cNvSpPr txBox="1"/>
            <p:nvPr/>
          </p:nvSpPr>
          <p:spPr>
            <a:xfrm>
              <a:off x="772809" y="3847242"/>
              <a:ext cx="5098613" cy="17570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Чем ближе элементы </a:t>
              </a:r>
              <a:b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на странице или слайде, тем ближе их смысловая нагрузка</a:t>
              </a:r>
            </a:p>
          </p:txBody>
        </p:sp>
      </p:grp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7C342864-C1B9-43B3-69DB-26D509EDFF30}"/>
              </a:ext>
            </a:extLst>
          </p:cNvPr>
          <p:cNvSpPr/>
          <p:nvPr/>
        </p:nvSpPr>
        <p:spPr>
          <a:xfrm>
            <a:off x="9140923" y="0"/>
            <a:ext cx="711200" cy="6858000"/>
          </a:xfrm>
          <a:prstGeom prst="rect">
            <a:avLst/>
          </a:prstGeom>
          <a:gradFill>
            <a:gsLst>
              <a:gs pos="98000">
                <a:srgbClr val="C0DCFD">
                  <a:alpha val="53000"/>
                </a:srgbClr>
              </a:gs>
              <a:gs pos="55000">
                <a:srgbClr val="C0DCFD">
                  <a:alpha val="0"/>
                </a:srgbClr>
              </a:gs>
              <a:gs pos="0">
                <a:srgbClr val="C0DCFD">
                  <a:alpha val="46085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Rectangle: Rounded Corners 70">
            <a:extLst>
              <a:ext uri="{FF2B5EF4-FFF2-40B4-BE49-F238E27FC236}">
                <a16:creationId xmlns:a16="http://schemas.microsoft.com/office/drawing/2014/main" id="{4E72B930-5E19-99B7-E393-DC73487B625A}"/>
              </a:ext>
            </a:extLst>
          </p:cNvPr>
          <p:cNvSpPr/>
          <p:nvPr/>
        </p:nvSpPr>
        <p:spPr>
          <a:xfrm rot="10800000">
            <a:off x="507863" y="685482"/>
            <a:ext cx="5997183" cy="1136385"/>
          </a:xfrm>
          <a:prstGeom prst="roundRect">
            <a:avLst>
              <a:gd name="adj" fmla="val 27611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57" name="Скругленный прямоугольник 56">
            <a:extLst>
              <a:ext uri="{FF2B5EF4-FFF2-40B4-BE49-F238E27FC236}">
                <a16:creationId xmlns:a16="http://schemas.microsoft.com/office/drawing/2014/main" id="{EC685C8B-9F8C-5931-CC05-7A74BFA71560}"/>
              </a:ext>
            </a:extLst>
          </p:cNvPr>
          <p:cNvSpPr/>
          <p:nvPr/>
        </p:nvSpPr>
        <p:spPr>
          <a:xfrm rot="5400000">
            <a:off x="1335478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Скругленный прямоугольник 57">
            <a:extLst>
              <a:ext uri="{FF2B5EF4-FFF2-40B4-BE49-F238E27FC236}">
                <a16:creationId xmlns:a16="http://schemas.microsoft.com/office/drawing/2014/main" id="{3AF22607-5A27-1866-739C-78BEAB03302E}"/>
              </a:ext>
            </a:extLst>
          </p:cNvPr>
          <p:cNvSpPr/>
          <p:nvPr/>
        </p:nvSpPr>
        <p:spPr>
          <a:xfrm rot="5400000">
            <a:off x="1780257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Скругленный прямоугольник 58">
            <a:extLst>
              <a:ext uri="{FF2B5EF4-FFF2-40B4-BE49-F238E27FC236}">
                <a16:creationId xmlns:a16="http://schemas.microsoft.com/office/drawing/2014/main" id="{CC1E7B9B-6937-C246-CBBB-2368CEFD595B}"/>
              </a:ext>
            </a:extLst>
          </p:cNvPr>
          <p:cNvSpPr/>
          <p:nvPr/>
        </p:nvSpPr>
        <p:spPr>
          <a:xfrm rot="5400000">
            <a:off x="2225036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Скругленный прямоугольник 59">
            <a:extLst>
              <a:ext uri="{FF2B5EF4-FFF2-40B4-BE49-F238E27FC236}">
                <a16:creationId xmlns:a16="http://schemas.microsoft.com/office/drawing/2014/main" id="{34093E35-2865-2CE2-22ED-4B0A04F7077A}"/>
              </a:ext>
            </a:extLst>
          </p:cNvPr>
          <p:cNvSpPr/>
          <p:nvPr/>
        </p:nvSpPr>
        <p:spPr>
          <a:xfrm rot="5400000">
            <a:off x="2669815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Скругленный прямоугольник 60">
            <a:extLst>
              <a:ext uri="{FF2B5EF4-FFF2-40B4-BE49-F238E27FC236}">
                <a16:creationId xmlns:a16="http://schemas.microsoft.com/office/drawing/2014/main" id="{6C55457C-5990-E4C0-2080-3B6BF8D224A4}"/>
              </a:ext>
            </a:extLst>
          </p:cNvPr>
          <p:cNvSpPr/>
          <p:nvPr/>
        </p:nvSpPr>
        <p:spPr>
          <a:xfrm rot="5400000">
            <a:off x="3114594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Скругленный прямоугольник 61">
            <a:extLst>
              <a:ext uri="{FF2B5EF4-FFF2-40B4-BE49-F238E27FC236}">
                <a16:creationId xmlns:a16="http://schemas.microsoft.com/office/drawing/2014/main" id="{E2C3767B-DF73-EB57-4922-922FE33EBCFA}"/>
              </a:ext>
            </a:extLst>
          </p:cNvPr>
          <p:cNvSpPr/>
          <p:nvPr/>
        </p:nvSpPr>
        <p:spPr>
          <a:xfrm rot="5400000">
            <a:off x="355937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кругленный прямоугольник 62">
            <a:extLst>
              <a:ext uri="{FF2B5EF4-FFF2-40B4-BE49-F238E27FC236}">
                <a16:creationId xmlns:a16="http://schemas.microsoft.com/office/drawing/2014/main" id="{B96ED38E-92EE-71D4-E04D-D5F092255D9C}"/>
              </a:ext>
            </a:extLst>
          </p:cNvPr>
          <p:cNvSpPr/>
          <p:nvPr/>
        </p:nvSpPr>
        <p:spPr>
          <a:xfrm rot="5400000">
            <a:off x="4004152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Скругленный прямоугольник 63">
            <a:extLst>
              <a:ext uri="{FF2B5EF4-FFF2-40B4-BE49-F238E27FC236}">
                <a16:creationId xmlns:a16="http://schemas.microsoft.com/office/drawing/2014/main" id="{AD39B888-1BA2-5380-C7E7-12D35A0DA290}"/>
              </a:ext>
            </a:extLst>
          </p:cNvPr>
          <p:cNvSpPr/>
          <p:nvPr/>
        </p:nvSpPr>
        <p:spPr>
          <a:xfrm rot="5400000">
            <a:off x="533849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Скругленный прямоугольник 64">
            <a:extLst>
              <a:ext uri="{FF2B5EF4-FFF2-40B4-BE49-F238E27FC236}">
                <a16:creationId xmlns:a16="http://schemas.microsoft.com/office/drawing/2014/main" id="{B57DEFAB-3198-35BC-C517-56267773D1A3}"/>
              </a:ext>
            </a:extLst>
          </p:cNvPr>
          <p:cNvSpPr/>
          <p:nvPr/>
        </p:nvSpPr>
        <p:spPr>
          <a:xfrm rot="5400000">
            <a:off x="4893710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кругленный прямоугольник 65">
            <a:extLst>
              <a:ext uri="{FF2B5EF4-FFF2-40B4-BE49-F238E27FC236}">
                <a16:creationId xmlns:a16="http://schemas.microsoft.com/office/drawing/2014/main" id="{7C5B89BA-91D6-4CBE-F3DA-5603D25E9265}"/>
              </a:ext>
            </a:extLst>
          </p:cNvPr>
          <p:cNvSpPr/>
          <p:nvPr/>
        </p:nvSpPr>
        <p:spPr>
          <a:xfrm rot="5400000">
            <a:off x="4448931" y="893475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AB4BB9A-DCC0-1935-48B9-818BA23D4A79}"/>
              </a:ext>
            </a:extLst>
          </p:cNvPr>
          <p:cNvSpPr txBox="1"/>
          <p:nvPr/>
        </p:nvSpPr>
        <p:spPr>
          <a:xfrm>
            <a:off x="1289469" y="1253674"/>
            <a:ext cx="5188527" cy="385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" panose="020B0305040102020103" pitchFamily="34" charset="0"/>
                <a:cs typeface="Times New Roman" panose="02020603050405020304" pitchFamily="18" charset="0"/>
              </a:rPr>
              <a:t>Азбука качественного визуала</a:t>
            </a:r>
          </a:p>
        </p:txBody>
      </p:sp>
      <p:sp useBgFill="1">
        <p:nvSpPr>
          <p:cNvPr id="71" name="Полилиния 70">
            <a:extLst>
              <a:ext uri="{FF2B5EF4-FFF2-40B4-BE49-F238E27FC236}">
                <a16:creationId xmlns:a16="http://schemas.microsoft.com/office/drawing/2014/main" id="{A119041F-0060-FE60-3BAD-0947D31F50E6}"/>
              </a:ext>
            </a:extLst>
          </p:cNvPr>
          <p:cNvSpPr/>
          <p:nvPr/>
        </p:nvSpPr>
        <p:spPr>
          <a:xfrm>
            <a:off x="507862" y="-1226127"/>
            <a:ext cx="5997184" cy="3047995"/>
          </a:xfrm>
          <a:custGeom>
            <a:avLst/>
            <a:gdLst>
              <a:gd name="connsiteX0" fmla="*/ 0 w 5997184"/>
              <a:gd name="connsiteY0" fmla="*/ 0 h 3047995"/>
              <a:gd name="connsiteX1" fmla="*/ 5997184 w 5997184"/>
              <a:gd name="connsiteY1" fmla="*/ 0 h 3047995"/>
              <a:gd name="connsiteX2" fmla="*/ 5997184 w 5997184"/>
              <a:gd name="connsiteY2" fmla="*/ 2225376 h 3047995"/>
              <a:gd name="connsiteX3" fmla="*/ 5683417 w 5997184"/>
              <a:gd name="connsiteY3" fmla="*/ 1911609 h 3047995"/>
              <a:gd name="connsiteX4" fmla="*/ 313768 w 5997184"/>
              <a:gd name="connsiteY4" fmla="*/ 1911609 h 3047995"/>
              <a:gd name="connsiteX5" fmla="*/ 1 w 5997184"/>
              <a:gd name="connsiteY5" fmla="*/ 2225376 h 3047995"/>
              <a:gd name="connsiteX6" fmla="*/ 1 w 5997184"/>
              <a:gd name="connsiteY6" fmla="*/ 2734227 h 3047995"/>
              <a:gd name="connsiteX7" fmla="*/ 313768 w 5997184"/>
              <a:gd name="connsiteY7" fmla="*/ 3047994 h 3047995"/>
              <a:gd name="connsiteX8" fmla="*/ 5683417 w 5997184"/>
              <a:gd name="connsiteY8" fmla="*/ 3047994 h 3047995"/>
              <a:gd name="connsiteX9" fmla="*/ 5997184 w 5997184"/>
              <a:gd name="connsiteY9" fmla="*/ 2734227 h 3047995"/>
              <a:gd name="connsiteX10" fmla="*/ 5997184 w 5997184"/>
              <a:gd name="connsiteY10" fmla="*/ 3047995 h 3047995"/>
              <a:gd name="connsiteX11" fmla="*/ 0 w 5997184"/>
              <a:gd name="connsiteY11" fmla="*/ 3047995 h 304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997184" h="3047995">
                <a:moveTo>
                  <a:pt x="0" y="0"/>
                </a:moveTo>
                <a:lnTo>
                  <a:pt x="5997184" y="0"/>
                </a:lnTo>
                <a:lnTo>
                  <a:pt x="5997184" y="2225376"/>
                </a:lnTo>
                <a:cubicBezTo>
                  <a:pt x="5997184" y="2052087"/>
                  <a:pt x="5856706" y="1911609"/>
                  <a:pt x="5683417" y="1911609"/>
                </a:cubicBezTo>
                <a:lnTo>
                  <a:pt x="313768" y="1911609"/>
                </a:lnTo>
                <a:cubicBezTo>
                  <a:pt x="140479" y="1911609"/>
                  <a:pt x="1" y="2052087"/>
                  <a:pt x="1" y="2225376"/>
                </a:cubicBezTo>
                <a:lnTo>
                  <a:pt x="1" y="2734227"/>
                </a:lnTo>
                <a:cubicBezTo>
                  <a:pt x="1" y="2907516"/>
                  <a:pt x="140479" y="3047994"/>
                  <a:pt x="313768" y="3047994"/>
                </a:cubicBezTo>
                <a:lnTo>
                  <a:pt x="5683417" y="3047994"/>
                </a:lnTo>
                <a:cubicBezTo>
                  <a:pt x="5856706" y="3047994"/>
                  <a:pt x="5997184" y="2907516"/>
                  <a:pt x="5997184" y="2734227"/>
                </a:cubicBezTo>
                <a:lnTo>
                  <a:pt x="5997184" y="3047995"/>
                </a:lnTo>
                <a:lnTo>
                  <a:pt x="0" y="304799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CD69630C-2379-0345-037E-59C866F73FC5}"/>
              </a:ext>
            </a:extLst>
          </p:cNvPr>
          <p:cNvGrpSpPr/>
          <p:nvPr/>
        </p:nvGrpSpPr>
        <p:grpSpPr>
          <a:xfrm>
            <a:off x="507863" y="2142803"/>
            <a:ext cx="6167194" cy="4381822"/>
            <a:chOff x="507863" y="2142803"/>
            <a:chExt cx="6167194" cy="4381822"/>
          </a:xfrm>
        </p:grpSpPr>
        <p:sp>
          <p:nvSpPr>
            <p:cNvPr id="54" name="Rectangle: Rounded Corners 70">
              <a:extLst>
                <a:ext uri="{FF2B5EF4-FFF2-40B4-BE49-F238E27FC236}">
                  <a16:creationId xmlns:a16="http://schemas.microsoft.com/office/drawing/2014/main" id="{4327CDC1-48EC-6BD3-AF66-6729DE9D59C1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B7539D73-F8F6-2914-A67A-79B607D90E13}"/>
                </a:ext>
              </a:extLst>
            </p:cNvPr>
            <p:cNvSpPr txBox="1"/>
            <p:nvPr/>
          </p:nvSpPr>
          <p:spPr>
            <a:xfrm>
              <a:off x="772809" y="2600747"/>
              <a:ext cx="5902248" cy="17887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36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ЭФФЕКТ</a:t>
              </a:r>
              <a:br>
                <a:rPr lang="ru-RU" sz="36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36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СЕРИЙНОГО РАСПОЛОЖЕНИЯ</a:t>
              </a:r>
              <a:endParaRPr lang="ru-RU" sz="44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AD39E21-A082-1D5B-77FB-38B6989CD4D4}"/>
                </a:ext>
              </a:extLst>
            </p:cNvPr>
            <p:cNvSpPr txBox="1"/>
            <p:nvPr/>
          </p:nvSpPr>
          <p:spPr>
            <a:xfrm>
              <a:off x="772809" y="4415435"/>
              <a:ext cx="5323191" cy="17570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Человек лучше запоминает первый </a:t>
              </a:r>
              <a:b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и последний элемент </a:t>
              </a:r>
              <a:b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в последовательности</a:t>
              </a:r>
            </a:p>
          </p:txBody>
        </p:sp>
      </p:grp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B9D371BF-803B-A30D-2911-3B9CEFDA344C}"/>
              </a:ext>
            </a:extLst>
          </p:cNvPr>
          <p:cNvGrpSpPr/>
          <p:nvPr/>
        </p:nvGrpSpPr>
        <p:grpSpPr>
          <a:xfrm>
            <a:off x="-3517807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2776F762-6191-9C3A-04B0-F7632B078202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79A7D83F-D501-8758-E699-6059DAC43E75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7" name="Рисунок 3">
            <a:extLst>
              <a:ext uri="{FF2B5EF4-FFF2-40B4-BE49-F238E27FC236}">
                <a16:creationId xmlns:a16="http://schemas.microsoft.com/office/drawing/2014/main" id="{56295991-5BE7-36A2-05FC-C41D90410B7A}"/>
              </a:ext>
            </a:extLst>
          </p:cNvPr>
          <p:cNvGrpSpPr/>
          <p:nvPr/>
        </p:nvGrpSpPr>
        <p:grpSpPr>
          <a:xfrm>
            <a:off x="-2846667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491CF97A-523B-F1DC-DC58-B5153C90AEB4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33256969-A9F0-82A9-8386-11518CF8D97B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D53FC78-1470-5880-CC4B-564B2D535439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2DA2E124-1C66-6FFE-FE8E-B01C1BA28622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5A820B68-6596-BDA0-EE3C-CDCF23BFD057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3A62DF1B-3CCD-FA09-535B-349066C73EEF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0F9983CE-6C20-A7DA-B20B-5531D5ECF0EC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27CF1737-278F-1365-6768-D7226C154BD2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F82A8CAF-5B1E-251F-D1C9-75583580C453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2F90F89D-256A-D452-B3CD-217CB800535C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82038AB9-EC9D-4C16-32DD-11D31DCD5A9D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9" name="Группа 108">
            <a:extLst>
              <a:ext uri="{FF2B5EF4-FFF2-40B4-BE49-F238E27FC236}">
                <a16:creationId xmlns:a16="http://schemas.microsoft.com/office/drawing/2014/main" id="{98EC8843-190A-CD35-5014-81662076100C}"/>
              </a:ext>
            </a:extLst>
          </p:cNvPr>
          <p:cNvGrpSpPr/>
          <p:nvPr/>
        </p:nvGrpSpPr>
        <p:grpSpPr>
          <a:xfrm>
            <a:off x="7388422" y="-6172517"/>
            <a:ext cx="4216202" cy="5839143"/>
            <a:chOff x="7388422" y="685479"/>
            <a:chExt cx="4216202" cy="5839143"/>
          </a:xfrm>
        </p:grpSpPr>
        <p:sp>
          <p:nvSpPr>
            <p:cNvPr id="95" name="Rectangle: Rounded Corners 70">
              <a:extLst>
                <a:ext uri="{FF2B5EF4-FFF2-40B4-BE49-F238E27FC236}">
                  <a16:creationId xmlns:a16="http://schemas.microsoft.com/office/drawing/2014/main" id="{5088481E-7EF9-46A1-388E-05E9EF44DA9F}"/>
                </a:ext>
              </a:extLst>
            </p:cNvPr>
            <p:cNvSpPr/>
            <p:nvPr/>
          </p:nvSpPr>
          <p:spPr>
            <a:xfrm rot="10800000">
              <a:off x="7388422" y="685479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pic>
          <p:nvPicPr>
            <p:cNvPr id="104" name="Рисунок 103">
              <a:extLst>
                <a:ext uri="{FF2B5EF4-FFF2-40B4-BE49-F238E27FC236}">
                  <a16:creationId xmlns:a16="http://schemas.microsoft.com/office/drawing/2014/main" id="{2DE7A166-7CED-EFF9-AE09-0FE3448E72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98351" y="1084341"/>
              <a:ext cx="2557782" cy="2489344"/>
            </a:xfrm>
            <a:prstGeom prst="rect">
              <a:avLst/>
            </a:prstGeom>
          </p:spPr>
        </p:pic>
        <p:pic>
          <p:nvPicPr>
            <p:cNvPr id="106" name="Рисунок 105">
              <a:extLst>
                <a:ext uri="{FF2B5EF4-FFF2-40B4-BE49-F238E27FC236}">
                  <a16:creationId xmlns:a16="http://schemas.microsoft.com/office/drawing/2014/main" id="{C539B730-3DC4-3938-CF68-C430FD83ED9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73108" y="3683177"/>
              <a:ext cx="2566336" cy="2489344"/>
            </a:xfrm>
            <a:prstGeom prst="rect">
              <a:avLst/>
            </a:prstGeom>
          </p:spPr>
        </p:pic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984CFF3-5B2D-4F0A-19E7-404708CEDBA6}"/>
              </a:ext>
            </a:extLst>
          </p:cNvPr>
          <p:cNvGrpSpPr/>
          <p:nvPr/>
        </p:nvGrpSpPr>
        <p:grpSpPr>
          <a:xfrm>
            <a:off x="7370966" y="685483"/>
            <a:ext cx="4216202" cy="5839143"/>
            <a:chOff x="7370966" y="7543479"/>
            <a:chExt cx="4216202" cy="5839143"/>
          </a:xfrm>
        </p:grpSpPr>
        <p:sp>
          <p:nvSpPr>
            <p:cNvPr id="3" name="Rectangle: Rounded Corners 70">
              <a:extLst>
                <a:ext uri="{FF2B5EF4-FFF2-40B4-BE49-F238E27FC236}">
                  <a16:creationId xmlns:a16="http://schemas.microsoft.com/office/drawing/2014/main" id="{81F19E87-76EB-65F2-2DAA-761D5D0F3226}"/>
                </a:ext>
              </a:extLst>
            </p:cNvPr>
            <p:cNvSpPr/>
            <p:nvPr/>
          </p:nvSpPr>
          <p:spPr>
            <a:xfrm rot="10800000">
              <a:off x="7370966" y="7543479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grpSp>
          <p:nvGrpSpPr>
            <p:cNvPr id="4" name="Группа 3">
              <a:extLst>
                <a:ext uri="{FF2B5EF4-FFF2-40B4-BE49-F238E27FC236}">
                  <a16:creationId xmlns:a16="http://schemas.microsoft.com/office/drawing/2014/main" id="{7F38B51E-AA5D-4BFE-A241-F5ECBA756AA2}"/>
                </a:ext>
              </a:extLst>
            </p:cNvPr>
            <p:cNvGrpSpPr/>
            <p:nvPr/>
          </p:nvGrpSpPr>
          <p:grpSpPr>
            <a:xfrm rot="16200000" flipH="1">
              <a:off x="6933205" y="8891969"/>
              <a:ext cx="5091724" cy="3150367"/>
              <a:chOff x="1009062" y="8853984"/>
              <a:chExt cx="14822156" cy="6890163"/>
            </a:xfrm>
          </p:grpSpPr>
          <p:grpSp>
            <p:nvGrpSpPr>
              <p:cNvPr id="5" name="Группа 4">
                <a:extLst>
                  <a:ext uri="{FF2B5EF4-FFF2-40B4-BE49-F238E27FC236}">
                    <a16:creationId xmlns:a16="http://schemas.microsoft.com/office/drawing/2014/main" id="{C8EBB8D2-A1F9-6B7D-678A-D29CBF1D8115}"/>
                  </a:ext>
                </a:extLst>
              </p:cNvPr>
              <p:cNvGrpSpPr/>
              <p:nvPr/>
            </p:nvGrpSpPr>
            <p:grpSpPr>
              <a:xfrm>
                <a:off x="1009062" y="8853984"/>
                <a:ext cx="14822156" cy="3168038"/>
                <a:chOff x="1009062" y="8853984"/>
                <a:chExt cx="14822156" cy="3168038"/>
              </a:xfrm>
            </p:grpSpPr>
            <p:sp>
              <p:nvSpPr>
                <p:cNvPr id="11" name="Скругленный прямоугольник 10">
                  <a:extLst>
                    <a:ext uri="{FF2B5EF4-FFF2-40B4-BE49-F238E27FC236}">
                      <a16:creationId xmlns:a16="http://schemas.microsoft.com/office/drawing/2014/main" id="{673FCEBF-1DE0-61F8-D346-4321CF28BB7C}"/>
                    </a:ext>
                  </a:extLst>
                </p:cNvPr>
                <p:cNvSpPr/>
                <p:nvPr/>
              </p:nvSpPr>
              <p:spPr>
                <a:xfrm>
                  <a:off x="1009062" y="8853984"/>
                  <a:ext cx="3168038" cy="3168038"/>
                </a:xfrm>
                <a:prstGeom prst="roundRect">
                  <a:avLst/>
                </a:prstGeom>
                <a:solidFill>
                  <a:srgbClr val="620CF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2" name="Скругленный прямоугольник 11">
                  <a:extLst>
                    <a:ext uri="{FF2B5EF4-FFF2-40B4-BE49-F238E27FC236}">
                      <a16:creationId xmlns:a16="http://schemas.microsoft.com/office/drawing/2014/main" id="{AF1723B1-E905-6CF1-A2E6-8E8695D88B25}"/>
                    </a:ext>
                  </a:extLst>
                </p:cNvPr>
                <p:cNvSpPr/>
                <p:nvPr/>
              </p:nvSpPr>
              <p:spPr>
                <a:xfrm>
                  <a:off x="4893768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3" name="Скругленный прямоугольник 12">
                  <a:extLst>
                    <a:ext uri="{FF2B5EF4-FFF2-40B4-BE49-F238E27FC236}">
                      <a16:creationId xmlns:a16="http://schemas.microsoft.com/office/drawing/2014/main" id="{B71D7312-E927-B681-5BD0-4F9AB83D57DE}"/>
                    </a:ext>
                  </a:extLst>
                </p:cNvPr>
                <p:cNvSpPr/>
                <p:nvPr/>
              </p:nvSpPr>
              <p:spPr>
                <a:xfrm>
                  <a:off x="8778474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4" name="Скругленный прямоугольник 13">
                  <a:extLst>
                    <a:ext uri="{FF2B5EF4-FFF2-40B4-BE49-F238E27FC236}">
                      <a16:creationId xmlns:a16="http://schemas.microsoft.com/office/drawing/2014/main" id="{C959F063-2717-85BD-6225-30B1A25F7185}"/>
                    </a:ext>
                  </a:extLst>
                </p:cNvPr>
                <p:cNvSpPr/>
                <p:nvPr/>
              </p:nvSpPr>
              <p:spPr>
                <a:xfrm>
                  <a:off x="12663180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6" name="Группа 5">
                <a:extLst>
                  <a:ext uri="{FF2B5EF4-FFF2-40B4-BE49-F238E27FC236}">
                    <a16:creationId xmlns:a16="http://schemas.microsoft.com/office/drawing/2014/main" id="{8471C03E-1C15-F974-B596-F1531E729A5B}"/>
                  </a:ext>
                </a:extLst>
              </p:cNvPr>
              <p:cNvGrpSpPr/>
              <p:nvPr/>
            </p:nvGrpSpPr>
            <p:grpSpPr>
              <a:xfrm>
                <a:off x="1009062" y="12576109"/>
                <a:ext cx="14822156" cy="3168038"/>
                <a:chOff x="1009062" y="8853984"/>
                <a:chExt cx="14822156" cy="3168038"/>
              </a:xfrm>
            </p:grpSpPr>
            <p:sp>
              <p:nvSpPr>
                <p:cNvPr id="7" name="Скругленный прямоугольник 6">
                  <a:extLst>
                    <a:ext uri="{FF2B5EF4-FFF2-40B4-BE49-F238E27FC236}">
                      <a16:creationId xmlns:a16="http://schemas.microsoft.com/office/drawing/2014/main" id="{DD0AFCE6-8282-4592-E4DC-968154F1C9A6}"/>
                    </a:ext>
                  </a:extLst>
                </p:cNvPr>
                <p:cNvSpPr/>
                <p:nvPr/>
              </p:nvSpPr>
              <p:spPr>
                <a:xfrm>
                  <a:off x="1009062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8" name="Скругленный прямоугольник 7">
                  <a:extLst>
                    <a:ext uri="{FF2B5EF4-FFF2-40B4-BE49-F238E27FC236}">
                      <a16:creationId xmlns:a16="http://schemas.microsoft.com/office/drawing/2014/main" id="{0112FA6D-7A43-9B7D-8179-60EB6A053DD6}"/>
                    </a:ext>
                  </a:extLst>
                </p:cNvPr>
                <p:cNvSpPr/>
                <p:nvPr/>
              </p:nvSpPr>
              <p:spPr>
                <a:xfrm>
                  <a:off x="4893768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9" name="Скругленный прямоугольник 8">
                  <a:extLst>
                    <a:ext uri="{FF2B5EF4-FFF2-40B4-BE49-F238E27FC236}">
                      <a16:creationId xmlns:a16="http://schemas.microsoft.com/office/drawing/2014/main" id="{5AE9218B-7E14-71C0-6EF9-F4BEE0562DBC}"/>
                    </a:ext>
                  </a:extLst>
                </p:cNvPr>
                <p:cNvSpPr/>
                <p:nvPr/>
              </p:nvSpPr>
              <p:spPr>
                <a:xfrm>
                  <a:off x="8778474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0" name="Скругленный прямоугольник 9">
                  <a:extLst>
                    <a:ext uri="{FF2B5EF4-FFF2-40B4-BE49-F238E27FC236}">
                      <a16:creationId xmlns:a16="http://schemas.microsoft.com/office/drawing/2014/main" id="{39108860-7F3B-9105-9ABE-8617B587A0F8}"/>
                    </a:ext>
                  </a:extLst>
                </p:cNvPr>
                <p:cNvSpPr/>
                <p:nvPr/>
              </p:nvSpPr>
              <p:spPr>
                <a:xfrm>
                  <a:off x="12663180" y="8853984"/>
                  <a:ext cx="3168038" cy="3168038"/>
                </a:xfrm>
                <a:prstGeom prst="roundRect">
                  <a:avLst/>
                </a:prstGeom>
                <a:solidFill>
                  <a:srgbClr val="620CF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</p:grp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CAF2E057-FDBE-0812-F474-35BFDD4FD115}"/>
              </a:ext>
            </a:extLst>
          </p:cNvPr>
          <p:cNvGrpSpPr/>
          <p:nvPr/>
        </p:nvGrpSpPr>
        <p:grpSpPr>
          <a:xfrm>
            <a:off x="561539" y="7876856"/>
            <a:ext cx="5913850" cy="4381822"/>
            <a:chOff x="507863" y="2142803"/>
            <a:chExt cx="5913850" cy="4381822"/>
          </a:xfrm>
        </p:grpSpPr>
        <p:sp>
          <p:nvSpPr>
            <p:cNvPr id="36" name="Rectangle: Rounded Corners 70">
              <a:extLst>
                <a:ext uri="{FF2B5EF4-FFF2-40B4-BE49-F238E27FC236}">
                  <a16:creationId xmlns:a16="http://schemas.microsoft.com/office/drawing/2014/main" id="{AE91EEE0-8B69-53C0-F975-551CF8E9A26E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3F2E968-1E79-D4A4-2BA8-0240C2535758}"/>
                </a:ext>
              </a:extLst>
            </p:cNvPr>
            <p:cNvSpPr txBox="1"/>
            <p:nvPr/>
          </p:nvSpPr>
          <p:spPr>
            <a:xfrm>
              <a:off x="772809" y="2390061"/>
              <a:ext cx="5323191" cy="182357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ЭФФЕКТ </a:t>
              </a:r>
              <a:b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ФОН РЕСТОРФФ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1A5465B-3475-5EF2-FEFB-DA2D0D5F2063}"/>
                </a:ext>
              </a:extLst>
            </p:cNvPr>
            <p:cNvSpPr txBox="1"/>
            <p:nvPr/>
          </p:nvSpPr>
          <p:spPr>
            <a:xfrm>
              <a:off x="772809" y="4213637"/>
              <a:ext cx="5098613" cy="21818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Человек лучше запоминает акцентный элемент, который выделяется на фоне остальных</a:t>
              </a:r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E28C79D0-E57A-D180-1F36-72AB866E1309}"/>
              </a:ext>
            </a:extLst>
          </p:cNvPr>
          <p:cNvGrpSpPr/>
          <p:nvPr/>
        </p:nvGrpSpPr>
        <p:grpSpPr>
          <a:xfrm>
            <a:off x="7323439" y="8119026"/>
            <a:ext cx="4216202" cy="5839143"/>
            <a:chOff x="7370966" y="7543483"/>
            <a:chExt cx="4216202" cy="5839143"/>
          </a:xfrm>
        </p:grpSpPr>
        <p:sp>
          <p:nvSpPr>
            <p:cNvPr id="41" name="Rectangle: Rounded Corners 70">
              <a:extLst>
                <a:ext uri="{FF2B5EF4-FFF2-40B4-BE49-F238E27FC236}">
                  <a16:creationId xmlns:a16="http://schemas.microsoft.com/office/drawing/2014/main" id="{EFAF30C2-67C5-1EA3-FDF6-EC36C17FF830}"/>
                </a:ext>
              </a:extLst>
            </p:cNvPr>
            <p:cNvSpPr/>
            <p:nvPr/>
          </p:nvSpPr>
          <p:spPr>
            <a:xfrm rot="10800000">
              <a:off x="7370966" y="7543483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grpSp>
          <p:nvGrpSpPr>
            <p:cNvPr id="42" name="Группа 41">
              <a:extLst>
                <a:ext uri="{FF2B5EF4-FFF2-40B4-BE49-F238E27FC236}">
                  <a16:creationId xmlns:a16="http://schemas.microsoft.com/office/drawing/2014/main" id="{4B79ABE3-E3E0-0756-CD75-1F602576AF37}"/>
                </a:ext>
              </a:extLst>
            </p:cNvPr>
            <p:cNvGrpSpPr/>
            <p:nvPr/>
          </p:nvGrpSpPr>
          <p:grpSpPr>
            <a:xfrm rot="5400000">
              <a:off x="6804738" y="9160995"/>
              <a:ext cx="5602000" cy="2604121"/>
              <a:chOff x="1009062" y="8853984"/>
              <a:chExt cx="14822156" cy="6890163"/>
            </a:xfrm>
          </p:grpSpPr>
          <p:grpSp>
            <p:nvGrpSpPr>
              <p:cNvPr id="43" name="Группа 42">
                <a:extLst>
                  <a:ext uri="{FF2B5EF4-FFF2-40B4-BE49-F238E27FC236}">
                    <a16:creationId xmlns:a16="http://schemas.microsoft.com/office/drawing/2014/main" id="{9B85BC5B-3209-7C21-4D11-6E6E7E02B8AB}"/>
                  </a:ext>
                </a:extLst>
              </p:cNvPr>
              <p:cNvGrpSpPr/>
              <p:nvPr/>
            </p:nvGrpSpPr>
            <p:grpSpPr>
              <a:xfrm>
                <a:off x="1009062" y="8853984"/>
                <a:ext cx="14822156" cy="3168038"/>
                <a:chOff x="1009062" y="8853984"/>
                <a:chExt cx="14822156" cy="3168038"/>
              </a:xfrm>
            </p:grpSpPr>
            <p:sp>
              <p:nvSpPr>
                <p:cNvPr id="49" name="Скругленный прямоугольник 48">
                  <a:extLst>
                    <a:ext uri="{FF2B5EF4-FFF2-40B4-BE49-F238E27FC236}">
                      <a16:creationId xmlns:a16="http://schemas.microsoft.com/office/drawing/2014/main" id="{019F0FAD-133F-90FE-D797-70DD0004B288}"/>
                    </a:ext>
                  </a:extLst>
                </p:cNvPr>
                <p:cNvSpPr/>
                <p:nvPr/>
              </p:nvSpPr>
              <p:spPr>
                <a:xfrm>
                  <a:off x="1009062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50" name="Скругленный прямоугольник 49">
                  <a:extLst>
                    <a:ext uri="{FF2B5EF4-FFF2-40B4-BE49-F238E27FC236}">
                      <a16:creationId xmlns:a16="http://schemas.microsoft.com/office/drawing/2014/main" id="{A6CB97DC-1F7A-F2E7-B384-98C2573B3AD6}"/>
                    </a:ext>
                  </a:extLst>
                </p:cNvPr>
                <p:cNvSpPr/>
                <p:nvPr/>
              </p:nvSpPr>
              <p:spPr>
                <a:xfrm>
                  <a:off x="4893768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51" name="Скругленный прямоугольник 50">
                  <a:extLst>
                    <a:ext uri="{FF2B5EF4-FFF2-40B4-BE49-F238E27FC236}">
                      <a16:creationId xmlns:a16="http://schemas.microsoft.com/office/drawing/2014/main" id="{2F738E18-CF30-F69F-2765-8F055CA5B2C1}"/>
                    </a:ext>
                  </a:extLst>
                </p:cNvPr>
                <p:cNvSpPr/>
                <p:nvPr/>
              </p:nvSpPr>
              <p:spPr>
                <a:xfrm>
                  <a:off x="8778474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52" name="Скругленный прямоугольник 51">
                  <a:extLst>
                    <a:ext uri="{FF2B5EF4-FFF2-40B4-BE49-F238E27FC236}">
                      <a16:creationId xmlns:a16="http://schemas.microsoft.com/office/drawing/2014/main" id="{71A07644-7C4E-3608-1600-E0A044E0474E}"/>
                    </a:ext>
                  </a:extLst>
                </p:cNvPr>
                <p:cNvSpPr/>
                <p:nvPr/>
              </p:nvSpPr>
              <p:spPr>
                <a:xfrm>
                  <a:off x="12663180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44" name="Группа 43">
                <a:extLst>
                  <a:ext uri="{FF2B5EF4-FFF2-40B4-BE49-F238E27FC236}">
                    <a16:creationId xmlns:a16="http://schemas.microsoft.com/office/drawing/2014/main" id="{1378DC88-17AF-2273-EAF3-7D424B6133B5}"/>
                  </a:ext>
                </a:extLst>
              </p:cNvPr>
              <p:cNvGrpSpPr/>
              <p:nvPr/>
            </p:nvGrpSpPr>
            <p:grpSpPr>
              <a:xfrm>
                <a:off x="1009062" y="12576109"/>
                <a:ext cx="14822156" cy="3168038"/>
                <a:chOff x="1009062" y="8853984"/>
                <a:chExt cx="14822156" cy="3168038"/>
              </a:xfrm>
            </p:grpSpPr>
            <p:sp>
              <p:nvSpPr>
                <p:cNvPr id="45" name="Скругленный прямоугольник 44">
                  <a:extLst>
                    <a:ext uri="{FF2B5EF4-FFF2-40B4-BE49-F238E27FC236}">
                      <a16:creationId xmlns:a16="http://schemas.microsoft.com/office/drawing/2014/main" id="{20C6E80C-3142-1A75-4959-12FF10C4D5B3}"/>
                    </a:ext>
                  </a:extLst>
                </p:cNvPr>
                <p:cNvSpPr/>
                <p:nvPr/>
              </p:nvSpPr>
              <p:spPr>
                <a:xfrm>
                  <a:off x="1009062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46" name="Скругленный прямоугольник 45">
                  <a:extLst>
                    <a:ext uri="{FF2B5EF4-FFF2-40B4-BE49-F238E27FC236}">
                      <a16:creationId xmlns:a16="http://schemas.microsoft.com/office/drawing/2014/main" id="{3E80187C-1252-07F7-16C6-C5E657F98F27}"/>
                    </a:ext>
                  </a:extLst>
                </p:cNvPr>
                <p:cNvSpPr/>
                <p:nvPr/>
              </p:nvSpPr>
              <p:spPr>
                <a:xfrm>
                  <a:off x="4893768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47" name="Овал 46">
                  <a:extLst>
                    <a:ext uri="{FF2B5EF4-FFF2-40B4-BE49-F238E27FC236}">
                      <a16:creationId xmlns:a16="http://schemas.microsoft.com/office/drawing/2014/main" id="{E32B19B5-7FE3-3BC5-4BD5-A650119AC167}"/>
                    </a:ext>
                  </a:extLst>
                </p:cNvPr>
                <p:cNvSpPr/>
                <p:nvPr/>
              </p:nvSpPr>
              <p:spPr>
                <a:xfrm>
                  <a:off x="8778474" y="8853984"/>
                  <a:ext cx="3168038" cy="3168038"/>
                </a:xfrm>
                <a:prstGeom prst="ellipse">
                  <a:avLst/>
                </a:prstGeom>
                <a:solidFill>
                  <a:srgbClr val="620CF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  <p:sp>
              <p:nvSpPr>
                <p:cNvPr id="48" name="Скругленный прямоугольник 47">
                  <a:extLst>
                    <a:ext uri="{FF2B5EF4-FFF2-40B4-BE49-F238E27FC236}">
                      <a16:creationId xmlns:a16="http://schemas.microsoft.com/office/drawing/2014/main" id="{8EA9EF0A-DAE3-A599-5825-32E6F51CB889}"/>
                    </a:ext>
                  </a:extLst>
                </p:cNvPr>
                <p:cNvSpPr/>
                <p:nvPr/>
              </p:nvSpPr>
              <p:spPr>
                <a:xfrm>
                  <a:off x="12663180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873747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" name="Группа 95">
            <a:extLst>
              <a:ext uri="{FF2B5EF4-FFF2-40B4-BE49-F238E27FC236}">
                <a16:creationId xmlns:a16="http://schemas.microsoft.com/office/drawing/2014/main" id="{E8C8581D-F550-2981-5AB4-18FD12B79331}"/>
              </a:ext>
            </a:extLst>
          </p:cNvPr>
          <p:cNvGrpSpPr/>
          <p:nvPr/>
        </p:nvGrpSpPr>
        <p:grpSpPr>
          <a:xfrm>
            <a:off x="507863" y="-5250242"/>
            <a:ext cx="6167194" cy="4381822"/>
            <a:chOff x="507863" y="2142803"/>
            <a:chExt cx="6167194" cy="4381822"/>
          </a:xfrm>
        </p:grpSpPr>
        <p:sp>
          <p:nvSpPr>
            <p:cNvPr id="97" name="Rectangle: Rounded Corners 70">
              <a:extLst>
                <a:ext uri="{FF2B5EF4-FFF2-40B4-BE49-F238E27FC236}">
                  <a16:creationId xmlns:a16="http://schemas.microsoft.com/office/drawing/2014/main" id="{555418DB-CFDB-6355-A4D5-89F566F4FC15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127F15A0-85AC-E98C-CFCF-993FFD588951}"/>
                </a:ext>
              </a:extLst>
            </p:cNvPr>
            <p:cNvSpPr txBox="1"/>
            <p:nvPr/>
          </p:nvSpPr>
          <p:spPr>
            <a:xfrm>
              <a:off x="772809" y="2600747"/>
              <a:ext cx="5902248" cy="17887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36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ЭФФЕКТ</a:t>
              </a:r>
              <a:br>
                <a:rPr lang="ru-RU" sz="36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36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СЕРИЙНОГО РАСПОЛОЖЕНИЯ</a:t>
              </a:r>
              <a:endParaRPr lang="ru-RU" sz="44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13E44107-0223-1E07-2E9F-8E36A0FB9B55}"/>
                </a:ext>
              </a:extLst>
            </p:cNvPr>
            <p:cNvSpPr txBox="1"/>
            <p:nvPr/>
          </p:nvSpPr>
          <p:spPr>
            <a:xfrm>
              <a:off x="772809" y="4415435"/>
              <a:ext cx="5323191" cy="17570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Человек лучше запоминает первый </a:t>
              </a:r>
              <a:b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и последний элемент </a:t>
              </a:r>
              <a:b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в последовательности</a:t>
              </a:r>
            </a:p>
          </p:txBody>
        </p:sp>
      </p:grp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7C342864-C1B9-43B3-69DB-26D509EDFF30}"/>
              </a:ext>
            </a:extLst>
          </p:cNvPr>
          <p:cNvSpPr/>
          <p:nvPr/>
        </p:nvSpPr>
        <p:spPr>
          <a:xfrm>
            <a:off x="9140923" y="0"/>
            <a:ext cx="711200" cy="6858000"/>
          </a:xfrm>
          <a:prstGeom prst="rect">
            <a:avLst/>
          </a:prstGeom>
          <a:gradFill>
            <a:gsLst>
              <a:gs pos="98000">
                <a:srgbClr val="C0DCFD">
                  <a:alpha val="53000"/>
                </a:srgbClr>
              </a:gs>
              <a:gs pos="55000">
                <a:srgbClr val="C0DCFD">
                  <a:alpha val="0"/>
                </a:srgbClr>
              </a:gs>
              <a:gs pos="0">
                <a:srgbClr val="C0DCFD">
                  <a:alpha val="46085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Rectangle: Rounded Corners 70">
            <a:extLst>
              <a:ext uri="{FF2B5EF4-FFF2-40B4-BE49-F238E27FC236}">
                <a16:creationId xmlns:a16="http://schemas.microsoft.com/office/drawing/2014/main" id="{4E72B930-5E19-99B7-E393-DC73487B625A}"/>
              </a:ext>
            </a:extLst>
          </p:cNvPr>
          <p:cNvSpPr/>
          <p:nvPr/>
        </p:nvSpPr>
        <p:spPr>
          <a:xfrm rot="10800000">
            <a:off x="507863" y="685482"/>
            <a:ext cx="5997183" cy="1136385"/>
          </a:xfrm>
          <a:prstGeom prst="roundRect">
            <a:avLst>
              <a:gd name="adj" fmla="val 27611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57" name="Скругленный прямоугольник 56">
            <a:extLst>
              <a:ext uri="{FF2B5EF4-FFF2-40B4-BE49-F238E27FC236}">
                <a16:creationId xmlns:a16="http://schemas.microsoft.com/office/drawing/2014/main" id="{EC685C8B-9F8C-5931-CC05-7A74BFA71560}"/>
              </a:ext>
            </a:extLst>
          </p:cNvPr>
          <p:cNvSpPr/>
          <p:nvPr/>
        </p:nvSpPr>
        <p:spPr>
          <a:xfrm rot="5400000">
            <a:off x="1335478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Скругленный прямоугольник 57">
            <a:extLst>
              <a:ext uri="{FF2B5EF4-FFF2-40B4-BE49-F238E27FC236}">
                <a16:creationId xmlns:a16="http://schemas.microsoft.com/office/drawing/2014/main" id="{3AF22607-5A27-1866-739C-78BEAB03302E}"/>
              </a:ext>
            </a:extLst>
          </p:cNvPr>
          <p:cNvSpPr/>
          <p:nvPr/>
        </p:nvSpPr>
        <p:spPr>
          <a:xfrm rot="5400000">
            <a:off x="1780257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Скругленный прямоугольник 58">
            <a:extLst>
              <a:ext uri="{FF2B5EF4-FFF2-40B4-BE49-F238E27FC236}">
                <a16:creationId xmlns:a16="http://schemas.microsoft.com/office/drawing/2014/main" id="{CC1E7B9B-6937-C246-CBBB-2368CEFD595B}"/>
              </a:ext>
            </a:extLst>
          </p:cNvPr>
          <p:cNvSpPr/>
          <p:nvPr/>
        </p:nvSpPr>
        <p:spPr>
          <a:xfrm rot="5400000">
            <a:off x="2225036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Скругленный прямоугольник 59">
            <a:extLst>
              <a:ext uri="{FF2B5EF4-FFF2-40B4-BE49-F238E27FC236}">
                <a16:creationId xmlns:a16="http://schemas.microsoft.com/office/drawing/2014/main" id="{34093E35-2865-2CE2-22ED-4B0A04F7077A}"/>
              </a:ext>
            </a:extLst>
          </p:cNvPr>
          <p:cNvSpPr/>
          <p:nvPr/>
        </p:nvSpPr>
        <p:spPr>
          <a:xfrm rot="5400000">
            <a:off x="2669815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Скругленный прямоугольник 60">
            <a:extLst>
              <a:ext uri="{FF2B5EF4-FFF2-40B4-BE49-F238E27FC236}">
                <a16:creationId xmlns:a16="http://schemas.microsoft.com/office/drawing/2014/main" id="{6C55457C-5990-E4C0-2080-3B6BF8D224A4}"/>
              </a:ext>
            </a:extLst>
          </p:cNvPr>
          <p:cNvSpPr/>
          <p:nvPr/>
        </p:nvSpPr>
        <p:spPr>
          <a:xfrm rot="5400000">
            <a:off x="3114594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Скругленный прямоугольник 61">
            <a:extLst>
              <a:ext uri="{FF2B5EF4-FFF2-40B4-BE49-F238E27FC236}">
                <a16:creationId xmlns:a16="http://schemas.microsoft.com/office/drawing/2014/main" id="{E2C3767B-DF73-EB57-4922-922FE33EBCFA}"/>
              </a:ext>
            </a:extLst>
          </p:cNvPr>
          <p:cNvSpPr/>
          <p:nvPr/>
        </p:nvSpPr>
        <p:spPr>
          <a:xfrm rot="5400000">
            <a:off x="355937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кругленный прямоугольник 62">
            <a:extLst>
              <a:ext uri="{FF2B5EF4-FFF2-40B4-BE49-F238E27FC236}">
                <a16:creationId xmlns:a16="http://schemas.microsoft.com/office/drawing/2014/main" id="{B96ED38E-92EE-71D4-E04D-D5F092255D9C}"/>
              </a:ext>
            </a:extLst>
          </p:cNvPr>
          <p:cNvSpPr/>
          <p:nvPr/>
        </p:nvSpPr>
        <p:spPr>
          <a:xfrm rot="5400000">
            <a:off x="4004152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Скругленный прямоугольник 63">
            <a:extLst>
              <a:ext uri="{FF2B5EF4-FFF2-40B4-BE49-F238E27FC236}">
                <a16:creationId xmlns:a16="http://schemas.microsoft.com/office/drawing/2014/main" id="{AD39B888-1BA2-5380-C7E7-12D35A0DA290}"/>
              </a:ext>
            </a:extLst>
          </p:cNvPr>
          <p:cNvSpPr/>
          <p:nvPr/>
        </p:nvSpPr>
        <p:spPr>
          <a:xfrm rot="5400000">
            <a:off x="533849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Скругленный прямоугольник 64">
            <a:extLst>
              <a:ext uri="{FF2B5EF4-FFF2-40B4-BE49-F238E27FC236}">
                <a16:creationId xmlns:a16="http://schemas.microsoft.com/office/drawing/2014/main" id="{B57DEFAB-3198-35BC-C517-56267773D1A3}"/>
              </a:ext>
            </a:extLst>
          </p:cNvPr>
          <p:cNvSpPr/>
          <p:nvPr/>
        </p:nvSpPr>
        <p:spPr>
          <a:xfrm rot="5400000">
            <a:off x="4893710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кругленный прямоугольник 65">
            <a:extLst>
              <a:ext uri="{FF2B5EF4-FFF2-40B4-BE49-F238E27FC236}">
                <a16:creationId xmlns:a16="http://schemas.microsoft.com/office/drawing/2014/main" id="{7C5B89BA-91D6-4CBE-F3DA-5603D25E9265}"/>
              </a:ext>
            </a:extLst>
          </p:cNvPr>
          <p:cNvSpPr/>
          <p:nvPr/>
        </p:nvSpPr>
        <p:spPr>
          <a:xfrm rot="5400000">
            <a:off x="4448931" y="893475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AB4BB9A-DCC0-1935-48B9-818BA23D4A79}"/>
              </a:ext>
            </a:extLst>
          </p:cNvPr>
          <p:cNvSpPr txBox="1"/>
          <p:nvPr/>
        </p:nvSpPr>
        <p:spPr>
          <a:xfrm>
            <a:off x="1289469" y="1253674"/>
            <a:ext cx="5188527" cy="385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" panose="020B0305040102020103" pitchFamily="34" charset="0"/>
                <a:cs typeface="Times New Roman" panose="02020603050405020304" pitchFamily="18" charset="0"/>
              </a:rPr>
              <a:t>Азбука качественного визуала</a:t>
            </a:r>
          </a:p>
        </p:txBody>
      </p:sp>
      <p:sp useBgFill="1">
        <p:nvSpPr>
          <p:cNvPr id="71" name="Полилиния 70">
            <a:extLst>
              <a:ext uri="{FF2B5EF4-FFF2-40B4-BE49-F238E27FC236}">
                <a16:creationId xmlns:a16="http://schemas.microsoft.com/office/drawing/2014/main" id="{A119041F-0060-FE60-3BAD-0947D31F50E6}"/>
              </a:ext>
            </a:extLst>
          </p:cNvPr>
          <p:cNvSpPr/>
          <p:nvPr/>
        </p:nvSpPr>
        <p:spPr>
          <a:xfrm>
            <a:off x="507862" y="-1226127"/>
            <a:ext cx="5997184" cy="3047995"/>
          </a:xfrm>
          <a:custGeom>
            <a:avLst/>
            <a:gdLst>
              <a:gd name="connsiteX0" fmla="*/ 0 w 5997184"/>
              <a:gd name="connsiteY0" fmla="*/ 0 h 3047995"/>
              <a:gd name="connsiteX1" fmla="*/ 5997184 w 5997184"/>
              <a:gd name="connsiteY1" fmla="*/ 0 h 3047995"/>
              <a:gd name="connsiteX2" fmla="*/ 5997184 w 5997184"/>
              <a:gd name="connsiteY2" fmla="*/ 2225376 h 3047995"/>
              <a:gd name="connsiteX3" fmla="*/ 5683417 w 5997184"/>
              <a:gd name="connsiteY3" fmla="*/ 1911609 h 3047995"/>
              <a:gd name="connsiteX4" fmla="*/ 313768 w 5997184"/>
              <a:gd name="connsiteY4" fmla="*/ 1911609 h 3047995"/>
              <a:gd name="connsiteX5" fmla="*/ 1 w 5997184"/>
              <a:gd name="connsiteY5" fmla="*/ 2225376 h 3047995"/>
              <a:gd name="connsiteX6" fmla="*/ 1 w 5997184"/>
              <a:gd name="connsiteY6" fmla="*/ 2734227 h 3047995"/>
              <a:gd name="connsiteX7" fmla="*/ 313768 w 5997184"/>
              <a:gd name="connsiteY7" fmla="*/ 3047994 h 3047995"/>
              <a:gd name="connsiteX8" fmla="*/ 5683417 w 5997184"/>
              <a:gd name="connsiteY8" fmla="*/ 3047994 h 3047995"/>
              <a:gd name="connsiteX9" fmla="*/ 5997184 w 5997184"/>
              <a:gd name="connsiteY9" fmla="*/ 2734227 h 3047995"/>
              <a:gd name="connsiteX10" fmla="*/ 5997184 w 5997184"/>
              <a:gd name="connsiteY10" fmla="*/ 3047995 h 3047995"/>
              <a:gd name="connsiteX11" fmla="*/ 0 w 5997184"/>
              <a:gd name="connsiteY11" fmla="*/ 3047995 h 304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997184" h="3047995">
                <a:moveTo>
                  <a:pt x="0" y="0"/>
                </a:moveTo>
                <a:lnTo>
                  <a:pt x="5997184" y="0"/>
                </a:lnTo>
                <a:lnTo>
                  <a:pt x="5997184" y="2225376"/>
                </a:lnTo>
                <a:cubicBezTo>
                  <a:pt x="5997184" y="2052087"/>
                  <a:pt x="5856706" y="1911609"/>
                  <a:pt x="5683417" y="1911609"/>
                </a:cubicBezTo>
                <a:lnTo>
                  <a:pt x="313768" y="1911609"/>
                </a:lnTo>
                <a:cubicBezTo>
                  <a:pt x="140479" y="1911609"/>
                  <a:pt x="1" y="2052087"/>
                  <a:pt x="1" y="2225376"/>
                </a:cubicBezTo>
                <a:lnTo>
                  <a:pt x="1" y="2734227"/>
                </a:lnTo>
                <a:cubicBezTo>
                  <a:pt x="1" y="2907516"/>
                  <a:pt x="140479" y="3047994"/>
                  <a:pt x="313768" y="3047994"/>
                </a:cubicBezTo>
                <a:lnTo>
                  <a:pt x="5683417" y="3047994"/>
                </a:lnTo>
                <a:cubicBezTo>
                  <a:pt x="5856706" y="3047994"/>
                  <a:pt x="5997184" y="2907516"/>
                  <a:pt x="5997184" y="2734227"/>
                </a:cubicBezTo>
                <a:lnTo>
                  <a:pt x="5997184" y="3047995"/>
                </a:lnTo>
                <a:lnTo>
                  <a:pt x="0" y="304799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B9D371BF-803B-A30D-2911-3B9CEFDA344C}"/>
              </a:ext>
            </a:extLst>
          </p:cNvPr>
          <p:cNvGrpSpPr/>
          <p:nvPr/>
        </p:nvGrpSpPr>
        <p:grpSpPr>
          <a:xfrm>
            <a:off x="-3517807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2776F762-6191-9C3A-04B0-F7632B078202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79A7D83F-D501-8758-E699-6059DAC43E75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7" name="Рисунок 3">
            <a:extLst>
              <a:ext uri="{FF2B5EF4-FFF2-40B4-BE49-F238E27FC236}">
                <a16:creationId xmlns:a16="http://schemas.microsoft.com/office/drawing/2014/main" id="{56295991-5BE7-36A2-05FC-C41D90410B7A}"/>
              </a:ext>
            </a:extLst>
          </p:cNvPr>
          <p:cNvGrpSpPr/>
          <p:nvPr/>
        </p:nvGrpSpPr>
        <p:grpSpPr>
          <a:xfrm>
            <a:off x="-2846667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491CF97A-523B-F1DC-DC58-B5153C90AEB4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33256969-A9F0-82A9-8386-11518CF8D97B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D53FC78-1470-5880-CC4B-564B2D535439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2DA2E124-1C66-6FFE-FE8E-B01C1BA28622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5A820B68-6596-BDA0-EE3C-CDCF23BFD057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3A62DF1B-3CCD-FA09-535B-349066C73EEF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0F9983CE-6C20-A7DA-B20B-5531D5ECF0EC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27CF1737-278F-1365-6768-D7226C154BD2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F82A8CAF-5B1E-251F-D1C9-75583580C453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2F90F89D-256A-D452-B3CD-217CB800535C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82038AB9-EC9D-4C16-32DD-11D31DCD5A9D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id="{59B38565-3B0A-B52D-FE4B-54D31B05AD8A}"/>
              </a:ext>
            </a:extLst>
          </p:cNvPr>
          <p:cNvGrpSpPr/>
          <p:nvPr/>
        </p:nvGrpSpPr>
        <p:grpSpPr>
          <a:xfrm>
            <a:off x="507863" y="2142803"/>
            <a:ext cx="5913850" cy="4381822"/>
            <a:chOff x="507863" y="2142803"/>
            <a:chExt cx="5913850" cy="4381822"/>
          </a:xfrm>
        </p:grpSpPr>
        <p:sp>
          <p:nvSpPr>
            <p:cNvPr id="54" name="Rectangle: Rounded Corners 70">
              <a:extLst>
                <a:ext uri="{FF2B5EF4-FFF2-40B4-BE49-F238E27FC236}">
                  <a16:creationId xmlns:a16="http://schemas.microsoft.com/office/drawing/2014/main" id="{4327CDC1-48EC-6BD3-AF66-6729DE9D59C1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B304BB7-F66A-0C52-94BD-5F572C1748EC}"/>
                </a:ext>
              </a:extLst>
            </p:cNvPr>
            <p:cNvSpPr txBox="1"/>
            <p:nvPr/>
          </p:nvSpPr>
          <p:spPr>
            <a:xfrm>
              <a:off x="772809" y="2390061"/>
              <a:ext cx="5323191" cy="182357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ЭФФЕКТ </a:t>
              </a:r>
              <a:b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ФОН РЕСТОРФФ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7149347-F84C-AFC9-C882-776C3959EB17}"/>
                </a:ext>
              </a:extLst>
            </p:cNvPr>
            <p:cNvSpPr txBox="1"/>
            <p:nvPr/>
          </p:nvSpPr>
          <p:spPr>
            <a:xfrm>
              <a:off x="772809" y="4213637"/>
              <a:ext cx="5098613" cy="21818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Человек лучше запоминает акцентный элемент, который выделяется на фоне остальных</a:t>
              </a:r>
            </a:p>
          </p:txBody>
        </p:sp>
      </p:grp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8CCDF9EF-F734-5776-B85F-591D10D3DCC1}"/>
              </a:ext>
            </a:extLst>
          </p:cNvPr>
          <p:cNvGrpSpPr/>
          <p:nvPr/>
        </p:nvGrpSpPr>
        <p:grpSpPr>
          <a:xfrm>
            <a:off x="7370966" y="685483"/>
            <a:ext cx="4216202" cy="5839143"/>
            <a:chOff x="7370966" y="7543483"/>
            <a:chExt cx="4216202" cy="5839143"/>
          </a:xfrm>
        </p:grpSpPr>
        <p:sp>
          <p:nvSpPr>
            <p:cNvPr id="19" name="Rectangle: Rounded Corners 70">
              <a:extLst>
                <a:ext uri="{FF2B5EF4-FFF2-40B4-BE49-F238E27FC236}">
                  <a16:creationId xmlns:a16="http://schemas.microsoft.com/office/drawing/2014/main" id="{09E42D25-A619-08C3-7834-2CCEE379CBC3}"/>
                </a:ext>
              </a:extLst>
            </p:cNvPr>
            <p:cNvSpPr/>
            <p:nvPr/>
          </p:nvSpPr>
          <p:spPr>
            <a:xfrm rot="10800000">
              <a:off x="7370966" y="7543483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grpSp>
          <p:nvGrpSpPr>
            <p:cNvPr id="21" name="Группа 20">
              <a:extLst>
                <a:ext uri="{FF2B5EF4-FFF2-40B4-BE49-F238E27FC236}">
                  <a16:creationId xmlns:a16="http://schemas.microsoft.com/office/drawing/2014/main" id="{C50D3D1F-1B0F-3EAD-5989-17B55E97DBF3}"/>
                </a:ext>
              </a:extLst>
            </p:cNvPr>
            <p:cNvGrpSpPr/>
            <p:nvPr/>
          </p:nvGrpSpPr>
          <p:grpSpPr>
            <a:xfrm rot="5400000">
              <a:off x="6804738" y="9160995"/>
              <a:ext cx="5602000" cy="2604121"/>
              <a:chOff x="1009062" y="8853984"/>
              <a:chExt cx="14822156" cy="6890163"/>
            </a:xfrm>
          </p:grpSpPr>
          <p:grpSp>
            <p:nvGrpSpPr>
              <p:cNvPr id="22" name="Группа 21">
                <a:extLst>
                  <a:ext uri="{FF2B5EF4-FFF2-40B4-BE49-F238E27FC236}">
                    <a16:creationId xmlns:a16="http://schemas.microsoft.com/office/drawing/2014/main" id="{AC69DA70-0874-44C9-F41C-3F6D3202ADE6}"/>
                  </a:ext>
                </a:extLst>
              </p:cNvPr>
              <p:cNvGrpSpPr/>
              <p:nvPr/>
            </p:nvGrpSpPr>
            <p:grpSpPr>
              <a:xfrm>
                <a:off x="1009062" y="8853984"/>
                <a:ext cx="14822156" cy="3168038"/>
                <a:chOff x="1009062" y="8853984"/>
                <a:chExt cx="14822156" cy="3168038"/>
              </a:xfrm>
            </p:grpSpPr>
            <p:sp>
              <p:nvSpPr>
                <p:cNvPr id="30" name="Скругленный прямоугольник 29">
                  <a:extLst>
                    <a:ext uri="{FF2B5EF4-FFF2-40B4-BE49-F238E27FC236}">
                      <a16:creationId xmlns:a16="http://schemas.microsoft.com/office/drawing/2014/main" id="{8A6C9453-565B-FA1D-B5B8-9BEB116C7DC4}"/>
                    </a:ext>
                  </a:extLst>
                </p:cNvPr>
                <p:cNvSpPr/>
                <p:nvPr/>
              </p:nvSpPr>
              <p:spPr>
                <a:xfrm>
                  <a:off x="1009062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31" name="Скругленный прямоугольник 30">
                  <a:extLst>
                    <a:ext uri="{FF2B5EF4-FFF2-40B4-BE49-F238E27FC236}">
                      <a16:creationId xmlns:a16="http://schemas.microsoft.com/office/drawing/2014/main" id="{FFD9068C-B371-1AA5-3976-6A2C60D7C6B8}"/>
                    </a:ext>
                  </a:extLst>
                </p:cNvPr>
                <p:cNvSpPr/>
                <p:nvPr/>
              </p:nvSpPr>
              <p:spPr>
                <a:xfrm>
                  <a:off x="4893768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32" name="Скругленный прямоугольник 31">
                  <a:extLst>
                    <a:ext uri="{FF2B5EF4-FFF2-40B4-BE49-F238E27FC236}">
                      <a16:creationId xmlns:a16="http://schemas.microsoft.com/office/drawing/2014/main" id="{71001B37-0295-9A1D-DADF-6AF0DFEEAAD9}"/>
                    </a:ext>
                  </a:extLst>
                </p:cNvPr>
                <p:cNvSpPr/>
                <p:nvPr/>
              </p:nvSpPr>
              <p:spPr>
                <a:xfrm>
                  <a:off x="8778474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33" name="Скругленный прямоугольник 32">
                  <a:extLst>
                    <a:ext uri="{FF2B5EF4-FFF2-40B4-BE49-F238E27FC236}">
                      <a16:creationId xmlns:a16="http://schemas.microsoft.com/office/drawing/2014/main" id="{BE245389-71BD-2A1A-FF39-527AACE31770}"/>
                    </a:ext>
                  </a:extLst>
                </p:cNvPr>
                <p:cNvSpPr/>
                <p:nvPr/>
              </p:nvSpPr>
              <p:spPr>
                <a:xfrm>
                  <a:off x="12663180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23" name="Группа 22">
                <a:extLst>
                  <a:ext uri="{FF2B5EF4-FFF2-40B4-BE49-F238E27FC236}">
                    <a16:creationId xmlns:a16="http://schemas.microsoft.com/office/drawing/2014/main" id="{9329B57E-26FF-CCC8-A21A-46E5CD7D3A81}"/>
                  </a:ext>
                </a:extLst>
              </p:cNvPr>
              <p:cNvGrpSpPr/>
              <p:nvPr/>
            </p:nvGrpSpPr>
            <p:grpSpPr>
              <a:xfrm>
                <a:off x="1009062" y="12576109"/>
                <a:ext cx="14822156" cy="3168038"/>
                <a:chOff x="1009062" y="8853984"/>
                <a:chExt cx="14822156" cy="3168038"/>
              </a:xfrm>
            </p:grpSpPr>
            <p:sp>
              <p:nvSpPr>
                <p:cNvPr id="24" name="Скругленный прямоугольник 23">
                  <a:extLst>
                    <a:ext uri="{FF2B5EF4-FFF2-40B4-BE49-F238E27FC236}">
                      <a16:creationId xmlns:a16="http://schemas.microsoft.com/office/drawing/2014/main" id="{D72A492E-C061-998B-434E-5166A6AD05E0}"/>
                    </a:ext>
                  </a:extLst>
                </p:cNvPr>
                <p:cNvSpPr/>
                <p:nvPr/>
              </p:nvSpPr>
              <p:spPr>
                <a:xfrm>
                  <a:off x="1009062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5" name="Скругленный прямоугольник 24">
                  <a:extLst>
                    <a:ext uri="{FF2B5EF4-FFF2-40B4-BE49-F238E27FC236}">
                      <a16:creationId xmlns:a16="http://schemas.microsoft.com/office/drawing/2014/main" id="{8F15A1B6-30C3-8531-E5C6-F8ED5D33D099}"/>
                    </a:ext>
                  </a:extLst>
                </p:cNvPr>
                <p:cNvSpPr/>
                <p:nvPr/>
              </p:nvSpPr>
              <p:spPr>
                <a:xfrm>
                  <a:off x="4893768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6" name="Овал 25">
                  <a:extLst>
                    <a:ext uri="{FF2B5EF4-FFF2-40B4-BE49-F238E27FC236}">
                      <a16:creationId xmlns:a16="http://schemas.microsoft.com/office/drawing/2014/main" id="{B8318F1B-0758-E654-9558-3C1206ED9B9B}"/>
                    </a:ext>
                  </a:extLst>
                </p:cNvPr>
                <p:cNvSpPr/>
                <p:nvPr/>
              </p:nvSpPr>
              <p:spPr>
                <a:xfrm>
                  <a:off x="8778474" y="8853984"/>
                  <a:ext cx="3168038" cy="3168038"/>
                </a:xfrm>
                <a:prstGeom prst="ellipse">
                  <a:avLst/>
                </a:prstGeom>
                <a:solidFill>
                  <a:srgbClr val="620CF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  <p:sp>
              <p:nvSpPr>
                <p:cNvPr id="27" name="Скругленный прямоугольник 26">
                  <a:extLst>
                    <a:ext uri="{FF2B5EF4-FFF2-40B4-BE49-F238E27FC236}">
                      <a16:creationId xmlns:a16="http://schemas.microsoft.com/office/drawing/2014/main" id="{084897BA-8578-1E60-3EBB-A51F638F6D03}"/>
                    </a:ext>
                  </a:extLst>
                </p:cNvPr>
                <p:cNvSpPr/>
                <p:nvPr/>
              </p:nvSpPr>
              <p:spPr>
                <a:xfrm>
                  <a:off x="12663180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</p:grp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30413D22-1461-0574-8280-1AB4254211FB}"/>
              </a:ext>
            </a:extLst>
          </p:cNvPr>
          <p:cNvGrpSpPr/>
          <p:nvPr/>
        </p:nvGrpSpPr>
        <p:grpSpPr>
          <a:xfrm>
            <a:off x="7370966" y="7667263"/>
            <a:ext cx="4216202" cy="5839143"/>
            <a:chOff x="7370966" y="7667263"/>
            <a:chExt cx="4216202" cy="5839143"/>
          </a:xfrm>
        </p:grpSpPr>
        <p:sp>
          <p:nvSpPr>
            <p:cNvPr id="36" name="Rectangle: Rounded Corners 70">
              <a:extLst>
                <a:ext uri="{FF2B5EF4-FFF2-40B4-BE49-F238E27FC236}">
                  <a16:creationId xmlns:a16="http://schemas.microsoft.com/office/drawing/2014/main" id="{E82CD611-D0EA-88B1-60D7-4AC71AB53326}"/>
                </a:ext>
              </a:extLst>
            </p:cNvPr>
            <p:cNvSpPr/>
            <p:nvPr/>
          </p:nvSpPr>
          <p:spPr>
            <a:xfrm rot="10800000">
              <a:off x="7370966" y="7667263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grpSp>
          <p:nvGrpSpPr>
            <p:cNvPr id="93" name="Группа 92">
              <a:extLst>
                <a:ext uri="{FF2B5EF4-FFF2-40B4-BE49-F238E27FC236}">
                  <a16:creationId xmlns:a16="http://schemas.microsoft.com/office/drawing/2014/main" id="{C55FBB54-829E-1576-99D9-FC5F58B4BD4A}"/>
                </a:ext>
              </a:extLst>
            </p:cNvPr>
            <p:cNvGrpSpPr/>
            <p:nvPr/>
          </p:nvGrpSpPr>
          <p:grpSpPr>
            <a:xfrm>
              <a:off x="8231318" y="7925599"/>
              <a:ext cx="2495497" cy="5322472"/>
              <a:chOff x="8362206" y="8016858"/>
              <a:chExt cx="2268634" cy="4838611"/>
            </a:xfrm>
          </p:grpSpPr>
          <p:grpSp>
            <p:nvGrpSpPr>
              <p:cNvPr id="91" name="Группа 90">
                <a:extLst>
                  <a:ext uri="{FF2B5EF4-FFF2-40B4-BE49-F238E27FC236}">
                    <a16:creationId xmlns:a16="http://schemas.microsoft.com/office/drawing/2014/main" id="{EA764BBA-63EA-410F-5676-1FCF90B8707B}"/>
                  </a:ext>
                </a:extLst>
              </p:cNvPr>
              <p:cNvGrpSpPr/>
              <p:nvPr/>
            </p:nvGrpSpPr>
            <p:grpSpPr>
              <a:xfrm>
                <a:off x="8362206" y="8016858"/>
                <a:ext cx="2268634" cy="2268634"/>
                <a:chOff x="1009061" y="8853983"/>
                <a:chExt cx="7134813" cy="7134813"/>
              </a:xfrm>
            </p:grpSpPr>
            <p:sp>
              <p:nvSpPr>
                <p:cNvPr id="49" name="Скругленный прямоугольник 48">
                  <a:extLst>
                    <a:ext uri="{FF2B5EF4-FFF2-40B4-BE49-F238E27FC236}">
                      <a16:creationId xmlns:a16="http://schemas.microsoft.com/office/drawing/2014/main" id="{F7DAEF6A-6E6C-1211-B487-1CBFA62125AF}"/>
                    </a:ext>
                  </a:extLst>
                </p:cNvPr>
                <p:cNvSpPr/>
                <p:nvPr/>
              </p:nvSpPr>
              <p:spPr>
                <a:xfrm>
                  <a:off x="1009061" y="8853983"/>
                  <a:ext cx="7134813" cy="7134813"/>
                </a:xfrm>
                <a:prstGeom prst="roundRect">
                  <a:avLst>
                    <a:gd name="adj" fmla="val 1146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grpSp>
              <p:nvGrpSpPr>
                <p:cNvPr id="50" name="Группа 49">
                  <a:extLst>
                    <a:ext uri="{FF2B5EF4-FFF2-40B4-BE49-F238E27FC236}">
                      <a16:creationId xmlns:a16="http://schemas.microsoft.com/office/drawing/2014/main" id="{0388F729-D097-295C-8DE9-A2DDA7C79C9F}"/>
                    </a:ext>
                  </a:extLst>
                </p:cNvPr>
                <p:cNvGrpSpPr/>
                <p:nvPr/>
              </p:nvGrpSpPr>
              <p:grpSpPr>
                <a:xfrm>
                  <a:off x="3774099" y="9553325"/>
                  <a:ext cx="1604737" cy="5736129"/>
                  <a:chOff x="2225391" y="9886950"/>
                  <a:chExt cx="1604737" cy="5736129"/>
                </a:xfrm>
                <a:solidFill>
                  <a:srgbClr val="620CFD"/>
                </a:solidFill>
              </p:grpSpPr>
              <p:sp>
                <p:nvSpPr>
                  <p:cNvPr id="51" name="Нашивка 50">
                    <a:extLst>
                      <a:ext uri="{FF2B5EF4-FFF2-40B4-BE49-F238E27FC236}">
                        <a16:creationId xmlns:a16="http://schemas.microsoft.com/office/drawing/2014/main" id="{C892BF98-C74D-C02F-231E-46B9033686E6}"/>
                      </a:ext>
                    </a:extLst>
                  </p:cNvPr>
                  <p:cNvSpPr/>
                  <p:nvPr/>
                </p:nvSpPr>
                <p:spPr>
                  <a:xfrm>
                    <a:off x="2225391" y="9886950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52" name="Нашивка 51">
                    <a:extLst>
                      <a:ext uri="{FF2B5EF4-FFF2-40B4-BE49-F238E27FC236}">
                        <a16:creationId xmlns:a16="http://schemas.microsoft.com/office/drawing/2014/main" id="{6AB4BE88-76A0-9F65-3738-105521159EC7}"/>
                      </a:ext>
                    </a:extLst>
                  </p:cNvPr>
                  <p:cNvSpPr/>
                  <p:nvPr/>
                </p:nvSpPr>
                <p:spPr>
                  <a:xfrm>
                    <a:off x="2225391" y="11952646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55" name="Нашивка 54">
                    <a:extLst>
                      <a:ext uri="{FF2B5EF4-FFF2-40B4-BE49-F238E27FC236}">
                        <a16:creationId xmlns:a16="http://schemas.microsoft.com/office/drawing/2014/main" id="{8895BDCD-7402-F0C9-6B59-FA09CB625A90}"/>
                      </a:ext>
                    </a:extLst>
                  </p:cNvPr>
                  <p:cNvSpPr/>
                  <p:nvPr/>
                </p:nvSpPr>
                <p:spPr>
                  <a:xfrm>
                    <a:off x="2225391" y="14018342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</p:grpSp>
          </p:grpSp>
          <p:grpSp>
            <p:nvGrpSpPr>
              <p:cNvPr id="92" name="Группа 91">
                <a:extLst>
                  <a:ext uri="{FF2B5EF4-FFF2-40B4-BE49-F238E27FC236}">
                    <a16:creationId xmlns:a16="http://schemas.microsoft.com/office/drawing/2014/main" id="{DD7B5449-18E9-4AD1-7607-9A0782961944}"/>
                  </a:ext>
                </a:extLst>
              </p:cNvPr>
              <p:cNvGrpSpPr/>
              <p:nvPr/>
            </p:nvGrpSpPr>
            <p:grpSpPr>
              <a:xfrm>
                <a:off x="8362206" y="10586835"/>
                <a:ext cx="2268634" cy="2268634"/>
                <a:chOff x="9154552" y="8853983"/>
                <a:chExt cx="7134813" cy="7134813"/>
              </a:xfrm>
            </p:grpSpPr>
            <p:sp>
              <p:nvSpPr>
                <p:cNvPr id="67" name="Скругленный прямоугольник 66">
                  <a:extLst>
                    <a:ext uri="{FF2B5EF4-FFF2-40B4-BE49-F238E27FC236}">
                      <a16:creationId xmlns:a16="http://schemas.microsoft.com/office/drawing/2014/main" id="{2A416B92-CE2E-B761-19F7-8E6D9219797E}"/>
                    </a:ext>
                  </a:extLst>
                </p:cNvPr>
                <p:cNvSpPr/>
                <p:nvPr/>
              </p:nvSpPr>
              <p:spPr>
                <a:xfrm>
                  <a:off x="9154552" y="8853983"/>
                  <a:ext cx="7134813" cy="7134813"/>
                </a:xfrm>
                <a:prstGeom prst="roundRect">
                  <a:avLst>
                    <a:gd name="adj" fmla="val 1146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grpSp>
              <p:nvGrpSpPr>
                <p:cNvPr id="68" name="Группа 67">
                  <a:extLst>
                    <a:ext uri="{FF2B5EF4-FFF2-40B4-BE49-F238E27FC236}">
                      <a16:creationId xmlns:a16="http://schemas.microsoft.com/office/drawing/2014/main" id="{F5C37107-5D28-CB5F-6D57-B7866E834026}"/>
                    </a:ext>
                  </a:extLst>
                </p:cNvPr>
                <p:cNvGrpSpPr/>
                <p:nvPr/>
              </p:nvGrpSpPr>
              <p:grpSpPr>
                <a:xfrm rot="5400000">
                  <a:off x="11919590" y="9553324"/>
                  <a:ext cx="1604737" cy="5736129"/>
                  <a:chOff x="2225391" y="9886950"/>
                  <a:chExt cx="1604737" cy="5736129"/>
                </a:xfrm>
                <a:solidFill>
                  <a:srgbClr val="620CFD"/>
                </a:solidFill>
              </p:grpSpPr>
              <p:sp>
                <p:nvSpPr>
                  <p:cNvPr id="70" name="Нашивка 69">
                    <a:extLst>
                      <a:ext uri="{FF2B5EF4-FFF2-40B4-BE49-F238E27FC236}">
                        <a16:creationId xmlns:a16="http://schemas.microsoft.com/office/drawing/2014/main" id="{38100E25-5BFC-6FB3-80DF-625A3C44A751}"/>
                      </a:ext>
                    </a:extLst>
                  </p:cNvPr>
                  <p:cNvSpPr/>
                  <p:nvPr/>
                </p:nvSpPr>
                <p:spPr>
                  <a:xfrm>
                    <a:off x="2225391" y="9886950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89" name="Нашивка 88">
                    <a:extLst>
                      <a:ext uri="{FF2B5EF4-FFF2-40B4-BE49-F238E27FC236}">
                        <a16:creationId xmlns:a16="http://schemas.microsoft.com/office/drawing/2014/main" id="{3A1A3696-32E6-EEE3-BFB8-08506622E3D6}"/>
                      </a:ext>
                    </a:extLst>
                  </p:cNvPr>
                  <p:cNvSpPr/>
                  <p:nvPr/>
                </p:nvSpPr>
                <p:spPr>
                  <a:xfrm>
                    <a:off x="2225391" y="11952646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90" name="Нашивка 89">
                    <a:extLst>
                      <a:ext uri="{FF2B5EF4-FFF2-40B4-BE49-F238E27FC236}">
                        <a16:creationId xmlns:a16="http://schemas.microsoft.com/office/drawing/2014/main" id="{1D77322D-821A-0C9A-B2D2-BF193A1F35FF}"/>
                      </a:ext>
                    </a:extLst>
                  </p:cNvPr>
                  <p:cNvSpPr/>
                  <p:nvPr/>
                </p:nvSpPr>
                <p:spPr>
                  <a:xfrm>
                    <a:off x="2225391" y="14018342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</p:grpSp>
          </p:grpSp>
        </p:grpSp>
      </p:grpSp>
      <p:grpSp>
        <p:nvGrpSpPr>
          <p:cNvPr id="100" name="Группа 99">
            <a:extLst>
              <a:ext uri="{FF2B5EF4-FFF2-40B4-BE49-F238E27FC236}">
                <a16:creationId xmlns:a16="http://schemas.microsoft.com/office/drawing/2014/main" id="{B44B80B3-0D85-FBA3-BD40-2164A5F2DF09}"/>
              </a:ext>
            </a:extLst>
          </p:cNvPr>
          <p:cNvGrpSpPr/>
          <p:nvPr/>
        </p:nvGrpSpPr>
        <p:grpSpPr>
          <a:xfrm>
            <a:off x="564146" y="8086319"/>
            <a:ext cx="5913850" cy="4381822"/>
            <a:chOff x="507863" y="2142803"/>
            <a:chExt cx="5913850" cy="4381822"/>
          </a:xfrm>
        </p:grpSpPr>
        <p:sp>
          <p:nvSpPr>
            <p:cNvPr id="101" name="Rectangle: Rounded Corners 70">
              <a:extLst>
                <a:ext uri="{FF2B5EF4-FFF2-40B4-BE49-F238E27FC236}">
                  <a16:creationId xmlns:a16="http://schemas.microsoft.com/office/drawing/2014/main" id="{57268EDD-4A6D-E9AE-B52A-AF51004C8A8E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70572B8F-CD94-EFA5-3BE5-BE951287C4DF}"/>
                </a:ext>
              </a:extLst>
            </p:cNvPr>
            <p:cNvSpPr txBox="1"/>
            <p:nvPr/>
          </p:nvSpPr>
          <p:spPr>
            <a:xfrm>
              <a:off x="772809" y="2390061"/>
              <a:ext cx="5323191" cy="24006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ЧТЕНИЕ СВЕРХУ-ВНИЗ, ЛИБО СЛЕВА-НАПРАВО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928189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76296057-DDD0-252D-E679-A4BCE2859CD5}"/>
              </a:ext>
            </a:extLst>
          </p:cNvPr>
          <p:cNvGrpSpPr/>
          <p:nvPr/>
        </p:nvGrpSpPr>
        <p:grpSpPr>
          <a:xfrm>
            <a:off x="561539" y="-4957547"/>
            <a:ext cx="5913850" cy="4381822"/>
            <a:chOff x="507863" y="2142803"/>
            <a:chExt cx="5913850" cy="4381822"/>
          </a:xfrm>
        </p:grpSpPr>
        <p:sp>
          <p:nvSpPr>
            <p:cNvPr id="47" name="Rectangle: Rounded Corners 70">
              <a:extLst>
                <a:ext uri="{FF2B5EF4-FFF2-40B4-BE49-F238E27FC236}">
                  <a16:creationId xmlns:a16="http://schemas.microsoft.com/office/drawing/2014/main" id="{8F15F68D-DBC4-D205-E401-7D3FD1B01317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B6C19BAC-FF99-9B8E-561C-8CF252FF320C}"/>
                </a:ext>
              </a:extLst>
            </p:cNvPr>
            <p:cNvSpPr txBox="1"/>
            <p:nvPr/>
          </p:nvSpPr>
          <p:spPr>
            <a:xfrm>
              <a:off x="772809" y="2390061"/>
              <a:ext cx="5323191" cy="182357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ЭФФЕКТ </a:t>
              </a:r>
              <a:b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ФОН РЕСТОРФФ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AB1D114D-91CC-E1D8-3EE5-BC6635956902}"/>
                </a:ext>
              </a:extLst>
            </p:cNvPr>
            <p:cNvSpPr txBox="1"/>
            <p:nvPr/>
          </p:nvSpPr>
          <p:spPr>
            <a:xfrm>
              <a:off x="772809" y="4213637"/>
              <a:ext cx="5098613" cy="21818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Человек лучше запоминает акцентный элемент, который выделяется на фоне остальных</a:t>
              </a:r>
            </a:p>
          </p:txBody>
        </p:sp>
      </p:grp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7C342864-C1B9-43B3-69DB-26D509EDFF30}"/>
              </a:ext>
            </a:extLst>
          </p:cNvPr>
          <p:cNvSpPr/>
          <p:nvPr/>
        </p:nvSpPr>
        <p:spPr>
          <a:xfrm>
            <a:off x="9140923" y="0"/>
            <a:ext cx="711200" cy="6858000"/>
          </a:xfrm>
          <a:prstGeom prst="rect">
            <a:avLst/>
          </a:prstGeom>
          <a:gradFill>
            <a:gsLst>
              <a:gs pos="98000">
                <a:srgbClr val="C0DCFD">
                  <a:alpha val="53000"/>
                </a:srgbClr>
              </a:gs>
              <a:gs pos="55000">
                <a:srgbClr val="C0DCFD">
                  <a:alpha val="0"/>
                </a:srgbClr>
              </a:gs>
              <a:gs pos="0">
                <a:srgbClr val="C0DCFD">
                  <a:alpha val="46085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Rectangle: Rounded Corners 70">
            <a:extLst>
              <a:ext uri="{FF2B5EF4-FFF2-40B4-BE49-F238E27FC236}">
                <a16:creationId xmlns:a16="http://schemas.microsoft.com/office/drawing/2014/main" id="{4E72B930-5E19-99B7-E393-DC73487B625A}"/>
              </a:ext>
            </a:extLst>
          </p:cNvPr>
          <p:cNvSpPr/>
          <p:nvPr/>
        </p:nvSpPr>
        <p:spPr>
          <a:xfrm rot="10800000">
            <a:off x="507863" y="685482"/>
            <a:ext cx="5997183" cy="1136385"/>
          </a:xfrm>
          <a:prstGeom prst="roundRect">
            <a:avLst>
              <a:gd name="adj" fmla="val 27611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57" name="Скругленный прямоугольник 56">
            <a:extLst>
              <a:ext uri="{FF2B5EF4-FFF2-40B4-BE49-F238E27FC236}">
                <a16:creationId xmlns:a16="http://schemas.microsoft.com/office/drawing/2014/main" id="{EC685C8B-9F8C-5931-CC05-7A74BFA71560}"/>
              </a:ext>
            </a:extLst>
          </p:cNvPr>
          <p:cNvSpPr/>
          <p:nvPr/>
        </p:nvSpPr>
        <p:spPr>
          <a:xfrm rot="5400000">
            <a:off x="1335478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Скругленный прямоугольник 57">
            <a:extLst>
              <a:ext uri="{FF2B5EF4-FFF2-40B4-BE49-F238E27FC236}">
                <a16:creationId xmlns:a16="http://schemas.microsoft.com/office/drawing/2014/main" id="{3AF22607-5A27-1866-739C-78BEAB03302E}"/>
              </a:ext>
            </a:extLst>
          </p:cNvPr>
          <p:cNvSpPr/>
          <p:nvPr/>
        </p:nvSpPr>
        <p:spPr>
          <a:xfrm rot="5400000">
            <a:off x="1780257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Скругленный прямоугольник 58">
            <a:extLst>
              <a:ext uri="{FF2B5EF4-FFF2-40B4-BE49-F238E27FC236}">
                <a16:creationId xmlns:a16="http://schemas.microsoft.com/office/drawing/2014/main" id="{CC1E7B9B-6937-C246-CBBB-2368CEFD595B}"/>
              </a:ext>
            </a:extLst>
          </p:cNvPr>
          <p:cNvSpPr/>
          <p:nvPr/>
        </p:nvSpPr>
        <p:spPr>
          <a:xfrm rot="5400000">
            <a:off x="2225036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Скругленный прямоугольник 59">
            <a:extLst>
              <a:ext uri="{FF2B5EF4-FFF2-40B4-BE49-F238E27FC236}">
                <a16:creationId xmlns:a16="http://schemas.microsoft.com/office/drawing/2014/main" id="{34093E35-2865-2CE2-22ED-4B0A04F7077A}"/>
              </a:ext>
            </a:extLst>
          </p:cNvPr>
          <p:cNvSpPr/>
          <p:nvPr/>
        </p:nvSpPr>
        <p:spPr>
          <a:xfrm rot="5400000">
            <a:off x="2669815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Скругленный прямоугольник 60">
            <a:extLst>
              <a:ext uri="{FF2B5EF4-FFF2-40B4-BE49-F238E27FC236}">
                <a16:creationId xmlns:a16="http://schemas.microsoft.com/office/drawing/2014/main" id="{6C55457C-5990-E4C0-2080-3B6BF8D224A4}"/>
              </a:ext>
            </a:extLst>
          </p:cNvPr>
          <p:cNvSpPr/>
          <p:nvPr/>
        </p:nvSpPr>
        <p:spPr>
          <a:xfrm rot="5400000">
            <a:off x="3114594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Скругленный прямоугольник 61">
            <a:extLst>
              <a:ext uri="{FF2B5EF4-FFF2-40B4-BE49-F238E27FC236}">
                <a16:creationId xmlns:a16="http://schemas.microsoft.com/office/drawing/2014/main" id="{E2C3767B-DF73-EB57-4922-922FE33EBCFA}"/>
              </a:ext>
            </a:extLst>
          </p:cNvPr>
          <p:cNvSpPr/>
          <p:nvPr/>
        </p:nvSpPr>
        <p:spPr>
          <a:xfrm rot="5400000">
            <a:off x="355937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кругленный прямоугольник 62">
            <a:extLst>
              <a:ext uri="{FF2B5EF4-FFF2-40B4-BE49-F238E27FC236}">
                <a16:creationId xmlns:a16="http://schemas.microsoft.com/office/drawing/2014/main" id="{B96ED38E-92EE-71D4-E04D-D5F092255D9C}"/>
              </a:ext>
            </a:extLst>
          </p:cNvPr>
          <p:cNvSpPr/>
          <p:nvPr/>
        </p:nvSpPr>
        <p:spPr>
          <a:xfrm rot="5400000">
            <a:off x="4004152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Скругленный прямоугольник 63">
            <a:extLst>
              <a:ext uri="{FF2B5EF4-FFF2-40B4-BE49-F238E27FC236}">
                <a16:creationId xmlns:a16="http://schemas.microsoft.com/office/drawing/2014/main" id="{AD39B888-1BA2-5380-C7E7-12D35A0DA290}"/>
              </a:ext>
            </a:extLst>
          </p:cNvPr>
          <p:cNvSpPr/>
          <p:nvPr/>
        </p:nvSpPr>
        <p:spPr>
          <a:xfrm rot="5400000">
            <a:off x="533849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Скругленный прямоугольник 64">
            <a:extLst>
              <a:ext uri="{FF2B5EF4-FFF2-40B4-BE49-F238E27FC236}">
                <a16:creationId xmlns:a16="http://schemas.microsoft.com/office/drawing/2014/main" id="{B57DEFAB-3198-35BC-C517-56267773D1A3}"/>
              </a:ext>
            </a:extLst>
          </p:cNvPr>
          <p:cNvSpPr/>
          <p:nvPr/>
        </p:nvSpPr>
        <p:spPr>
          <a:xfrm rot="5400000">
            <a:off x="4893710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кругленный прямоугольник 65">
            <a:extLst>
              <a:ext uri="{FF2B5EF4-FFF2-40B4-BE49-F238E27FC236}">
                <a16:creationId xmlns:a16="http://schemas.microsoft.com/office/drawing/2014/main" id="{7C5B89BA-91D6-4CBE-F3DA-5603D25E9265}"/>
              </a:ext>
            </a:extLst>
          </p:cNvPr>
          <p:cNvSpPr/>
          <p:nvPr/>
        </p:nvSpPr>
        <p:spPr>
          <a:xfrm rot="5400000">
            <a:off x="4448931" y="893475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AB4BB9A-DCC0-1935-48B9-818BA23D4A79}"/>
              </a:ext>
            </a:extLst>
          </p:cNvPr>
          <p:cNvSpPr txBox="1"/>
          <p:nvPr/>
        </p:nvSpPr>
        <p:spPr>
          <a:xfrm>
            <a:off x="1289469" y="1253674"/>
            <a:ext cx="5188527" cy="385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" panose="020B0305040102020103" pitchFamily="34" charset="0"/>
                <a:cs typeface="Times New Roman" panose="02020603050405020304" pitchFamily="18" charset="0"/>
              </a:rPr>
              <a:t>Азбука качественного визуала</a:t>
            </a:r>
          </a:p>
        </p:txBody>
      </p:sp>
      <p:sp useBgFill="1">
        <p:nvSpPr>
          <p:cNvPr id="71" name="Полилиния 70">
            <a:extLst>
              <a:ext uri="{FF2B5EF4-FFF2-40B4-BE49-F238E27FC236}">
                <a16:creationId xmlns:a16="http://schemas.microsoft.com/office/drawing/2014/main" id="{A119041F-0060-FE60-3BAD-0947D31F50E6}"/>
              </a:ext>
            </a:extLst>
          </p:cNvPr>
          <p:cNvSpPr/>
          <p:nvPr/>
        </p:nvSpPr>
        <p:spPr>
          <a:xfrm>
            <a:off x="507862" y="-1226127"/>
            <a:ext cx="5997184" cy="3047995"/>
          </a:xfrm>
          <a:custGeom>
            <a:avLst/>
            <a:gdLst>
              <a:gd name="connsiteX0" fmla="*/ 0 w 5997184"/>
              <a:gd name="connsiteY0" fmla="*/ 0 h 3047995"/>
              <a:gd name="connsiteX1" fmla="*/ 5997184 w 5997184"/>
              <a:gd name="connsiteY1" fmla="*/ 0 h 3047995"/>
              <a:gd name="connsiteX2" fmla="*/ 5997184 w 5997184"/>
              <a:gd name="connsiteY2" fmla="*/ 2225376 h 3047995"/>
              <a:gd name="connsiteX3" fmla="*/ 5683417 w 5997184"/>
              <a:gd name="connsiteY3" fmla="*/ 1911609 h 3047995"/>
              <a:gd name="connsiteX4" fmla="*/ 313768 w 5997184"/>
              <a:gd name="connsiteY4" fmla="*/ 1911609 h 3047995"/>
              <a:gd name="connsiteX5" fmla="*/ 1 w 5997184"/>
              <a:gd name="connsiteY5" fmla="*/ 2225376 h 3047995"/>
              <a:gd name="connsiteX6" fmla="*/ 1 w 5997184"/>
              <a:gd name="connsiteY6" fmla="*/ 2734227 h 3047995"/>
              <a:gd name="connsiteX7" fmla="*/ 313768 w 5997184"/>
              <a:gd name="connsiteY7" fmla="*/ 3047994 h 3047995"/>
              <a:gd name="connsiteX8" fmla="*/ 5683417 w 5997184"/>
              <a:gd name="connsiteY8" fmla="*/ 3047994 h 3047995"/>
              <a:gd name="connsiteX9" fmla="*/ 5997184 w 5997184"/>
              <a:gd name="connsiteY9" fmla="*/ 2734227 h 3047995"/>
              <a:gd name="connsiteX10" fmla="*/ 5997184 w 5997184"/>
              <a:gd name="connsiteY10" fmla="*/ 3047995 h 3047995"/>
              <a:gd name="connsiteX11" fmla="*/ 0 w 5997184"/>
              <a:gd name="connsiteY11" fmla="*/ 3047995 h 304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997184" h="3047995">
                <a:moveTo>
                  <a:pt x="0" y="0"/>
                </a:moveTo>
                <a:lnTo>
                  <a:pt x="5997184" y="0"/>
                </a:lnTo>
                <a:lnTo>
                  <a:pt x="5997184" y="2225376"/>
                </a:lnTo>
                <a:cubicBezTo>
                  <a:pt x="5997184" y="2052087"/>
                  <a:pt x="5856706" y="1911609"/>
                  <a:pt x="5683417" y="1911609"/>
                </a:cubicBezTo>
                <a:lnTo>
                  <a:pt x="313768" y="1911609"/>
                </a:lnTo>
                <a:cubicBezTo>
                  <a:pt x="140479" y="1911609"/>
                  <a:pt x="1" y="2052087"/>
                  <a:pt x="1" y="2225376"/>
                </a:cubicBezTo>
                <a:lnTo>
                  <a:pt x="1" y="2734227"/>
                </a:lnTo>
                <a:cubicBezTo>
                  <a:pt x="1" y="2907516"/>
                  <a:pt x="140479" y="3047994"/>
                  <a:pt x="313768" y="3047994"/>
                </a:cubicBezTo>
                <a:lnTo>
                  <a:pt x="5683417" y="3047994"/>
                </a:lnTo>
                <a:cubicBezTo>
                  <a:pt x="5856706" y="3047994"/>
                  <a:pt x="5997184" y="2907516"/>
                  <a:pt x="5997184" y="2734227"/>
                </a:cubicBezTo>
                <a:lnTo>
                  <a:pt x="5997184" y="3047995"/>
                </a:lnTo>
                <a:lnTo>
                  <a:pt x="0" y="304799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B9D371BF-803B-A30D-2911-3B9CEFDA344C}"/>
              </a:ext>
            </a:extLst>
          </p:cNvPr>
          <p:cNvGrpSpPr/>
          <p:nvPr/>
        </p:nvGrpSpPr>
        <p:grpSpPr>
          <a:xfrm>
            <a:off x="-3517807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2776F762-6191-9C3A-04B0-F7632B078202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79A7D83F-D501-8758-E699-6059DAC43E75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7" name="Рисунок 3">
            <a:extLst>
              <a:ext uri="{FF2B5EF4-FFF2-40B4-BE49-F238E27FC236}">
                <a16:creationId xmlns:a16="http://schemas.microsoft.com/office/drawing/2014/main" id="{56295991-5BE7-36A2-05FC-C41D90410B7A}"/>
              </a:ext>
            </a:extLst>
          </p:cNvPr>
          <p:cNvGrpSpPr/>
          <p:nvPr/>
        </p:nvGrpSpPr>
        <p:grpSpPr>
          <a:xfrm>
            <a:off x="-2846667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491CF97A-523B-F1DC-DC58-B5153C90AEB4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33256969-A9F0-82A9-8386-11518CF8D97B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D53FC78-1470-5880-CC4B-564B2D535439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2DA2E124-1C66-6FFE-FE8E-B01C1BA28622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5A820B68-6596-BDA0-EE3C-CDCF23BFD057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3A62DF1B-3CCD-FA09-535B-349066C73EEF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0F9983CE-6C20-A7DA-B20B-5531D5ECF0EC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27CF1737-278F-1365-6768-D7226C154BD2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F82A8CAF-5B1E-251F-D1C9-75583580C453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2F90F89D-256A-D452-B3CD-217CB800535C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82038AB9-EC9D-4C16-32DD-11D31DCD5A9D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83878592-E1EF-16CA-34D7-6AA3FBEF8299}"/>
              </a:ext>
            </a:extLst>
          </p:cNvPr>
          <p:cNvGrpSpPr/>
          <p:nvPr/>
        </p:nvGrpSpPr>
        <p:grpSpPr>
          <a:xfrm>
            <a:off x="507863" y="2142803"/>
            <a:ext cx="5913850" cy="4381822"/>
            <a:chOff x="507863" y="2142803"/>
            <a:chExt cx="5913850" cy="4381822"/>
          </a:xfrm>
        </p:grpSpPr>
        <p:sp>
          <p:nvSpPr>
            <p:cNvPr id="54" name="Rectangle: Rounded Corners 70">
              <a:extLst>
                <a:ext uri="{FF2B5EF4-FFF2-40B4-BE49-F238E27FC236}">
                  <a16:creationId xmlns:a16="http://schemas.microsoft.com/office/drawing/2014/main" id="{4327CDC1-48EC-6BD3-AF66-6729DE9D59C1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B304BB7-F66A-0C52-94BD-5F572C1748EC}"/>
                </a:ext>
              </a:extLst>
            </p:cNvPr>
            <p:cNvSpPr txBox="1"/>
            <p:nvPr/>
          </p:nvSpPr>
          <p:spPr>
            <a:xfrm>
              <a:off x="772809" y="2390061"/>
              <a:ext cx="5323191" cy="24006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ЧТЕНИЕ СВЕРХУ-ВНИЗ, ЛИБО СЛЕВА-НАПРАВО</a:t>
              </a:r>
            </a:p>
          </p:txBody>
        </p:sp>
      </p:grp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8CCDF9EF-F734-5776-B85F-591D10D3DCC1}"/>
              </a:ext>
            </a:extLst>
          </p:cNvPr>
          <p:cNvGrpSpPr/>
          <p:nvPr/>
        </p:nvGrpSpPr>
        <p:grpSpPr>
          <a:xfrm>
            <a:off x="7370966" y="-6296298"/>
            <a:ext cx="4216202" cy="5839143"/>
            <a:chOff x="7370966" y="7543483"/>
            <a:chExt cx="4216202" cy="5839143"/>
          </a:xfrm>
        </p:grpSpPr>
        <p:sp>
          <p:nvSpPr>
            <p:cNvPr id="19" name="Rectangle: Rounded Corners 70">
              <a:extLst>
                <a:ext uri="{FF2B5EF4-FFF2-40B4-BE49-F238E27FC236}">
                  <a16:creationId xmlns:a16="http://schemas.microsoft.com/office/drawing/2014/main" id="{09E42D25-A619-08C3-7834-2CCEE379CBC3}"/>
                </a:ext>
              </a:extLst>
            </p:cNvPr>
            <p:cNvSpPr/>
            <p:nvPr/>
          </p:nvSpPr>
          <p:spPr>
            <a:xfrm rot="10800000">
              <a:off x="7370966" y="7543483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grpSp>
          <p:nvGrpSpPr>
            <p:cNvPr id="21" name="Группа 20">
              <a:extLst>
                <a:ext uri="{FF2B5EF4-FFF2-40B4-BE49-F238E27FC236}">
                  <a16:creationId xmlns:a16="http://schemas.microsoft.com/office/drawing/2014/main" id="{C50D3D1F-1B0F-3EAD-5989-17B55E97DBF3}"/>
                </a:ext>
              </a:extLst>
            </p:cNvPr>
            <p:cNvGrpSpPr/>
            <p:nvPr/>
          </p:nvGrpSpPr>
          <p:grpSpPr>
            <a:xfrm rot="5400000">
              <a:off x="6804738" y="9160995"/>
              <a:ext cx="5602000" cy="2604121"/>
              <a:chOff x="1009062" y="8853984"/>
              <a:chExt cx="14822156" cy="6890163"/>
            </a:xfrm>
          </p:grpSpPr>
          <p:grpSp>
            <p:nvGrpSpPr>
              <p:cNvPr id="22" name="Группа 21">
                <a:extLst>
                  <a:ext uri="{FF2B5EF4-FFF2-40B4-BE49-F238E27FC236}">
                    <a16:creationId xmlns:a16="http://schemas.microsoft.com/office/drawing/2014/main" id="{AC69DA70-0874-44C9-F41C-3F6D3202ADE6}"/>
                  </a:ext>
                </a:extLst>
              </p:cNvPr>
              <p:cNvGrpSpPr/>
              <p:nvPr/>
            </p:nvGrpSpPr>
            <p:grpSpPr>
              <a:xfrm>
                <a:off x="1009062" y="8853984"/>
                <a:ext cx="14822156" cy="3168038"/>
                <a:chOff x="1009062" y="8853984"/>
                <a:chExt cx="14822156" cy="3168038"/>
              </a:xfrm>
            </p:grpSpPr>
            <p:sp>
              <p:nvSpPr>
                <p:cNvPr id="30" name="Скругленный прямоугольник 29">
                  <a:extLst>
                    <a:ext uri="{FF2B5EF4-FFF2-40B4-BE49-F238E27FC236}">
                      <a16:creationId xmlns:a16="http://schemas.microsoft.com/office/drawing/2014/main" id="{8A6C9453-565B-FA1D-B5B8-9BEB116C7DC4}"/>
                    </a:ext>
                  </a:extLst>
                </p:cNvPr>
                <p:cNvSpPr/>
                <p:nvPr/>
              </p:nvSpPr>
              <p:spPr>
                <a:xfrm>
                  <a:off x="1009062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31" name="Скругленный прямоугольник 30">
                  <a:extLst>
                    <a:ext uri="{FF2B5EF4-FFF2-40B4-BE49-F238E27FC236}">
                      <a16:creationId xmlns:a16="http://schemas.microsoft.com/office/drawing/2014/main" id="{FFD9068C-B371-1AA5-3976-6A2C60D7C6B8}"/>
                    </a:ext>
                  </a:extLst>
                </p:cNvPr>
                <p:cNvSpPr/>
                <p:nvPr/>
              </p:nvSpPr>
              <p:spPr>
                <a:xfrm>
                  <a:off x="4893768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32" name="Скругленный прямоугольник 31">
                  <a:extLst>
                    <a:ext uri="{FF2B5EF4-FFF2-40B4-BE49-F238E27FC236}">
                      <a16:creationId xmlns:a16="http://schemas.microsoft.com/office/drawing/2014/main" id="{71001B37-0295-9A1D-DADF-6AF0DFEEAAD9}"/>
                    </a:ext>
                  </a:extLst>
                </p:cNvPr>
                <p:cNvSpPr/>
                <p:nvPr/>
              </p:nvSpPr>
              <p:spPr>
                <a:xfrm>
                  <a:off x="8778474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33" name="Скругленный прямоугольник 32">
                  <a:extLst>
                    <a:ext uri="{FF2B5EF4-FFF2-40B4-BE49-F238E27FC236}">
                      <a16:creationId xmlns:a16="http://schemas.microsoft.com/office/drawing/2014/main" id="{BE245389-71BD-2A1A-FF39-527AACE31770}"/>
                    </a:ext>
                  </a:extLst>
                </p:cNvPr>
                <p:cNvSpPr/>
                <p:nvPr/>
              </p:nvSpPr>
              <p:spPr>
                <a:xfrm>
                  <a:off x="12663180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23" name="Группа 22">
                <a:extLst>
                  <a:ext uri="{FF2B5EF4-FFF2-40B4-BE49-F238E27FC236}">
                    <a16:creationId xmlns:a16="http://schemas.microsoft.com/office/drawing/2014/main" id="{9329B57E-26FF-CCC8-A21A-46E5CD7D3A81}"/>
                  </a:ext>
                </a:extLst>
              </p:cNvPr>
              <p:cNvGrpSpPr/>
              <p:nvPr/>
            </p:nvGrpSpPr>
            <p:grpSpPr>
              <a:xfrm>
                <a:off x="1009062" y="12576109"/>
                <a:ext cx="14822156" cy="3168038"/>
                <a:chOff x="1009062" y="8853984"/>
                <a:chExt cx="14822156" cy="3168038"/>
              </a:xfrm>
            </p:grpSpPr>
            <p:sp>
              <p:nvSpPr>
                <p:cNvPr id="24" name="Скругленный прямоугольник 23">
                  <a:extLst>
                    <a:ext uri="{FF2B5EF4-FFF2-40B4-BE49-F238E27FC236}">
                      <a16:creationId xmlns:a16="http://schemas.microsoft.com/office/drawing/2014/main" id="{D72A492E-C061-998B-434E-5166A6AD05E0}"/>
                    </a:ext>
                  </a:extLst>
                </p:cNvPr>
                <p:cNvSpPr/>
                <p:nvPr/>
              </p:nvSpPr>
              <p:spPr>
                <a:xfrm>
                  <a:off x="1009062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5" name="Скругленный прямоугольник 24">
                  <a:extLst>
                    <a:ext uri="{FF2B5EF4-FFF2-40B4-BE49-F238E27FC236}">
                      <a16:creationId xmlns:a16="http://schemas.microsoft.com/office/drawing/2014/main" id="{8F15A1B6-30C3-8531-E5C6-F8ED5D33D099}"/>
                    </a:ext>
                  </a:extLst>
                </p:cNvPr>
                <p:cNvSpPr/>
                <p:nvPr/>
              </p:nvSpPr>
              <p:spPr>
                <a:xfrm>
                  <a:off x="4893768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6" name="Овал 25">
                  <a:extLst>
                    <a:ext uri="{FF2B5EF4-FFF2-40B4-BE49-F238E27FC236}">
                      <a16:creationId xmlns:a16="http://schemas.microsoft.com/office/drawing/2014/main" id="{B8318F1B-0758-E654-9558-3C1206ED9B9B}"/>
                    </a:ext>
                  </a:extLst>
                </p:cNvPr>
                <p:cNvSpPr/>
                <p:nvPr/>
              </p:nvSpPr>
              <p:spPr>
                <a:xfrm>
                  <a:off x="8778474" y="8853984"/>
                  <a:ext cx="3168038" cy="3168038"/>
                </a:xfrm>
                <a:prstGeom prst="ellipse">
                  <a:avLst/>
                </a:prstGeom>
                <a:solidFill>
                  <a:srgbClr val="620CF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  <p:sp>
              <p:nvSpPr>
                <p:cNvPr id="27" name="Скругленный прямоугольник 26">
                  <a:extLst>
                    <a:ext uri="{FF2B5EF4-FFF2-40B4-BE49-F238E27FC236}">
                      <a16:creationId xmlns:a16="http://schemas.microsoft.com/office/drawing/2014/main" id="{084897BA-8578-1E60-3EBB-A51F638F6D03}"/>
                    </a:ext>
                  </a:extLst>
                </p:cNvPr>
                <p:cNvSpPr/>
                <p:nvPr/>
              </p:nvSpPr>
              <p:spPr>
                <a:xfrm>
                  <a:off x="12663180" y="8853984"/>
                  <a:ext cx="3168038" cy="316803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</p:grp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DE5C9E9-9AFB-67FB-D07F-71A98D4E7A81}"/>
              </a:ext>
            </a:extLst>
          </p:cNvPr>
          <p:cNvGrpSpPr/>
          <p:nvPr/>
        </p:nvGrpSpPr>
        <p:grpSpPr>
          <a:xfrm>
            <a:off x="7370966" y="685482"/>
            <a:ext cx="4216202" cy="5839143"/>
            <a:chOff x="7370966" y="7667263"/>
            <a:chExt cx="4216202" cy="5839143"/>
          </a:xfrm>
        </p:grpSpPr>
        <p:sp>
          <p:nvSpPr>
            <p:cNvPr id="36" name="Rectangle: Rounded Corners 70">
              <a:extLst>
                <a:ext uri="{FF2B5EF4-FFF2-40B4-BE49-F238E27FC236}">
                  <a16:creationId xmlns:a16="http://schemas.microsoft.com/office/drawing/2014/main" id="{E82CD611-D0EA-88B1-60D7-4AC71AB53326}"/>
                </a:ext>
              </a:extLst>
            </p:cNvPr>
            <p:cNvSpPr/>
            <p:nvPr/>
          </p:nvSpPr>
          <p:spPr>
            <a:xfrm rot="10800000">
              <a:off x="7370966" y="7667263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grpSp>
          <p:nvGrpSpPr>
            <p:cNvPr id="93" name="Группа 92">
              <a:extLst>
                <a:ext uri="{FF2B5EF4-FFF2-40B4-BE49-F238E27FC236}">
                  <a16:creationId xmlns:a16="http://schemas.microsoft.com/office/drawing/2014/main" id="{C55FBB54-829E-1576-99D9-FC5F58B4BD4A}"/>
                </a:ext>
              </a:extLst>
            </p:cNvPr>
            <p:cNvGrpSpPr/>
            <p:nvPr/>
          </p:nvGrpSpPr>
          <p:grpSpPr>
            <a:xfrm>
              <a:off x="8231318" y="7925599"/>
              <a:ext cx="2495497" cy="5322472"/>
              <a:chOff x="8362206" y="8016858"/>
              <a:chExt cx="2268634" cy="4838611"/>
            </a:xfrm>
          </p:grpSpPr>
          <p:grpSp>
            <p:nvGrpSpPr>
              <p:cNvPr id="91" name="Группа 90">
                <a:extLst>
                  <a:ext uri="{FF2B5EF4-FFF2-40B4-BE49-F238E27FC236}">
                    <a16:creationId xmlns:a16="http://schemas.microsoft.com/office/drawing/2014/main" id="{EA764BBA-63EA-410F-5676-1FCF90B8707B}"/>
                  </a:ext>
                </a:extLst>
              </p:cNvPr>
              <p:cNvGrpSpPr/>
              <p:nvPr/>
            </p:nvGrpSpPr>
            <p:grpSpPr>
              <a:xfrm>
                <a:off x="8362206" y="8016858"/>
                <a:ext cx="2268634" cy="2268634"/>
                <a:chOff x="1009061" y="8853983"/>
                <a:chExt cx="7134813" cy="7134813"/>
              </a:xfrm>
            </p:grpSpPr>
            <p:sp>
              <p:nvSpPr>
                <p:cNvPr id="49" name="Скругленный прямоугольник 48">
                  <a:extLst>
                    <a:ext uri="{FF2B5EF4-FFF2-40B4-BE49-F238E27FC236}">
                      <a16:creationId xmlns:a16="http://schemas.microsoft.com/office/drawing/2014/main" id="{F7DAEF6A-6E6C-1211-B487-1CBFA62125AF}"/>
                    </a:ext>
                  </a:extLst>
                </p:cNvPr>
                <p:cNvSpPr/>
                <p:nvPr/>
              </p:nvSpPr>
              <p:spPr>
                <a:xfrm>
                  <a:off x="1009061" y="8853983"/>
                  <a:ext cx="7134813" cy="7134813"/>
                </a:xfrm>
                <a:prstGeom prst="roundRect">
                  <a:avLst>
                    <a:gd name="adj" fmla="val 1146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grpSp>
              <p:nvGrpSpPr>
                <p:cNvPr id="50" name="Группа 49">
                  <a:extLst>
                    <a:ext uri="{FF2B5EF4-FFF2-40B4-BE49-F238E27FC236}">
                      <a16:creationId xmlns:a16="http://schemas.microsoft.com/office/drawing/2014/main" id="{0388F729-D097-295C-8DE9-A2DDA7C79C9F}"/>
                    </a:ext>
                  </a:extLst>
                </p:cNvPr>
                <p:cNvGrpSpPr/>
                <p:nvPr/>
              </p:nvGrpSpPr>
              <p:grpSpPr>
                <a:xfrm>
                  <a:off x="3774099" y="9553325"/>
                  <a:ext cx="1604737" cy="5736129"/>
                  <a:chOff x="2225391" y="9886950"/>
                  <a:chExt cx="1604737" cy="5736129"/>
                </a:xfrm>
                <a:solidFill>
                  <a:srgbClr val="620CFD"/>
                </a:solidFill>
              </p:grpSpPr>
              <p:sp>
                <p:nvSpPr>
                  <p:cNvPr id="51" name="Нашивка 50">
                    <a:extLst>
                      <a:ext uri="{FF2B5EF4-FFF2-40B4-BE49-F238E27FC236}">
                        <a16:creationId xmlns:a16="http://schemas.microsoft.com/office/drawing/2014/main" id="{C892BF98-C74D-C02F-231E-46B9033686E6}"/>
                      </a:ext>
                    </a:extLst>
                  </p:cNvPr>
                  <p:cNvSpPr/>
                  <p:nvPr/>
                </p:nvSpPr>
                <p:spPr>
                  <a:xfrm>
                    <a:off x="2225391" y="9886950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52" name="Нашивка 51">
                    <a:extLst>
                      <a:ext uri="{FF2B5EF4-FFF2-40B4-BE49-F238E27FC236}">
                        <a16:creationId xmlns:a16="http://schemas.microsoft.com/office/drawing/2014/main" id="{6AB4BE88-76A0-9F65-3738-105521159EC7}"/>
                      </a:ext>
                    </a:extLst>
                  </p:cNvPr>
                  <p:cNvSpPr/>
                  <p:nvPr/>
                </p:nvSpPr>
                <p:spPr>
                  <a:xfrm>
                    <a:off x="2225391" y="11952646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55" name="Нашивка 54">
                    <a:extLst>
                      <a:ext uri="{FF2B5EF4-FFF2-40B4-BE49-F238E27FC236}">
                        <a16:creationId xmlns:a16="http://schemas.microsoft.com/office/drawing/2014/main" id="{8895BDCD-7402-F0C9-6B59-FA09CB625A90}"/>
                      </a:ext>
                    </a:extLst>
                  </p:cNvPr>
                  <p:cNvSpPr/>
                  <p:nvPr/>
                </p:nvSpPr>
                <p:spPr>
                  <a:xfrm>
                    <a:off x="2225391" y="14018342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</p:grpSp>
          </p:grpSp>
          <p:grpSp>
            <p:nvGrpSpPr>
              <p:cNvPr id="92" name="Группа 91">
                <a:extLst>
                  <a:ext uri="{FF2B5EF4-FFF2-40B4-BE49-F238E27FC236}">
                    <a16:creationId xmlns:a16="http://schemas.microsoft.com/office/drawing/2014/main" id="{DD7B5449-18E9-4AD1-7607-9A0782961944}"/>
                  </a:ext>
                </a:extLst>
              </p:cNvPr>
              <p:cNvGrpSpPr/>
              <p:nvPr/>
            </p:nvGrpSpPr>
            <p:grpSpPr>
              <a:xfrm>
                <a:off x="8362206" y="10586835"/>
                <a:ext cx="2268634" cy="2268634"/>
                <a:chOff x="9154552" y="8853983"/>
                <a:chExt cx="7134813" cy="7134813"/>
              </a:xfrm>
            </p:grpSpPr>
            <p:sp>
              <p:nvSpPr>
                <p:cNvPr id="67" name="Скругленный прямоугольник 66">
                  <a:extLst>
                    <a:ext uri="{FF2B5EF4-FFF2-40B4-BE49-F238E27FC236}">
                      <a16:creationId xmlns:a16="http://schemas.microsoft.com/office/drawing/2014/main" id="{2A416B92-CE2E-B761-19F7-8E6D9219797E}"/>
                    </a:ext>
                  </a:extLst>
                </p:cNvPr>
                <p:cNvSpPr/>
                <p:nvPr/>
              </p:nvSpPr>
              <p:spPr>
                <a:xfrm>
                  <a:off x="9154552" y="8853983"/>
                  <a:ext cx="7134813" cy="7134813"/>
                </a:xfrm>
                <a:prstGeom prst="roundRect">
                  <a:avLst>
                    <a:gd name="adj" fmla="val 1146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grpSp>
              <p:nvGrpSpPr>
                <p:cNvPr id="68" name="Группа 67">
                  <a:extLst>
                    <a:ext uri="{FF2B5EF4-FFF2-40B4-BE49-F238E27FC236}">
                      <a16:creationId xmlns:a16="http://schemas.microsoft.com/office/drawing/2014/main" id="{F5C37107-5D28-CB5F-6D57-B7866E834026}"/>
                    </a:ext>
                  </a:extLst>
                </p:cNvPr>
                <p:cNvGrpSpPr/>
                <p:nvPr/>
              </p:nvGrpSpPr>
              <p:grpSpPr>
                <a:xfrm rot="5400000">
                  <a:off x="11919590" y="9553324"/>
                  <a:ext cx="1604737" cy="5736129"/>
                  <a:chOff x="2225391" y="9886950"/>
                  <a:chExt cx="1604737" cy="5736129"/>
                </a:xfrm>
                <a:solidFill>
                  <a:srgbClr val="620CFD"/>
                </a:solidFill>
              </p:grpSpPr>
              <p:sp>
                <p:nvSpPr>
                  <p:cNvPr id="70" name="Нашивка 69">
                    <a:extLst>
                      <a:ext uri="{FF2B5EF4-FFF2-40B4-BE49-F238E27FC236}">
                        <a16:creationId xmlns:a16="http://schemas.microsoft.com/office/drawing/2014/main" id="{38100E25-5BFC-6FB3-80DF-625A3C44A751}"/>
                      </a:ext>
                    </a:extLst>
                  </p:cNvPr>
                  <p:cNvSpPr/>
                  <p:nvPr/>
                </p:nvSpPr>
                <p:spPr>
                  <a:xfrm>
                    <a:off x="2225391" y="9886950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89" name="Нашивка 88">
                    <a:extLst>
                      <a:ext uri="{FF2B5EF4-FFF2-40B4-BE49-F238E27FC236}">
                        <a16:creationId xmlns:a16="http://schemas.microsoft.com/office/drawing/2014/main" id="{3A1A3696-32E6-EEE3-BFB8-08506622E3D6}"/>
                      </a:ext>
                    </a:extLst>
                  </p:cNvPr>
                  <p:cNvSpPr/>
                  <p:nvPr/>
                </p:nvSpPr>
                <p:spPr>
                  <a:xfrm>
                    <a:off x="2225391" y="11952646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90" name="Нашивка 89">
                    <a:extLst>
                      <a:ext uri="{FF2B5EF4-FFF2-40B4-BE49-F238E27FC236}">
                        <a16:creationId xmlns:a16="http://schemas.microsoft.com/office/drawing/2014/main" id="{1D77322D-821A-0C9A-B2D2-BF193A1F35FF}"/>
                      </a:ext>
                    </a:extLst>
                  </p:cNvPr>
                  <p:cNvSpPr/>
                  <p:nvPr/>
                </p:nvSpPr>
                <p:spPr>
                  <a:xfrm>
                    <a:off x="2225391" y="14018342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</p:grpSp>
          </p:grpSp>
        </p:grp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32CFA6B4-C242-D496-E833-F69E36F45BF1}"/>
              </a:ext>
            </a:extLst>
          </p:cNvPr>
          <p:cNvGrpSpPr/>
          <p:nvPr/>
        </p:nvGrpSpPr>
        <p:grpSpPr>
          <a:xfrm>
            <a:off x="6804692" y="7771871"/>
            <a:ext cx="5077834" cy="5839143"/>
            <a:chOff x="6804692" y="7771871"/>
            <a:chExt cx="5077834" cy="5839143"/>
          </a:xfrm>
        </p:grpSpPr>
        <p:sp>
          <p:nvSpPr>
            <p:cNvPr id="4" name="Rectangle: Rounded Corners 70">
              <a:extLst>
                <a:ext uri="{FF2B5EF4-FFF2-40B4-BE49-F238E27FC236}">
                  <a16:creationId xmlns:a16="http://schemas.microsoft.com/office/drawing/2014/main" id="{09900249-5701-3A88-F696-C35C2A9B2E44}"/>
                </a:ext>
              </a:extLst>
            </p:cNvPr>
            <p:cNvSpPr/>
            <p:nvPr/>
          </p:nvSpPr>
          <p:spPr>
            <a:xfrm rot="10800000">
              <a:off x="7370966" y="7771871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29" name="Скругленный прямоугольник 28">
              <a:extLst>
                <a:ext uri="{FF2B5EF4-FFF2-40B4-BE49-F238E27FC236}">
                  <a16:creationId xmlns:a16="http://schemas.microsoft.com/office/drawing/2014/main" id="{44E54D65-4507-6DFF-4BC6-06E0FBF54833}"/>
                </a:ext>
              </a:extLst>
            </p:cNvPr>
            <p:cNvSpPr/>
            <p:nvPr/>
          </p:nvSpPr>
          <p:spPr>
            <a:xfrm>
              <a:off x="7600855" y="8105246"/>
              <a:ext cx="3671984" cy="1497477"/>
            </a:xfrm>
            <a:prstGeom prst="roundRect">
              <a:avLst>
                <a:gd name="adj" fmla="val 1672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2C3A867-97C8-3EB8-210A-4460D66A25D7}"/>
                </a:ext>
              </a:extLst>
            </p:cNvPr>
            <p:cNvSpPr txBox="1"/>
            <p:nvPr/>
          </p:nvSpPr>
          <p:spPr>
            <a:xfrm>
              <a:off x="7370966" y="8449417"/>
              <a:ext cx="3945284" cy="825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3000"/>
                </a:lnSpc>
              </a:pPr>
              <a:r>
                <a:rPr lang="ru-RU" sz="2000" dirty="0">
                  <a:latin typeface="Unbounded Medium" panose="020B0305040102020103" pitchFamily="34" charset="0"/>
                </a:rPr>
                <a:t>ЛЕВОСТОРОННЕЕ</a:t>
              </a:r>
              <a:br>
                <a:rPr lang="ru-RU" sz="2000" dirty="0">
                  <a:latin typeface="Unbounded Medium" panose="020B0305040102020103" pitchFamily="34" charset="0"/>
                </a:rPr>
              </a:br>
              <a:r>
                <a:rPr lang="ru-RU" sz="2000" dirty="0">
                  <a:latin typeface="Unbounded Medium" panose="020B0305040102020103" pitchFamily="34" charset="0"/>
                </a:rPr>
                <a:t>ВЫРАВНИВАНИЕ</a:t>
              </a:r>
            </a:p>
          </p:txBody>
        </p:sp>
        <p:sp>
          <p:nvSpPr>
            <p:cNvPr id="38" name="Скругленный прямоугольник 37">
              <a:extLst>
                <a:ext uri="{FF2B5EF4-FFF2-40B4-BE49-F238E27FC236}">
                  <a16:creationId xmlns:a16="http://schemas.microsoft.com/office/drawing/2014/main" id="{70AB241C-C55A-B189-6C4C-CA737CA2C198}"/>
                </a:ext>
              </a:extLst>
            </p:cNvPr>
            <p:cNvSpPr/>
            <p:nvPr/>
          </p:nvSpPr>
          <p:spPr>
            <a:xfrm>
              <a:off x="7600855" y="9939160"/>
              <a:ext cx="3671984" cy="1497477"/>
            </a:xfrm>
            <a:prstGeom prst="roundRect">
              <a:avLst>
                <a:gd name="adj" fmla="val 1672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DACE8BC-BA63-205C-B6AD-C1ACF7BD4C89}"/>
                </a:ext>
              </a:extLst>
            </p:cNvPr>
            <p:cNvSpPr txBox="1"/>
            <p:nvPr/>
          </p:nvSpPr>
          <p:spPr>
            <a:xfrm>
              <a:off x="7547494" y="10283331"/>
              <a:ext cx="3592230" cy="825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3000"/>
                </a:lnSpc>
              </a:pPr>
              <a:r>
                <a:rPr lang="ru-RU" sz="2000" dirty="0">
                  <a:latin typeface="Unbounded Medium" panose="020B0305040102020103" pitchFamily="34" charset="0"/>
                </a:rPr>
                <a:t>ЦЕНТРАЛЬНОЕ</a:t>
              </a:r>
              <a:br>
                <a:rPr lang="ru-RU" sz="2000" dirty="0">
                  <a:latin typeface="Unbounded Medium" panose="020B0305040102020103" pitchFamily="34" charset="0"/>
                </a:rPr>
              </a:br>
              <a:r>
                <a:rPr lang="ru-RU" sz="2000" dirty="0">
                  <a:latin typeface="Unbounded Medium" panose="020B0305040102020103" pitchFamily="34" charset="0"/>
                </a:rPr>
                <a:t>ВЫРАВНИВАНИЕ</a:t>
              </a:r>
            </a:p>
          </p:txBody>
        </p:sp>
        <p:sp>
          <p:nvSpPr>
            <p:cNvPr id="41" name="Скругленный прямоугольник 40">
              <a:extLst>
                <a:ext uri="{FF2B5EF4-FFF2-40B4-BE49-F238E27FC236}">
                  <a16:creationId xmlns:a16="http://schemas.microsoft.com/office/drawing/2014/main" id="{4090462C-FC95-BDAE-E119-F093839C22D2}"/>
                </a:ext>
              </a:extLst>
            </p:cNvPr>
            <p:cNvSpPr/>
            <p:nvPr/>
          </p:nvSpPr>
          <p:spPr>
            <a:xfrm>
              <a:off x="7600855" y="11673472"/>
              <a:ext cx="3671984" cy="1497477"/>
            </a:xfrm>
            <a:prstGeom prst="roundRect">
              <a:avLst>
                <a:gd name="adj" fmla="val 1672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D4462BD-7885-1F1C-667D-122354EA0268}"/>
                </a:ext>
              </a:extLst>
            </p:cNvPr>
            <p:cNvSpPr txBox="1"/>
            <p:nvPr/>
          </p:nvSpPr>
          <p:spPr>
            <a:xfrm>
              <a:off x="6804692" y="12017643"/>
              <a:ext cx="5077834" cy="825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3000"/>
                </a:lnSpc>
              </a:pPr>
              <a:r>
                <a:rPr lang="ru-RU" sz="2000" dirty="0">
                  <a:latin typeface="Unbounded Medium" panose="020B0305040102020103" pitchFamily="34" charset="0"/>
                </a:rPr>
                <a:t>ПРАВОСТОРОННЕЕ</a:t>
              </a:r>
              <a:br>
                <a:rPr lang="ru-RU" sz="2000" dirty="0">
                  <a:latin typeface="Unbounded Medium" panose="020B0305040102020103" pitchFamily="34" charset="0"/>
                </a:rPr>
              </a:br>
              <a:r>
                <a:rPr lang="ru-RU" sz="2000" dirty="0">
                  <a:latin typeface="Unbounded Medium" panose="020B0305040102020103" pitchFamily="34" charset="0"/>
                </a:rPr>
                <a:t>ВЫРАВНИВАНИЕ</a:t>
              </a:r>
            </a:p>
          </p:txBody>
        </p:sp>
      </p:grp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id="{7AA4E4C2-C681-3E26-E959-77BAB00AB3CC}"/>
              </a:ext>
            </a:extLst>
          </p:cNvPr>
          <p:cNvGrpSpPr/>
          <p:nvPr/>
        </p:nvGrpSpPr>
        <p:grpSpPr>
          <a:xfrm>
            <a:off x="507862" y="7451267"/>
            <a:ext cx="5913850" cy="4381822"/>
            <a:chOff x="507863" y="2142803"/>
            <a:chExt cx="5913850" cy="4381822"/>
          </a:xfrm>
        </p:grpSpPr>
        <p:sp>
          <p:nvSpPr>
            <p:cNvPr id="73" name="Rectangle: Rounded Corners 70">
              <a:extLst>
                <a:ext uri="{FF2B5EF4-FFF2-40B4-BE49-F238E27FC236}">
                  <a16:creationId xmlns:a16="http://schemas.microsoft.com/office/drawing/2014/main" id="{EFFAE880-CCC7-C8BD-537E-BCF32773C6E4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D363A8BF-0506-E22C-DD6A-486590A327BA}"/>
                </a:ext>
              </a:extLst>
            </p:cNvPr>
            <p:cNvSpPr txBox="1"/>
            <p:nvPr/>
          </p:nvSpPr>
          <p:spPr>
            <a:xfrm>
              <a:off x="772809" y="2390061"/>
              <a:ext cx="5323191" cy="6345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36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ВЫРАВНИВАНИЕ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936077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8839EC23-6FF3-92FA-D5BE-08312DC17705}"/>
              </a:ext>
            </a:extLst>
          </p:cNvPr>
          <p:cNvGrpSpPr/>
          <p:nvPr/>
        </p:nvGrpSpPr>
        <p:grpSpPr>
          <a:xfrm>
            <a:off x="529569" y="8009351"/>
            <a:ext cx="5913850" cy="4381822"/>
            <a:chOff x="507863" y="2142803"/>
            <a:chExt cx="5913850" cy="4381822"/>
          </a:xfrm>
        </p:grpSpPr>
        <p:sp>
          <p:nvSpPr>
            <p:cNvPr id="45" name="Rectangle: Rounded Corners 70">
              <a:extLst>
                <a:ext uri="{FF2B5EF4-FFF2-40B4-BE49-F238E27FC236}">
                  <a16:creationId xmlns:a16="http://schemas.microsoft.com/office/drawing/2014/main" id="{4392A0D6-F363-C00A-29FA-A1EAE08FFB73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4ED7110-7D20-44C2-CE2A-085CE7F3524C}"/>
                </a:ext>
              </a:extLst>
            </p:cNvPr>
            <p:cNvSpPr txBox="1"/>
            <p:nvPr/>
          </p:nvSpPr>
          <p:spPr>
            <a:xfrm>
              <a:off x="772809" y="2536240"/>
              <a:ext cx="5323191" cy="66941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КОНТРАСТ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81E76812-226C-7730-B4F0-64DEE90109D5}"/>
                </a:ext>
              </a:extLst>
            </p:cNvPr>
            <p:cNvSpPr txBox="1"/>
            <p:nvPr/>
          </p:nvSpPr>
          <p:spPr>
            <a:xfrm>
              <a:off x="772809" y="3297422"/>
              <a:ext cx="5098613" cy="9076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en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Color Contrast </a:t>
              </a:r>
              <a:b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</a:br>
              <a:r>
                <a:rPr lang="en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Checker - </a:t>
              </a:r>
              <a:r>
                <a:rPr lang="en" sz="2400" dirty="0" err="1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Coolors</a:t>
              </a:r>
              <a:endParaRPr lang="ru-RU" sz="2400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0F1060A3-7DF3-10AA-C9B8-6E016C5725EB}"/>
              </a:ext>
            </a:extLst>
          </p:cNvPr>
          <p:cNvGrpSpPr/>
          <p:nvPr/>
        </p:nvGrpSpPr>
        <p:grpSpPr>
          <a:xfrm>
            <a:off x="564146" y="-4943585"/>
            <a:ext cx="5913850" cy="4381822"/>
            <a:chOff x="507863" y="2142803"/>
            <a:chExt cx="5913850" cy="4381822"/>
          </a:xfrm>
        </p:grpSpPr>
        <p:sp>
          <p:nvSpPr>
            <p:cNvPr id="37" name="Rectangle: Rounded Corners 70">
              <a:extLst>
                <a:ext uri="{FF2B5EF4-FFF2-40B4-BE49-F238E27FC236}">
                  <a16:creationId xmlns:a16="http://schemas.microsoft.com/office/drawing/2014/main" id="{0B18115B-812A-B855-7739-4353225733B8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FA9B6E3-D279-BAB9-2523-C4504745B68C}"/>
                </a:ext>
              </a:extLst>
            </p:cNvPr>
            <p:cNvSpPr txBox="1"/>
            <p:nvPr/>
          </p:nvSpPr>
          <p:spPr>
            <a:xfrm>
              <a:off x="772809" y="2390061"/>
              <a:ext cx="5323191" cy="24006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ЧТЕНИЕ СВЕРХУ-ВНИЗ, ЛИБО СЛЕВА-НАПРАВО</a:t>
              </a:r>
            </a:p>
          </p:txBody>
        </p:sp>
      </p:grp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7C342864-C1B9-43B3-69DB-26D509EDFF30}"/>
              </a:ext>
            </a:extLst>
          </p:cNvPr>
          <p:cNvSpPr/>
          <p:nvPr/>
        </p:nvSpPr>
        <p:spPr>
          <a:xfrm>
            <a:off x="9140923" y="0"/>
            <a:ext cx="711200" cy="6858000"/>
          </a:xfrm>
          <a:prstGeom prst="rect">
            <a:avLst/>
          </a:prstGeom>
          <a:gradFill>
            <a:gsLst>
              <a:gs pos="98000">
                <a:srgbClr val="C0DCFD">
                  <a:alpha val="53000"/>
                </a:srgbClr>
              </a:gs>
              <a:gs pos="55000">
                <a:srgbClr val="C0DCFD">
                  <a:alpha val="0"/>
                </a:srgbClr>
              </a:gs>
              <a:gs pos="0">
                <a:srgbClr val="C0DCFD">
                  <a:alpha val="46085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Rectangle: Rounded Corners 70">
            <a:extLst>
              <a:ext uri="{FF2B5EF4-FFF2-40B4-BE49-F238E27FC236}">
                <a16:creationId xmlns:a16="http://schemas.microsoft.com/office/drawing/2014/main" id="{4E72B930-5E19-99B7-E393-DC73487B625A}"/>
              </a:ext>
            </a:extLst>
          </p:cNvPr>
          <p:cNvSpPr/>
          <p:nvPr/>
        </p:nvSpPr>
        <p:spPr>
          <a:xfrm rot="10800000">
            <a:off x="507863" y="685482"/>
            <a:ext cx="5997183" cy="1136385"/>
          </a:xfrm>
          <a:prstGeom prst="roundRect">
            <a:avLst>
              <a:gd name="adj" fmla="val 27611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57" name="Скругленный прямоугольник 56">
            <a:extLst>
              <a:ext uri="{FF2B5EF4-FFF2-40B4-BE49-F238E27FC236}">
                <a16:creationId xmlns:a16="http://schemas.microsoft.com/office/drawing/2014/main" id="{EC685C8B-9F8C-5931-CC05-7A74BFA71560}"/>
              </a:ext>
            </a:extLst>
          </p:cNvPr>
          <p:cNvSpPr/>
          <p:nvPr/>
        </p:nvSpPr>
        <p:spPr>
          <a:xfrm rot="5400000">
            <a:off x="1335478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Скругленный прямоугольник 57">
            <a:extLst>
              <a:ext uri="{FF2B5EF4-FFF2-40B4-BE49-F238E27FC236}">
                <a16:creationId xmlns:a16="http://schemas.microsoft.com/office/drawing/2014/main" id="{3AF22607-5A27-1866-739C-78BEAB03302E}"/>
              </a:ext>
            </a:extLst>
          </p:cNvPr>
          <p:cNvSpPr/>
          <p:nvPr/>
        </p:nvSpPr>
        <p:spPr>
          <a:xfrm rot="5400000">
            <a:off x="1780257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Скругленный прямоугольник 58">
            <a:extLst>
              <a:ext uri="{FF2B5EF4-FFF2-40B4-BE49-F238E27FC236}">
                <a16:creationId xmlns:a16="http://schemas.microsoft.com/office/drawing/2014/main" id="{CC1E7B9B-6937-C246-CBBB-2368CEFD595B}"/>
              </a:ext>
            </a:extLst>
          </p:cNvPr>
          <p:cNvSpPr/>
          <p:nvPr/>
        </p:nvSpPr>
        <p:spPr>
          <a:xfrm rot="5400000">
            <a:off x="2225036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Скругленный прямоугольник 59">
            <a:extLst>
              <a:ext uri="{FF2B5EF4-FFF2-40B4-BE49-F238E27FC236}">
                <a16:creationId xmlns:a16="http://schemas.microsoft.com/office/drawing/2014/main" id="{34093E35-2865-2CE2-22ED-4B0A04F7077A}"/>
              </a:ext>
            </a:extLst>
          </p:cNvPr>
          <p:cNvSpPr/>
          <p:nvPr/>
        </p:nvSpPr>
        <p:spPr>
          <a:xfrm rot="5400000">
            <a:off x="2669815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Скругленный прямоугольник 60">
            <a:extLst>
              <a:ext uri="{FF2B5EF4-FFF2-40B4-BE49-F238E27FC236}">
                <a16:creationId xmlns:a16="http://schemas.microsoft.com/office/drawing/2014/main" id="{6C55457C-5990-E4C0-2080-3B6BF8D224A4}"/>
              </a:ext>
            </a:extLst>
          </p:cNvPr>
          <p:cNvSpPr/>
          <p:nvPr/>
        </p:nvSpPr>
        <p:spPr>
          <a:xfrm rot="5400000">
            <a:off x="3114594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Скругленный прямоугольник 61">
            <a:extLst>
              <a:ext uri="{FF2B5EF4-FFF2-40B4-BE49-F238E27FC236}">
                <a16:creationId xmlns:a16="http://schemas.microsoft.com/office/drawing/2014/main" id="{E2C3767B-DF73-EB57-4922-922FE33EBCFA}"/>
              </a:ext>
            </a:extLst>
          </p:cNvPr>
          <p:cNvSpPr/>
          <p:nvPr/>
        </p:nvSpPr>
        <p:spPr>
          <a:xfrm rot="5400000">
            <a:off x="355937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кругленный прямоугольник 62">
            <a:extLst>
              <a:ext uri="{FF2B5EF4-FFF2-40B4-BE49-F238E27FC236}">
                <a16:creationId xmlns:a16="http://schemas.microsoft.com/office/drawing/2014/main" id="{B96ED38E-92EE-71D4-E04D-D5F092255D9C}"/>
              </a:ext>
            </a:extLst>
          </p:cNvPr>
          <p:cNvSpPr/>
          <p:nvPr/>
        </p:nvSpPr>
        <p:spPr>
          <a:xfrm rot="5400000">
            <a:off x="4004152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Скругленный прямоугольник 63">
            <a:extLst>
              <a:ext uri="{FF2B5EF4-FFF2-40B4-BE49-F238E27FC236}">
                <a16:creationId xmlns:a16="http://schemas.microsoft.com/office/drawing/2014/main" id="{AD39B888-1BA2-5380-C7E7-12D35A0DA290}"/>
              </a:ext>
            </a:extLst>
          </p:cNvPr>
          <p:cNvSpPr/>
          <p:nvPr/>
        </p:nvSpPr>
        <p:spPr>
          <a:xfrm rot="5400000">
            <a:off x="533849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Скругленный прямоугольник 64">
            <a:extLst>
              <a:ext uri="{FF2B5EF4-FFF2-40B4-BE49-F238E27FC236}">
                <a16:creationId xmlns:a16="http://schemas.microsoft.com/office/drawing/2014/main" id="{B57DEFAB-3198-35BC-C517-56267773D1A3}"/>
              </a:ext>
            </a:extLst>
          </p:cNvPr>
          <p:cNvSpPr/>
          <p:nvPr/>
        </p:nvSpPr>
        <p:spPr>
          <a:xfrm rot="5400000">
            <a:off x="4893710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кругленный прямоугольник 65">
            <a:extLst>
              <a:ext uri="{FF2B5EF4-FFF2-40B4-BE49-F238E27FC236}">
                <a16:creationId xmlns:a16="http://schemas.microsoft.com/office/drawing/2014/main" id="{7C5B89BA-91D6-4CBE-F3DA-5603D25E9265}"/>
              </a:ext>
            </a:extLst>
          </p:cNvPr>
          <p:cNvSpPr/>
          <p:nvPr/>
        </p:nvSpPr>
        <p:spPr>
          <a:xfrm rot="5400000">
            <a:off x="4448931" y="893475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AB4BB9A-DCC0-1935-48B9-818BA23D4A79}"/>
              </a:ext>
            </a:extLst>
          </p:cNvPr>
          <p:cNvSpPr txBox="1"/>
          <p:nvPr/>
        </p:nvSpPr>
        <p:spPr>
          <a:xfrm>
            <a:off x="1289469" y="1253674"/>
            <a:ext cx="5188527" cy="385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" panose="020B0305040102020103" pitchFamily="34" charset="0"/>
                <a:cs typeface="Times New Roman" panose="02020603050405020304" pitchFamily="18" charset="0"/>
              </a:rPr>
              <a:t>Азбука качественного визуала</a:t>
            </a:r>
          </a:p>
        </p:txBody>
      </p:sp>
      <p:sp useBgFill="1">
        <p:nvSpPr>
          <p:cNvPr id="71" name="Полилиния 70">
            <a:extLst>
              <a:ext uri="{FF2B5EF4-FFF2-40B4-BE49-F238E27FC236}">
                <a16:creationId xmlns:a16="http://schemas.microsoft.com/office/drawing/2014/main" id="{A119041F-0060-FE60-3BAD-0947D31F50E6}"/>
              </a:ext>
            </a:extLst>
          </p:cNvPr>
          <p:cNvSpPr/>
          <p:nvPr/>
        </p:nvSpPr>
        <p:spPr>
          <a:xfrm>
            <a:off x="507862" y="-1226127"/>
            <a:ext cx="5997184" cy="3047995"/>
          </a:xfrm>
          <a:custGeom>
            <a:avLst/>
            <a:gdLst>
              <a:gd name="connsiteX0" fmla="*/ 0 w 5997184"/>
              <a:gd name="connsiteY0" fmla="*/ 0 h 3047995"/>
              <a:gd name="connsiteX1" fmla="*/ 5997184 w 5997184"/>
              <a:gd name="connsiteY1" fmla="*/ 0 h 3047995"/>
              <a:gd name="connsiteX2" fmla="*/ 5997184 w 5997184"/>
              <a:gd name="connsiteY2" fmla="*/ 2225376 h 3047995"/>
              <a:gd name="connsiteX3" fmla="*/ 5683417 w 5997184"/>
              <a:gd name="connsiteY3" fmla="*/ 1911609 h 3047995"/>
              <a:gd name="connsiteX4" fmla="*/ 313768 w 5997184"/>
              <a:gd name="connsiteY4" fmla="*/ 1911609 h 3047995"/>
              <a:gd name="connsiteX5" fmla="*/ 1 w 5997184"/>
              <a:gd name="connsiteY5" fmla="*/ 2225376 h 3047995"/>
              <a:gd name="connsiteX6" fmla="*/ 1 w 5997184"/>
              <a:gd name="connsiteY6" fmla="*/ 2734227 h 3047995"/>
              <a:gd name="connsiteX7" fmla="*/ 313768 w 5997184"/>
              <a:gd name="connsiteY7" fmla="*/ 3047994 h 3047995"/>
              <a:gd name="connsiteX8" fmla="*/ 5683417 w 5997184"/>
              <a:gd name="connsiteY8" fmla="*/ 3047994 h 3047995"/>
              <a:gd name="connsiteX9" fmla="*/ 5997184 w 5997184"/>
              <a:gd name="connsiteY9" fmla="*/ 2734227 h 3047995"/>
              <a:gd name="connsiteX10" fmla="*/ 5997184 w 5997184"/>
              <a:gd name="connsiteY10" fmla="*/ 3047995 h 3047995"/>
              <a:gd name="connsiteX11" fmla="*/ 0 w 5997184"/>
              <a:gd name="connsiteY11" fmla="*/ 3047995 h 304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997184" h="3047995">
                <a:moveTo>
                  <a:pt x="0" y="0"/>
                </a:moveTo>
                <a:lnTo>
                  <a:pt x="5997184" y="0"/>
                </a:lnTo>
                <a:lnTo>
                  <a:pt x="5997184" y="2225376"/>
                </a:lnTo>
                <a:cubicBezTo>
                  <a:pt x="5997184" y="2052087"/>
                  <a:pt x="5856706" y="1911609"/>
                  <a:pt x="5683417" y="1911609"/>
                </a:cubicBezTo>
                <a:lnTo>
                  <a:pt x="313768" y="1911609"/>
                </a:lnTo>
                <a:cubicBezTo>
                  <a:pt x="140479" y="1911609"/>
                  <a:pt x="1" y="2052087"/>
                  <a:pt x="1" y="2225376"/>
                </a:cubicBezTo>
                <a:lnTo>
                  <a:pt x="1" y="2734227"/>
                </a:lnTo>
                <a:cubicBezTo>
                  <a:pt x="1" y="2907516"/>
                  <a:pt x="140479" y="3047994"/>
                  <a:pt x="313768" y="3047994"/>
                </a:cubicBezTo>
                <a:lnTo>
                  <a:pt x="5683417" y="3047994"/>
                </a:lnTo>
                <a:cubicBezTo>
                  <a:pt x="5856706" y="3047994"/>
                  <a:pt x="5997184" y="2907516"/>
                  <a:pt x="5997184" y="2734227"/>
                </a:cubicBezTo>
                <a:lnTo>
                  <a:pt x="5997184" y="3047995"/>
                </a:lnTo>
                <a:lnTo>
                  <a:pt x="0" y="304799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B9D371BF-803B-A30D-2911-3B9CEFDA344C}"/>
              </a:ext>
            </a:extLst>
          </p:cNvPr>
          <p:cNvGrpSpPr/>
          <p:nvPr/>
        </p:nvGrpSpPr>
        <p:grpSpPr>
          <a:xfrm>
            <a:off x="-3517807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2776F762-6191-9C3A-04B0-F7632B078202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79A7D83F-D501-8758-E699-6059DAC43E75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7" name="Рисунок 3">
            <a:extLst>
              <a:ext uri="{FF2B5EF4-FFF2-40B4-BE49-F238E27FC236}">
                <a16:creationId xmlns:a16="http://schemas.microsoft.com/office/drawing/2014/main" id="{56295991-5BE7-36A2-05FC-C41D90410B7A}"/>
              </a:ext>
            </a:extLst>
          </p:cNvPr>
          <p:cNvGrpSpPr/>
          <p:nvPr/>
        </p:nvGrpSpPr>
        <p:grpSpPr>
          <a:xfrm>
            <a:off x="-2846667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491CF97A-523B-F1DC-DC58-B5153C90AEB4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33256969-A9F0-82A9-8386-11518CF8D97B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D53FC78-1470-5880-CC4B-564B2D535439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2DA2E124-1C66-6FFE-FE8E-B01C1BA28622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5A820B68-6596-BDA0-EE3C-CDCF23BFD057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3A62DF1B-3CCD-FA09-535B-349066C73EEF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0F9983CE-6C20-A7DA-B20B-5531D5ECF0EC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27CF1737-278F-1365-6768-D7226C154BD2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F82A8CAF-5B1E-251F-D1C9-75583580C453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2F90F89D-256A-D452-B3CD-217CB800535C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82038AB9-EC9D-4C16-32DD-11D31DCD5A9D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49597D8B-210E-91A1-1065-05209DD87B8E}"/>
              </a:ext>
            </a:extLst>
          </p:cNvPr>
          <p:cNvGrpSpPr/>
          <p:nvPr/>
        </p:nvGrpSpPr>
        <p:grpSpPr>
          <a:xfrm>
            <a:off x="507863" y="2142803"/>
            <a:ext cx="5913850" cy="4381822"/>
            <a:chOff x="507863" y="2142803"/>
            <a:chExt cx="5913850" cy="4381822"/>
          </a:xfrm>
        </p:grpSpPr>
        <p:sp>
          <p:nvSpPr>
            <p:cNvPr id="54" name="Rectangle: Rounded Corners 70">
              <a:extLst>
                <a:ext uri="{FF2B5EF4-FFF2-40B4-BE49-F238E27FC236}">
                  <a16:creationId xmlns:a16="http://schemas.microsoft.com/office/drawing/2014/main" id="{4327CDC1-48EC-6BD3-AF66-6729DE9D59C1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B304BB7-F66A-0C52-94BD-5F572C1748EC}"/>
                </a:ext>
              </a:extLst>
            </p:cNvPr>
            <p:cNvSpPr txBox="1"/>
            <p:nvPr/>
          </p:nvSpPr>
          <p:spPr>
            <a:xfrm>
              <a:off x="772809" y="2390061"/>
              <a:ext cx="5323191" cy="6345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36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ВЫРАВНИВАНИЕ</a:t>
              </a: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DE5C9E9-9AFB-67FB-D07F-71A98D4E7A81}"/>
              </a:ext>
            </a:extLst>
          </p:cNvPr>
          <p:cNvGrpSpPr/>
          <p:nvPr/>
        </p:nvGrpSpPr>
        <p:grpSpPr>
          <a:xfrm>
            <a:off x="7370966" y="-6400907"/>
            <a:ext cx="4216202" cy="5839143"/>
            <a:chOff x="7370966" y="7667263"/>
            <a:chExt cx="4216202" cy="5839143"/>
          </a:xfrm>
        </p:grpSpPr>
        <p:sp>
          <p:nvSpPr>
            <p:cNvPr id="36" name="Rectangle: Rounded Corners 70">
              <a:extLst>
                <a:ext uri="{FF2B5EF4-FFF2-40B4-BE49-F238E27FC236}">
                  <a16:creationId xmlns:a16="http://schemas.microsoft.com/office/drawing/2014/main" id="{E82CD611-D0EA-88B1-60D7-4AC71AB53326}"/>
                </a:ext>
              </a:extLst>
            </p:cNvPr>
            <p:cNvSpPr/>
            <p:nvPr/>
          </p:nvSpPr>
          <p:spPr>
            <a:xfrm rot="10800000">
              <a:off x="7370966" y="7667263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grpSp>
          <p:nvGrpSpPr>
            <p:cNvPr id="93" name="Группа 92">
              <a:extLst>
                <a:ext uri="{FF2B5EF4-FFF2-40B4-BE49-F238E27FC236}">
                  <a16:creationId xmlns:a16="http://schemas.microsoft.com/office/drawing/2014/main" id="{C55FBB54-829E-1576-99D9-FC5F58B4BD4A}"/>
                </a:ext>
              </a:extLst>
            </p:cNvPr>
            <p:cNvGrpSpPr/>
            <p:nvPr/>
          </p:nvGrpSpPr>
          <p:grpSpPr>
            <a:xfrm>
              <a:off x="8231318" y="7925599"/>
              <a:ext cx="2495497" cy="5322472"/>
              <a:chOff x="8362206" y="8016858"/>
              <a:chExt cx="2268634" cy="4838611"/>
            </a:xfrm>
          </p:grpSpPr>
          <p:grpSp>
            <p:nvGrpSpPr>
              <p:cNvPr id="91" name="Группа 90">
                <a:extLst>
                  <a:ext uri="{FF2B5EF4-FFF2-40B4-BE49-F238E27FC236}">
                    <a16:creationId xmlns:a16="http://schemas.microsoft.com/office/drawing/2014/main" id="{EA764BBA-63EA-410F-5676-1FCF90B8707B}"/>
                  </a:ext>
                </a:extLst>
              </p:cNvPr>
              <p:cNvGrpSpPr/>
              <p:nvPr/>
            </p:nvGrpSpPr>
            <p:grpSpPr>
              <a:xfrm>
                <a:off x="8362206" y="8016858"/>
                <a:ext cx="2268634" cy="2268634"/>
                <a:chOff x="1009061" y="8853983"/>
                <a:chExt cx="7134813" cy="7134813"/>
              </a:xfrm>
            </p:grpSpPr>
            <p:sp>
              <p:nvSpPr>
                <p:cNvPr id="49" name="Скругленный прямоугольник 48">
                  <a:extLst>
                    <a:ext uri="{FF2B5EF4-FFF2-40B4-BE49-F238E27FC236}">
                      <a16:creationId xmlns:a16="http://schemas.microsoft.com/office/drawing/2014/main" id="{F7DAEF6A-6E6C-1211-B487-1CBFA62125AF}"/>
                    </a:ext>
                  </a:extLst>
                </p:cNvPr>
                <p:cNvSpPr/>
                <p:nvPr/>
              </p:nvSpPr>
              <p:spPr>
                <a:xfrm>
                  <a:off x="1009061" y="8853983"/>
                  <a:ext cx="7134813" cy="7134813"/>
                </a:xfrm>
                <a:prstGeom prst="roundRect">
                  <a:avLst>
                    <a:gd name="adj" fmla="val 1146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grpSp>
              <p:nvGrpSpPr>
                <p:cNvPr id="50" name="Группа 49">
                  <a:extLst>
                    <a:ext uri="{FF2B5EF4-FFF2-40B4-BE49-F238E27FC236}">
                      <a16:creationId xmlns:a16="http://schemas.microsoft.com/office/drawing/2014/main" id="{0388F729-D097-295C-8DE9-A2DDA7C79C9F}"/>
                    </a:ext>
                  </a:extLst>
                </p:cNvPr>
                <p:cNvGrpSpPr/>
                <p:nvPr/>
              </p:nvGrpSpPr>
              <p:grpSpPr>
                <a:xfrm>
                  <a:off x="3774099" y="9553325"/>
                  <a:ext cx="1604737" cy="5736129"/>
                  <a:chOff x="2225391" y="9886950"/>
                  <a:chExt cx="1604737" cy="5736129"/>
                </a:xfrm>
                <a:solidFill>
                  <a:srgbClr val="620CFD"/>
                </a:solidFill>
              </p:grpSpPr>
              <p:sp>
                <p:nvSpPr>
                  <p:cNvPr id="51" name="Нашивка 50">
                    <a:extLst>
                      <a:ext uri="{FF2B5EF4-FFF2-40B4-BE49-F238E27FC236}">
                        <a16:creationId xmlns:a16="http://schemas.microsoft.com/office/drawing/2014/main" id="{C892BF98-C74D-C02F-231E-46B9033686E6}"/>
                      </a:ext>
                    </a:extLst>
                  </p:cNvPr>
                  <p:cNvSpPr/>
                  <p:nvPr/>
                </p:nvSpPr>
                <p:spPr>
                  <a:xfrm>
                    <a:off x="2225391" y="9886950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52" name="Нашивка 51">
                    <a:extLst>
                      <a:ext uri="{FF2B5EF4-FFF2-40B4-BE49-F238E27FC236}">
                        <a16:creationId xmlns:a16="http://schemas.microsoft.com/office/drawing/2014/main" id="{6AB4BE88-76A0-9F65-3738-105521159EC7}"/>
                      </a:ext>
                    </a:extLst>
                  </p:cNvPr>
                  <p:cNvSpPr/>
                  <p:nvPr/>
                </p:nvSpPr>
                <p:spPr>
                  <a:xfrm>
                    <a:off x="2225391" y="11952646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55" name="Нашивка 54">
                    <a:extLst>
                      <a:ext uri="{FF2B5EF4-FFF2-40B4-BE49-F238E27FC236}">
                        <a16:creationId xmlns:a16="http://schemas.microsoft.com/office/drawing/2014/main" id="{8895BDCD-7402-F0C9-6B59-FA09CB625A90}"/>
                      </a:ext>
                    </a:extLst>
                  </p:cNvPr>
                  <p:cNvSpPr/>
                  <p:nvPr/>
                </p:nvSpPr>
                <p:spPr>
                  <a:xfrm>
                    <a:off x="2225391" y="14018342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</p:grpSp>
          </p:grpSp>
          <p:grpSp>
            <p:nvGrpSpPr>
              <p:cNvPr id="92" name="Группа 91">
                <a:extLst>
                  <a:ext uri="{FF2B5EF4-FFF2-40B4-BE49-F238E27FC236}">
                    <a16:creationId xmlns:a16="http://schemas.microsoft.com/office/drawing/2014/main" id="{DD7B5449-18E9-4AD1-7607-9A0782961944}"/>
                  </a:ext>
                </a:extLst>
              </p:cNvPr>
              <p:cNvGrpSpPr/>
              <p:nvPr/>
            </p:nvGrpSpPr>
            <p:grpSpPr>
              <a:xfrm>
                <a:off x="8362206" y="10586835"/>
                <a:ext cx="2268634" cy="2268634"/>
                <a:chOff x="9154552" y="8853983"/>
                <a:chExt cx="7134813" cy="7134813"/>
              </a:xfrm>
            </p:grpSpPr>
            <p:sp>
              <p:nvSpPr>
                <p:cNvPr id="67" name="Скругленный прямоугольник 66">
                  <a:extLst>
                    <a:ext uri="{FF2B5EF4-FFF2-40B4-BE49-F238E27FC236}">
                      <a16:creationId xmlns:a16="http://schemas.microsoft.com/office/drawing/2014/main" id="{2A416B92-CE2E-B761-19F7-8E6D9219797E}"/>
                    </a:ext>
                  </a:extLst>
                </p:cNvPr>
                <p:cNvSpPr/>
                <p:nvPr/>
              </p:nvSpPr>
              <p:spPr>
                <a:xfrm>
                  <a:off x="9154552" y="8853983"/>
                  <a:ext cx="7134813" cy="7134813"/>
                </a:xfrm>
                <a:prstGeom prst="roundRect">
                  <a:avLst>
                    <a:gd name="adj" fmla="val 1146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grpSp>
              <p:nvGrpSpPr>
                <p:cNvPr id="68" name="Группа 67">
                  <a:extLst>
                    <a:ext uri="{FF2B5EF4-FFF2-40B4-BE49-F238E27FC236}">
                      <a16:creationId xmlns:a16="http://schemas.microsoft.com/office/drawing/2014/main" id="{F5C37107-5D28-CB5F-6D57-B7866E834026}"/>
                    </a:ext>
                  </a:extLst>
                </p:cNvPr>
                <p:cNvGrpSpPr/>
                <p:nvPr/>
              </p:nvGrpSpPr>
              <p:grpSpPr>
                <a:xfrm rot="5400000">
                  <a:off x="11919590" y="9553324"/>
                  <a:ext cx="1604737" cy="5736129"/>
                  <a:chOff x="2225391" y="9886950"/>
                  <a:chExt cx="1604737" cy="5736129"/>
                </a:xfrm>
                <a:solidFill>
                  <a:srgbClr val="620CFD"/>
                </a:solidFill>
              </p:grpSpPr>
              <p:sp>
                <p:nvSpPr>
                  <p:cNvPr id="70" name="Нашивка 69">
                    <a:extLst>
                      <a:ext uri="{FF2B5EF4-FFF2-40B4-BE49-F238E27FC236}">
                        <a16:creationId xmlns:a16="http://schemas.microsoft.com/office/drawing/2014/main" id="{38100E25-5BFC-6FB3-80DF-625A3C44A751}"/>
                      </a:ext>
                    </a:extLst>
                  </p:cNvPr>
                  <p:cNvSpPr/>
                  <p:nvPr/>
                </p:nvSpPr>
                <p:spPr>
                  <a:xfrm>
                    <a:off x="2225391" y="9886950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89" name="Нашивка 88">
                    <a:extLst>
                      <a:ext uri="{FF2B5EF4-FFF2-40B4-BE49-F238E27FC236}">
                        <a16:creationId xmlns:a16="http://schemas.microsoft.com/office/drawing/2014/main" id="{3A1A3696-32E6-EEE3-BFB8-08506622E3D6}"/>
                      </a:ext>
                    </a:extLst>
                  </p:cNvPr>
                  <p:cNvSpPr/>
                  <p:nvPr/>
                </p:nvSpPr>
                <p:spPr>
                  <a:xfrm>
                    <a:off x="2225391" y="11952646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90" name="Нашивка 89">
                    <a:extLst>
                      <a:ext uri="{FF2B5EF4-FFF2-40B4-BE49-F238E27FC236}">
                        <a16:creationId xmlns:a16="http://schemas.microsoft.com/office/drawing/2014/main" id="{1D77322D-821A-0C9A-B2D2-BF193A1F35FF}"/>
                      </a:ext>
                    </a:extLst>
                  </p:cNvPr>
                  <p:cNvSpPr/>
                  <p:nvPr/>
                </p:nvSpPr>
                <p:spPr>
                  <a:xfrm>
                    <a:off x="2225391" y="14018342"/>
                    <a:ext cx="1604737" cy="1604737"/>
                  </a:xfrm>
                  <a:prstGeom prst="chevron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</p:grpSp>
          </p:grpSp>
        </p:grp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32CFA6B4-C242-D496-E833-F69E36F45BF1}"/>
              </a:ext>
            </a:extLst>
          </p:cNvPr>
          <p:cNvGrpSpPr/>
          <p:nvPr/>
        </p:nvGrpSpPr>
        <p:grpSpPr>
          <a:xfrm>
            <a:off x="6804692" y="685482"/>
            <a:ext cx="5077834" cy="5839143"/>
            <a:chOff x="6804692" y="7771871"/>
            <a:chExt cx="5077834" cy="5839143"/>
          </a:xfrm>
        </p:grpSpPr>
        <p:sp>
          <p:nvSpPr>
            <p:cNvPr id="4" name="Rectangle: Rounded Corners 70">
              <a:extLst>
                <a:ext uri="{FF2B5EF4-FFF2-40B4-BE49-F238E27FC236}">
                  <a16:creationId xmlns:a16="http://schemas.microsoft.com/office/drawing/2014/main" id="{09900249-5701-3A88-F696-C35C2A9B2E44}"/>
                </a:ext>
              </a:extLst>
            </p:cNvPr>
            <p:cNvSpPr/>
            <p:nvPr/>
          </p:nvSpPr>
          <p:spPr>
            <a:xfrm rot="10800000">
              <a:off x="7370966" y="7771871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29" name="Скругленный прямоугольник 28">
              <a:extLst>
                <a:ext uri="{FF2B5EF4-FFF2-40B4-BE49-F238E27FC236}">
                  <a16:creationId xmlns:a16="http://schemas.microsoft.com/office/drawing/2014/main" id="{44E54D65-4507-6DFF-4BC6-06E0FBF54833}"/>
                </a:ext>
              </a:extLst>
            </p:cNvPr>
            <p:cNvSpPr/>
            <p:nvPr/>
          </p:nvSpPr>
          <p:spPr>
            <a:xfrm>
              <a:off x="7600855" y="8105246"/>
              <a:ext cx="3671984" cy="1497477"/>
            </a:xfrm>
            <a:prstGeom prst="roundRect">
              <a:avLst>
                <a:gd name="adj" fmla="val 1672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2C3A867-97C8-3EB8-210A-4460D66A25D7}"/>
                </a:ext>
              </a:extLst>
            </p:cNvPr>
            <p:cNvSpPr txBox="1"/>
            <p:nvPr/>
          </p:nvSpPr>
          <p:spPr>
            <a:xfrm>
              <a:off x="7370966" y="8449417"/>
              <a:ext cx="3945284" cy="825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3000"/>
                </a:lnSpc>
              </a:pPr>
              <a:r>
                <a:rPr lang="ru-RU" sz="2000" dirty="0">
                  <a:latin typeface="Unbounded Medium" panose="020B0305040102020103" pitchFamily="34" charset="0"/>
                </a:rPr>
                <a:t>ЛЕВОСТОРОННЕЕ</a:t>
              </a:r>
              <a:br>
                <a:rPr lang="ru-RU" sz="2000" dirty="0">
                  <a:latin typeface="Unbounded Medium" panose="020B0305040102020103" pitchFamily="34" charset="0"/>
                </a:rPr>
              </a:br>
              <a:r>
                <a:rPr lang="ru-RU" sz="2000" dirty="0">
                  <a:latin typeface="Unbounded Medium" panose="020B0305040102020103" pitchFamily="34" charset="0"/>
                </a:rPr>
                <a:t>ВЫРАВНИВАНИЕ</a:t>
              </a:r>
            </a:p>
          </p:txBody>
        </p:sp>
        <p:sp>
          <p:nvSpPr>
            <p:cNvPr id="38" name="Скругленный прямоугольник 37">
              <a:extLst>
                <a:ext uri="{FF2B5EF4-FFF2-40B4-BE49-F238E27FC236}">
                  <a16:creationId xmlns:a16="http://schemas.microsoft.com/office/drawing/2014/main" id="{70AB241C-C55A-B189-6C4C-CA737CA2C198}"/>
                </a:ext>
              </a:extLst>
            </p:cNvPr>
            <p:cNvSpPr/>
            <p:nvPr/>
          </p:nvSpPr>
          <p:spPr>
            <a:xfrm>
              <a:off x="7600855" y="9939160"/>
              <a:ext cx="3671984" cy="1497477"/>
            </a:xfrm>
            <a:prstGeom prst="roundRect">
              <a:avLst>
                <a:gd name="adj" fmla="val 1672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DACE8BC-BA63-205C-B6AD-C1ACF7BD4C89}"/>
                </a:ext>
              </a:extLst>
            </p:cNvPr>
            <p:cNvSpPr txBox="1"/>
            <p:nvPr/>
          </p:nvSpPr>
          <p:spPr>
            <a:xfrm>
              <a:off x="7547494" y="10283331"/>
              <a:ext cx="3592230" cy="825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3000"/>
                </a:lnSpc>
              </a:pPr>
              <a:r>
                <a:rPr lang="ru-RU" sz="2000" dirty="0">
                  <a:latin typeface="Unbounded Medium" panose="020B0305040102020103" pitchFamily="34" charset="0"/>
                </a:rPr>
                <a:t>ЦЕНТРАЛЬНОЕ</a:t>
              </a:r>
              <a:br>
                <a:rPr lang="ru-RU" sz="2000" dirty="0">
                  <a:latin typeface="Unbounded Medium" panose="020B0305040102020103" pitchFamily="34" charset="0"/>
                </a:rPr>
              </a:br>
              <a:r>
                <a:rPr lang="ru-RU" sz="2000" dirty="0">
                  <a:latin typeface="Unbounded Medium" panose="020B0305040102020103" pitchFamily="34" charset="0"/>
                </a:rPr>
                <a:t>ВЫРАВНИВАНИЕ</a:t>
              </a:r>
            </a:p>
          </p:txBody>
        </p:sp>
        <p:sp>
          <p:nvSpPr>
            <p:cNvPr id="41" name="Скругленный прямоугольник 40">
              <a:extLst>
                <a:ext uri="{FF2B5EF4-FFF2-40B4-BE49-F238E27FC236}">
                  <a16:creationId xmlns:a16="http://schemas.microsoft.com/office/drawing/2014/main" id="{4090462C-FC95-BDAE-E119-F093839C22D2}"/>
                </a:ext>
              </a:extLst>
            </p:cNvPr>
            <p:cNvSpPr/>
            <p:nvPr/>
          </p:nvSpPr>
          <p:spPr>
            <a:xfrm>
              <a:off x="7600855" y="11673472"/>
              <a:ext cx="3671984" cy="1497477"/>
            </a:xfrm>
            <a:prstGeom prst="roundRect">
              <a:avLst>
                <a:gd name="adj" fmla="val 1672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D4462BD-7885-1F1C-667D-122354EA0268}"/>
                </a:ext>
              </a:extLst>
            </p:cNvPr>
            <p:cNvSpPr txBox="1"/>
            <p:nvPr/>
          </p:nvSpPr>
          <p:spPr>
            <a:xfrm>
              <a:off x="6804692" y="12017643"/>
              <a:ext cx="5077834" cy="825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3000"/>
                </a:lnSpc>
              </a:pPr>
              <a:r>
                <a:rPr lang="ru-RU" sz="2000" dirty="0">
                  <a:latin typeface="Unbounded Medium" panose="020B0305040102020103" pitchFamily="34" charset="0"/>
                </a:rPr>
                <a:t>ПРАВОСТОРОННЕЕ</a:t>
              </a:r>
              <a:br>
                <a:rPr lang="ru-RU" sz="2000" dirty="0">
                  <a:latin typeface="Unbounded Medium" panose="020B0305040102020103" pitchFamily="34" charset="0"/>
                </a:rPr>
              </a:br>
              <a:r>
                <a:rPr lang="ru-RU" sz="2000" dirty="0">
                  <a:latin typeface="Unbounded Medium" panose="020B0305040102020103" pitchFamily="34" charset="0"/>
                </a:rPr>
                <a:t>ВЫРАВНИВАНИЕ</a:t>
              </a:r>
            </a:p>
          </p:txBody>
        </p:sp>
      </p:grpSp>
      <p:sp>
        <p:nvSpPr>
          <p:cNvPr id="5" name="Rectangle: Rounded Corners 70">
            <a:extLst>
              <a:ext uri="{FF2B5EF4-FFF2-40B4-BE49-F238E27FC236}">
                <a16:creationId xmlns:a16="http://schemas.microsoft.com/office/drawing/2014/main" id="{42318812-01E7-2A9E-05C9-E4BBAE774C85}"/>
              </a:ext>
            </a:extLst>
          </p:cNvPr>
          <p:cNvSpPr/>
          <p:nvPr/>
        </p:nvSpPr>
        <p:spPr>
          <a:xfrm rot="10800000">
            <a:off x="7370966" y="7543482"/>
            <a:ext cx="4216202" cy="5839143"/>
          </a:xfrm>
          <a:prstGeom prst="roundRect">
            <a:avLst>
              <a:gd name="adj" fmla="val 5955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20354E17-0858-0D7B-87DD-C12485E211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4269" y="8009351"/>
            <a:ext cx="12255897" cy="4971434"/>
          </a:xfrm>
          <a:prstGeom prst="roundRect">
            <a:avLst>
              <a:gd name="adj" fmla="val 12297"/>
            </a:avLst>
          </a:prstGeom>
          <a:effectLst>
            <a:reflection blurRad="6350" stA="52000" endA="300" endPos="3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1219423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CA9D3742-5B11-73AC-0569-D484D6C30351}"/>
              </a:ext>
            </a:extLst>
          </p:cNvPr>
          <p:cNvGrpSpPr/>
          <p:nvPr/>
        </p:nvGrpSpPr>
        <p:grpSpPr>
          <a:xfrm>
            <a:off x="507862" y="-5482957"/>
            <a:ext cx="5913850" cy="4381822"/>
            <a:chOff x="507863" y="2142803"/>
            <a:chExt cx="5913850" cy="4381822"/>
          </a:xfrm>
        </p:grpSpPr>
        <p:sp>
          <p:nvSpPr>
            <p:cNvPr id="44" name="Rectangle: Rounded Corners 70">
              <a:extLst>
                <a:ext uri="{FF2B5EF4-FFF2-40B4-BE49-F238E27FC236}">
                  <a16:creationId xmlns:a16="http://schemas.microsoft.com/office/drawing/2014/main" id="{8D778FE8-4CB8-8698-5C46-1CBF5BA2FD2A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174F6D0-5FA7-75B7-C6C5-C6868AC4C842}"/>
                </a:ext>
              </a:extLst>
            </p:cNvPr>
            <p:cNvSpPr txBox="1"/>
            <p:nvPr/>
          </p:nvSpPr>
          <p:spPr>
            <a:xfrm>
              <a:off x="772809" y="2390061"/>
              <a:ext cx="5323191" cy="6345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36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ВЫРАВНИВАНИЕ</a:t>
              </a:r>
            </a:p>
          </p:txBody>
        </p:sp>
      </p:grp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7C342864-C1B9-43B3-69DB-26D509EDFF30}"/>
              </a:ext>
            </a:extLst>
          </p:cNvPr>
          <p:cNvSpPr/>
          <p:nvPr/>
        </p:nvSpPr>
        <p:spPr>
          <a:xfrm>
            <a:off x="9140923" y="0"/>
            <a:ext cx="711200" cy="6858000"/>
          </a:xfrm>
          <a:prstGeom prst="rect">
            <a:avLst/>
          </a:prstGeom>
          <a:gradFill>
            <a:gsLst>
              <a:gs pos="98000">
                <a:srgbClr val="C0DCFD">
                  <a:alpha val="53000"/>
                </a:srgbClr>
              </a:gs>
              <a:gs pos="55000">
                <a:srgbClr val="C0DCFD">
                  <a:alpha val="0"/>
                </a:srgbClr>
              </a:gs>
              <a:gs pos="0">
                <a:srgbClr val="C0DCFD">
                  <a:alpha val="46085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Rectangle: Rounded Corners 70">
            <a:extLst>
              <a:ext uri="{FF2B5EF4-FFF2-40B4-BE49-F238E27FC236}">
                <a16:creationId xmlns:a16="http://schemas.microsoft.com/office/drawing/2014/main" id="{4E72B930-5E19-99B7-E393-DC73487B625A}"/>
              </a:ext>
            </a:extLst>
          </p:cNvPr>
          <p:cNvSpPr/>
          <p:nvPr/>
        </p:nvSpPr>
        <p:spPr>
          <a:xfrm rot="10800000">
            <a:off x="507863" y="685482"/>
            <a:ext cx="5997183" cy="1136385"/>
          </a:xfrm>
          <a:prstGeom prst="roundRect">
            <a:avLst>
              <a:gd name="adj" fmla="val 27611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57" name="Скругленный прямоугольник 56">
            <a:extLst>
              <a:ext uri="{FF2B5EF4-FFF2-40B4-BE49-F238E27FC236}">
                <a16:creationId xmlns:a16="http://schemas.microsoft.com/office/drawing/2014/main" id="{EC685C8B-9F8C-5931-CC05-7A74BFA71560}"/>
              </a:ext>
            </a:extLst>
          </p:cNvPr>
          <p:cNvSpPr/>
          <p:nvPr/>
        </p:nvSpPr>
        <p:spPr>
          <a:xfrm rot="5400000">
            <a:off x="1335478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Скругленный прямоугольник 57">
            <a:extLst>
              <a:ext uri="{FF2B5EF4-FFF2-40B4-BE49-F238E27FC236}">
                <a16:creationId xmlns:a16="http://schemas.microsoft.com/office/drawing/2014/main" id="{3AF22607-5A27-1866-739C-78BEAB03302E}"/>
              </a:ext>
            </a:extLst>
          </p:cNvPr>
          <p:cNvSpPr/>
          <p:nvPr/>
        </p:nvSpPr>
        <p:spPr>
          <a:xfrm rot="5400000">
            <a:off x="1780257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Скругленный прямоугольник 58">
            <a:extLst>
              <a:ext uri="{FF2B5EF4-FFF2-40B4-BE49-F238E27FC236}">
                <a16:creationId xmlns:a16="http://schemas.microsoft.com/office/drawing/2014/main" id="{CC1E7B9B-6937-C246-CBBB-2368CEFD595B}"/>
              </a:ext>
            </a:extLst>
          </p:cNvPr>
          <p:cNvSpPr/>
          <p:nvPr/>
        </p:nvSpPr>
        <p:spPr>
          <a:xfrm rot="5400000">
            <a:off x="2225036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Скругленный прямоугольник 59">
            <a:extLst>
              <a:ext uri="{FF2B5EF4-FFF2-40B4-BE49-F238E27FC236}">
                <a16:creationId xmlns:a16="http://schemas.microsoft.com/office/drawing/2014/main" id="{34093E35-2865-2CE2-22ED-4B0A04F7077A}"/>
              </a:ext>
            </a:extLst>
          </p:cNvPr>
          <p:cNvSpPr/>
          <p:nvPr/>
        </p:nvSpPr>
        <p:spPr>
          <a:xfrm rot="5400000">
            <a:off x="2669815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Скругленный прямоугольник 60">
            <a:extLst>
              <a:ext uri="{FF2B5EF4-FFF2-40B4-BE49-F238E27FC236}">
                <a16:creationId xmlns:a16="http://schemas.microsoft.com/office/drawing/2014/main" id="{6C55457C-5990-E4C0-2080-3B6BF8D224A4}"/>
              </a:ext>
            </a:extLst>
          </p:cNvPr>
          <p:cNvSpPr/>
          <p:nvPr/>
        </p:nvSpPr>
        <p:spPr>
          <a:xfrm rot="5400000">
            <a:off x="3114594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Скругленный прямоугольник 61">
            <a:extLst>
              <a:ext uri="{FF2B5EF4-FFF2-40B4-BE49-F238E27FC236}">
                <a16:creationId xmlns:a16="http://schemas.microsoft.com/office/drawing/2014/main" id="{E2C3767B-DF73-EB57-4922-922FE33EBCFA}"/>
              </a:ext>
            </a:extLst>
          </p:cNvPr>
          <p:cNvSpPr/>
          <p:nvPr/>
        </p:nvSpPr>
        <p:spPr>
          <a:xfrm rot="5400000">
            <a:off x="355937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кругленный прямоугольник 62">
            <a:extLst>
              <a:ext uri="{FF2B5EF4-FFF2-40B4-BE49-F238E27FC236}">
                <a16:creationId xmlns:a16="http://schemas.microsoft.com/office/drawing/2014/main" id="{B96ED38E-92EE-71D4-E04D-D5F092255D9C}"/>
              </a:ext>
            </a:extLst>
          </p:cNvPr>
          <p:cNvSpPr/>
          <p:nvPr/>
        </p:nvSpPr>
        <p:spPr>
          <a:xfrm rot="5400000">
            <a:off x="4004152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Скругленный прямоугольник 63">
            <a:extLst>
              <a:ext uri="{FF2B5EF4-FFF2-40B4-BE49-F238E27FC236}">
                <a16:creationId xmlns:a16="http://schemas.microsoft.com/office/drawing/2014/main" id="{AD39B888-1BA2-5380-C7E7-12D35A0DA290}"/>
              </a:ext>
            </a:extLst>
          </p:cNvPr>
          <p:cNvSpPr/>
          <p:nvPr/>
        </p:nvSpPr>
        <p:spPr>
          <a:xfrm rot="5400000">
            <a:off x="533849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Скругленный прямоугольник 64">
            <a:extLst>
              <a:ext uri="{FF2B5EF4-FFF2-40B4-BE49-F238E27FC236}">
                <a16:creationId xmlns:a16="http://schemas.microsoft.com/office/drawing/2014/main" id="{B57DEFAB-3198-35BC-C517-56267773D1A3}"/>
              </a:ext>
            </a:extLst>
          </p:cNvPr>
          <p:cNvSpPr/>
          <p:nvPr/>
        </p:nvSpPr>
        <p:spPr>
          <a:xfrm rot="5400000">
            <a:off x="4893710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кругленный прямоугольник 65">
            <a:extLst>
              <a:ext uri="{FF2B5EF4-FFF2-40B4-BE49-F238E27FC236}">
                <a16:creationId xmlns:a16="http://schemas.microsoft.com/office/drawing/2014/main" id="{7C5B89BA-91D6-4CBE-F3DA-5603D25E9265}"/>
              </a:ext>
            </a:extLst>
          </p:cNvPr>
          <p:cNvSpPr/>
          <p:nvPr/>
        </p:nvSpPr>
        <p:spPr>
          <a:xfrm rot="5400000">
            <a:off x="4448931" y="893475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AB4BB9A-DCC0-1935-48B9-818BA23D4A79}"/>
              </a:ext>
            </a:extLst>
          </p:cNvPr>
          <p:cNvSpPr txBox="1"/>
          <p:nvPr/>
        </p:nvSpPr>
        <p:spPr>
          <a:xfrm>
            <a:off x="1289469" y="1253674"/>
            <a:ext cx="5188527" cy="385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" panose="020B0305040102020103" pitchFamily="34" charset="0"/>
                <a:cs typeface="Times New Roman" panose="02020603050405020304" pitchFamily="18" charset="0"/>
              </a:rPr>
              <a:t>Азбука качественного визуала</a:t>
            </a:r>
          </a:p>
        </p:txBody>
      </p:sp>
      <p:sp useBgFill="1">
        <p:nvSpPr>
          <p:cNvPr id="71" name="Полилиния 70">
            <a:extLst>
              <a:ext uri="{FF2B5EF4-FFF2-40B4-BE49-F238E27FC236}">
                <a16:creationId xmlns:a16="http://schemas.microsoft.com/office/drawing/2014/main" id="{A119041F-0060-FE60-3BAD-0947D31F50E6}"/>
              </a:ext>
            </a:extLst>
          </p:cNvPr>
          <p:cNvSpPr/>
          <p:nvPr/>
        </p:nvSpPr>
        <p:spPr>
          <a:xfrm>
            <a:off x="507862" y="-1226127"/>
            <a:ext cx="5997184" cy="3047995"/>
          </a:xfrm>
          <a:custGeom>
            <a:avLst/>
            <a:gdLst>
              <a:gd name="connsiteX0" fmla="*/ 0 w 5997184"/>
              <a:gd name="connsiteY0" fmla="*/ 0 h 3047995"/>
              <a:gd name="connsiteX1" fmla="*/ 5997184 w 5997184"/>
              <a:gd name="connsiteY1" fmla="*/ 0 h 3047995"/>
              <a:gd name="connsiteX2" fmla="*/ 5997184 w 5997184"/>
              <a:gd name="connsiteY2" fmla="*/ 2225376 h 3047995"/>
              <a:gd name="connsiteX3" fmla="*/ 5683417 w 5997184"/>
              <a:gd name="connsiteY3" fmla="*/ 1911609 h 3047995"/>
              <a:gd name="connsiteX4" fmla="*/ 313768 w 5997184"/>
              <a:gd name="connsiteY4" fmla="*/ 1911609 h 3047995"/>
              <a:gd name="connsiteX5" fmla="*/ 1 w 5997184"/>
              <a:gd name="connsiteY5" fmla="*/ 2225376 h 3047995"/>
              <a:gd name="connsiteX6" fmla="*/ 1 w 5997184"/>
              <a:gd name="connsiteY6" fmla="*/ 2734227 h 3047995"/>
              <a:gd name="connsiteX7" fmla="*/ 313768 w 5997184"/>
              <a:gd name="connsiteY7" fmla="*/ 3047994 h 3047995"/>
              <a:gd name="connsiteX8" fmla="*/ 5683417 w 5997184"/>
              <a:gd name="connsiteY8" fmla="*/ 3047994 h 3047995"/>
              <a:gd name="connsiteX9" fmla="*/ 5997184 w 5997184"/>
              <a:gd name="connsiteY9" fmla="*/ 2734227 h 3047995"/>
              <a:gd name="connsiteX10" fmla="*/ 5997184 w 5997184"/>
              <a:gd name="connsiteY10" fmla="*/ 3047995 h 3047995"/>
              <a:gd name="connsiteX11" fmla="*/ 0 w 5997184"/>
              <a:gd name="connsiteY11" fmla="*/ 3047995 h 304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997184" h="3047995">
                <a:moveTo>
                  <a:pt x="0" y="0"/>
                </a:moveTo>
                <a:lnTo>
                  <a:pt x="5997184" y="0"/>
                </a:lnTo>
                <a:lnTo>
                  <a:pt x="5997184" y="2225376"/>
                </a:lnTo>
                <a:cubicBezTo>
                  <a:pt x="5997184" y="2052087"/>
                  <a:pt x="5856706" y="1911609"/>
                  <a:pt x="5683417" y="1911609"/>
                </a:cubicBezTo>
                <a:lnTo>
                  <a:pt x="313768" y="1911609"/>
                </a:lnTo>
                <a:cubicBezTo>
                  <a:pt x="140479" y="1911609"/>
                  <a:pt x="1" y="2052087"/>
                  <a:pt x="1" y="2225376"/>
                </a:cubicBezTo>
                <a:lnTo>
                  <a:pt x="1" y="2734227"/>
                </a:lnTo>
                <a:cubicBezTo>
                  <a:pt x="1" y="2907516"/>
                  <a:pt x="140479" y="3047994"/>
                  <a:pt x="313768" y="3047994"/>
                </a:cubicBezTo>
                <a:lnTo>
                  <a:pt x="5683417" y="3047994"/>
                </a:lnTo>
                <a:cubicBezTo>
                  <a:pt x="5856706" y="3047994"/>
                  <a:pt x="5997184" y="2907516"/>
                  <a:pt x="5997184" y="2734227"/>
                </a:cubicBezTo>
                <a:lnTo>
                  <a:pt x="5997184" y="3047995"/>
                </a:lnTo>
                <a:lnTo>
                  <a:pt x="0" y="304799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B9D371BF-803B-A30D-2911-3B9CEFDA344C}"/>
              </a:ext>
            </a:extLst>
          </p:cNvPr>
          <p:cNvGrpSpPr/>
          <p:nvPr/>
        </p:nvGrpSpPr>
        <p:grpSpPr>
          <a:xfrm>
            <a:off x="-3517807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2776F762-6191-9C3A-04B0-F7632B078202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79A7D83F-D501-8758-E699-6059DAC43E75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7" name="Рисунок 3">
            <a:extLst>
              <a:ext uri="{FF2B5EF4-FFF2-40B4-BE49-F238E27FC236}">
                <a16:creationId xmlns:a16="http://schemas.microsoft.com/office/drawing/2014/main" id="{56295991-5BE7-36A2-05FC-C41D90410B7A}"/>
              </a:ext>
            </a:extLst>
          </p:cNvPr>
          <p:cNvGrpSpPr/>
          <p:nvPr/>
        </p:nvGrpSpPr>
        <p:grpSpPr>
          <a:xfrm>
            <a:off x="-2846667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491CF97A-523B-F1DC-DC58-B5153C90AEB4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33256969-A9F0-82A9-8386-11518CF8D97B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D53FC78-1470-5880-CC4B-564B2D535439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2DA2E124-1C66-6FFE-FE8E-B01C1BA28622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5A820B68-6596-BDA0-EE3C-CDCF23BFD057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3A62DF1B-3CCD-FA09-535B-349066C73EEF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0F9983CE-6C20-A7DA-B20B-5531D5ECF0EC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27CF1737-278F-1365-6768-D7226C154BD2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F82A8CAF-5B1E-251F-D1C9-75583580C453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2F90F89D-256A-D452-B3CD-217CB800535C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82038AB9-EC9D-4C16-32DD-11D31DCD5A9D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332B7EF8-FF48-AA01-5067-5BF1C0F4D58B}"/>
              </a:ext>
            </a:extLst>
          </p:cNvPr>
          <p:cNvGrpSpPr/>
          <p:nvPr/>
        </p:nvGrpSpPr>
        <p:grpSpPr>
          <a:xfrm>
            <a:off x="507863" y="2142803"/>
            <a:ext cx="5913850" cy="4381822"/>
            <a:chOff x="507863" y="2142803"/>
            <a:chExt cx="5913850" cy="4381822"/>
          </a:xfrm>
        </p:grpSpPr>
        <p:sp>
          <p:nvSpPr>
            <p:cNvPr id="54" name="Rectangle: Rounded Corners 70">
              <a:extLst>
                <a:ext uri="{FF2B5EF4-FFF2-40B4-BE49-F238E27FC236}">
                  <a16:creationId xmlns:a16="http://schemas.microsoft.com/office/drawing/2014/main" id="{4327CDC1-48EC-6BD3-AF66-6729DE9D59C1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B304BB7-F66A-0C52-94BD-5F572C1748EC}"/>
                </a:ext>
              </a:extLst>
            </p:cNvPr>
            <p:cNvSpPr txBox="1"/>
            <p:nvPr/>
          </p:nvSpPr>
          <p:spPr>
            <a:xfrm>
              <a:off x="772809" y="2536240"/>
              <a:ext cx="5323191" cy="66941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КОНТРАСТ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7149347-F84C-AFC9-C882-776C3959EB17}"/>
                </a:ext>
              </a:extLst>
            </p:cNvPr>
            <p:cNvSpPr txBox="1"/>
            <p:nvPr/>
          </p:nvSpPr>
          <p:spPr>
            <a:xfrm>
              <a:off x="772809" y="3297422"/>
              <a:ext cx="5098613" cy="9076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en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Color Contrast </a:t>
              </a:r>
              <a:b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</a:br>
              <a:r>
                <a:rPr lang="en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Checker - </a:t>
              </a:r>
              <a:r>
                <a:rPr lang="en" sz="2400" dirty="0" err="1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Coolors</a:t>
              </a:r>
              <a:endParaRPr lang="ru-RU" sz="2400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B4C13FEF-70EC-BC2E-E5E6-F57D74EF40C2}"/>
              </a:ext>
            </a:extLst>
          </p:cNvPr>
          <p:cNvGrpSpPr/>
          <p:nvPr/>
        </p:nvGrpSpPr>
        <p:grpSpPr>
          <a:xfrm>
            <a:off x="6804692" y="-6172518"/>
            <a:ext cx="5077834" cy="5839143"/>
            <a:chOff x="6804692" y="7771871"/>
            <a:chExt cx="5077834" cy="5839143"/>
          </a:xfrm>
        </p:grpSpPr>
        <p:sp>
          <p:nvSpPr>
            <p:cNvPr id="3" name="Rectangle: Rounded Corners 70">
              <a:extLst>
                <a:ext uri="{FF2B5EF4-FFF2-40B4-BE49-F238E27FC236}">
                  <a16:creationId xmlns:a16="http://schemas.microsoft.com/office/drawing/2014/main" id="{202C4490-FAA4-2EFE-5C68-65E0E4171403}"/>
                </a:ext>
              </a:extLst>
            </p:cNvPr>
            <p:cNvSpPr/>
            <p:nvPr/>
          </p:nvSpPr>
          <p:spPr>
            <a:xfrm rot="10800000">
              <a:off x="7370966" y="7771871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4" name="Скругленный прямоугольник 3">
              <a:extLst>
                <a:ext uri="{FF2B5EF4-FFF2-40B4-BE49-F238E27FC236}">
                  <a16:creationId xmlns:a16="http://schemas.microsoft.com/office/drawing/2014/main" id="{3A53EF2D-18DA-C370-2400-E7955D0B263A}"/>
                </a:ext>
              </a:extLst>
            </p:cNvPr>
            <p:cNvSpPr/>
            <p:nvPr/>
          </p:nvSpPr>
          <p:spPr>
            <a:xfrm>
              <a:off x="7600855" y="8105246"/>
              <a:ext cx="3671984" cy="1497477"/>
            </a:xfrm>
            <a:prstGeom prst="roundRect">
              <a:avLst>
                <a:gd name="adj" fmla="val 1672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F4A98859-FC89-BC20-4ACD-C6938CD0B958}"/>
                </a:ext>
              </a:extLst>
            </p:cNvPr>
            <p:cNvSpPr txBox="1"/>
            <p:nvPr/>
          </p:nvSpPr>
          <p:spPr>
            <a:xfrm>
              <a:off x="7370966" y="8449417"/>
              <a:ext cx="3945284" cy="825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3000"/>
                </a:lnSpc>
              </a:pPr>
              <a:r>
                <a:rPr lang="ru-RU" sz="2000" dirty="0">
                  <a:latin typeface="Unbounded Medium" panose="020B0305040102020103" pitchFamily="34" charset="0"/>
                </a:rPr>
                <a:t>ЛЕВОСТОРОННЕЕ</a:t>
              </a:r>
              <a:br>
                <a:rPr lang="ru-RU" sz="2000" dirty="0">
                  <a:latin typeface="Unbounded Medium" panose="020B0305040102020103" pitchFamily="34" charset="0"/>
                </a:rPr>
              </a:br>
              <a:r>
                <a:rPr lang="ru-RU" sz="2000" dirty="0">
                  <a:latin typeface="Unbounded Medium" panose="020B0305040102020103" pitchFamily="34" charset="0"/>
                </a:rPr>
                <a:t>ВЫРАВНИВАНИЕ</a:t>
              </a:r>
            </a:p>
          </p:txBody>
        </p:sp>
        <p:sp>
          <p:nvSpPr>
            <p:cNvPr id="6" name="Скругленный прямоугольник 5">
              <a:extLst>
                <a:ext uri="{FF2B5EF4-FFF2-40B4-BE49-F238E27FC236}">
                  <a16:creationId xmlns:a16="http://schemas.microsoft.com/office/drawing/2014/main" id="{E67C6764-B933-8EAF-663D-D40264EAA7D1}"/>
                </a:ext>
              </a:extLst>
            </p:cNvPr>
            <p:cNvSpPr/>
            <p:nvPr/>
          </p:nvSpPr>
          <p:spPr>
            <a:xfrm>
              <a:off x="7600855" y="9939160"/>
              <a:ext cx="3671984" cy="1497477"/>
            </a:xfrm>
            <a:prstGeom prst="roundRect">
              <a:avLst>
                <a:gd name="adj" fmla="val 1672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2A14F1B-1294-A923-0EE9-8053B029063C}"/>
                </a:ext>
              </a:extLst>
            </p:cNvPr>
            <p:cNvSpPr txBox="1"/>
            <p:nvPr/>
          </p:nvSpPr>
          <p:spPr>
            <a:xfrm>
              <a:off x="7547494" y="10283331"/>
              <a:ext cx="3592230" cy="825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3000"/>
                </a:lnSpc>
              </a:pPr>
              <a:r>
                <a:rPr lang="ru-RU" sz="2000" dirty="0">
                  <a:latin typeface="Unbounded Medium" panose="020B0305040102020103" pitchFamily="34" charset="0"/>
                </a:rPr>
                <a:t>ЦЕНТРАЛЬНОЕ</a:t>
              </a:r>
              <a:br>
                <a:rPr lang="ru-RU" sz="2000" dirty="0">
                  <a:latin typeface="Unbounded Medium" panose="020B0305040102020103" pitchFamily="34" charset="0"/>
                </a:rPr>
              </a:br>
              <a:r>
                <a:rPr lang="ru-RU" sz="2000" dirty="0">
                  <a:latin typeface="Unbounded Medium" panose="020B0305040102020103" pitchFamily="34" charset="0"/>
                </a:rPr>
                <a:t>ВЫРАВНИВАНИЕ</a:t>
              </a:r>
            </a:p>
          </p:txBody>
        </p:sp>
        <p:sp>
          <p:nvSpPr>
            <p:cNvPr id="8" name="Скругленный прямоугольник 7">
              <a:extLst>
                <a:ext uri="{FF2B5EF4-FFF2-40B4-BE49-F238E27FC236}">
                  <a16:creationId xmlns:a16="http://schemas.microsoft.com/office/drawing/2014/main" id="{9D87E9E8-801D-C9A2-65CC-C6F983A48440}"/>
                </a:ext>
              </a:extLst>
            </p:cNvPr>
            <p:cNvSpPr/>
            <p:nvPr/>
          </p:nvSpPr>
          <p:spPr>
            <a:xfrm>
              <a:off x="7600855" y="11673472"/>
              <a:ext cx="3671984" cy="1497477"/>
            </a:xfrm>
            <a:prstGeom prst="roundRect">
              <a:avLst>
                <a:gd name="adj" fmla="val 1672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32A464A-D0E2-8B64-C7C9-26E0A0EF63D0}"/>
                </a:ext>
              </a:extLst>
            </p:cNvPr>
            <p:cNvSpPr txBox="1"/>
            <p:nvPr/>
          </p:nvSpPr>
          <p:spPr>
            <a:xfrm>
              <a:off x="6804692" y="12017643"/>
              <a:ext cx="5077834" cy="825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3000"/>
                </a:lnSpc>
              </a:pPr>
              <a:r>
                <a:rPr lang="ru-RU" sz="2000" dirty="0">
                  <a:latin typeface="Unbounded Medium" panose="020B0305040102020103" pitchFamily="34" charset="0"/>
                </a:rPr>
                <a:t>ПРАВОСТОРОННЕЕ</a:t>
              </a:r>
              <a:br>
                <a:rPr lang="ru-RU" sz="2000" dirty="0">
                  <a:latin typeface="Unbounded Medium" panose="020B0305040102020103" pitchFamily="34" charset="0"/>
                </a:rPr>
              </a:br>
              <a:r>
                <a:rPr lang="ru-RU" sz="2000" dirty="0">
                  <a:latin typeface="Unbounded Medium" panose="020B0305040102020103" pitchFamily="34" charset="0"/>
                </a:rPr>
                <a:t>ВЫРАВНИВАНИЕ</a:t>
              </a:r>
            </a:p>
          </p:txBody>
        </p:sp>
      </p:grpSp>
      <p:sp>
        <p:nvSpPr>
          <p:cNvPr id="10" name="Rectangle: Rounded Corners 70">
            <a:extLst>
              <a:ext uri="{FF2B5EF4-FFF2-40B4-BE49-F238E27FC236}">
                <a16:creationId xmlns:a16="http://schemas.microsoft.com/office/drawing/2014/main" id="{627F3B8B-B345-4BF3-6150-D6E096FE7C42}"/>
              </a:ext>
            </a:extLst>
          </p:cNvPr>
          <p:cNvSpPr/>
          <p:nvPr/>
        </p:nvSpPr>
        <p:spPr>
          <a:xfrm rot="10800000">
            <a:off x="7370966" y="685482"/>
            <a:ext cx="4216202" cy="5839143"/>
          </a:xfrm>
          <a:prstGeom prst="roundRect">
            <a:avLst>
              <a:gd name="adj" fmla="val 5955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D23FF6E-EA9A-F67E-99C6-A4A549950A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4269" y="1151351"/>
            <a:ext cx="12255897" cy="4971434"/>
          </a:xfrm>
          <a:prstGeom prst="roundRect">
            <a:avLst>
              <a:gd name="adj" fmla="val 12297"/>
            </a:avLst>
          </a:prstGeom>
          <a:effectLst>
            <a:reflection blurRad="6350" stA="52000" endA="300" endPos="35000" dir="5400000" sy="-100000" algn="bl" rotWithShape="0"/>
          </a:effectLst>
        </p:spPr>
      </p:pic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4822BDB9-3F34-8F13-FB86-904C498E6C20}"/>
              </a:ext>
            </a:extLst>
          </p:cNvPr>
          <p:cNvGrpSpPr/>
          <p:nvPr/>
        </p:nvGrpSpPr>
        <p:grpSpPr>
          <a:xfrm>
            <a:off x="7370966" y="7575379"/>
            <a:ext cx="4216202" cy="5839143"/>
            <a:chOff x="7370966" y="7575379"/>
            <a:chExt cx="4216202" cy="5839143"/>
          </a:xfrm>
        </p:grpSpPr>
        <p:sp>
          <p:nvSpPr>
            <p:cNvPr id="13" name="Rectangle: Rounded Corners 70">
              <a:extLst>
                <a:ext uri="{FF2B5EF4-FFF2-40B4-BE49-F238E27FC236}">
                  <a16:creationId xmlns:a16="http://schemas.microsoft.com/office/drawing/2014/main" id="{4DBA960E-68B5-AB21-C384-B79256955A49}"/>
                </a:ext>
              </a:extLst>
            </p:cNvPr>
            <p:cNvSpPr/>
            <p:nvPr/>
          </p:nvSpPr>
          <p:spPr>
            <a:xfrm rot="10800000">
              <a:off x="7370966" y="7575379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grpSp>
          <p:nvGrpSpPr>
            <p:cNvPr id="40" name="Группа 39">
              <a:extLst>
                <a:ext uri="{FF2B5EF4-FFF2-40B4-BE49-F238E27FC236}">
                  <a16:creationId xmlns:a16="http://schemas.microsoft.com/office/drawing/2014/main" id="{49F4A409-B86E-A711-34DD-E5D2665F7B11}"/>
                </a:ext>
              </a:extLst>
            </p:cNvPr>
            <p:cNvGrpSpPr/>
            <p:nvPr/>
          </p:nvGrpSpPr>
          <p:grpSpPr>
            <a:xfrm>
              <a:off x="7722151" y="8017407"/>
              <a:ext cx="3594099" cy="4955088"/>
              <a:chOff x="7722151" y="7983305"/>
              <a:chExt cx="3594099" cy="4955088"/>
            </a:xfrm>
          </p:grpSpPr>
          <p:pic>
            <p:nvPicPr>
              <p:cNvPr id="37" name="Рисунок 36">
                <a:extLst>
                  <a:ext uri="{FF2B5EF4-FFF2-40B4-BE49-F238E27FC236}">
                    <a16:creationId xmlns:a16="http://schemas.microsoft.com/office/drawing/2014/main" id="{C6B83001-BBDF-5195-75B1-9190B91B4E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722151" y="7983305"/>
                <a:ext cx="2465532" cy="2403686"/>
              </a:xfrm>
              <a:prstGeom prst="rect">
                <a:avLst/>
              </a:prstGeom>
            </p:spPr>
          </p:pic>
          <p:pic>
            <p:nvPicPr>
              <p:cNvPr id="39" name="Рисунок 38">
                <a:extLst>
                  <a:ext uri="{FF2B5EF4-FFF2-40B4-BE49-F238E27FC236}">
                    <a16:creationId xmlns:a16="http://schemas.microsoft.com/office/drawing/2014/main" id="{697B30C8-D159-0586-D775-12A95971DE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842473" y="10534707"/>
                <a:ext cx="2473777" cy="2403686"/>
              </a:xfrm>
              <a:prstGeom prst="rect">
                <a:avLst/>
              </a:prstGeom>
            </p:spPr>
          </p:pic>
        </p:grpSp>
      </p:grp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4148CEE3-37BB-DE4F-54CE-6E26DA4EA056}"/>
              </a:ext>
            </a:extLst>
          </p:cNvPr>
          <p:cNvGrpSpPr/>
          <p:nvPr/>
        </p:nvGrpSpPr>
        <p:grpSpPr>
          <a:xfrm>
            <a:off x="549529" y="8017407"/>
            <a:ext cx="5913850" cy="4381822"/>
            <a:chOff x="507863" y="2142803"/>
            <a:chExt cx="5913850" cy="4381822"/>
          </a:xfrm>
        </p:grpSpPr>
        <p:sp>
          <p:nvSpPr>
            <p:cNvPr id="47" name="Rectangle: Rounded Corners 70">
              <a:extLst>
                <a:ext uri="{FF2B5EF4-FFF2-40B4-BE49-F238E27FC236}">
                  <a16:creationId xmlns:a16="http://schemas.microsoft.com/office/drawing/2014/main" id="{94AE680E-E852-D860-0ACB-828865B5B94A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5401AC3F-58A3-92A4-C505-DD5F7B49D8CA}"/>
                </a:ext>
              </a:extLst>
            </p:cNvPr>
            <p:cNvSpPr txBox="1"/>
            <p:nvPr/>
          </p:nvSpPr>
          <p:spPr>
            <a:xfrm>
              <a:off x="772809" y="2536240"/>
              <a:ext cx="5323191" cy="36830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ВСЕ СКРУГЛЯЕМ, ЛИБО ОСТАВЛЯЕМ УГЛЫ</a:t>
              </a:r>
            </a:p>
            <a:p>
              <a:pPr>
                <a:lnSpc>
                  <a:spcPts val="4500"/>
                </a:lnSpc>
                <a:spcAft>
                  <a:spcPts val="1000"/>
                </a:spcAft>
              </a:pPr>
              <a:endParaRPr lang="ru-RU" sz="40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97664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1A5C42D0-FA90-1B60-7CC8-FFB36608C937}"/>
              </a:ext>
            </a:extLst>
          </p:cNvPr>
          <p:cNvGrpSpPr/>
          <p:nvPr/>
        </p:nvGrpSpPr>
        <p:grpSpPr>
          <a:xfrm>
            <a:off x="564146" y="-6047719"/>
            <a:ext cx="5913850" cy="4381822"/>
            <a:chOff x="507863" y="2142803"/>
            <a:chExt cx="5913850" cy="4381822"/>
          </a:xfrm>
        </p:grpSpPr>
        <p:sp>
          <p:nvSpPr>
            <p:cNvPr id="39" name="Rectangle: Rounded Corners 70">
              <a:extLst>
                <a:ext uri="{FF2B5EF4-FFF2-40B4-BE49-F238E27FC236}">
                  <a16:creationId xmlns:a16="http://schemas.microsoft.com/office/drawing/2014/main" id="{BFFDB4B7-F85F-4F9E-1087-E9A92CE3836F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5800297-449A-FF43-8195-EA8A5D445D53}"/>
                </a:ext>
              </a:extLst>
            </p:cNvPr>
            <p:cNvSpPr txBox="1"/>
            <p:nvPr/>
          </p:nvSpPr>
          <p:spPr>
            <a:xfrm>
              <a:off x="772809" y="2536240"/>
              <a:ext cx="5323191" cy="66941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КОНТРАСТ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2F54DA30-4260-E029-987F-E43BECAF731D}"/>
                </a:ext>
              </a:extLst>
            </p:cNvPr>
            <p:cNvSpPr txBox="1"/>
            <p:nvPr/>
          </p:nvSpPr>
          <p:spPr>
            <a:xfrm>
              <a:off x="772809" y="3297422"/>
              <a:ext cx="5098613" cy="9076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en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Color Contrast </a:t>
              </a:r>
              <a:br>
                <a:rPr lang="ru-RU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</a:br>
              <a:r>
                <a:rPr lang="en" sz="24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Checker - </a:t>
              </a:r>
              <a:r>
                <a:rPr lang="en" sz="2400" dirty="0" err="1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Coolors</a:t>
              </a:r>
              <a:endParaRPr lang="ru-RU" sz="2400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53" name="Rectangle: Rounded Corners 70">
            <a:extLst>
              <a:ext uri="{FF2B5EF4-FFF2-40B4-BE49-F238E27FC236}">
                <a16:creationId xmlns:a16="http://schemas.microsoft.com/office/drawing/2014/main" id="{4E72B930-5E19-99B7-E393-DC73487B625A}"/>
              </a:ext>
            </a:extLst>
          </p:cNvPr>
          <p:cNvSpPr/>
          <p:nvPr/>
        </p:nvSpPr>
        <p:spPr>
          <a:xfrm rot="10800000">
            <a:off x="507863" y="685482"/>
            <a:ext cx="5997183" cy="1136385"/>
          </a:xfrm>
          <a:prstGeom prst="roundRect">
            <a:avLst>
              <a:gd name="adj" fmla="val 27611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57" name="Скругленный прямоугольник 56">
            <a:extLst>
              <a:ext uri="{FF2B5EF4-FFF2-40B4-BE49-F238E27FC236}">
                <a16:creationId xmlns:a16="http://schemas.microsoft.com/office/drawing/2014/main" id="{EC685C8B-9F8C-5931-CC05-7A74BFA71560}"/>
              </a:ext>
            </a:extLst>
          </p:cNvPr>
          <p:cNvSpPr/>
          <p:nvPr/>
        </p:nvSpPr>
        <p:spPr>
          <a:xfrm rot="5400000">
            <a:off x="1335478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Скругленный прямоугольник 57">
            <a:extLst>
              <a:ext uri="{FF2B5EF4-FFF2-40B4-BE49-F238E27FC236}">
                <a16:creationId xmlns:a16="http://schemas.microsoft.com/office/drawing/2014/main" id="{3AF22607-5A27-1866-739C-78BEAB03302E}"/>
              </a:ext>
            </a:extLst>
          </p:cNvPr>
          <p:cNvSpPr/>
          <p:nvPr/>
        </p:nvSpPr>
        <p:spPr>
          <a:xfrm rot="5400000">
            <a:off x="1780257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Скругленный прямоугольник 58">
            <a:extLst>
              <a:ext uri="{FF2B5EF4-FFF2-40B4-BE49-F238E27FC236}">
                <a16:creationId xmlns:a16="http://schemas.microsoft.com/office/drawing/2014/main" id="{CC1E7B9B-6937-C246-CBBB-2368CEFD595B}"/>
              </a:ext>
            </a:extLst>
          </p:cNvPr>
          <p:cNvSpPr/>
          <p:nvPr/>
        </p:nvSpPr>
        <p:spPr>
          <a:xfrm rot="5400000">
            <a:off x="2225036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Скругленный прямоугольник 59">
            <a:extLst>
              <a:ext uri="{FF2B5EF4-FFF2-40B4-BE49-F238E27FC236}">
                <a16:creationId xmlns:a16="http://schemas.microsoft.com/office/drawing/2014/main" id="{34093E35-2865-2CE2-22ED-4B0A04F7077A}"/>
              </a:ext>
            </a:extLst>
          </p:cNvPr>
          <p:cNvSpPr/>
          <p:nvPr/>
        </p:nvSpPr>
        <p:spPr>
          <a:xfrm rot="5400000">
            <a:off x="2669815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Скругленный прямоугольник 60">
            <a:extLst>
              <a:ext uri="{FF2B5EF4-FFF2-40B4-BE49-F238E27FC236}">
                <a16:creationId xmlns:a16="http://schemas.microsoft.com/office/drawing/2014/main" id="{6C55457C-5990-E4C0-2080-3B6BF8D224A4}"/>
              </a:ext>
            </a:extLst>
          </p:cNvPr>
          <p:cNvSpPr/>
          <p:nvPr/>
        </p:nvSpPr>
        <p:spPr>
          <a:xfrm rot="5400000">
            <a:off x="3114594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Скругленный прямоугольник 61">
            <a:extLst>
              <a:ext uri="{FF2B5EF4-FFF2-40B4-BE49-F238E27FC236}">
                <a16:creationId xmlns:a16="http://schemas.microsoft.com/office/drawing/2014/main" id="{E2C3767B-DF73-EB57-4922-922FE33EBCFA}"/>
              </a:ext>
            </a:extLst>
          </p:cNvPr>
          <p:cNvSpPr/>
          <p:nvPr/>
        </p:nvSpPr>
        <p:spPr>
          <a:xfrm rot="5400000">
            <a:off x="355937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кругленный прямоугольник 62">
            <a:extLst>
              <a:ext uri="{FF2B5EF4-FFF2-40B4-BE49-F238E27FC236}">
                <a16:creationId xmlns:a16="http://schemas.microsoft.com/office/drawing/2014/main" id="{B96ED38E-92EE-71D4-E04D-D5F092255D9C}"/>
              </a:ext>
            </a:extLst>
          </p:cNvPr>
          <p:cNvSpPr/>
          <p:nvPr/>
        </p:nvSpPr>
        <p:spPr>
          <a:xfrm rot="5400000">
            <a:off x="4004152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Скругленный прямоугольник 64">
            <a:extLst>
              <a:ext uri="{FF2B5EF4-FFF2-40B4-BE49-F238E27FC236}">
                <a16:creationId xmlns:a16="http://schemas.microsoft.com/office/drawing/2014/main" id="{B57DEFAB-3198-35BC-C517-56267773D1A3}"/>
              </a:ext>
            </a:extLst>
          </p:cNvPr>
          <p:cNvSpPr/>
          <p:nvPr/>
        </p:nvSpPr>
        <p:spPr>
          <a:xfrm rot="5400000">
            <a:off x="4893710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кругленный прямоугольник 65">
            <a:extLst>
              <a:ext uri="{FF2B5EF4-FFF2-40B4-BE49-F238E27FC236}">
                <a16:creationId xmlns:a16="http://schemas.microsoft.com/office/drawing/2014/main" id="{7C5B89BA-91D6-4CBE-F3DA-5603D25E9265}"/>
              </a:ext>
            </a:extLst>
          </p:cNvPr>
          <p:cNvSpPr/>
          <p:nvPr/>
        </p:nvSpPr>
        <p:spPr>
          <a:xfrm rot="5400000">
            <a:off x="4448931" y="893475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AB4BB9A-DCC0-1935-48B9-818BA23D4A79}"/>
              </a:ext>
            </a:extLst>
          </p:cNvPr>
          <p:cNvSpPr txBox="1"/>
          <p:nvPr/>
        </p:nvSpPr>
        <p:spPr>
          <a:xfrm>
            <a:off x="1289469" y="1253674"/>
            <a:ext cx="5188527" cy="385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" panose="020B0305040102020103" pitchFamily="34" charset="0"/>
                <a:cs typeface="Times New Roman" panose="02020603050405020304" pitchFamily="18" charset="0"/>
              </a:rPr>
              <a:t>Азбука качественного визуала</a:t>
            </a:r>
          </a:p>
        </p:txBody>
      </p:sp>
      <p:sp useBgFill="1">
        <p:nvSpPr>
          <p:cNvPr id="71" name="Полилиния 70">
            <a:extLst>
              <a:ext uri="{FF2B5EF4-FFF2-40B4-BE49-F238E27FC236}">
                <a16:creationId xmlns:a16="http://schemas.microsoft.com/office/drawing/2014/main" id="{A119041F-0060-FE60-3BAD-0947D31F50E6}"/>
              </a:ext>
            </a:extLst>
          </p:cNvPr>
          <p:cNvSpPr/>
          <p:nvPr/>
        </p:nvSpPr>
        <p:spPr>
          <a:xfrm>
            <a:off x="507862" y="-1226127"/>
            <a:ext cx="5997184" cy="3047995"/>
          </a:xfrm>
          <a:custGeom>
            <a:avLst/>
            <a:gdLst>
              <a:gd name="connsiteX0" fmla="*/ 0 w 5997184"/>
              <a:gd name="connsiteY0" fmla="*/ 0 h 3047995"/>
              <a:gd name="connsiteX1" fmla="*/ 5997184 w 5997184"/>
              <a:gd name="connsiteY1" fmla="*/ 0 h 3047995"/>
              <a:gd name="connsiteX2" fmla="*/ 5997184 w 5997184"/>
              <a:gd name="connsiteY2" fmla="*/ 2225376 h 3047995"/>
              <a:gd name="connsiteX3" fmla="*/ 5683417 w 5997184"/>
              <a:gd name="connsiteY3" fmla="*/ 1911609 h 3047995"/>
              <a:gd name="connsiteX4" fmla="*/ 313768 w 5997184"/>
              <a:gd name="connsiteY4" fmla="*/ 1911609 h 3047995"/>
              <a:gd name="connsiteX5" fmla="*/ 1 w 5997184"/>
              <a:gd name="connsiteY5" fmla="*/ 2225376 h 3047995"/>
              <a:gd name="connsiteX6" fmla="*/ 1 w 5997184"/>
              <a:gd name="connsiteY6" fmla="*/ 2734227 h 3047995"/>
              <a:gd name="connsiteX7" fmla="*/ 313768 w 5997184"/>
              <a:gd name="connsiteY7" fmla="*/ 3047994 h 3047995"/>
              <a:gd name="connsiteX8" fmla="*/ 5683417 w 5997184"/>
              <a:gd name="connsiteY8" fmla="*/ 3047994 h 3047995"/>
              <a:gd name="connsiteX9" fmla="*/ 5997184 w 5997184"/>
              <a:gd name="connsiteY9" fmla="*/ 2734227 h 3047995"/>
              <a:gd name="connsiteX10" fmla="*/ 5997184 w 5997184"/>
              <a:gd name="connsiteY10" fmla="*/ 3047995 h 3047995"/>
              <a:gd name="connsiteX11" fmla="*/ 0 w 5997184"/>
              <a:gd name="connsiteY11" fmla="*/ 3047995 h 304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997184" h="3047995">
                <a:moveTo>
                  <a:pt x="0" y="0"/>
                </a:moveTo>
                <a:lnTo>
                  <a:pt x="5997184" y="0"/>
                </a:lnTo>
                <a:lnTo>
                  <a:pt x="5997184" y="2225376"/>
                </a:lnTo>
                <a:cubicBezTo>
                  <a:pt x="5997184" y="2052087"/>
                  <a:pt x="5856706" y="1911609"/>
                  <a:pt x="5683417" y="1911609"/>
                </a:cubicBezTo>
                <a:lnTo>
                  <a:pt x="313768" y="1911609"/>
                </a:lnTo>
                <a:cubicBezTo>
                  <a:pt x="140479" y="1911609"/>
                  <a:pt x="1" y="2052087"/>
                  <a:pt x="1" y="2225376"/>
                </a:cubicBezTo>
                <a:lnTo>
                  <a:pt x="1" y="2734227"/>
                </a:lnTo>
                <a:cubicBezTo>
                  <a:pt x="1" y="2907516"/>
                  <a:pt x="140479" y="3047994"/>
                  <a:pt x="313768" y="3047994"/>
                </a:cubicBezTo>
                <a:lnTo>
                  <a:pt x="5683417" y="3047994"/>
                </a:lnTo>
                <a:cubicBezTo>
                  <a:pt x="5856706" y="3047994"/>
                  <a:pt x="5997184" y="2907516"/>
                  <a:pt x="5997184" y="2734227"/>
                </a:cubicBezTo>
                <a:lnTo>
                  <a:pt x="5997184" y="3047995"/>
                </a:lnTo>
                <a:lnTo>
                  <a:pt x="0" y="304799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B9D371BF-803B-A30D-2911-3B9CEFDA344C}"/>
              </a:ext>
            </a:extLst>
          </p:cNvPr>
          <p:cNvGrpSpPr/>
          <p:nvPr/>
        </p:nvGrpSpPr>
        <p:grpSpPr>
          <a:xfrm>
            <a:off x="-3517807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2776F762-6191-9C3A-04B0-F7632B078202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79A7D83F-D501-8758-E699-6059DAC43E75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7" name="Рисунок 3">
            <a:extLst>
              <a:ext uri="{FF2B5EF4-FFF2-40B4-BE49-F238E27FC236}">
                <a16:creationId xmlns:a16="http://schemas.microsoft.com/office/drawing/2014/main" id="{56295991-5BE7-36A2-05FC-C41D90410B7A}"/>
              </a:ext>
            </a:extLst>
          </p:cNvPr>
          <p:cNvGrpSpPr/>
          <p:nvPr/>
        </p:nvGrpSpPr>
        <p:grpSpPr>
          <a:xfrm>
            <a:off x="-2846667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491CF97A-523B-F1DC-DC58-B5153C90AEB4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33256969-A9F0-82A9-8386-11518CF8D97B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D53FC78-1470-5880-CC4B-564B2D535439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2DA2E124-1C66-6FFE-FE8E-B01C1BA28622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5A820B68-6596-BDA0-EE3C-CDCF23BFD057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3A62DF1B-3CCD-FA09-535B-349066C73EEF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0F9983CE-6C20-A7DA-B20B-5531D5ECF0EC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27CF1737-278F-1365-6768-D7226C154BD2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F82A8CAF-5B1E-251F-D1C9-75583580C453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2F90F89D-256A-D452-B3CD-217CB800535C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82038AB9-EC9D-4C16-32DD-11D31DCD5A9D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9056892B-BAAF-E372-A843-D392EF37C890}"/>
              </a:ext>
            </a:extLst>
          </p:cNvPr>
          <p:cNvGrpSpPr/>
          <p:nvPr/>
        </p:nvGrpSpPr>
        <p:grpSpPr>
          <a:xfrm>
            <a:off x="507863" y="2142803"/>
            <a:ext cx="5913850" cy="4381822"/>
            <a:chOff x="507863" y="2142803"/>
            <a:chExt cx="5913850" cy="4381822"/>
          </a:xfrm>
        </p:grpSpPr>
        <p:sp>
          <p:nvSpPr>
            <p:cNvPr id="54" name="Rectangle: Rounded Corners 70">
              <a:extLst>
                <a:ext uri="{FF2B5EF4-FFF2-40B4-BE49-F238E27FC236}">
                  <a16:creationId xmlns:a16="http://schemas.microsoft.com/office/drawing/2014/main" id="{4327CDC1-48EC-6BD3-AF66-6729DE9D59C1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B304BB7-F66A-0C52-94BD-5F572C1748EC}"/>
                </a:ext>
              </a:extLst>
            </p:cNvPr>
            <p:cNvSpPr txBox="1"/>
            <p:nvPr/>
          </p:nvSpPr>
          <p:spPr>
            <a:xfrm>
              <a:off x="772809" y="2536240"/>
              <a:ext cx="5323191" cy="36830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ВСЕ СКРУГЛЯЕМ, ЛИБО ОСТАВЛЯЕМ УГЛЫ</a:t>
              </a:r>
            </a:p>
            <a:p>
              <a:pPr>
                <a:lnSpc>
                  <a:spcPts val="4500"/>
                </a:lnSpc>
                <a:spcAft>
                  <a:spcPts val="1000"/>
                </a:spcAft>
              </a:pPr>
              <a:endParaRPr lang="ru-RU" sz="40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75A12AE4-DD72-BDB0-4F37-2D7703BB6FF6}"/>
              </a:ext>
            </a:extLst>
          </p:cNvPr>
          <p:cNvSpPr/>
          <p:nvPr/>
        </p:nvSpPr>
        <p:spPr>
          <a:xfrm rot="5400000">
            <a:off x="533849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Rectangle: Rounded Corners 70">
            <a:extLst>
              <a:ext uri="{FF2B5EF4-FFF2-40B4-BE49-F238E27FC236}">
                <a16:creationId xmlns:a16="http://schemas.microsoft.com/office/drawing/2014/main" id="{4E360C6D-8F3D-D60C-747A-B573C8007735}"/>
              </a:ext>
            </a:extLst>
          </p:cNvPr>
          <p:cNvSpPr/>
          <p:nvPr/>
        </p:nvSpPr>
        <p:spPr>
          <a:xfrm rot="10800000">
            <a:off x="7370966" y="-6204415"/>
            <a:ext cx="4216202" cy="5839143"/>
          </a:xfrm>
          <a:prstGeom prst="roundRect">
            <a:avLst>
              <a:gd name="adj" fmla="val 5955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22E43394-5DEB-3DDC-3F65-289AA93BF6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4269" y="-9740885"/>
            <a:ext cx="12255897" cy="4971434"/>
          </a:xfrm>
          <a:prstGeom prst="roundRect">
            <a:avLst>
              <a:gd name="adj" fmla="val 12297"/>
            </a:avLst>
          </a:prstGeom>
          <a:effectLst>
            <a:reflection blurRad="6350" stA="52000" endA="300" endPos="35000" dir="5400000" sy="-100000" algn="bl" rotWithShape="0"/>
          </a:effectLst>
        </p:spPr>
      </p:pic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00B2766C-0C7F-7F2A-CCEF-7CE95A0A00F5}"/>
              </a:ext>
            </a:extLst>
          </p:cNvPr>
          <p:cNvGrpSpPr/>
          <p:nvPr/>
        </p:nvGrpSpPr>
        <p:grpSpPr>
          <a:xfrm>
            <a:off x="7370966" y="685482"/>
            <a:ext cx="4216202" cy="5839143"/>
            <a:chOff x="7370966" y="7575379"/>
            <a:chExt cx="4216202" cy="5839143"/>
          </a:xfrm>
        </p:grpSpPr>
        <p:sp>
          <p:nvSpPr>
            <p:cNvPr id="19" name="Rectangle: Rounded Corners 70">
              <a:extLst>
                <a:ext uri="{FF2B5EF4-FFF2-40B4-BE49-F238E27FC236}">
                  <a16:creationId xmlns:a16="http://schemas.microsoft.com/office/drawing/2014/main" id="{AAE82F90-71D2-E829-EAF0-4326DDCEA633}"/>
                </a:ext>
              </a:extLst>
            </p:cNvPr>
            <p:cNvSpPr/>
            <p:nvPr/>
          </p:nvSpPr>
          <p:spPr>
            <a:xfrm rot="10800000">
              <a:off x="7370966" y="7575379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F0781C94-F402-92D3-4796-EAD0276DC3C8}"/>
                </a:ext>
              </a:extLst>
            </p:cNvPr>
            <p:cNvGrpSpPr/>
            <p:nvPr/>
          </p:nvGrpSpPr>
          <p:grpSpPr>
            <a:xfrm>
              <a:off x="7722151" y="8017407"/>
              <a:ext cx="3594099" cy="4955088"/>
              <a:chOff x="7722151" y="7983305"/>
              <a:chExt cx="3594099" cy="4955088"/>
            </a:xfrm>
          </p:grpSpPr>
          <p:pic>
            <p:nvPicPr>
              <p:cNvPr id="21" name="Рисунок 20">
                <a:extLst>
                  <a:ext uri="{FF2B5EF4-FFF2-40B4-BE49-F238E27FC236}">
                    <a16:creationId xmlns:a16="http://schemas.microsoft.com/office/drawing/2014/main" id="{FDED4480-042E-8FE8-8DE3-ABE27E735E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722151" y="7983305"/>
                <a:ext cx="2465532" cy="2403686"/>
              </a:xfrm>
              <a:prstGeom prst="rect">
                <a:avLst/>
              </a:prstGeom>
            </p:spPr>
          </p:pic>
          <p:pic>
            <p:nvPicPr>
              <p:cNvPr id="22" name="Рисунок 21">
                <a:extLst>
                  <a:ext uri="{FF2B5EF4-FFF2-40B4-BE49-F238E27FC236}">
                    <a16:creationId xmlns:a16="http://schemas.microsoft.com/office/drawing/2014/main" id="{A137F9CA-6E80-5DC0-723D-7D35153833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842473" y="10534707"/>
                <a:ext cx="2473777" cy="2403686"/>
              </a:xfrm>
              <a:prstGeom prst="rect">
                <a:avLst/>
              </a:prstGeom>
            </p:spPr>
          </p:pic>
        </p:grp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E1FBAD80-33BD-44FB-6163-B8CBDF9C07CF}"/>
              </a:ext>
            </a:extLst>
          </p:cNvPr>
          <p:cNvGrpSpPr/>
          <p:nvPr/>
        </p:nvGrpSpPr>
        <p:grpSpPr>
          <a:xfrm>
            <a:off x="7370965" y="7363991"/>
            <a:ext cx="4216203" cy="5839143"/>
            <a:chOff x="7370965" y="7363991"/>
            <a:chExt cx="4216203" cy="5839143"/>
          </a:xfrm>
        </p:grpSpPr>
        <p:sp>
          <p:nvSpPr>
            <p:cNvPr id="24" name="Rectangle: Rounded Corners 70">
              <a:extLst>
                <a:ext uri="{FF2B5EF4-FFF2-40B4-BE49-F238E27FC236}">
                  <a16:creationId xmlns:a16="http://schemas.microsoft.com/office/drawing/2014/main" id="{597797E8-9538-83B0-C8D3-2DDBEE04541C}"/>
                </a:ext>
              </a:extLst>
            </p:cNvPr>
            <p:cNvSpPr/>
            <p:nvPr/>
          </p:nvSpPr>
          <p:spPr>
            <a:xfrm rot="10800000">
              <a:off x="7370966" y="7363991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17864E83-60C0-3EFC-F45A-C691F27DBE0C}"/>
                </a:ext>
              </a:extLst>
            </p:cNvPr>
            <p:cNvSpPr/>
            <p:nvPr/>
          </p:nvSpPr>
          <p:spPr>
            <a:xfrm>
              <a:off x="7370965" y="7730836"/>
              <a:ext cx="4216203" cy="288570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DA5E6249-3E4F-9A79-7A05-5D705A8DC1F5}"/>
                </a:ext>
              </a:extLst>
            </p:cNvPr>
            <p:cNvSpPr/>
            <p:nvPr/>
          </p:nvSpPr>
          <p:spPr>
            <a:xfrm>
              <a:off x="7370965" y="10675916"/>
              <a:ext cx="4216203" cy="153191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E72E170D-FA54-3617-DB0B-3C928D6A3D92}"/>
                </a:ext>
              </a:extLst>
            </p:cNvPr>
            <p:cNvSpPr/>
            <p:nvPr/>
          </p:nvSpPr>
          <p:spPr>
            <a:xfrm>
              <a:off x="7370965" y="12267210"/>
              <a:ext cx="4216203" cy="47501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1FAE4F21-CC9F-66DA-8641-A1C38F61C592}"/>
              </a:ext>
            </a:extLst>
          </p:cNvPr>
          <p:cNvGrpSpPr/>
          <p:nvPr/>
        </p:nvGrpSpPr>
        <p:grpSpPr>
          <a:xfrm>
            <a:off x="533762" y="7885388"/>
            <a:ext cx="5913850" cy="4381822"/>
            <a:chOff x="507863" y="2142803"/>
            <a:chExt cx="5913850" cy="4381822"/>
          </a:xfrm>
        </p:grpSpPr>
        <p:sp>
          <p:nvSpPr>
            <p:cNvPr id="43" name="Rectangle: Rounded Corners 70">
              <a:extLst>
                <a:ext uri="{FF2B5EF4-FFF2-40B4-BE49-F238E27FC236}">
                  <a16:creationId xmlns:a16="http://schemas.microsoft.com/office/drawing/2014/main" id="{B69C2F37-B440-8552-ABD0-2078B3FE409F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3BA50F9-7277-5C07-9A58-E3173BE24F04}"/>
                </a:ext>
              </a:extLst>
            </p:cNvPr>
            <p:cNvSpPr txBox="1"/>
            <p:nvPr/>
          </p:nvSpPr>
          <p:spPr>
            <a:xfrm>
              <a:off x="772809" y="2536240"/>
              <a:ext cx="5323191" cy="12464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ПРАВИЛО </a:t>
              </a:r>
              <a:b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ТРЕХ ЦВЕТОВ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FDEFF93B-056D-C516-F3E5-76B6B4E10CDE}"/>
                </a:ext>
              </a:extLst>
            </p:cNvPr>
            <p:cNvSpPr txBox="1"/>
            <p:nvPr/>
          </p:nvSpPr>
          <p:spPr>
            <a:xfrm>
              <a:off x="810910" y="3823036"/>
              <a:ext cx="4893240" cy="23676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42900" indent="-342900">
                <a:lnSpc>
                  <a:spcPts val="2500"/>
                </a:lnSpc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20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60% — основной фоновый цвет</a:t>
              </a:r>
            </a:p>
            <a:p>
              <a:pPr marL="342900" indent="-342900">
                <a:lnSpc>
                  <a:spcPts val="2500"/>
                </a:lnSpc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20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30% — вторичный цвет для управления вниманием пользователя</a:t>
              </a:r>
            </a:p>
            <a:p>
              <a:pPr marL="342900" indent="-342900">
                <a:lnSpc>
                  <a:spcPts val="2500"/>
                </a:lnSpc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20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10% — для расстановки акцентов в контенте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858906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72607E4-C2EF-43EC-3604-F8A9A172ACEF}"/>
              </a:ext>
            </a:extLst>
          </p:cNvPr>
          <p:cNvGrpSpPr/>
          <p:nvPr/>
        </p:nvGrpSpPr>
        <p:grpSpPr>
          <a:xfrm>
            <a:off x="549529" y="-5992038"/>
            <a:ext cx="5913850" cy="4381822"/>
            <a:chOff x="507863" y="2142803"/>
            <a:chExt cx="5913850" cy="4381822"/>
          </a:xfrm>
        </p:grpSpPr>
        <p:sp>
          <p:nvSpPr>
            <p:cNvPr id="17" name="Rectangle: Rounded Corners 70">
              <a:extLst>
                <a:ext uri="{FF2B5EF4-FFF2-40B4-BE49-F238E27FC236}">
                  <a16:creationId xmlns:a16="http://schemas.microsoft.com/office/drawing/2014/main" id="{B9143D9C-AC8A-78E9-2E78-4D895248BF73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7CABAC6-88A2-3656-3E69-E0587A6B11A2}"/>
                </a:ext>
              </a:extLst>
            </p:cNvPr>
            <p:cNvSpPr txBox="1"/>
            <p:nvPr/>
          </p:nvSpPr>
          <p:spPr>
            <a:xfrm>
              <a:off x="772809" y="2536240"/>
              <a:ext cx="5323191" cy="36830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ВСЕ СКРУГЛЯЕМ, ЛИБО ОСТАВЛЯЕМ УГЛЫ</a:t>
              </a:r>
            </a:p>
            <a:p>
              <a:pPr>
                <a:lnSpc>
                  <a:spcPts val="4500"/>
                </a:lnSpc>
                <a:spcAft>
                  <a:spcPts val="1000"/>
                </a:spcAft>
              </a:pPr>
              <a:endParaRPr lang="ru-RU" sz="40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53" name="Rectangle: Rounded Corners 70">
            <a:extLst>
              <a:ext uri="{FF2B5EF4-FFF2-40B4-BE49-F238E27FC236}">
                <a16:creationId xmlns:a16="http://schemas.microsoft.com/office/drawing/2014/main" id="{4E72B930-5E19-99B7-E393-DC73487B625A}"/>
              </a:ext>
            </a:extLst>
          </p:cNvPr>
          <p:cNvSpPr/>
          <p:nvPr/>
        </p:nvSpPr>
        <p:spPr>
          <a:xfrm rot="10800000">
            <a:off x="507863" y="685482"/>
            <a:ext cx="5997183" cy="1136385"/>
          </a:xfrm>
          <a:prstGeom prst="roundRect">
            <a:avLst>
              <a:gd name="adj" fmla="val 27611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57" name="Скругленный прямоугольник 56">
            <a:extLst>
              <a:ext uri="{FF2B5EF4-FFF2-40B4-BE49-F238E27FC236}">
                <a16:creationId xmlns:a16="http://schemas.microsoft.com/office/drawing/2014/main" id="{EC685C8B-9F8C-5931-CC05-7A74BFA71560}"/>
              </a:ext>
            </a:extLst>
          </p:cNvPr>
          <p:cNvSpPr/>
          <p:nvPr/>
        </p:nvSpPr>
        <p:spPr>
          <a:xfrm rot="5400000">
            <a:off x="1335478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Скругленный прямоугольник 57">
            <a:extLst>
              <a:ext uri="{FF2B5EF4-FFF2-40B4-BE49-F238E27FC236}">
                <a16:creationId xmlns:a16="http://schemas.microsoft.com/office/drawing/2014/main" id="{3AF22607-5A27-1866-739C-78BEAB03302E}"/>
              </a:ext>
            </a:extLst>
          </p:cNvPr>
          <p:cNvSpPr/>
          <p:nvPr/>
        </p:nvSpPr>
        <p:spPr>
          <a:xfrm rot="5400000">
            <a:off x="1780257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Скругленный прямоугольник 58">
            <a:extLst>
              <a:ext uri="{FF2B5EF4-FFF2-40B4-BE49-F238E27FC236}">
                <a16:creationId xmlns:a16="http://schemas.microsoft.com/office/drawing/2014/main" id="{CC1E7B9B-6937-C246-CBBB-2368CEFD595B}"/>
              </a:ext>
            </a:extLst>
          </p:cNvPr>
          <p:cNvSpPr/>
          <p:nvPr/>
        </p:nvSpPr>
        <p:spPr>
          <a:xfrm rot="5400000">
            <a:off x="2225036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Скругленный прямоугольник 59">
            <a:extLst>
              <a:ext uri="{FF2B5EF4-FFF2-40B4-BE49-F238E27FC236}">
                <a16:creationId xmlns:a16="http://schemas.microsoft.com/office/drawing/2014/main" id="{34093E35-2865-2CE2-22ED-4B0A04F7077A}"/>
              </a:ext>
            </a:extLst>
          </p:cNvPr>
          <p:cNvSpPr/>
          <p:nvPr/>
        </p:nvSpPr>
        <p:spPr>
          <a:xfrm rot="5400000">
            <a:off x="2669815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Скругленный прямоугольник 60">
            <a:extLst>
              <a:ext uri="{FF2B5EF4-FFF2-40B4-BE49-F238E27FC236}">
                <a16:creationId xmlns:a16="http://schemas.microsoft.com/office/drawing/2014/main" id="{6C55457C-5990-E4C0-2080-3B6BF8D224A4}"/>
              </a:ext>
            </a:extLst>
          </p:cNvPr>
          <p:cNvSpPr/>
          <p:nvPr/>
        </p:nvSpPr>
        <p:spPr>
          <a:xfrm rot="5400000">
            <a:off x="3114594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Скругленный прямоугольник 61">
            <a:extLst>
              <a:ext uri="{FF2B5EF4-FFF2-40B4-BE49-F238E27FC236}">
                <a16:creationId xmlns:a16="http://schemas.microsoft.com/office/drawing/2014/main" id="{E2C3767B-DF73-EB57-4922-922FE33EBCFA}"/>
              </a:ext>
            </a:extLst>
          </p:cNvPr>
          <p:cNvSpPr/>
          <p:nvPr/>
        </p:nvSpPr>
        <p:spPr>
          <a:xfrm rot="5400000">
            <a:off x="355937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кругленный прямоугольник 62">
            <a:extLst>
              <a:ext uri="{FF2B5EF4-FFF2-40B4-BE49-F238E27FC236}">
                <a16:creationId xmlns:a16="http://schemas.microsoft.com/office/drawing/2014/main" id="{B96ED38E-92EE-71D4-E04D-D5F092255D9C}"/>
              </a:ext>
            </a:extLst>
          </p:cNvPr>
          <p:cNvSpPr/>
          <p:nvPr/>
        </p:nvSpPr>
        <p:spPr>
          <a:xfrm rot="5400000">
            <a:off x="4004152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Скругленный прямоугольник 64">
            <a:extLst>
              <a:ext uri="{FF2B5EF4-FFF2-40B4-BE49-F238E27FC236}">
                <a16:creationId xmlns:a16="http://schemas.microsoft.com/office/drawing/2014/main" id="{B57DEFAB-3198-35BC-C517-56267773D1A3}"/>
              </a:ext>
            </a:extLst>
          </p:cNvPr>
          <p:cNvSpPr/>
          <p:nvPr/>
        </p:nvSpPr>
        <p:spPr>
          <a:xfrm rot="5400000">
            <a:off x="4893710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кругленный прямоугольник 65">
            <a:extLst>
              <a:ext uri="{FF2B5EF4-FFF2-40B4-BE49-F238E27FC236}">
                <a16:creationId xmlns:a16="http://schemas.microsoft.com/office/drawing/2014/main" id="{7C5B89BA-91D6-4CBE-F3DA-5603D25E9265}"/>
              </a:ext>
            </a:extLst>
          </p:cNvPr>
          <p:cNvSpPr/>
          <p:nvPr/>
        </p:nvSpPr>
        <p:spPr>
          <a:xfrm rot="5400000">
            <a:off x="4448931" y="893475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AB4BB9A-DCC0-1935-48B9-818BA23D4A79}"/>
              </a:ext>
            </a:extLst>
          </p:cNvPr>
          <p:cNvSpPr txBox="1"/>
          <p:nvPr/>
        </p:nvSpPr>
        <p:spPr>
          <a:xfrm>
            <a:off x="1289469" y="1253674"/>
            <a:ext cx="5188527" cy="385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" panose="020B0305040102020103" pitchFamily="34" charset="0"/>
                <a:cs typeface="Times New Roman" panose="02020603050405020304" pitchFamily="18" charset="0"/>
              </a:rPr>
              <a:t>Азбука качественного визуала</a:t>
            </a:r>
          </a:p>
        </p:txBody>
      </p:sp>
      <p:sp useBgFill="1">
        <p:nvSpPr>
          <p:cNvPr id="71" name="Полилиния 70">
            <a:extLst>
              <a:ext uri="{FF2B5EF4-FFF2-40B4-BE49-F238E27FC236}">
                <a16:creationId xmlns:a16="http://schemas.microsoft.com/office/drawing/2014/main" id="{A119041F-0060-FE60-3BAD-0947D31F50E6}"/>
              </a:ext>
            </a:extLst>
          </p:cNvPr>
          <p:cNvSpPr/>
          <p:nvPr/>
        </p:nvSpPr>
        <p:spPr>
          <a:xfrm>
            <a:off x="507862" y="-1226127"/>
            <a:ext cx="5997184" cy="3047995"/>
          </a:xfrm>
          <a:custGeom>
            <a:avLst/>
            <a:gdLst>
              <a:gd name="connsiteX0" fmla="*/ 0 w 5997184"/>
              <a:gd name="connsiteY0" fmla="*/ 0 h 3047995"/>
              <a:gd name="connsiteX1" fmla="*/ 5997184 w 5997184"/>
              <a:gd name="connsiteY1" fmla="*/ 0 h 3047995"/>
              <a:gd name="connsiteX2" fmla="*/ 5997184 w 5997184"/>
              <a:gd name="connsiteY2" fmla="*/ 2225376 h 3047995"/>
              <a:gd name="connsiteX3" fmla="*/ 5683417 w 5997184"/>
              <a:gd name="connsiteY3" fmla="*/ 1911609 h 3047995"/>
              <a:gd name="connsiteX4" fmla="*/ 313768 w 5997184"/>
              <a:gd name="connsiteY4" fmla="*/ 1911609 h 3047995"/>
              <a:gd name="connsiteX5" fmla="*/ 1 w 5997184"/>
              <a:gd name="connsiteY5" fmla="*/ 2225376 h 3047995"/>
              <a:gd name="connsiteX6" fmla="*/ 1 w 5997184"/>
              <a:gd name="connsiteY6" fmla="*/ 2734227 h 3047995"/>
              <a:gd name="connsiteX7" fmla="*/ 313768 w 5997184"/>
              <a:gd name="connsiteY7" fmla="*/ 3047994 h 3047995"/>
              <a:gd name="connsiteX8" fmla="*/ 5683417 w 5997184"/>
              <a:gd name="connsiteY8" fmla="*/ 3047994 h 3047995"/>
              <a:gd name="connsiteX9" fmla="*/ 5997184 w 5997184"/>
              <a:gd name="connsiteY9" fmla="*/ 2734227 h 3047995"/>
              <a:gd name="connsiteX10" fmla="*/ 5997184 w 5997184"/>
              <a:gd name="connsiteY10" fmla="*/ 3047995 h 3047995"/>
              <a:gd name="connsiteX11" fmla="*/ 0 w 5997184"/>
              <a:gd name="connsiteY11" fmla="*/ 3047995 h 304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997184" h="3047995">
                <a:moveTo>
                  <a:pt x="0" y="0"/>
                </a:moveTo>
                <a:lnTo>
                  <a:pt x="5997184" y="0"/>
                </a:lnTo>
                <a:lnTo>
                  <a:pt x="5997184" y="2225376"/>
                </a:lnTo>
                <a:cubicBezTo>
                  <a:pt x="5997184" y="2052087"/>
                  <a:pt x="5856706" y="1911609"/>
                  <a:pt x="5683417" y="1911609"/>
                </a:cubicBezTo>
                <a:lnTo>
                  <a:pt x="313768" y="1911609"/>
                </a:lnTo>
                <a:cubicBezTo>
                  <a:pt x="140479" y="1911609"/>
                  <a:pt x="1" y="2052087"/>
                  <a:pt x="1" y="2225376"/>
                </a:cubicBezTo>
                <a:lnTo>
                  <a:pt x="1" y="2734227"/>
                </a:lnTo>
                <a:cubicBezTo>
                  <a:pt x="1" y="2907516"/>
                  <a:pt x="140479" y="3047994"/>
                  <a:pt x="313768" y="3047994"/>
                </a:cubicBezTo>
                <a:lnTo>
                  <a:pt x="5683417" y="3047994"/>
                </a:lnTo>
                <a:cubicBezTo>
                  <a:pt x="5856706" y="3047994"/>
                  <a:pt x="5997184" y="2907516"/>
                  <a:pt x="5997184" y="2734227"/>
                </a:cubicBezTo>
                <a:lnTo>
                  <a:pt x="5997184" y="3047995"/>
                </a:lnTo>
                <a:lnTo>
                  <a:pt x="0" y="304799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B9D371BF-803B-A30D-2911-3B9CEFDA344C}"/>
              </a:ext>
            </a:extLst>
          </p:cNvPr>
          <p:cNvGrpSpPr/>
          <p:nvPr/>
        </p:nvGrpSpPr>
        <p:grpSpPr>
          <a:xfrm>
            <a:off x="-3517807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2776F762-6191-9C3A-04B0-F7632B078202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79A7D83F-D501-8758-E699-6059DAC43E75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7" name="Рисунок 3">
            <a:extLst>
              <a:ext uri="{FF2B5EF4-FFF2-40B4-BE49-F238E27FC236}">
                <a16:creationId xmlns:a16="http://schemas.microsoft.com/office/drawing/2014/main" id="{56295991-5BE7-36A2-05FC-C41D90410B7A}"/>
              </a:ext>
            </a:extLst>
          </p:cNvPr>
          <p:cNvGrpSpPr/>
          <p:nvPr/>
        </p:nvGrpSpPr>
        <p:grpSpPr>
          <a:xfrm>
            <a:off x="-2846667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491CF97A-523B-F1DC-DC58-B5153C90AEB4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33256969-A9F0-82A9-8386-11518CF8D97B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D53FC78-1470-5880-CC4B-564B2D535439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2DA2E124-1C66-6FFE-FE8E-B01C1BA28622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5A820B68-6596-BDA0-EE3C-CDCF23BFD057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3A62DF1B-3CCD-FA09-535B-349066C73EEF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0F9983CE-6C20-A7DA-B20B-5531D5ECF0EC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27CF1737-278F-1365-6768-D7226C154BD2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F82A8CAF-5B1E-251F-D1C9-75583580C453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2F90F89D-256A-D452-B3CD-217CB800535C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82038AB9-EC9D-4C16-32DD-11D31DCD5A9D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75A12AE4-DD72-BDB0-4F37-2D7703BB6FF6}"/>
              </a:ext>
            </a:extLst>
          </p:cNvPr>
          <p:cNvSpPr/>
          <p:nvPr/>
        </p:nvSpPr>
        <p:spPr>
          <a:xfrm rot="5400000">
            <a:off x="533849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00B2766C-0C7F-7F2A-CCEF-7CE95A0A00F5}"/>
              </a:ext>
            </a:extLst>
          </p:cNvPr>
          <p:cNvGrpSpPr/>
          <p:nvPr/>
        </p:nvGrpSpPr>
        <p:grpSpPr>
          <a:xfrm>
            <a:off x="7372534" y="-5993027"/>
            <a:ext cx="4216202" cy="5839143"/>
            <a:chOff x="7370966" y="7575379"/>
            <a:chExt cx="4216202" cy="5839143"/>
          </a:xfrm>
        </p:grpSpPr>
        <p:sp>
          <p:nvSpPr>
            <p:cNvPr id="19" name="Rectangle: Rounded Corners 70">
              <a:extLst>
                <a:ext uri="{FF2B5EF4-FFF2-40B4-BE49-F238E27FC236}">
                  <a16:creationId xmlns:a16="http://schemas.microsoft.com/office/drawing/2014/main" id="{AAE82F90-71D2-E829-EAF0-4326DDCEA633}"/>
                </a:ext>
              </a:extLst>
            </p:cNvPr>
            <p:cNvSpPr/>
            <p:nvPr/>
          </p:nvSpPr>
          <p:spPr>
            <a:xfrm rot="10800000">
              <a:off x="7370966" y="7575379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F0781C94-F402-92D3-4796-EAD0276DC3C8}"/>
                </a:ext>
              </a:extLst>
            </p:cNvPr>
            <p:cNvGrpSpPr/>
            <p:nvPr/>
          </p:nvGrpSpPr>
          <p:grpSpPr>
            <a:xfrm>
              <a:off x="7722151" y="8017407"/>
              <a:ext cx="3594099" cy="4955088"/>
              <a:chOff x="7722151" y="7983305"/>
              <a:chExt cx="3594099" cy="4955088"/>
            </a:xfrm>
          </p:grpSpPr>
          <p:pic>
            <p:nvPicPr>
              <p:cNvPr id="21" name="Рисунок 20">
                <a:extLst>
                  <a:ext uri="{FF2B5EF4-FFF2-40B4-BE49-F238E27FC236}">
                    <a16:creationId xmlns:a16="http://schemas.microsoft.com/office/drawing/2014/main" id="{FDED4480-042E-8FE8-8DE3-ABE27E735E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722151" y="7983305"/>
                <a:ext cx="2465532" cy="2403686"/>
              </a:xfrm>
              <a:prstGeom prst="rect">
                <a:avLst/>
              </a:prstGeom>
            </p:spPr>
          </p:pic>
          <p:pic>
            <p:nvPicPr>
              <p:cNvPr id="22" name="Рисунок 21">
                <a:extLst>
                  <a:ext uri="{FF2B5EF4-FFF2-40B4-BE49-F238E27FC236}">
                    <a16:creationId xmlns:a16="http://schemas.microsoft.com/office/drawing/2014/main" id="{A137F9CA-6E80-5DC0-723D-7D35153833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842473" y="10534707"/>
                <a:ext cx="2473777" cy="2403686"/>
              </a:xfrm>
              <a:prstGeom prst="rect">
                <a:avLst/>
              </a:prstGeom>
            </p:spPr>
          </p:pic>
        </p:grp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E1FBAD80-33BD-44FB-6163-B8CBDF9C07CF}"/>
              </a:ext>
            </a:extLst>
          </p:cNvPr>
          <p:cNvGrpSpPr/>
          <p:nvPr/>
        </p:nvGrpSpPr>
        <p:grpSpPr>
          <a:xfrm>
            <a:off x="7372533" y="685482"/>
            <a:ext cx="4216203" cy="5839143"/>
            <a:chOff x="7370965" y="7363991"/>
            <a:chExt cx="4216203" cy="5839143"/>
          </a:xfrm>
        </p:grpSpPr>
        <p:sp>
          <p:nvSpPr>
            <p:cNvPr id="24" name="Rectangle: Rounded Corners 70">
              <a:extLst>
                <a:ext uri="{FF2B5EF4-FFF2-40B4-BE49-F238E27FC236}">
                  <a16:creationId xmlns:a16="http://schemas.microsoft.com/office/drawing/2014/main" id="{597797E8-9538-83B0-C8D3-2DDBEE04541C}"/>
                </a:ext>
              </a:extLst>
            </p:cNvPr>
            <p:cNvSpPr/>
            <p:nvPr/>
          </p:nvSpPr>
          <p:spPr>
            <a:xfrm rot="10800000">
              <a:off x="7370966" y="7363991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17864E83-60C0-3EFC-F45A-C691F27DBE0C}"/>
                </a:ext>
              </a:extLst>
            </p:cNvPr>
            <p:cNvSpPr/>
            <p:nvPr/>
          </p:nvSpPr>
          <p:spPr>
            <a:xfrm>
              <a:off x="7370965" y="7730836"/>
              <a:ext cx="4216203" cy="288570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DA5E6249-3E4F-9A79-7A05-5D705A8DC1F5}"/>
                </a:ext>
              </a:extLst>
            </p:cNvPr>
            <p:cNvSpPr/>
            <p:nvPr/>
          </p:nvSpPr>
          <p:spPr>
            <a:xfrm>
              <a:off x="7370965" y="10675916"/>
              <a:ext cx="4216203" cy="153191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E72E170D-FA54-3617-DB0B-3C928D6A3D92}"/>
                </a:ext>
              </a:extLst>
            </p:cNvPr>
            <p:cNvSpPr/>
            <p:nvPr/>
          </p:nvSpPr>
          <p:spPr>
            <a:xfrm>
              <a:off x="7370965" y="12267210"/>
              <a:ext cx="4216203" cy="47501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B10EB5F6-1CD5-60AC-C216-37E8903108DD}"/>
              </a:ext>
            </a:extLst>
          </p:cNvPr>
          <p:cNvGrpSpPr/>
          <p:nvPr/>
        </p:nvGrpSpPr>
        <p:grpSpPr>
          <a:xfrm>
            <a:off x="507863" y="2142803"/>
            <a:ext cx="5913850" cy="4381822"/>
            <a:chOff x="507863" y="2142803"/>
            <a:chExt cx="5913850" cy="4381822"/>
          </a:xfrm>
        </p:grpSpPr>
        <p:sp>
          <p:nvSpPr>
            <p:cNvPr id="54" name="Rectangle: Rounded Corners 70">
              <a:extLst>
                <a:ext uri="{FF2B5EF4-FFF2-40B4-BE49-F238E27FC236}">
                  <a16:creationId xmlns:a16="http://schemas.microsoft.com/office/drawing/2014/main" id="{4327CDC1-48EC-6BD3-AF66-6729DE9D59C1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B304BB7-F66A-0C52-94BD-5F572C1748EC}"/>
                </a:ext>
              </a:extLst>
            </p:cNvPr>
            <p:cNvSpPr txBox="1"/>
            <p:nvPr/>
          </p:nvSpPr>
          <p:spPr>
            <a:xfrm>
              <a:off x="772809" y="2536240"/>
              <a:ext cx="5323191" cy="12464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ПРАВИЛО </a:t>
              </a:r>
              <a:b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ТРЕХ ЦВЕТОВ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DEFAC3EB-F880-EBA9-9E3C-5D34F461C10F}"/>
                </a:ext>
              </a:extLst>
            </p:cNvPr>
            <p:cNvSpPr txBox="1"/>
            <p:nvPr/>
          </p:nvSpPr>
          <p:spPr>
            <a:xfrm>
              <a:off x="810910" y="3823036"/>
              <a:ext cx="4893240" cy="23676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42900" indent="-342900">
                <a:lnSpc>
                  <a:spcPts val="2500"/>
                </a:lnSpc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20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60% — основной фоновый цвет</a:t>
              </a:r>
            </a:p>
            <a:p>
              <a:pPr marL="342900" indent="-342900">
                <a:lnSpc>
                  <a:spcPts val="2500"/>
                </a:lnSpc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20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30% — вторичный цвет для управления вниманием пользователя</a:t>
              </a:r>
            </a:p>
            <a:p>
              <a:pPr marL="342900" indent="-342900">
                <a:lnSpc>
                  <a:spcPts val="2500"/>
                </a:lnSpc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20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10% — для расстановки акцентов в контенте</a:t>
              </a: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4B1F674F-9FA9-5318-E20D-4727BEA48DFA}"/>
              </a:ext>
            </a:extLst>
          </p:cNvPr>
          <p:cNvGrpSpPr/>
          <p:nvPr/>
        </p:nvGrpSpPr>
        <p:grpSpPr>
          <a:xfrm>
            <a:off x="7372534" y="7902710"/>
            <a:ext cx="13071189" cy="5839143"/>
            <a:chOff x="7372534" y="7902710"/>
            <a:chExt cx="13071189" cy="5839143"/>
          </a:xfrm>
        </p:grpSpPr>
        <p:sp>
          <p:nvSpPr>
            <p:cNvPr id="4" name="Rectangle: Rounded Corners 70">
              <a:extLst>
                <a:ext uri="{FF2B5EF4-FFF2-40B4-BE49-F238E27FC236}">
                  <a16:creationId xmlns:a16="http://schemas.microsoft.com/office/drawing/2014/main" id="{77A37CF7-7D41-A50F-6C24-FA129237F214}"/>
                </a:ext>
              </a:extLst>
            </p:cNvPr>
            <p:cNvSpPr/>
            <p:nvPr/>
          </p:nvSpPr>
          <p:spPr>
            <a:xfrm rot="10800000">
              <a:off x="7372534" y="7902710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E660EC9-BBAA-381D-FB10-B27168AA7A0A}"/>
                </a:ext>
              </a:extLst>
            </p:cNvPr>
            <p:cNvSpPr txBox="1"/>
            <p:nvPr/>
          </p:nvSpPr>
          <p:spPr>
            <a:xfrm>
              <a:off x="7570463" y="8730489"/>
              <a:ext cx="128732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800" b="1" dirty="0">
                  <a:latin typeface="Unbounded Black" panose="020B0305040102020103" pitchFamily="34" charset="0"/>
                </a:rPr>
                <a:t>Заголовок — 50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E701052-18DB-261A-B7D4-03DC2C884543}"/>
                </a:ext>
              </a:extLst>
            </p:cNvPr>
            <p:cNvSpPr txBox="1"/>
            <p:nvPr/>
          </p:nvSpPr>
          <p:spPr>
            <a:xfrm>
              <a:off x="7570463" y="9387235"/>
              <a:ext cx="1287326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latin typeface="Unbounded Medium" panose="020B0305040102020103" pitchFamily="34" charset="0"/>
                </a:rPr>
                <a:t>Подзаголовок — 32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0CD7808-54E3-72F8-726A-AFEF00DBC57A}"/>
                </a:ext>
              </a:extLst>
            </p:cNvPr>
            <p:cNvSpPr txBox="1"/>
            <p:nvPr/>
          </p:nvSpPr>
          <p:spPr>
            <a:xfrm>
              <a:off x="7570463" y="9950683"/>
              <a:ext cx="1287326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>
                  <a:latin typeface="Unbounded Blond" panose="020B0305040102020103" pitchFamily="34" charset="0"/>
                </a:rPr>
                <a:t>Основной текст — 20</a:t>
              </a:r>
            </a:p>
          </p:txBody>
        </p:sp>
      </p:grp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54113604-0E7C-1DF4-27E0-9FA2FA9FBE97}"/>
              </a:ext>
            </a:extLst>
          </p:cNvPr>
          <p:cNvGrpSpPr/>
          <p:nvPr/>
        </p:nvGrpSpPr>
        <p:grpSpPr>
          <a:xfrm>
            <a:off x="503780" y="8021382"/>
            <a:ext cx="5913850" cy="4381822"/>
            <a:chOff x="507863" y="2142803"/>
            <a:chExt cx="5913850" cy="4381822"/>
          </a:xfrm>
        </p:grpSpPr>
        <p:sp>
          <p:nvSpPr>
            <p:cNvPr id="26" name="Rectangle: Rounded Corners 70">
              <a:extLst>
                <a:ext uri="{FF2B5EF4-FFF2-40B4-BE49-F238E27FC236}">
                  <a16:creationId xmlns:a16="http://schemas.microsoft.com/office/drawing/2014/main" id="{36C4C13C-EE58-0DC8-9072-ECA70D0A2E0F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B23EBE4-36A5-C8ED-E56E-E14106B3359C}"/>
                </a:ext>
              </a:extLst>
            </p:cNvPr>
            <p:cNvSpPr txBox="1"/>
            <p:nvPr/>
          </p:nvSpPr>
          <p:spPr>
            <a:xfrm>
              <a:off x="772809" y="2536240"/>
              <a:ext cx="5323191" cy="12464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ЗОЛОТОЕ</a:t>
              </a:r>
              <a:b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СЕЧЕНИЕ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4C33720-7128-5B53-44EC-054BE1EF82FA}"/>
                </a:ext>
              </a:extLst>
            </p:cNvPr>
            <p:cNvSpPr txBox="1"/>
            <p:nvPr/>
          </p:nvSpPr>
          <p:spPr>
            <a:xfrm>
              <a:off x="810910" y="3823036"/>
              <a:ext cx="4893240" cy="167520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500"/>
                </a:lnSpc>
                <a:spcAft>
                  <a:spcPts val="200"/>
                </a:spcAft>
              </a:pPr>
              <a:r>
                <a:rPr lang="ru-RU" sz="20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Разделите размер заголовка на 1,6, чтобы найти оптимальный размер подзаголовка и по такой </a:t>
              </a:r>
              <a:br>
                <a:rPr lang="ru-RU" sz="20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же логике дальше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16493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513614" y="1220703"/>
            <a:ext cx="11389623" cy="15029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5500"/>
              </a:lnSpc>
            </a:pP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ЧЕЛОВЕК</a:t>
            </a:r>
            <a:b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</a:b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ЗАПОМИНАЕТ</a:t>
            </a:r>
          </a:p>
        </p:txBody>
      </p:sp>
      <p:sp>
        <p:nvSpPr>
          <p:cNvPr id="3" name="Oval 132">
            <a:extLst>
              <a:ext uri="{FF2B5EF4-FFF2-40B4-BE49-F238E27FC236}">
                <a16:creationId xmlns:a16="http://schemas.microsoft.com/office/drawing/2014/main" id="{0FCC6B9E-C89F-637C-4374-B8BA7742A6F8}"/>
              </a:ext>
            </a:extLst>
          </p:cNvPr>
          <p:cNvSpPr/>
          <p:nvPr/>
        </p:nvSpPr>
        <p:spPr>
          <a:xfrm>
            <a:off x="-1552515" y="4081265"/>
            <a:ext cx="4116282" cy="4116282"/>
          </a:xfrm>
          <a:prstGeom prst="ellipse">
            <a:avLst/>
          </a:prstGeom>
          <a:gradFill flip="none" rotWithShape="1">
            <a:gsLst>
              <a:gs pos="100000">
                <a:schemeClr val="accent2">
                  <a:lumMod val="20000"/>
                  <a:lumOff val="80000"/>
                  <a:alpha val="0"/>
                </a:schemeClr>
              </a:gs>
              <a:gs pos="0">
                <a:srgbClr val="C0DCFD"/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Oval 131">
            <a:extLst>
              <a:ext uri="{FF2B5EF4-FFF2-40B4-BE49-F238E27FC236}">
                <a16:creationId xmlns:a16="http://schemas.microsoft.com/office/drawing/2014/main" id="{276EEF5D-F78C-B26E-DECD-C77D3F1482D1}"/>
              </a:ext>
            </a:extLst>
          </p:cNvPr>
          <p:cNvSpPr/>
          <p:nvPr/>
        </p:nvSpPr>
        <p:spPr>
          <a:xfrm>
            <a:off x="7084494" y="-1500448"/>
            <a:ext cx="6485696" cy="6485696"/>
          </a:xfrm>
          <a:prstGeom prst="ellipse">
            <a:avLst/>
          </a:prstGeom>
          <a:gradFill flip="none" rotWithShape="1">
            <a:gsLst>
              <a:gs pos="100000">
                <a:srgbClr val="C0DCFD">
                  <a:alpha val="0"/>
                </a:srgbClr>
              </a:gs>
              <a:gs pos="0">
                <a:srgbClr val="620CFD">
                  <a:alpha val="28632"/>
                </a:srgbClr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9" name="Group 73">
            <a:extLst>
              <a:ext uri="{FF2B5EF4-FFF2-40B4-BE49-F238E27FC236}">
                <a16:creationId xmlns:a16="http://schemas.microsoft.com/office/drawing/2014/main" id="{35E67D2F-B7C3-B295-35E6-FC63796E3A00}"/>
              </a:ext>
            </a:extLst>
          </p:cNvPr>
          <p:cNvGrpSpPr/>
          <p:nvPr/>
        </p:nvGrpSpPr>
        <p:grpSpPr>
          <a:xfrm>
            <a:off x="7507895" y="0"/>
            <a:ext cx="9429752" cy="6858000"/>
            <a:chOff x="-2" y="0"/>
            <a:chExt cx="6428641" cy="6858000"/>
          </a:xfrm>
        </p:grpSpPr>
        <p:sp>
          <p:nvSpPr>
            <p:cNvPr id="30" name="Rectangle 36">
              <a:extLst>
                <a:ext uri="{FF2B5EF4-FFF2-40B4-BE49-F238E27FC236}">
                  <a16:creationId xmlns:a16="http://schemas.microsoft.com/office/drawing/2014/main" id="{6B639D09-947B-C295-89E5-D3A7FED4C562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C53A0486-4FEC-606C-49B2-3FDFBA486CDC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CB477ED-8E12-B1BF-B8A7-3C0791AD06EE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941091D-EDDA-A164-26A5-C572323EC7A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200F815-13CC-7E6B-07CF-6C3058F6FC6E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128BDE-2C15-EEFD-DC03-849CC99CC0F5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F04D5FF-393F-4F2F-7D30-44C7741775D5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7" name="Rectangle 37">
              <a:extLst>
                <a:ext uri="{FF2B5EF4-FFF2-40B4-BE49-F238E27FC236}">
                  <a16:creationId xmlns:a16="http://schemas.microsoft.com/office/drawing/2014/main" id="{E77182A8-0D9D-1D4B-7DE2-D3C02E6B9837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8" name="Rectangle 48">
              <a:extLst>
                <a:ext uri="{FF2B5EF4-FFF2-40B4-BE49-F238E27FC236}">
                  <a16:creationId xmlns:a16="http://schemas.microsoft.com/office/drawing/2014/main" id="{2D657C40-FF42-B366-A67D-3943F761017E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9" name="Rectangle 49">
              <a:extLst>
                <a:ext uri="{FF2B5EF4-FFF2-40B4-BE49-F238E27FC236}">
                  <a16:creationId xmlns:a16="http://schemas.microsoft.com/office/drawing/2014/main" id="{A4E5D924-F2E5-0073-3EFE-88569B3773E2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sp>
        <p:nvSpPr>
          <p:cNvPr id="45" name="Rectangle: Rounded Corners 70">
            <a:extLst>
              <a:ext uri="{FF2B5EF4-FFF2-40B4-BE49-F238E27FC236}">
                <a16:creationId xmlns:a16="http://schemas.microsoft.com/office/drawing/2014/main" id="{8A62F481-7B00-FDFB-AFA5-6899929C5A13}"/>
              </a:ext>
            </a:extLst>
          </p:cNvPr>
          <p:cNvSpPr/>
          <p:nvPr/>
        </p:nvSpPr>
        <p:spPr>
          <a:xfrm rot="10800000">
            <a:off x="8686884" y="3189949"/>
            <a:ext cx="2583322" cy="2666987"/>
          </a:xfrm>
          <a:prstGeom prst="roundRect">
            <a:avLst>
              <a:gd name="adj" fmla="val 13536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grpSp>
        <p:nvGrpSpPr>
          <p:cNvPr id="40" name="!!22">
            <a:extLst>
              <a:ext uri="{FF2B5EF4-FFF2-40B4-BE49-F238E27FC236}">
                <a16:creationId xmlns:a16="http://schemas.microsoft.com/office/drawing/2014/main" id="{4DFAFA0D-33BF-A803-D6A8-CBB41F1A0C0A}"/>
              </a:ext>
            </a:extLst>
          </p:cNvPr>
          <p:cNvGrpSpPr/>
          <p:nvPr/>
        </p:nvGrpSpPr>
        <p:grpSpPr>
          <a:xfrm>
            <a:off x="9587429" y="4449982"/>
            <a:ext cx="782231" cy="1045628"/>
            <a:chOff x="-1" y="15708"/>
            <a:chExt cx="1291986" cy="1727027"/>
          </a:xfrm>
          <a:solidFill>
            <a:srgbClr val="620CFD"/>
          </a:solidFill>
        </p:grpSpPr>
        <p:sp>
          <p:nvSpPr>
            <p:cNvPr id="41" name="Shape 641">
              <a:extLst>
                <a:ext uri="{FF2B5EF4-FFF2-40B4-BE49-F238E27FC236}">
                  <a16:creationId xmlns:a16="http://schemas.microsoft.com/office/drawing/2014/main" id="{92C2B10C-A752-37ED-DB21-421BC1E439F4}"/>
                </a:ext>
              </a:extLst>
            </p:cNvPr>
            <p:cNvSpPr/>
            <p:nvPr/>
          </p:nvSpPr>
          <p:spPr>
            <a:xfrm>
              <a:off x="-1" y="1469228"/>
              <a:ext cx="1291986" cy="2735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lIns="67733" tIns="67733" rIns="67733" bIns="67733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>
                  <a:solidFill>
                    <a:srgbClr val="FFFFFF"/>
                  </a:solidFill>
                </a:defRPr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42" name="Shape 642">
              <a:extLst>
                <a:ext uri="{FF2B5EF4-FFF2-40B4-BE49-F238E27FC236}">
                  <a16:creationId xmlns:a16="http://schemas.microsoft.com/office/drawing/2014/main" id="{DDF7D2C3-562A-0702-45F4-F8973DE1E936}"/>
                </a:ext>
              </a:extLst>
            </p:cNvPr>
            <p:cNvSpPr/>
            <p:nvPr/>
          </p:nvSpPr>
          <p:spPr>
            <a:xfrm>
              <a:off x="453078" y="15708"/>
              <a:ext cx="548338" cy="1285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34" h="21600" extrusionOk="0">
                  <a:moveTo>
                    <a:pt x="6073" y="21422"/>
                  </a:moveTo>
                  <a:cubicBezTo>
                    <a:pt x="1992" y="18123"/>
                    <a:pt x="-94" y="14441"/>
                    <a:pt x="3" y="10711"/>
                  </a:cubicBezTo>
                  <a:cubicBezTo>
                    <a:pt x="101" y="6957"/>
                    <a:pt x="2407" y="3275"/>
                    <a:pt x="6709" y="0"/>
                  </a:cubicBezTo>
                  <a:cubicBezTo>
                    <a:pt x="15604" y="2159"/>
                    <a:pt x="21164" y="6163"/>
                    <a:pt x="21331" y="10528"/>
                  </a:cubicBezTo>
                  <a:cubicBezTo>
                    <a:pt x="21506" y="15126"/>
                    <a:pt x="15701" y="19388"/>
                    <a:pt x="6249" y="21600"/>
                  </a:cubicBezTo>
                  <a:lnTo>
                    <a:pt x="6073" y="21422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/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43" name="Shape 643">
              <a:extLst>
                <a:ext uri="{FF2B5EF4-FFF2-40B4-BE49-F238E27FC236}">
                  <a16:creationId xmlns:a16="http://schemas.microsoft.com/office/drawing/2014/main" id="{12DBE090-9A7A-7EA4-47B4-603D88BE6BC8}"/>
                </a:ext>
              </a:extLst>
            </p:cNvPr>
            <p:cNvSpPr/>
            <p:nvPr/>
          </p:nvSpPr>
          <p:spPr>
            <a:xfrm>
              <a:off x="631684" y="1181196"/>
              <a:ext cx="29485" cy="4141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324" h="21600" extrusionOk="0">
                  <a:moveTo>
                    <a:pt x="20324" y="0"/>
                  </a:moveTo>
                  <a:cubicBezTo>
                    <a:pt x="10102" y="3555"/>
                    <a:pt x="3708" y="7167"/>
                    <a:pt x="1205" y="10800"/>
                  </a:cubicBezTo>
                  <a:cubicBezTo>
                    <a:pt x="-1276" y="14402"/>
                    <a:pt x="76" y="18014"/>
                    <a:pt x="5249" y="21600"/>
                  </a:cubicBezTo>
                </a:path>
              </a:pathLst>
            </a:custGeom>
            <a:grpFill/>
            <a:ln w="76200" cap="flat">
              <a:solidFill>
                <a:schemeClr val="accent1"/>
              </a:solidFill>
              <a:prstDash val="solid"/>
              <a:miter lim="400000"/>
            </a:ln>
            <a:effectLst/>
          </p:spPr>
          <p:txBody>
            <a:bodyPr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/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</p:grpSp>
      <p:sp>
        <p:nvSpPr>
          <p:cNvPr id="46" name="Овал 45">
            <a:extLst>
              <a:ext uri="{FF2B5EF4-FFF2-40B4-BE49-F238E27FC236}">
                <a16:creationId xmlns:a16="http://schemas.microsoft.com/office/drawing/2014/main" id="{9AFDD577-E4C7-ECF0-3995-8A85BA1E1B64}"/>
              </a:ext>
            </a:extLst>
          </p:cNvPr>
          <p:cNvSpPr/>
          <p:nvPr/>
        </p:nvSpPr>
        <p:spPr>
          <a:xfrm>
            <a:off x="4417926" y="5740165"/>
            <a:ext cx="284229" cy="284229"/>
          </a:xfrm>
          <a:prstGeom prst="ellipse">
            <a:avLst/>
          </a:prstGeom>
          <a:solidFill>
            <a:srgbClr val="A16D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Овал 46">
            <a:extLst>
              <a:ext uri="{FF2B5EF4-FFF2-40B4-BE49-F238E27FC236}">
                <a16:creationId xmlns:a16="http://schemas.microsoft.com/office/drawing/2014/main" id="{643D3635-EF8F-0234-F307-27FF2F248B9A}"/>
              </a:ext>
            </a:extLst>
          </p:cNvPr>
          <p:cNvSpPr/>
          <p:nvPr/>
        </p:nvSpPr>
        <p:spPr>
          <a:xfrm>
            <a:off x="468479" y="4393189"/>
            <a:ext cx="284229" cy="284229"/>
          </a:xfrm>
          <a:prstGeom prst="ellipse">
            <a:avLst/>
          </a:prstGeom>
          <a:solidFill>
            <a:srgbClr val="A16D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B9DD599F-25FF-6A6B-8A34-F033DC21A19C}"/>
              </a:ext>
            </a:extLst>
          </p:cNvPr>
          <p:cNvCxnSpPr>
            <a:stCxn id="46" idx="4"/>
          </p:cNvCxnSpPr>
          <p:nvPr/>
        </p:nvCxnSpPr>
        <p:spPr>
          <a:xfrm flipH="1">
            <a:off x="4560040" y="6024394"/>
            <a:ext cx="1" cy="2173153"/>
          </a:xfrm>
          <a:prstGeom prst="line">
            <a:avLst/>
          </a:prstGeom>
          <a:ln w="28575">
            <a:solidFill>
              <a:srgbClr val="A16D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700AA3C1-EDD6-A498-5800-43ABA44EB283}"/>
              </a:ext>
            </a:extLst>
          </p:cNvPr>
          <p:cNvCxnSpPr>
            <a:cxnSpLocks/>
          </p:cNvCxnSpPr>
          <p:nvPr/>
        </p:nvCxnSpPr>
        <p:spPr>
          <a:xfrm flipH="1">
            <a:off x="-1486560" y="4539167"/>
            <a:ext cx="1955039" cy="0"/>
          </a:xfrm>
          <a:prstGeom prst="line">
            <a:avLst/>
          </a:prstGeom>
          <a:ln w="28575">
            <a:solidFill>
              <a:srgbClr val="A16D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FD3AF8EB-61C9-9B07-F83F-4672CDFA7614}"/>
              </a:ext>
            </a:extLst>
          </p:cNvPr>
          <p:cNvGrpSpPr/>
          <p:nvPr/>
        </p:nvGrpSpPr>
        <p:grpSpPr>
          <a:xfrm>
            <a:off x="611775" y="3135112"/>
            <a:ext cx="7866337" cy="2800382"/>
            <a:chOff x="611775" y="3135112"/>
            <a:chExt cx="7866337" cy="2800382"/>
          </a:xfrm>
        </p:grpSpPr>
        <p:sp>
          <p:nvSpPr>
            <p:cNvPr id="55" name="Rectangle: Rounded Corners 70">
              <a:extLst>
                <a:ext uri="{FF2B5EF4-FFF2-40B4-BE49-F238E27FC236}">
                  <a16:creationId xmlns:a16="http://schemas.microsoft.com/office/drawing/2014/main" id="{68BBF286-25DB-BFB7-3F5D-CEFFEED966FB}"/>
                </a:ext>
              </a:extLst>
            </p:cNvPr>
            <p:cNvSpPr/>
            <p:nvPr/>
          </p:nvSpPr>
          <p:spPr>
            <a:xfrm rot="10800000">
              <a:off x="611775" y="3189950"/>
              <a:ext cx="7651707" cy="266698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C147FC82-08A6-AC72-21A0-88506EBF892B}"/>
                </a:ext>
              </a:extLst>
            </p:cNvPr>
            <p:cNvSpPr txBox="1"/>
            <p:nvPr/>
          </p:nvSpPr>
          <p:spPr>
            <a:xfrm>
              <a:off x="856599" y="3135112"/>
              <a:ext cx="7406884" cy="28003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166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0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74B472F7-31A4-E971-E0AA-7AE4ED57FC30}"/>
                </a:ext>
              </a:extLst>
            </p:cNvPr>
            <p:cNvSpPr txBox="1"/>
            <p:nvPr/>
          </p:nvSpPr>
          <p:spPr>
            <a:xfrm>
              <a:off x="3946600" y="3397454"/>
              <a:ext cx="1562915" cy="10711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60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E5D62907-D4DD-8C05-0DF9-B53C33AC48F7}"/>
                </a:ext>
              </a:extLst>
            </p:cNvPr>
            <p:cNvSpPr txBox="1"/>
            <p:nvPr/>
          </p:nvSpPr>
          <p:spPr>
            <a:xfrm>
              <a:off x="5311385" y="4207474"/>
              <a:ext cx="3166727" cy="13569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5080"/>
                </a:lnSpc>
              </a:pPr>
              <a:r>
                <a:rPr lang="ru-RU" sz="40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</a:t>
              </a: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гда </a:t>
              </a:r>
              <a:b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читает</a:t>
              </a:r>
            </a:p>
          </p:txBody>
        </p:sp>
      </p:grp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6673DD84-4CF3-DDDF-FF31-B9DD6FEF3B72}"/>
              </a:ext>
            </a:extLst>
          </p:cNvPr>
          <p:cNvGrpSpPr/>
          <p:nvPr/>
        </p:nvGrpSpPr>
        <p:grpSpPr>
          <a:xfrm>
            <a:off x="658019" y="8286447"/>
            <a:ext cx="8028864" cy="2800382"/>
            <a:chOff x="611774" y="3135112"/>
            <a:chExt cx="8028864" cy="2800382"/>
          </a:xfrm>
        </p:grpSpPr>
        <p:sp>
          <p:nvSpPr>
            <p:cNvPr id="60" name="Rectangle: Rounded Corners 70">
              <a:extLst>
                <a:ext uri="{FF2B5EF4-FFF2-40B4-BE49-F238E27FC236}">
                  <a16:creationId xmlns:a16="http://schemas.microsoft.com/office/drawing/2014/main" id="{98FBBA17-F7A2-2152-AF17-AB813E8E4B30}"/>
                </a:ext>
              </a:extLst>
            </p:cNvPr>
            <p:cNvSpPr/>
            <p:nvPr/>
          </p:nvSpPr>
          <p:spPr>
            <a:xfrm rot="10800000">
              <a:off x="611774" y="3189949"/>
              <a:ext cx="8028864" cy="266698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742F0F0F-AAA1-C79F-F50C-45AC55B53C05}"/>
                </a:ext>
              </a:extLst>
            </p:cNvPr>
            <p:cNvSpPr txBox="1"/>
            <p:nvPr/>
          </p:nvSpPr>
          <p:spPr>
            <a:xfrm>
              <a:off x="856599" y="3135112"/>
              <a:ext cx="5328966" cy="28003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166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0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B2CFDE8C-0736-FD17-0F96-D0C92F86C716}"/>
                </a:ext>
              </a:extLst>
            </p:cNvPr>
            <p:cNvSpPr txBox="1"/>
            <p:nvPr/>
          </p:nvSpPr>
          <p:spPr>
            <a:xfrm>
              <a:off x="4391383" y="3397454"/>
              <a:ext cx="1562915" cy="10711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60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8EF94192-B7BF-7FBD-2E78-DECBDEEC2005}"/>
                </a:ext>
              </a:extLst>
            </p:cNvPr>
            <p:cNvSpPr txBox="1"/>
            <p:nvPr/>
          </p:nvSpPr>
          <p:spPr>
            <a:xfrm>
              <a:off x="5311385" y="4207474"/>
              <a:ext cx="3166727" cy="13569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5080"/>
                </a:lnSpc>
              </a:pPr>
              <a:r>
                <a:rPr lang="ru-RU" sz="40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</a:t>
              </a: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гда </a:t>
              </a:r>
              <a:b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слушае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424523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1.11111E-6 L 0.06576 1.11111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7958E6E6-50C2-D610-2767-D6004B64C6EF}"/>
              </a:ext>
            </a:extLst>
          </p:cNvPr>
          <p:cNvGrpSpPr/>
          <p:nvPr/>
        </p:nvGrpSpPr>
        <p:grpSpPr>
          <a:xfrm>
            <a:off x="533762" y="-5928884"/>
            <a:ext cx="5913850" cy="4381822"/>
            <a:chOff x="507863" y="2142803"/>
            <a:chExt cx="5913850" cy="4381822"/>
          </a:xfrm>
        </p:grpSpPr>
        <p:sp>
          <p:nvSpPr>
            <p:cNvPr id="6" name="Rectangle: Rounded Corners 70">
              <a:extLst>
                <a:ext uri="{FF2B5EF4-FFF2-40B4-BE49-F238E27FC236}">
                  <a16:creationId xmlns:a16="http://schemas.microsoft.com/office/drawing/2014/main" id="{D7F37732-92F5-64D1-3274-0B2EB4F818DA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7EFF4B6-4ABF-169D-BDB4-9BA679370B5B}"/>
                </a:ext>
              </a:extLst>
            </p:cNvPr>
            <p:cNvSpPr txBox="1"/>
            <p:nvPr/>
          </p:nvSpPr>
          <p:spPr>
            <a:xfrm>
              <a:off x="772809" y="2536240"/>
              <a:ext cx="5323191" cy="12464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ПРАВИЛО </a:t>
              </a:r>
              <a:b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ТРЕХ ЦВЕТОВ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440AD75-7D17-2712-99F5-972ACB88473D}"/>
                </a:ext>
              </a:extLst>
            </p:cNvPr>
            <p:cNvSpPr txBox="1"/>
            <p:nvPr/>
          </p:nvSpPr>
          <p:spPr>
            <a:xfrm>
              <a:off x="810910" y="3823036"/>
              <a:ext cx="4893240" cy="23676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42900" indent="-342900">
                <a:lnSpc>
                  <a:spcPts val="2500"/>
                </a:lnSpc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20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60% — основной фоновый цвет</a:t>
              </a:r>
            </a:p>
            <a:p>
              <a:pPr marL="342900" indent="-342900">
                <a:lnSpc>
                  <a:spcPts val="2500"/>
                </a:lnSpc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20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30% — вторичный цвет для управления вниманием пользователя</a:t>
              </a:r>
            </a:p>
            <a:p>
              <a:pPr marL="342900" indent="-342900">
                <a:lnSpc>
                  <a:spcPts val="2500"/>
                </a:lnSpc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20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10% — для расстановки акцентов в контенте</a:t>
              </a:r>
            </a:p>
          </p:txBody>
        </p:sp>
      </p:grpSp>
      <p:sp>
        <p:nvSpPr>
          <p:cNvPr id="53" name="Rectangle: Rounded Corners 70">
            <a:extLst>
              <a:ext uri="{FF2B5EF4-FFF2-40B4-BE49-F238E27FC236}">
                <a16:creationId xmlns:a16="http://schemas.microsoft.com/office/drawing/2014/main" id="{4E72B930-5E19-99B7-E393-DC73487B625A}"/>
              </a:ext>
            </a:extLst>
          </p:cNvPr>
          <p:cNvSpPr/>
          <p:nvPr/>
        </p:nvSpPr>
        <p:spPr>
          <a:xfrm rot="10800000">
            <a:off x="507863" y="685482"/>
            <a:ext cx="5997183" cy="1136385"/>
          </a:xfrm>
          <a:prstGeom prst="roundRect">
            <a:avLst>
              <a:gd name="adj" fmla="val 27611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57" name="Скругленный прямоугольник 56">
            <a:extLst>
              <a:ext uri="{FF2B5EF4-FFF2-40B4-BE49-F238E27FC236}">
                <a16:creationId xmlns:a16="http://schemas.microsoft.com/office/drawing/2014/main" id="{EC685C8B-9F8C-5931-CC05-7A74BFA71560}"/>
              </a:ext>
            </a:extLst>
          </p:cNvPr>
          <p:cNvSpPr/>
          <p:nvPr/>
        </p:nvSpPr>
        <p:spPr>
          <a:xfrm rot="5400000">
            <a:off x="1335478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Скругленный прямоугольник 57">
            <a:extLst>
              <a:ext uri="{FF2B5EF4-FFF2-40B4-BE49-F238E27FC236}">
                <a16:creationId xmlns:a16="http://schemas.microsoft.com/office/drawing/2014/main" id="{3AF22607-5A27-1866-739C-78BEAB03302E}"/>
              </a:ext>
            </a:extLst>
          </p:cNvPr>
          <p:cNvSpPr/>
          <p:nvPr/>
        </p:nvSpPr>
        <p:spPr>
          <a:xfrm rot="5400000">
            <a:off x="1780257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Скругленный прямоугольник 58">
            <a:extLst>
              <a:ext uri="{FF2B5EF4-FFF2-40B4-BE49-F238E27FC236}">
                <a16:creationId xmlns:a16="http://schemas.microsoft.com/office/drawing/2014/main" id="{CC1E7B9B-6937-C246-CBBB-2368CEFD595B}"/>
              </a:ext>
            </a:extLst>
          </p:cNvPr>
          <p:cNvSpPr/>
          <p:nvPr/>
        </p:nvSpPr>
        <p:spPr>
          <a:xfrm rot="5400000">
            <a:off x="2225036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Скругленный прямоугольник 59">
            <a:extLst>
              <a:ext uri="{FF2B5EF4-FFF2-40B4-BE49-F238E27FC236}">
                <a16:creationId xmlns:a16="http://schemas.microsoft.com/office/drawing/2014/main" id="{34093E35-2865-2CE2-22ED-4B0A04F7077A}"/>
              </a:ext>
            </a:extLst>
          </p:cNvPr>
          <p:cNvSpPr/>
          <p:nvPr/>
        </p:nvSpPr>
        <p:spPr>
          <a:xfrm rot="5400000">
            <a:off x="2669815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Скругленный прямоугольник 60">
            <a:extLst>
              <a:ext uri="{FF2B5EF4-FFF2-40B4-BE49-F238E27FC236}">
                <a16:creationId xmlns:a16="http://schemas.microsoft.com/office/drawing/2014/main" id="{6C55457C-5990-E4C0-2080-3B6BF8D224A4}"/>
              </a:ext>
            </a:extLst>
          </p:cNvPr>
          <p:cNvSpPr/>
          <p:nvPr/>
        </p:nvSpPr>
        <p:spPr>
          <a:xfrm rot="5400000">
            <a:off x="3114594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Скругленный прямоугольник 61">
            <a:extLst>
              <a:ext uri="{FF2B5EF4-FFF2-40B4-BE49-F238E27FC236}">
                <a16:creationId xmlns:a16="http://schemas.microsoft.com/office/drawing/2014/main" id="{E2C3767B-DF73-EB57-4922-922FE33EBCFA}"/>
              </a:ext>
            </a:extLst>
          </p:cNvPr>
          <p:cNvSpPr/>
          <p:nvPr/>
        </p:nvSpPr>
        <p:spPr>
          <a:xfrm rot="5400000">
            <a:off x="355937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кругленный прямоугольник 62">
            <a:extLst>
              <a:ext uri="{FF2B5EF4-FFF2-40B4-BE49-F238E27FC236}">
                <a16:creationId xmlns:a16="http://schemas.microsoft.com/office/drawing/2014/main" id="{B96ED38E-92EE-71D4-E04D-D5F092255D9C}"/>
              </a:ext>
            </a:extLst>
          </p:cNvPr>
          <p:cNvSpPr/>
          <p:nvPr/>
        </p:nvSpPr>
        <p:spPr>
          <a:xfrm rot="5400000">
            <a:off x="4004152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Скругленный прямоугольник 64">
            <a:extLst>
              <a:ext uri="{FF2B5EF4-FFF2-40B4-BE49-F238E27FC236}">
                <a16:creationId xmlns:a16="http://schemas.microsoft.com/office/drawing/2014/main" id="{B57DEFAB-3198-35BC-C517-56267773D1A3}"/>
              </a:ext>
            </a:extLst>
          </p:cNvPr>
          <p:cNvSpPr/>
          <p:nvPr/>
        </p:nvSpPr>
        <p:spPr>
          <a:xfrm rot="5400000">
            <a:off x="4893710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кругленный прямоугольник 65">
            <a:extLst>
              <a:ext uri="{FF2B5EF4-FFF2-40B4-BE49-F238E27FC236}">
                <a16:creationId xmlns:a16="http://schemas.microsoft.com/office/drawing/2014/main" id="{7C5B89BA-91D6-4CBE-F3DA-5603D25E9265}"/>
              </a:ext>
            </a:extLst>
          </p:cNvPr>
          <p:cNvSpPr/>
          <p:nvPr/>
        </p:nvSpPr>
        <p:spPr>
          <a:xfrm rot="5400000">
            <a:off x="4448931" y="893475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AB4BB9A-DCC0-1935-48B9-818BA23D4A79}"/>
              </a:ext>
            </a:extLst>
          </p:cNvPr>
          <p:cNvSpPr txBox="1"/>
          <p:nvPr/>
        </p:nvSpPr>
        <p:spPr>
          <a:xfrm>
            <a:off x="1289469" y="1253674"/>
            <a:ext cx="5188527" cy="385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" panose="020B0305040102020103" pitchFamily="34" charset="0"/>
                <a:cs typeface="Times New Roman" panose="02020603050405020304" pitchFamily="18" charset="0"/>
              </a:rPr>
              <a:t>Азбука качественного визуала</a:t>
            </a:r>
          </a:p>
        </p:txBody>
      </p:sp>
      <p:sp useBgFill="1">
        <p:nvSpPr>
          <p:cNvPr id="71" name="Полилиния 70">
            <a:extLst>
              <a:ext uri="{FF2B5EF4-FFF2-40B4-BE49-F238E27FC236}">
                <a16:creationId xmlns:a16="http://schemas.microsoft.com/office/drawing/2014/main" id="{A119041F-0060-FE60-3BAD-0947D31F50E6}"/>
              </a:ext>
            </a:extLst>
          </p:cNvPr>
          <p:cNvSpPr/>
          <p:nvPr/>
        </p:nvSpPr>
        <p:spPr>
          <a:xfrm>
            <a:off x="507862" y="-1226127"/>
            <a:ext cx="5997184" cy="3047995"/>
          </a:xfrm>
          <a:custGeom>
            <a:avLst/>
            <a:gdLst>
              <a:gd name="connsiteX0" fmla="*/ 0 w 5997184"/>
              <a:gd name="connsiteY0" fmla="*/ 0 h 3047995"/>
              <a:gd name="connsiteX1" fmla="*/ 5997184 w 5997184"/>
              <a:gd name="connsiteY1" fmla="*/ 0 h 3047995"/>
              <a:gd name="connsiteX2" fmla="*/ 5997184 w 5997184"/>
              <a:gd name="connsiteY2" fmla="*/ 2225376 h 3047995"/>
              <a:gd name="connsiteX3" fmla="*/ 5683417 w 5997184"/>
              <a:gd name="connsiteY3" fmla="*/ 1911609 h 3047995"/>
              <a:gd name="connsiteX4" fmla="*/ 313768 w 5997184"/>
              <a:gd name="connsiteY4" fmla="*/ 1911609 h 3047995"/>
              <a:gd name="connsiteX5" fmla="*/ 1 w 5997184"/>
              <a:gd name="connsiteY5" fmla="*/ 2225376 h 3047995"/>
              <a:gd name="connsiteX6" fmla="*/ 1 w 5997184"/>
              <a:gd name="connsiteY6" fmla="*/ 2734227 h 3047995"/>
              <a:gd name="connsiteX7" fmla="*/ 313768 w 5997184"/>
              <a:gd name="connsiteY7" fmla="*/ 3047994 h 3047995"/>
              <a:gd name="connsiteX8" fmla="*/ 5683417 w 5997184"/>
              <a:gd name="connsiteY8" fmla="*/ 3047994 h 3047995"/>
              <a:gd name="connsiteX9" fmla="*/ 5997184 w 5997184"/>
              <a:gd name="connsiteY9" fmla="*/ 2734227 h 3047995"/>
              <a:gd name="connsiteX10" fmla="*/ 5997184 w 5997184"/>
              <a:gd name="connsiteY10" fmla="*/ 3047995 h 3047995"/>
              <a:gd name="connsiteX11" fmla="*/ 0 w 5997184"/>
              <a:gd name="connsiteY11" fmla="*/ 3047995 h 304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997184" h="3047995">
                <a:moveTo>
                  <a:pt x="0" y="0"/>
                </a:moveTo>
                <a:lnTo>
                  <a:pt x="5997184" y="0"/>
                </a:lnTo>
                <a:lnTo>
                  <a:pt x="5997184" y="2225376"/>
                </a:lnTo>
                <a:cubicBezTo>
                  <a:pt x="5997184" y="2052087"/>
                  <a:pt x="5856706" y="1911609"/>
                  <a:pt x="5683417" y="1911609"/>
                </a:cubicBezTo>
                <a:lnTo>
                  <a:pt x="313768" y="1911609"/>
                </a:lnTo>
                <a:cubicBezTo>
                  <a:pt x="140479" y="1911609"/>
                  <a:pt x="1" y="2052087"/>
                  <a:pt x="1" y="2225376"/>
                </a:cubicBezTo>
                <a:lnTo>
                  <a:pt x="1" y="2734227"/>
                </a:lnTo>
                <a:cubicBezTo>
                  <a:pt x="1" y="2907516"/>
                  <a:pt x="140479" y="3047994"/>
                  <a:pt x="313768" y="3047994"/>
                </a:cubicBezTo>
                <a:lnTo>
                  <a:pt x="5683417" y="3047994"/>
                </a:lnTo>
                <a:cubicBezTo>
                  <a:pt x="5856706" y="3047994"/>
                  <a:pt x="5997184" y="2907516"/>
                  <a:pt x="5997184" y="2734227"/>
                </a:cubicBezTo>
                <a:lnTo>
                  <a:pt x="5997184" y="3047995"/>
                </a:lnTo>
                <a:lnTo>
                  <a:pt x="0" y="304799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B9D371BF-803B-A30D-2911-3B9CEFDA344C}"/>
              </a:ext>
            </a:extLst>
          </p:cNvPr>
          <p:cNvGrpSpPr/>
          <p:nvPr/>
        </p:nvGrpSpPr>
        <p:grpSpPr>
          <a:xfrm>
            <a:off x="-3517807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2776F762-6191-9C3A-04B0-F7632B078202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79A7D83F-D501-8758-E699-6059DAC43E75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7" name="Рисунок 3">
            <a:extLst>
              <a:ext uri="{FF2B5EF4-FFF2-40B4-BE49-F238E27FC236}">
                <a16:creationId xmlns:a16="http://schemas.microsoft.com/office/drawing/2014/main" id="{56295991-5BE7-36A2-05FC-C41D90410B7A}"/>
              </a:ext>
            </a:extLst>
          </p:cNvPr>
          <p:cNvGrpSpPr/>
          <p:nvPr/>
        </p:nvGrpSpPr>
        <p:grpSpPr>
          <a:xfrm>
            <a:off x="-2846667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491CF97A-523B-F1DC-DC58-B5153C90AEB4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33256969-A9F0-82A9-8386-11518CF8D97B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D53FC78-1470-5880-CC4B-564B2D535439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2DA2E124-1C66-6FFE-FE8E-B01C1BA28622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5A820B68-6596-BDA0-EE3C-CDCF23BFD057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3A62DF1B-3CCD-FA09-535B-349066C73EEF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0F9983CE-6C20-A7DA-B20B-5531D5ECF0EC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27CF1737-278F-1365-6768-D7226C154BD2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F82A8CAF-5B1E-251F-D1C9-75583580C453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2F90F89D-256A-D452-B3CD-217CB800535C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82038AB9-EC9D-4C16-32DD-11D31DCD5A9D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75A12AE4-DD72-BDB0-4F37-2D7703BB6FF6}"/>
              </a:ext>
            </a:extLst>
          </p:cNvPr>
          <p:cNvSpPr/>
          <p:nvPr/>
        </p:nvSpPr>
        <p:spPr>
          <a:xfrm rot="5400000">
            <a:off x="5338493" y="893473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E1FBAD80-33BD-44FB-6163-B8CBDF9C07CF}"/>
              </a:ext>
            </a:extLst>
          </p:cNvPr>
          <p:cNvGrpSpPr/>
          <p:nvPr/>
        </p:nvGrpSpPr>
        <p:grpSpPr>
          <a:xfrm>
            <a:off x="7372533" y="-6531747"/>
            <a:ext cx="4216203" cy="5839143"/>
            <a:chOff x="7370965" y="7363991"/>
            <a:chExt cx="4216203" cy="5839143"/>
          </a:xfrm>
        </p:grpSpPr>
        <p:sp>
          <p:nvSpPr>
            <p:cNvPr id="24" name="Rectangle: Rounded Corners 70">
              <a:extLst>
                <a:ext uri="{FF2B5EF4-FFF2-40B4-BE49-F238E27FC236}">
                  <a16:creationId xmlns:a16="http://schemas.microsoft.com/office/drawing/2014/main" id="{597797E8-9538-83B0-C8D3-2DDBEE04541C}"/>
                </a:ext>
              </a:extLst>
            </p:cNvPr>
            <p:cNvSpPr/>
            <p:nvPr/>
          </p:nvSpPr>
          <p:spPr>
            <a:xfrm rot="10800000">
              <a:off x="7370966" y="7363991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17864E83-60C0-3EFC-F45A-C691F27DBE0C}"/>
                </a:ext>
              </a:extLst>
            </p:cNvPr>
            <p:cNvSpPr/>
            <p:nvPr/>
          </p:nvSpPr>
          <p:spPr>
            <a:xfrm>
              <a:off x="7370965" y="7730836"/>
              <a:ext cx="4216203" cy="288570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DA5E6249-3E4F-9A79-7A05-5D705A8DC1F5}"/>
                </a:ext>
              </a:extLst>
            </p:cNvPr>
            <p:cNvSpPr/>
            <p:nvPr/>
          </p:nvSpPr>
          <p:spPr>
            <a:xfrm>
              <a:off x="7370965" y="10675916"/>
              <a:ext cx="4216203" cy="153191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E72E170D-FA54-3617-DB0B-3C928D6A3D92}"/>
                </a:ext>
              </a:extLst>
            </p:cNvPr>
            <p:cNvSpPr/>
            <p:nvPr/>
          </p:nvSpPr>
          <p:spPr>
            <a:xfrm>
              <a:off x="7370965" y="12267210"/>
              <a:ext cx="4216203" cy="47501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7A8B2A10-D6EE-F909-AC2E-B9714A6D3052}"/>
              </a:ext>
            </a:extLst>
          </p:cNvPr>
          <p:cNvGrpSpPr/>
          <p:nvPr/>
        </p:nvGrpSpPr>
        <p:grpSpPr>
          <a:xfrm>
            <a:off x="507863" y="2142803"/>
            <a:ext cx="5913850" cy="4381822"/>
            <a:chOff x="507863" y="2142803"/>
            <a:chExt cx="5913850" cy="4381822"/>
          </a:xfrm>
        </p:grpSpPr>
        <p:sp>
          <p:nvSpPr>
            <p:cNvPr id="54" name="Rectangle: Rounded Corners 70">
              <a:extLst>
                <a:ext uri="{FF2B5EF4-FFF2-40B4-BE49-F238E27FC236}">
                  <a16:creationId xmlns:a16="http://schemas.microsoft.com/office/drawing/2014/main" id="{4327CDC1-48EC-6BD3-AF66-6729DE9D59C1}"/>
                </a:ext>
              </a:extLst>
            </p:cNvPr>
            <p:cNvSpPr/>
            <p:nvPr/>
          </p:nvSpPr>
          <p:spPr>
            <a:xfrm rot="10800000">
              <a:off x="507863" y="2142803"/>
              <a:ext cx="5913850" cy="4381822"/>
            </a:xfrm>
            <a:prstGeom prst="roundRect">
              <a:avLst>
                <a:gd name="adj" fmla="val 9043"/>
              </a:avLst>
            </a:prstGeom>
            <a:solidFill>
              <a:srgbClr val="620CFD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B304BB7-F66A-0C52-94BD-5F572C1748EC}"/>
                </a:ext>
              </a:extLst>
            </p:cNvPr>
            <p:cNvSpPr txBox="1"/>
            <p:nvPr/>
          </p:nvSpPr>
          <p:spPr>
            <a:xfrm>
              <a:off x="772809" y="2536240"/>
              <a:ext cx="5323191" cy="12464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4500"/>
                </a:lnSpc>
                <a:spcAft>
                  <a:spcPts val="1000"/>
                </a:spcAft>
              </a:pP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ЗОЛОТОЕ</a:t>
              </a:r>
              <a:b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4000" b="1" dirty="0">
                  <a:solidFill>
                    <a:schemeClr val="bg1"/>
                  </a:solidFill>
                  <a:latin typeface="Unbounded SemiBold" panose="020B0305040102020103" pitchFamily="34" charset="0"/>
                  <a:cs typeface="Times New Roman" panose="02020603050405020304" pitchFamily="18" charset="0"/>
                </a:rPr>
                <a:t>СЕЧЕНИЕ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DEFAC3EB-F880-EBA9-9E3C-5D34F461C10F}"/>
                </a:ext>
              </a:extLst>
            </p:cNvPr>
            <p:cNvSpPr txBox="1"/>
            <p:nvPr/>
          </p:nvSpPr>
          <p:spPr>
            <a:xfrm>
              <a:off x="810910" y="3823036"/>
              <a:ext cx="4893240" cy="167520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500"/>
                </a:lnSpc>
                <a:spcAft>
                  <a:spcPts val="200"/>
                </a:spcAft>
              </a:pPr>
              <a:r>
                <a:rPr lang="ru-RU" sz="20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Разделите размер заголовка на 1,6, чтобы найти оптимальный размер подзаголовка и по такой </a:t>
              </a:r>
              <a:br>
                <a:rPr lang="ru-RU" sz="20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solidFill>
                    <a:schemeClr val="bg1"/>
                  </a:solidFill>
                  <a:latin typeface="Unbounded Medium" panose="020B0305040102020103" pitchFamily="34" charset="0"/>
                  <a:cs typeface="Times New Roman" panose="02020603050405020304" pitchFamily="18" charset="0"/>
                </a:rPr>
                <a:t>же логике дальше</a:t>
              </a:r>
            </a:p>
          </p:txBody>
        </p:sp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E1DEA61-104E-F49B-8D94-0DB244437620}"/>
              </a:ext>
            </a:extLst>
          </p:cNvPr>
          <p:cNvGrpSpPr/>
          <p:nvPr/>
        </p:nvGrpSpPr>
        <p:grpSpPr>
          <a:xfrm>
            <a:off x="7372534" y="685481"/>
            <a:ext cx="13071189" cy="5839143"/>
            <a:chOff x="7372534" y="685481"/>
            <a:chExt cx="13071189" cy="5839143"/>
          </a:xfrm>
        </p:grpSpPr>
        <p:sp>
          <p:nvSpPr>
            <p:cNvPr id="4" name="Rectangle: Rounded Corners 70">
              <a:extLst>
                <a:ext uri="{FF2B5EF4-FFF2-40B4-BE49-F238E27FC236}">
                  <a16:creationId xmlns:a16="http://schemas.microsoft.com/office/drawing/2014/main" id="{77A37CF7-7D41-A50F-6C24-FA129237F214}"/>
                </a:ext>
              </a:extLst>
            </p:cNvPr>
            <p:cNvSpPr/>
            <p:nvPr/>
          </p:nvSpPr>
          <p:spPr>
            <a:xfrm rot="10800000">
              <a:off x="7372534" y="685481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E660EC9-BBAA-381D-FB10-B27168AA7A0A}"/>
                </a:ext>
              </a:extLst>
            </p:cNvPr>
            <p:cNvSpPr txBox="1"/>
            <p:nvPr/>
          </p:nvSpPr>
          <p:spPr>
            <a:xfrm>
              <a:off x="7570463" y="1513260"/>
              <a:ext cx="128732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800" b="1" dirty="0">
                  <a:latin typeface="Unbounded Black" panose="020B0305040102020103" pitchFamily="34" charset="0"/>
                </a:rPr>
                <a:t>Заголовок — 50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E701052-18DB-261A-B7D4-03DC2C884543}"/>
                </a:ext>
              </a:extLst>
            </p:cNvPr>
            <p:cNvSpPr txBox="1"/>
            <p:nvPr/>
          </p:nvSpPr>
          <p:spPr>
            <a:xfrm>
              <a:off x="7570463" y="2170006"/>
              <a:ext cx="1287326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latin typeface="Unbounded Medium" panose="020B0305040102020103" pitchFamily="34" charset="0"/>
                </a:rPr>
                <a:t>Подзаголовок — 32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0CD7808-54E3-72F8-726A-AFEF00DBC57A}"/>
                </a:ext>
              </a:extLst>
            </p:cNvPr>
            <p:cNvSpPr txBox="1"/>
            <p:nvPr/>
          </p:nvSpPr>
          <p:spPr>
            <a:xfrm>
              <a:off x="7570463" y="2733454"/>
              <a:ext cx="1287326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>
                  <a:latin typeface="Unbounded Blond" panose="020B0305040102020103" pitchFamily="34" charset="0"/>
                </a:rPr>
                <a:t>Основной текст — 2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49092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53B8E41-42E0-7E42-881A-F133F990B9FF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D6060DB4-0F01-0B4C-9220-FA022056DB40}"/>
              </a:ext>
            </a:extLst>
          </p:cNvPr>
          <p:cNvSpPr/>
          <p:nvPr/>
        </p:nvSpPr>
        <p:spPr>
          <a:xfrm>
            <a:off x="1384596" y="131497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6FC6CD61-C8E2-1840-B545-18445EFDEB81}"/>
              </a:ext>
            </a:extLst>
          </p:cNvPr>
          <p:cNvSpPr/>
          <p:nvPr/>
        </p:nvSpPr>
        <p:spPr>
          <a:xfrm>
            <a:off x="-703394" y="-56200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C71B5425-872C-DD41-8B9E-F1798F09F6E7}"/>
              </a:ext>
            </a:extLst>
          </p:cNvPr>
          <p:cNvSpPr/>
          <p:nvPr/>
        </p:nvSpPr>
        <p:spPr>
          <a:xfrm>
            <a:off x="4660581" y="132408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310D618A-B4B7-034E-B73A-C121C1C0BE50}"/>
              </a:ext>
            </a:extLst>
          </p:cNvPr>
          <p:cNvSpPr/>
          <p:nvPr/>
        </p:nvSpPr>
        <p:spPr>
          <a:xfrm>
            <a:off x="5792288" y="-53818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6C40936F-D36D-FA48-A8C3-7BA561AC4874}"/>
              </a:ext>
            </a:extLst>
          </p:cNvPr>
          <p:cNvSpPr/>
          <p:nvPr/>
        </p:nvSpPr>
        <p:spPr>
          <a:xfrm>
            <a:off x="11099977" y="1309990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613DA252-4CF3-C744-9A08-DADA0FE63D2A}"/>
              </a:ext>
            </a:extLst>
          </p:cNvPr>
          <p:cNvSpPr/>
          <p:nvPr/>
        </p:nvSpPr>
        <p:spPr>
          <a:xfrm>
            <a:off x="9011986" y="-566982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FFECE060-9699-E144-AC26-9BF9717D9003}"/>
              </a:ext>
            </a:extLst>
          </p:cNvPr>
          <p:cNvSpPr/>
          <p:nvPr/>
        </p:nvSpPr>
        <p:spPr>
          <a:xfrm>
            <a:off x="-975099" y="381462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488C54A6-E50D-284F-A23A-3C1FE397932D}"/>
              </a:ext>
            </a:extLst>
          </p:cNvPr>
          <p:cNvSpPr/>
          <p:nvPr/>
        </p:nvSpPr>
        <p:spPr>
          <a:xfrm>
            <a:off x="-1563397" y="1596492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15DD9C33-2ACE-9249-93D1-504E86586B24}"/>
              </a:ext>
            </a:extLst>
          </p:cNvPr>
          <p:cNvSpPr/>
          <p:nvPr/>
        </p:nvSpPr>
        <p:spPr>
          <a:xfrm>
            <a:off x="2572591" y="-55288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02BC4B67-72BC-394B-839C-35E53E97C3A2}"/>
              </a:ext>
            </a:extLst>
          </p:cNvPr>
          <p:cNvSpPr/>
          <p:nvPr/>
        </p:nvSpPr>
        <p:spPr>
          <a:xfrm>
            <a:off x="7880279" y="1338788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88B7C0BF-4578-AE42-A26E-E310C95FFA6A}"/>
              </a:ext>
            </a:extLst>
          </p:cNvPr>
          <p:cNvSpPr/>
          <p:nvPr/>
        </p:nvSpPr>
        <p:spPr>
          <a:xfrm>
            <a:off x="2088030" y="412992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0A138D62-A848-C647-A10B-CDD14293FDFF}"/>
              </a:ext>
            </a:extLst>
          </p:cNvPr>
          <p:cNvSpPr/>
          <p:nvPr/>
        </p:nvSpPr>
        <p:spPr>
          <a:xfrm>
            <a:off x="4443032" y="79009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67C7B3F4-4796-364E-9F51-78443E67CFAD}"/>
              </a:ext>
            </a:extLst>
          </p:cNvPr>
          <p:cNvSpPr/>
          <p:nvPr/>
        </p:nvSpPr>
        <p:spPr>
          <a:xfrm>
            <a:off x="9968269" y="597781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8DFA698-38E6-03BB-332C-E1CF55AA2EA3}"/>
              </a:ext>
            </a:extLst>
          </p:cNvPr>
          <p:cNvGrpSpPr/>
          <p:nvPr/>
        </p:nvGrpSpPr>
        <p:grpSpPr>
          <a:xfrm>
            <a:off x="623888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5A60490B-4325-0161-B20C-B88B12AE90BB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2F391B36-BE1D-E8D4-256B-A74A3155DB3E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" name="Рисунок 3">
            <a:extLst>
              <a:ext uri="{FF2B5EF4-FFF2-40B4-BE49-F238E27FC236}">
                <a16:creationId xmlns:a16="http://schemas.microsoft.com/office/drawing/2014/main" id="{3161A2EE-E4FE-9EFF-E54E-BBFE2738AE74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11" name="Полилиния 10">
              <a:extLst>
                <a:ext uri="{FF2B5EF4-FFF2-40B4-BE49-F238E27FC236}">
                  <a16:creationId xmlns:a16="http://schemas.microsoft.com/office/drawing/2014/main" id="{D5317DD2-416D-CAF5-6A74-2DC83FBED045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id="{D86E0946-D873-603A-EEED-A8AC44B862A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C10C4818-7638-E966-E7FD-3627A9462C5C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id="{1C82B3CC-C076-0AB5-1827-686EDE07B7CC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FE017B9F-C139-C5E7-684F-4B6A955E91A7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 16">
              <a:extLst>
                <a:ext uri="{FF2B5EF4-FFF2-40B4-BE49-F238E27FC236}">
                  <a16:creationId xmlns:a16="http://schemas.microsoft.com/office/drawing/2014/main" id="{A7EBA4C5-3227-2992-F35A-0F5D61BB83D1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ABED481D-93F3-36B8-D3F6-560BB8145AE9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 19">
              <a:extLst>
                <a:ext uri="{FF2B5EF4-FFF2-40B4-BE49-F238E27FC236}">
                  <a16:creationId xmlns:a16="http://schemas.microsoft.com/office/drawing/2014/main" id="{0BF81DE4-B694-E375-7460-B52134B4D520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 24">
              <a:extLst>
                <a:ext uri="{FF2B5EF4-FFF2-40B4-BE49-F238E27FC236}">
                  <a16:creationId xmlns:a16="http://schemas.microsoft.com/office/drawing/2014/main" id="{33A67B84-0B90-C9A1-984E-BE9F7500EEE3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7A3CB6ED-34ED-940C-E167-41AE91068E0E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AECC1CE8-C9B0-EF33-CBFC-069B3953E2F2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53788A5A-AAB6-6A52-08DE-9BF7A6BD8E4A}"/>
              </a:ext>
            </a:extLst>
          </p:cNvPr>
          <p:cNvSpPr txBox="1"/>
          <p:nvPr/>
        </p:nvSpPr>
        <p:spPr>
          <a:xfrm>
            <a:off x="527074" y="1521175"/>
            <a:ext cx="1322753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7200"/>
              </a:lnSpc>
              <a:spcAft>
                <a:spcPts val="1000"/>
              </a:spcAft>
            </a:pPr>
            <a:r>
              <a:rPr lang="ru-RU" sz="6000" b="1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SemiBold" panose="020B0305040102020103" pitchFamily="34" charset="0"/>
              </a:rPr>
              <a:t>ПРАКТИКУЕМСЯ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346AADDF-9773-2155-CAD1-C8C8F824F35A}"/>
              </a:ext>
            </a:extLst>
          </p:cNvPr>
          <p:cNvGrpSpPr/>
          <p:nvPr/>
        </p:nvGrpSpPr>
        <p:grpSpPr>
          <a:xfrm>
            <a:off x="-20459602" y="3429000"/>
            <a:ext cx="16369553" cy="2655607"/>
            <a:chOff x="-8380656" y="3711125"/>
            <a:chExt cx="39283186" cy="6372850"/>
          </a:xfrm>
        </p:grpSpPr>
        <p:sp>
          <p:nvSpPr>
            <p:cNvPr id="4" name="Полилиния 3">
              <a:extLst>
                <a:ext uri="{FF2B5EF4-FFF2-40B4-BE49-F238E27FC236}">
                  <a16:creationId xmlns:a16="http://schemas.microsoft.com/office/drawing/2014/main" id="{9F66FA7E-2874-FD0A-B8DC-861C20A8124B}"/>
                </a:ext>
              </a:extLst>
            </p:cNvPr>
            <p:cNvSpPr/>
            <p:nvPr/>
          </p:nvSpPr>
          <p:spPr>
            <a:xfrm>
              <a:off x="-1343917" y="3711125"/>
              <a:ext cx="7973327" cy="1673803"/>
            </a:xfrm>
            <a:custGeom>
              <a:avLst/>
              <a:gdLst>
                <a:gd name="connsiteX0" fmla="*/ 2618174 w 5360120"/>
                <a:gd name="connsiteY0" fmla="*/ 0 h 1115727"/>
                <a:gd name="connsiteX1" fmla="*/ 2679502 w 5360120"/>
                <a:gd name="connsiteY1" fmla="*/ 0 h 1115727"/>
                <a:gd name="connsiteX2" fmla="*/ 2740830 w 5360120"/>
                <a:gd name="connsiteY2" fmla="*/ 0 h 1115727"/>
                <a:gd name="connsiteX3" fmla="*/ 2803273 w 5360120"/>
                <a:gd name="connsiteY3" fmla="*/ 3340 h 1115727"/>
                <a:gd name="connsiteX4" fmla="*/ 2864601 w 5360120"/>
                <a:gd name="connsiteY4" fmla="*/ 7793 h 1115727"/>
                <a:gd name="connsiteX5" fmla="*/ 2923699 w 5360120"/>
                <a:gd name="connsiteY5" fmla="*/ 14473 h 1115727"/>
                <a:gd name="connsiteX6" fmla="*/ 2985027 w 5360120"/>
                <a:gd name="connsiteY6" fmla="*/ 23379 h 1115727"/>
                <a:gd name="connsiteX7" fmla="*/ 3043010 w 5360120"/>
                <a:gd name="connsiteY7" fmla="*/ 33399 h 1115727"/>
                <a:gd name="connsiteX8" fmla="*/ 3102109 w 5360120"/>
                <a:gd name="connsiteY8" fmla="*/ 46758 h 1115727"/>
                <a:gd name="connsiteX9" fmla="*/ 3160091 w 5360120"/>
                <a:gd name="connsiteY9" fmla="*/ 61231 h 1115727"/>
                <a:gd name="connsiteX10" fmla="*/ 3215843 w 5360120"/>
                <a:gd name="connsiteY10" fmla="*/ 77930 h 1115727"/>
                <a:gd name="connsiteX11" fmla="*/ 3270481 w 5360120"/>
                <a:gd name="connsiteY11" fmla="*/ 95743 h 1115727"/>
                <a:gd name="connsiteX12" fmla="*/ 3325119 w 5360120"/>
                <a:gd name="connsiteY12" fmla="*/ 116895 h 1115727"/>
                <a:gd name="connsiteX13" fmla="*/ 3376411 w 5360120"/>
                <a:gd name="connsiteY13" fmla="*/ 139161 h 1115727"/>
                <a:gd name="connsiteX14" fmla="*/ 3427704 w 5360120"/>
                <a:gd name="connsiteY14" fmla="*/ 163653 h 1115727"/>
                <a:gd name="connsiteX15" fmla="*/ 3477881 w 5360120"/>
                <a:gd name="connsiteY15" fmla="*/ 189259 h 1115727"/>
                <a:gd name="connsiteX16" fmla="*/ 3524713 w 5360120"/>
                <a:gd name="connsiteY16" fmla="*/ 215978 h 1115727"/>
                <a:gd name="connsiteX17" fmla="*/ 3569315 w 5360120"/>
                <a:gd name="connsiteY17" fmla="*/ 247150 h 1115727"/>
                <a:gd name="connsiteX18" fmla="*/ 3570430 w 5360120"/>
                <a:gd name="connsiteY18" fmla="*/ 248263 h 1115727"/>
                <a:gd name="connsiteX19" fmla="*/ 3581581 w 5360120"/>
                <a:gd name="connsiteY19" fmla="*/ 256056 h 1115727"/>
                <a:gd name="connsiteX20" fmla="*/ 3612802 w 5360120"/>
                <a:gd name="connsiteY20" fmla="*/ 277209 h 1115727"/>
                <a:gd name="connsiteX21" fmla="*/ 3671900 w 5360120"/>
                <a:gd name="connsiteY21" fmla="*/ 318401 h 1115727"/>
                <a:gd name="connsiteX22" fmla="*/ 3767795 w 5360120"/>
                <a:gd name="connsiteY22" fmla="*/ 386311 h 1115727"/>
                <a:gd name="connsiteX23" fmla="*/ 3912752 w 5360120"/>
                <a:gd name="connsiteY23" fmla="*/ 487620 h 1115727"/>
                <a:gd name="connsiteX24" fmla="*/ 4114577 w 5360120"/>
                <a:gd name="connsiteY24" fmla="*/ 627895 h 1115727"/>
                <a:gd name="connsiteX25" fmla="*/ 4383305 w 5360120"/>
                <a:gd name="connsiteY25" fmla="*/ 817154 h 1115727"/>
                <a:gd name="connsiteX26" fmla="*/ 4434597 w 5360120"/>
                <a:gd name="connsiteY26" fmla="*/ 851666 h 1115727"/>
                <a:gd name="connsiteX27" fmla="*/ 4490350 w 5360120"/>
                <a:gd name="connsiteY27" fmla="*/ 885065 h 1115727"/>
                <a:gd name="connsiteX28" fmla="*/ 4548333 w 5360120"/>
                <a:gd name="connsiteY28" fmla="*/ 915123 h 1115727"/>
                <a:gd name="connsiteX29" fmla="*/ 4608546 w 5360120"/>
                <a:gd name="connsiteY29" fmla="*/ 944069 h 1115727"/>
                <a:gd name="connsiteX30" fmla="*/ 4670989 w 5360120"/>
                <a:gd name="connsiteY30" fmla="*/ 971901 h 1115727"/>
                <a:gd name="connsiteX31" fmla="*/ 4736777 w 5360120"/>
                <a:gd name="connsiteY31" fmla="*/ 995280 h 1115727"/>
                <a:gd name="connsiteX32" fmla="*/ 4802565 w 5360120"/>
                <a:gd name="connsiteY32" fmla="*/ 1017546 h 1115727"/>
                <a:gd name="connsiteX33" fmla="*/ 4871699 w 5360120"/>
                <a:gd name="connsiteY33" fmla="*/ 1038698 h 1115727"/>
                <a:gd name="connsiteX34" fmla="*/ 4940832 w 5360120"/>
                <a:gd name="connsiteY34" fmla="*/ 1056511 h 1115727"/>
                <a:gd name="connsiteX35" fmla="*/ 5012195 w 5360120"/>
                <a:gd name="connsiteY35" fmla="*/ 1072097 h 1115727"/>
                <a:gd name="connsiteX36" fmla="*/ 5086904 w 5360120"/>
                <a:gd name="connsiteY36" fmla="*/ 1086570 h 1115727"/>
                <a:gd name="connsiteX37" fmla="*/ 5160497 w 5360120"/>
                <a:gd name="connsiteY37" fmla="*/ 1097703 h 1115727"/>
                <a:gd name="connsiteX38" fmla="*/ 5236321 w 5360120"/>
                <a:gd name="connsiteY38" fmla="*/ 1106609 h 1115727"/>
                <a:gd name="connsiteX39" fmla="*/ 5311030 w 5360120"/>
                <a:gd name="connsiteY39" fmla="*/ 1112176 h 1115727"/>
                <a:gd name="connsiteX40" fmla="*/ 5360120 w 5360120"/>
                <a:gd name="connsiteY40" fmla="*/ 1115727 h 1115727"/>
                <a:gd name="connsiteX41" fmla="*/ 0 w 5360120"/>
                <a:gd name="connsiteY41" fmla="*/ 1115727 h 1115727"/>
                <a:gd name="connsiteX42" fmla="*/ 49090 w 5360120"/>
                <a:gd name="connsiteY42" fmla="*/ 1112176 h 1115727"/>
                <a:gd name="connsiteX43" fmla="*/ 124914 w 5360120"/>
                <a:gd name="connsiteY43" fmla="*/ 1106609 h 1115727"/>
                <a:gd name="connsiteX44" fmla="*/ 200738 w 5360120"/>
                <a:gd name="connsiteY44" fmla="*/ 1097703 h 1115727"/>
                <a:gd name="connsiteX45" fmla="*/ 275446 w 5360120"/>
                <a:gd name="connsiteY45" fmla="*/ 1086570 h 1115727"/>
                <a:gd name="connsiteX46" fmla="*/ 347925 w 5360120"/>
                <a:gd name="connsiteY46" fmla="*/ 1072097 h 1115727"/>
                <a:gd name="connsiteX47" fmla="*/ 420403 w 5360120"/>
                <a:gd name="connsiteY47" fmla="*/ 1056511 h 1115727"/>
                <a:gd name="connsiteX48" fmla="*/ 489537 w 5360120"/>
                <a:gd name="connsiteY48" fmla="*/ 1038698 h 1115727"/>
                <a:gd name="connsiteX49" fmla="*/ 558670 w 5360120"/>
                <a:gd name="connsiteY49" fmla="*/ 1017546 h 1115727"/>
                <a:gd name="connsiteX50" fmla="*/ 624458 w 5360120"/>
                <a:gd name="connsiteY50" fmla="*/ 995280 h 1115727"/>
                <a:gd name="connsiteX51" fmla="*/ 690246 w 5360120"/>
                <a:gd name="connsiteY51" fmla="*/ 971901 h 1115727"/>
                <a:gd name="connsiteX52" fmla="*/ 751574 w 5360120"/>
                <a:gd name="connsiteY52" fmla="*/ 944069 h 1115727"/>
                <a:gd name="connsiteX53" fmla="*/ 811787 w 5360120"/>
                <a:gd name="connsiteY53" fmla="*/ 915123 h 1115727"/>
                <a:gd name="connsiteX54" fmla="*/ 869770 w 5360120"/>
                <a:gd name="connsiteY54" fmla="*/ 885065 h 1115727"/>
                <a:gd name="connsiteX55" fmla="*/ 924408 w 5360120"/>
                <a:gd name="connsiteY55" fmla="*/ 851666 h 1115727"/>
                <a:gd name="connsiteX56" fmla="*/ 977930 w 5360120"/>
                <a:gd name="connsiteY56" fmla="*/ 817154 h 1115727"/>
                <a:gd name="connsiteX57" fmla="*/ 979045 w 5360120"/>
                <a:gd name="connsiteY57" fmla="*/ 816041 h 1115727"/>
                <a:gd name="connsiteX58" fmla="*/ 990196 w 5360120"/>
                <a:gd name="connsiteY58" fmla="*/ 808248 h 1115727"/>
                <a:gd name="connsiteX59" fmla="*/ 1021417 w 5360120"/>
                <a:gd name="connsiteY59" fmla="*/ 787095 h 1115727"/>
                <a:gd name="connsiteX60" fmla="*/ 1078285 w 5360120"/>
                <a:gd name="connsiteY60" fmla="*/ 745904 h 1115727"/>
                <a:gd name="connsiteX61" fmla="*/ 1176410 w 5360120"/>
                <a:gd name="connsiteY61" fmla="*/ 677993 h 1115727"/>
                <a:gd name="connsiteX62" fmla="*/ 1321367 w 5360120"/>
                <a:gd name="connsiteY62" fmla="*/ 576684 h 1115727"/>
                <a:gd name="connsiteX63" fmla="*/ 1522076 w 5360120"/>
                <a:gd name="connsiteY63" fmla="*/ 434183 h 1115727"/>
                <a:gd name="connsiteX64" fmla="*/ 1789689 w 5360120"/>
                <a:gd name="connsiteY64" fmla="*/ 247150 h 1115727"/>
                <a:gd name="connsiteX65" fmla="*/ 1836522 w 5360120"/>
                <a:gd name="connsiteY65" fmla="*/ 215978 h 1115727"/>
                <a:gd name="connsiteX66" fmla="*/ 1883354 w 5360120"/>
                <a:gd name="connsiteY66" fmla="*/ 189259 h 1115727"/>
                <a:gd name="connsiteX67" fmla="*/ 1931301 w 5360120"/>
                <a:gd name="connsiteY67" fmla="*/ 163653 h 1115727"/>
                <a:gd name="connsiteX68" fmla="*/ 1982594 w 5360120"/>
                <a:gd name="connsiteY68" fmla="*/ 139161 h 1115727"/>
                <a:gd name="connsiteX69" fmla="*/ 2036116 w 5360120"/>
                <a:gd name="connsiteY69" fmla="*/ 116895 h 1115727"/>
                <a:gd name="connsiteX70" fmla="*/ 2088524 w 5360120"/>
                <a:gd name="connsiteY70" fmla="*/ 95743 h 1115727"/>
                <a:gd name="connsiteX71" fmla="*/ 2145392 w 5360120"/>
                <a:gd name="connsiteY71" fmla="*/ 77930 h 1115727"/>
                <a:gd name="connsiteX72" fmla="*/ 2201144 w 5360120"/>
                <a:gd name="connsiteY72" fmla="*/ 61231 h 1115727"/>
                <a:gd name="connsiteX73" fmla="*/ 2259127 w 5360120"/>
                <a:gd name="connsiteY73" fmla="*/ 46758 h 1115727"/>
                <a:gd name="connsiteX74" fmla="*/ 2317110 w 5360120"/>
                <a:gd name="connsiteY74" fmla="*/ 33399 h 1115727"/>
                <a:gd name="connsiteX75" fmla="*/ 2376208 w 5360120"/>
                <a:gd name="connsiteY75" fmla="*/ 23379 h 1115727"/>
                <a:gd name="connsiteX76" fmla="*/ 2435305 w 5360120"/>
                <a:gd name="connsiteY76" fmla="*/ 14473 h 1115727"/>
                <a:gd name="connsiteX77" fmla="*/ 2496633 w 5360120"/>
                <a:gd name="connsiteY77" fmla="*/ 7793 h 1115727"/>
                <a:gd name="connsiteX78" fmla="*/ 2557961 w 5360120"/>
                <a:gd name="connsiteY78" fmla="*/ 3340 h 11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60120" h="1115727">
                  <a:moveTo>
                    <a:pt x="2618174" y="0"/>
                  </a:moveTo>
                  <a:lnTo>
                    <a:pt x="2679502" y="0"/>
                  </a:lnTo>
                  <a:lnTo>
                    <a:pt x="2740830" y="0"/>
                  </a:lnTo>
                  <a:lnTo>
                    <a:pt x="2803273" y="3340"/>
                  </a:lnTo>
                  <a:lnTo>
                    <a:pt x="2864601" y="7793"/>
                  </a:lnTo>
                  <a:lnTo>
                    <a:pt x="2923699" y="14473"/>
                  </a:lnTo>
                  <a:lnTo>
                    <a:pt x="2985027" y="23379"/>
                  </a:lnTo>
                  <a:lnTo>
                    <a:pt x="3043010" y="33399"/>
                  </a:lnTo>
                  <a:lnTo>
                    <a:pt x="3102109" y="46758"/>
                  </a:lnTo>
                  <a:lnTo>
                    <a:pt x="3160091" y="61231"/>
                  </a:lnTo>
                  <a:lnTo>
                    <a:pt x="3215843" y="77930"/>
                  </a:lnTo>
                  <a:lnTo>
                    <a:pt x="3270481" y="95743"/>
                  </a:lnTo>
                  <a:lnTo>
                    <a:pt x="3325119" y="116895"/>
                  </a:lnTo>
                  <a:lnTo>
                    <a:pt x="3376411" y="139161"/>
                  </a:lnTo>
                  <a:lnTo>
                    <a:pt x="3427704" y="163653"/>
                  </a:lnTo>
                  <a:lnTo>
                    <a:pt x="3477881" y="189259"/>
                  </a:lnTo>
                  <a:lnTo>
                    <a:pt x="3524713" y="215978"/>
                  </a:lnTo>
                  <a:lnTo>
                    <a:pt x="3569315" y="247150"/>
                  </a:lnTo>
                  <a:lnTo>
                    <a:pt x="3570430" y="248263"/>
                  </a:lnTo>
                  <a:lnTo>
                    <a:pt x="3581581" y="256056"/>
                  </a:lnTo>
                  <a:lnTo>
                    <a:pt x="3612802" y="277209"/>
                  </a:lnTo>
                  <a:lnTo>
                    <a:pt x="3671900" y="318401"/>
                  </a:lnTo>
                  <a:lnTo>
                    <a:pt x="3767795" y="386311"/>
                  </a:lnTo>
                  <a:lnTo>
                    <a:pt x="3912752" y="487620"/>
                  </a:lnTo>
                  <a:lnTo>
                    <a:pt x="4114577" y="627895"/>
                  </a:lnTo>
                  <a:lnTo>
                    <a:pt x="4383305" y="817154"/>
                  </a:lnTo>
                  <a:lnTo>
                    <a:pt x="4434597" y="851666"/>
                  </a:lnTo>
                  <a:lnTo>
                    <a:pt x="4490350" y="885065"/>
                  </a:lnTo>
                  <a:lnTo>
                    <a:pt x="4548333" y="915123"/>
                  </a:lnTo>
                  <a:lnTo>
                    <a:pt x="4608546" y="944069"/>
                  </a:lnTo>
                  <a:lnTo>
                    <a:pt x="4670989" y="971901"/>
                  </a:lnTo>
                  <a:lnTo>
                    <a:pt x="4736777" y="995280"/>
                  </a:lnTo>
                  <a:lnTo>
                    <a:pt x="4802565" y="1017546"/>
                  </a:lnTo>
                  <a:lnTo>
                    <a:pt x="4871699" y="1038698"/>
                  </a:lnTo>
                  <a:lnTo>
                    <a:pt x="4940832" y="1056511"/>
                  </a:lnTo>
                  <a:lnTo>
                    <a:pt x="5012195" y="1072097"/>
                  </a:lnTo>
                  <a:lnTo>
                    <a:pt x="5086904" y="1086570"/>
                  </a:lnTo>
                  <a:lnTo>
                    <a:pt x="5160497" y="1097703"/>
                  </a:lnTo>
                  <a:lnTo>
                    <a:pt x="5236321" y="1106609"/>
                  </a:lnTo>
                  <a:lnTo>
                    <a:pt x="5311030" y="1112176"/>
                  </a:lnTo>
                  <a:lnTo>
                    <a:pt x="5360120" y="1115727"/>
                  </a:lnTo>
                  <a:lnTo>
                    <a:pt x="0" y="1115727"/>
                  </a:lnTo>
                  <a:lnTo>
                    <a:pt x="49090" y="1112176"/>
                  </a:lnTo>
                  <a:lnTo>
                    <a:pt x="124914" y="1106609"/>
                  </a:lnTo>
                  <a:lnTo>
                    <a:pt x="200738" y="1097703"/>
                  </a:lnTo>
                  <a:lnTo>
                    <a:pt x="275446" y="1086570"/>
                  </a:lnTo>
                  <a:lnTo>
                    <a:pt x="347925" y="1072097"/>
                  </a:lnTo>
                  <a:lnTo>
                    <a:pt x="420403" y="1056511"/>
                  </a:lnTo>
                  <a:lnTo>
                    <a:pt x="489537" y="1038698"/>
                  </a:lnTo>
                  <a:lnTo>
                    <a:pt x="558670" y="1017546"/>
                  </a:lnTo>
                  <a:lnTo>
                    <a:pt x="624458" y="995280"/>
                  </a:lnTo>
                  <a:lnTo>
                    <a:pt x="690246" y="971901"/>
                  </a:lnTo>
                  <a:lnTo>
                    <a:pt x="751574" y="944069"/>
                  </a:lnTo>
                  <a:lnTo>
                    <a:pt x="811787" y="915123"/>
                  </a:lnTo>
                  <a:lnTo>
                    <a:pt x="869770" y="885065"/>
                  </a:lnTo>
                  <a:lnTo>
                    <a:pt x="924408" y="851666"/>
                  </a:lnTo>
                  <a:lnTo>
                    <a:pt x="977930" y="817154"/>
                  </a:lnTo>
                  <a:lnTo>
                    <a:pt x="979045" y="816041"/>
                  </a:lnTo>
                  <a:lnTo>
                    <a:pt x="990196" y="808248"/>
                  </a:lnTo>
                  <a:lnTo>
                    <a:pt x="1021417" y="787095"/>
                  </a:lnTo>
                  <a:lnTo>
                    <a:pt x="1078285" y="745904"/>
                  </a:lnTo>
                  <a:lnTo>
                    <a:pt x="1176410" y="677993"/>
                  </a:lnTo>
                  <a:lnTo>
                    <a:pt x="1321367" y="576684"/>
                  </a:lnTo>
                  <a:lnTo>
                    <a:pt x="1522076" y="434183"/>
                  </a:lnTo>
                  <a:lnTo>
                    <a:pt x="1789689" y="247150"/>
                  </a:lnTo>
                  <a:lnTo>
                    <a:pt x="1836522" y="215978"/>
                  </a:lnTo>
                  <a:lnTo>
                    <a:pt x="1883354" y="189259"/>
                  </a:lnTo>
                  <a:lnTo>
                    <a:pt x="1931301" y="163653"/>
                  </a:lnTo>
                  <a:lnTo>
                    <a:pt x="1982594" y="139161"/>
                  </a:lnTo>
                  <a:lnTo>
                    <a:pt x="2036116" y="116895"/>
                  </a:lnTo>
                  <a:lnTo>
                    <a:pt x="2088524" y="95743"/>
                  </a:lnTo>
                  <a:lnTo>
                    <a:pt x="2145392" y="77930"/>
                  </a:lnTo>
                  <a:lnTo>
                    <a:pt x="2201144" y="61231"/>
                  </a:lnTo>
                  <a:lnTo>
                    <a:pt x="2259127" y="46758"/>
                  </a:lnTo>
                  <a:lnTo>
                    <a:pt x="2317110" y="33399"/>
                  </a:lnTo>
                  <a:lnTo>
                    <a:pt x="2376208" y="23379"/>
                  </a:lnTo>
                  <a:lnTo>
                    <a:pt x="2435305" y="14473"/>
                  </a:lnTo>
                  <a:lnTo>
                    <a:pt x="2496633" y="7793"/>
                  </a:lnTo>
                  <a:lnTo>
                    <a:pt x="2557961" y="334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44FD296D-0C44-1407-4D1B-3319C9A8EC82}"/>
                </a:ext>
              </a:extLst>
            </p:cNvPr>
            <p:cNvSpPr/>
            <p:nvPr/>
          </p:nvSpPr>
          <p:spPr>
            <a:xfrm>
              <a:off x="-8380656" y="5339478"/>
              <a:ext cx="39283186" cy="4744497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4D9CF40C-BC59-F959-C9C4-C87D7FE23108}"/>
                </a:ext>
              </a:extLst>
            </p:cNvPr>
            <p:cNvSpPr/>
            <p:nvPr/>
          </p:nvSpPr>
          <p:spPr>
            <a:xfrm>
              <a:off x="884305" y="4299818"/>
              <a:ext cx="4952525" cy="1039660"/>
            </a:xfrm>
            <a:custGeom>
              <a:avLst/>
              <a:gdLst>
                <a:gd name="connsiteX0" fmla="*/ 2618174 w 5360120"/>
                <a:gd name="connsiteY0" fmla="*/ 0 h 1115727"/>
                <a:gd name="connsiteX1" fmla="*/ 2679502 w 5360120"/>
                <a:gd name="connsiteY1" fmla="*/ 0 h 1115727"/>
                <a:gd name="connsiteX2" fmla="*/ 2740830 w 5360120"/>
                <a:gd name="connsiteY2" fmla="*/ 0 h 1115727"/>
                <a:gd name="connsiteX3" fmla="*/ 2803273 w 5360120"/>
                <a:gd name="connsiteY3" fmla="*/ 3340 h 1115727"/>
                <a:gd name="connsiteX4" fmla="*/ 2864601 w 5360120"/>
                <a:gd name="connsiteY4" fmla="*/ 7793 h 1115727"/>
                <a:gd name="connsiteX5" fmla="*/ 2923699 w 5360120"/>
                <a:gd name="connsiteY5" fmla="*/ 14473 h 1115727"/>
                <a:gd name="connsiteX6" fmla="*/ 2985027 w 5360120"/>
                <a:gd name="connsiteY6" fmla="*/ 23379 h 1115727"/>
                <a:gd name="connsiteX7" fmla="*/ 3043010 w 5360120"/>
                <a:gd name="connsiteY7" fmla="*/ 33399 h 1115727"/>
                <a:gd name="connsiteX8" fmla="*/ 3102109 w 5360120"/>
                <a:gd name="connsiteY8" fmla="*/ 46758 h 1115727"/>
                <a:gd name="connsiteX9" fmla="*/ 3160091 w 5360120"/>
                <a:gd name="connsiteY9" fmla="*/ 61231 h 1115727"/>
                <a:gd name="connsiteX10" fmla="*/ 3215843 w 5360120"/>
                <a:gd name="connsiteY10" fmla="*/ 77930 h 1115727"/>
                <a:gd name="connsiteX11" fmla="*/ 3270481 w 5360120"/>
                <a:gd name="connsiteY11" fmla="*/ 95743 h 1115727"/>
                <a:gd name="connsiteX12" fmla="*/ 3325119 w 5360120"/>
                <a:gd name="connsiteY12" fmla="*/ 116895 h 1115727"/>
                <a:gd name="connsiteX13" fmla="*/ 3376411 w 5360120"/>
                <a:gd name="connsiteY13" fmla="*/ 139161 h 1115727"/>
                <a:gd name="connsiteX14" fmla="*/ 3427704 w 5360120"/>
                <a:gd name="connsiteY14" fmla="*/ 163653 h 1115727"/>
                <a:gd name="connsiteX15" fmla="*/ 3477881 w 5360120"/>
                <a:gd name="connsiteY15" fmla="*/ 189259 h 1115727"/>
                <a:gd name="connsiteX16" fmla="*/ 3524713 w 5360120"/>
                <a:gd name="connsiteY16" fmla="*/ 215978 h 1115727"/>
                <a:gd name="connsiteX17" fmla="*/ 3569315 w 5360120"/>
                <a:gd name="connsiteY17" fmla="*/ 247150 h 1115727"/>
                <a:gd name="connsiteX18" fmla="*/ 3570430 w 5360120"/>
                <a:gd name="connsiteY18" fmla="*/ 248263 h 1115727"/>
                <a:gd name="connsiteX19" fmla="*/ 3581581 w 5360120"/>
                <a:gd name="connsiteY19" fmla="*/ 256056 h 1115727"/>
                <a:gd name="connsiteX20" fmla="*/ 3612802 w 5360120"/>
                <a:gd name="connsiteY20" fmla="*/ 277209 h 1115727"/>
                <a:gd name="connsiteX21" fmla="*/ 3671900 w 5360120"/>
                <a:gd name="connsiteY21" fmla="*/ 318401 h 1115727"/>
                <a:gd name="connsiteX22" fmla="*/ 3767795 w 5360120"/>
                <a:gd name="connsiteY22" fmla="*/ 386311 h 1115727"/>
                <a:gd name="connsiteX23" fmla="*/ 3912752 w 5360120"/>
                <a:gd name="connsiteY23" fmla="*/ 487620 h 1115727"/>
                <a:gd name="connsiteX24" fmla="*/ 4114577 w 5360120"/>
                <a:gd name="connsiteY24" fmla="*/ 627895 h 1115727"/>
                <a:gd name="connsiteX25" fmla="*/ 4383305 w 5360120"/>
                <a:gd name="connsiteY25" fmla="*/ 817154 h 1115727"/>
                <a:gd name="connsiteX26" fmla="*/ 4434597 w 5360120"/>
                <a:gd name="connsiteY26" fmla="*/ 851666 h 1115727"/>
                <a:gd name="connsiteX27" fmla="*/ 4490350 w 5360120"/>
                <a:gd name="connsiteY27" fmla="*/ 885065 h 1115727"/>
                <a:gd name="connsiteX28" fmla="*/ 4548333 w 5360120"/>
                <a:gd name="connsiteY28" fmla="*/ 915123 h 1115727"/>
                <a:gd name="connsiteX29" fmla="*/ 4608546 w 5360120"/>
                <a:gd name="connsiteY29" fmla="*/ 944069 h 1115727"/>
                <a:gd name="connsiteX30" fmla="*/ 4670989 w 5360120"/>
                <a:gd name="connsiteY30" fmla="*/ 971901 h 1115727"/>
                <a:gd name="connsiteX31" fmla="*/ 4736777 w 5360120"/>
                <a:gd name="connsiteY31" fmla="*/ 995280 h 1115727"/>
                <a:gd name="connsiteX32" fmla="*/ 4802565 w 5360120"/>
                <a:gd name="connsiteY32" fmla="*/ 1017546 h 1115727"/>
                <a:gd name="connsiteX33" fmla="*/ 4871699 w 5360120"/>
                <a:gd name="connsiteY33" fmla="*/ 1038698 h 1115727"/>
                <a:gd name="connsiteX34" fmla="*/ 4940832 w 5360120"/>
                <a:gd name="connsiteY34" fmla="*/ 1056511 h 1115727"/>
                <a:gd name="connsiteX35" fmla="*/ 5012195 w 5360120"/>
                <a:gd name="connsiteY35" fmla="*/ 1072097 h 1115727"/>
                <a:gd name="connsiteX36" fmla="*/ 5086904 w 5360120"/>
                <a:gd name="connsiteY36" fmla="*/ 1086570 h 1115727"/>
                <a:gd name="connsiteX37" fmla="*/ 5160497 w 5360120"/>
                <a:gd name="connsiteY37" fmla="*/ 1097703 h 1115727"/>
                <a:gd name="connsiteX38" fmla="*/ 5236321 w 5360120"/>
                <a:gd name="connsiteY38" fmla="*/ 1106609 h 1115727"/>
                <a:gd name="connsiteX39" fmla="*/ 5311030 w 5360120"/>
                <a:gd name="connsiteY39" fmla="*/ 1112176 h 1115727"/>
                <a:gd name="connsiteX40" fmla="*/ 5360120 w 5360120"/>
                <a:gd name="connsiteY40" fmla="*/ 1115727 h 1115727"/>
                <a:gd name="connsiteX41" fmla="*/ 0 w 5360120"/>
                <a:gd name="connsiteY41" fmla="*/ 1115727 h 1115727"/>
                <a:gd name="connsiteX42" fmla="*/ 49090 w 5360120"/>
                <a:gd name="connsiteY42" fmla="*/ 1112176 h 1115727"/>
                <a:gd name="connsiteX43" fmla="*/ 124914 w 5360120"/>
                <a:gd name="connsiteY43" fmla="*/ 1106609 h 1115727"/>
                <a:gd name="connsiteX44" fmla="*/ 200738 w 5360120"/>
                <a:gd name="connsiteY44" fmla="*/ 1097703 h 1115727"/>
                <a:gd name="connsiteX45" fmla="*/ 275446 w 5360120"/>
                <a:gd name="connsiteY45" fmla="*/ 1086570 h 1115727"/>
                <a:gd name="connsiteX46" fmla="*/ 347925 w 5360120"/>
                <a:gd name="connsiteY46" fmla="*/ 1072097 h 1115727"/>
                <a:gd name="connsiteX47" fmla="*/ 420403 w 5360120"/>
                <a:gd name="connsiteY47" fmla="*/ 1056511 h 1115727"/>
                <a:gd name="connsiteX48" fmla="*/ 489537 w 5360120"/>
                <a:gd name="connsiteY48" fmla="*/ 1038698 h 1115727"/>
                <a:gd name="connsiteX49" fmla="*/ 558670 w 5360120"/>
                <a:gd name="connsiteY49" fmla="*/ 1017546 h 1115727"/>
                <a:gd name="connsiteX50" fmla="*/ 624458 w 5360120"/>
                <a:gd name="connsiteY50" fmla="*/ 995280 h 1115727"/>
                <a:gd name="connsiteX51" fmla="*/ 690246 w 5360120"/>
                <a:gd name="connsiteY51" fmla="*/ 971901 h 1115727"/>
                <a:gd name="connsiteX52" fmla="*/ 751574 w 5360120"/>
                <a:gd name="connsiteY52" fmla="*/ 944069 h 1115727"/>
                <a:gd name="connsiteX53" fmla="*/ 811787 w 5360120"/>
                <a:gd name="connsiteY53" fmla="*/ 915123 h 1115727"/>
                <a:gd name="connsiteX54" fmla="*/ 869770 w 5360120"/>
                <a:gd name="connsiteY54" fmla="*/ 885065 h 1115727"/>
                <a:gd name="connsiteX55" fmla="*/ 924408 w 5360120"/>
                <a:gd name="connsiteY55" fmla="*/ 851666 h 1115727"/>
                <a:gd name="connsiteX56" fmla="*/ 977930 w 5360120"/>
                <a:gd name="connsiteY56" fmla="*/ 817154 h 1115727"/>
                <a:gd name="connsiteX57" fmla="*/ 979045 w 5360120"/>
                <a:gd name="connsiteY57" fmla="*/ 816041 h 1115727"/>
                <a:gd name="connsiteX58" fmla="*/ 990196 w 5360120"/>
                <a:gd name="connsiteY58" fmla="*/ 808248 h 1115727"/>
                <a:gd name="connsiteX59" fmla="*/ 1021417 w 5360120"/>
                <a:gd name="connsiteY59" fmla="*/ 787095 h 1115727"/>
                <a:gd name="connsiteX60" fmla="*/ 1078285 w 5360120"/>
                <a:gd name="connsiteY60" fmla="*/ 745904 h 1115727"/>
                <a:gd name="connsiteX61" fmla="*/ 1176410 w 5360120"/>
                <a:gd name="connsiteY61" fmla="*/ 677993 h 1115727"/>
                <a:gd name="connsiteX62" fmla="*/ 1321367 w 5360120"/>
                <a:gd name="connsiteY62" fmla="*/ 576684 h 1115727"/>
                <a:gd name="connsiteX63" fmla="*/ 1522076 w 5360120"/>
                <a:gd name="connsiteY63" fmla="*/ 434183 h 1115727"/>
                <a:gd name="connsiteX64" fmla="*/ 1789689 w 5360120"/>
                <a:gd name="connsiteY64" fmla="*/ 247150 h 1115727"/>
                <a:gd name="connsiteX65" fmla="*/ 1836522 w 5360120"/>
                <a:gd name="connsiteY65" fmla="*/ 215978 h 1115727"/>
                <a:gd name="connsiteX66" fmla="*/ 1883354 w 5360120"/>
                <a:gd name="connsiteY66" fmla="*/ 189259 h 1115727"/>
                <a:gd name="connsiteX67" fmla="*/ 1931301 w 5360120"/>
                <a:gd name="connsiteY67" fmla="*/ 163653 h 1115727"/>
                <a:gd name="connsiteX68" fmla="*/ 1982594 w 5360120"/>
                <a:gd name="connsiteY68" fmla="*/ 139161 h 1115727"/>
                <a:gd name="connsiteX69" fmla="*/ 2036116 w 5360120"/>
                <a:gd name="connsiteY69" fmla="*/ 116895 h 1115727"/>
                <a:gd name="connsiteX70" fmla="*/ 2088524 w 5360120"/>
                <a:gd name="connsiteY70" fmla="*/ 95743 h 1115727"/>
                <a:gd name="connsiteX71" fmla="*/ 2145392 w 5360120"/>
                <a:gd name="connsiteY71" fmla="*/ 77930 h 1115727"/>
                <a:gd name="connsiteX72" fmla="*/ 2201144 w 5360120"/>
                <a:gd name="connsiteY72" fmla="*/ 61231 h 1115727"/>
                <a:gd name="connsiteX73" fmla="*/ 2259127 w 5360120"/>
                <a:gd name="connsiteY73" fmla="*/ 46758 h 1115727"/>
                <a:gd name="connsiteX74" fmla="*/ 2317110 w 5360120"/>
                <a:gd name="connsiteY74" fmla="*/ 33399 h 1115727"/>
                <a:gd name="connsiteX75" fmla="*/ 2376208 w 5360120"/>
                <a:gd name="connsiteY75" fmla="*/ 23379 h 1115727"/>
                <a:gd name="connsiteX76" fmla="*/ 2435305 w 5360120"/>
                <a:gd name="connsiteY76" fmla="*/ 14473 h 1115727"/>
                <a:gd name="connsiteX77" fmla="*/ 2496633 w 5360120"/>
                <a:gd name="connsiteY77" fmla="*/ 7793 h 1115727"/>
                <a:gd name="connsiteX78" fmla="*/ 2557961 w 5360120"/>
                <a:gd name="connsiteY78" fmla="*/ 3340 h 11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60120" h="1115727">
                  <a:moveTo>
                    <a:pt x="2618174" y="0"/>
                  </a:moveTo>
                  <a:lnTo>
                    <a:pt x="2679502" y="0"/>
                  </a:lnTo>
                  <a:lnTo>
                    <a:pt x="2740830" y="0"/>
                  </a:lnTo>
                  <a:lnTo>
                    <a:pt x="2803273" y="3340"/>
                  </a:lnTo>
                  <a:lnTo>
                    <a:pt x="2864601" y="7793"/>
                  </a:lnTo>
                  <a:lnTo>
                    <a:pt x="2923699" y="14473"/>
                  </a:lnTo>
                  <a:lnTo>
                    <a:pt x="2985027" y="23379"/>
                  </a:lnTo>
                  <a:lnTo>
                    <a:pt x="3043010" y="33399"/>
                  </a:lnTo>
                  <a:lnTo>
                    <a:pt x="3102109" y="46758"/>
                  </a:lnTo>
                  <a:lnTo>
                    <a:pt x="3160091" y="61231"/>
                  </a:lnTo>
                  <a:lnTo>
                    <a:pt x="3215843" y="77930"/>
                  </a:lnTo>
                  <a:lnTo>
                    <a:pt x="3270481" y="95743"/>
                  </a:lnTo>
                  <a:lnTo>
                    <a:pt x="3325119" y="116895"/>
                  </a:lnTo>
                  <a:lnTo>
                    <a:pt x="3376411" y="139161"/>
                  </a:lnTo>
                  <a:lnTo>
                    <a:pt x="3427704" y="163653"/>
                  </a:lnTo>
                  <a:lnTo>
                    <a:pt x="3477881" y="189259"/>
                  </a:lnTo>
                  <a:lnTo>
                    <a:pt x="3524713" y="215978"/>
                  </a:lnTo>
                  <a:lnTo>
                    <a:pt x="3569315" y="247150"/>
                  </a:lnTo>
                  <a:lnTo>
                    <a:pt x="3570430" y="248263"/>
                  </a:lnTo>
                  <a:lnTo>
                    <a:pt x="3581581" y="256056"/>
                  </a:lnTo>
                  <a:lnTo>
                    <a:pt x="3612802" y="277209"/>
                  </a:lnTo>
                  <a:lnTo>
                    <a:pt x="3671900" y="318401"/>
                  </a:lnTo>
                  <a:lnTo>
                    <a:pt x="3767795" y="386311"/>
                  </a:lnTo>
                  <a:lnTo>
                    <a:pt x="3912752" y="487620"/>
                  </a:lnTo>
                  <a:lnTo>
                    <a:pt x="4114577" y="627895"/>
                  </a:lnTo>
                  <a:lnTo>
                    <a:pt x="4383305" y="817154"/>
                  </a:lnTo>
                  <a:lnTo>
                    <a:pt x="4434597" y="851666"/>
                  </a:lnTo>
                  <a:lnTo>
                    <a:pt x="4490350" y="885065"/>
                  </a:lnTo>
                  <a:lnTo>
                    <a:pt x="4548333" y="915123"/>
                  </a:lnTo>
                  <a:lnTo>
                    <a:pt x="4608546" y="944069"/>
                  </a:lnTo>
                  <a:lnTo>
                    <a:pt x="4670989" y="971901"/>
                  </a:lnTo>
                  <a:lnTo>
                    <a:pt x="4736777" y="995280"/>
                  </a:lnTo>
                  <a:lnTo>
                    <a:pt x="4802565" y="1017546"/>
                  </a:lnTo>
                  <a:lnTo>
                    <a:pt x="4871699" y="1038698"/>
                  </a:lnTo>
                  <a:lnTo>
                    <a:pt x="4940832" y="1056511"/>
                  </a:lnTo>
                  <a:lnTo>
                    <a:pt x="5012195" y="1072097"/>
                  </a:lnTo>
                  <a:lnTo>
                    <a:pt x="5086904" y="1086570"/>
                  </a:lnTo>
                  <a:lnTo>
                    <a:pt x="5160497" y="1097703"/>
                  </a:lnTo>
                  <a:lnTo>
                    <a:pt x="5236321" y="1106609"/>
                  </a:lnTo>
                  <a:lnTo>
                    <a:pt x="5311030" y="1112176"/>
                  </a:lnTo>
                  <a:lnTo>
                    <a:pt x="5360120" y="1115727"/>
                  </a:lnTo>
                  <a:lnTo>
                    <a:pt x="0" y="1115727"/>
                  </a:lnTo>
                  <a:lnTo>
                    <a:pt x="49090" y="1112176"/>
                  </a:lnTo>
                  <a:lnTo>
                    <a:pt x="124914" y="1106609"/>
                  </a:lnTo>
                  <a:lnTo>
                    <a:pt x="200738" y="1097703"/>
                  </a:lnTo>
                  <a:lnTo>
                    <a:pt x="275446" y="1086570"/>
                  </a:lnTo>
                  <a:lnTo>
                    <a:pt x="347925" y="1072097"/>
                  </a:lnTo>
                  <a:lnTo>
                    <a:pt x="420403" y="1056511"/>
                  </a:lnTo>
                  <a:lnTo>
                    <a:pt x="489537" y="1038698"/>
                  </a:lnTo>
                  <a:lnTo>
                    <a:pt x="558670" y="1017546"/>
                  </a:lnTo>
                  <a:lnTo>
                    <a:pt x="624458" y="995280"/>
                  </a:lnTo>
                  <a:lnTo>
                    <a:pt x="690246" y="971901"/>
                  </a:lnTo>
                  <a:lnTo>
                    <a:pt x="751574" y="944069"/>
                  </a:lnTo>
                  <a:lnTo>
                    <a:pt x="811787" y="915123"/>
                  </a:lnTo>
                  <a:lnTo>
                    <a:pt x="869770" y="885065"/>
                  </a:lnTo>
                  <a:lnTo>
                    <a:pt x="924408" y="851666"/>
                  </a:lnTo>
                  <a:lnTo>
                    <a:pt x="977930" y="817154"/>
                  </a:lnTo>
                  <a:lnTo>
                    <a:pt x="979045" y="816041"/>
                  </a:lnTo>
                  <a:lnTo>
                    <a:pt x="990196" y="808248"/>
                  </a:lnTo>
                  <a:lnTo>
                    <a:pt x="1021417" y="787095"/>
                  </a:lnTo>
                  <a:lnTo>
                    <a:pt x="1078285" y="745904"/>
                  </a:lnTo>
                  <a:lnTo>
                    <a:pt x="1176410" y="677993"/>
                  </a:lnTo>
                  <a:lnTo>
                    <a:pt x="1321367" y="576684"/>
                  </a:lnTo>
                  <a:lnTo>
                    <a:pt x="1522076" y="434183"/>
                  </a:lnTo>
                  <a:lnTo>
                    <a:pt x="1789689" y="247150"/>
                  </a:lnTo>
                  <a:lnTo>
                    <a:pt x="1836522" y="215978"/>
                  </a:lnTo>
                  <a:lnTo>
                    <a:pt x="1883354" y="189259"/>
                  </a:lnTo>
                  <a:lnTo>
                    <a:pt x="1931301" y="163653"/>
                  </a:lnTo>
                  <a:lnTo>
                    <a:pt x="1982594" y="139161"/>
                  </a:lnTo>
                  <a:lnTo>
                    <a:pt x="2036116" y="116895"/>
                  </a:lnTo>
                  <a:lnTo>
                    <a:pt x="2088524" y="95743"/>
                  </a:lnTo>
                  <a:lnTo>
                    <a:pt x="2145392" y="77930"/>
                  </a:lnTo>
                  <a:lnTo>
                    <a:pt x="2201144" y="61231"/>
                  </a:lnTo>
                  <a:lnTo>
                    <a:pt x="2259127" y="46758"/>
                  </a:lnTo>
                  <a:lnTo>
                    <a:pt x="2317110" y="33399"/>
                  </a:lnTo>
                  <a:lnTo>
                    <a:pt x="2376208" y="23379"/>
                  </a:lnTo>
                  <a:lnTo>
                    <a:pt x="2435305" y="14473"/>
                  </a:lnTo>
                  <a:lnTo>
                    <a:pt x="2496633" y="7793"/>
                  </a:lnTo>
                  <a:lnTo>
                    <a:pt x="2557961" y="3340"/>
                  </a:lnTo>
                  <a:close/>
                </a:path>
              </a:pathLst>
            </a:cu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1"/>
            </a:p>
          </p:txBody>
        </p:sp>
      </p:grpSp>
      <p:sp>
        <p:nvSpPr>
          <p:cNvPr id="7" name="Rectangle: Rounded Corners 70">
            <a:extLst>
              <a:ext uri="{FF2B5EF4-FFF2-40B4-BE49-F238E27FC236}">
                <a16:creationId xmlns:a16="http://schemas.microsoft.com/office/drawing/2014/main" id="{974ECD36-6A24-AB15-BBDF-98186AF1B663}"/>
              </a:ext>
            </a:extLst>
          </p:cNvPr>
          <p:cNvSpPr/>
          <p:nvPr/>
        </p:nvSpPr>
        <p:spPr>
          <a:xfrm rot="10800000">
            <a:off x="507863" y="7849440"/>
            <a:ext cx="5913850" cy="4381822"/>
          </a:xfrm>
          <a:prstGeom prst="roundRect">
            <a:avLst>
              <a:gd name="adj" fmla="val 9043"/>
            </a:avLst>
          </a:prstGeom>
          <a:solidFill>
            <a:srgbClr val="620CFD"/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B4E3D36-6949-D466-A14E-5093DC2DC9E9}"/>
              </a:ext>
            </a:extLst>
          </p:cNvPr>
          <p:cNvSpPr txBox="1"/>
          <p:nvPr/>
        </p:nvSpPr>
        <p:spPr>
          <a:xfrm>
            <a:off x="772809" y="8307384"/>
            <a:ext cx="5323191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4500"/>
              </a:lnSpc>
            </a:pPr>
            <a:r>
              <a:rPr lang="ru-RU" sz="40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ЭФФЕКТ </a:t>
            </a:r>
            <a:br>
              <a:rPr lang="ru-RU" sz="40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</a:br>
            <a:r>
              <a:rPr lang="ru-RU" sz="40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БЛИЗОСТИ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0A527A4-F738-91B5-ADB4-859DB7CA9190}"/>
              </a:ext>
            </a:extLst>
          </p:cNvPr>
          <p:cNvSpPr txBox="1"/>
          <p:nvPr/>
        </p:nvSpPr>
        <p:spPr>
          <a:xfrm>
            <a:off x="772809" y="9553879"/>
            <a:ext cx="5098613" cy="17570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400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rPr>
              <a:t>Чем ближе элементы </a:t>
            </a:r>
            <a:br>
              <a:rPr lang="ru-RU" sz="2400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rPr>
              <a:t>на странице или слайде, тем ближе их смысловая нагрузка</a:t>
            </a:r>
          </a:p>
        </p:txBody>
      </p:sp>
      <p:sp>
        <p:nvSpPr>
          <p:cNvPr id="43" name="Rectangle: Rounded Corners 70">
            <a:extLst>
              <a:ext uri="{FF2B5EF4-FFF2-40B4-BE49-F238E27FC236}">
                <a16:creationId xmlns:a16="http://schemas.microsoft.com/office/drawing/2014/main" id="{3EA50D41-584A-AB41-019B-90B2427FC47E}"/>
              </a:ext>
            </a:extLst>
          </p:cNvPr>
          <p:cNvSpPr/>
          <p:nvPr/>
        </p:nvSpPr>
        <p:spPr>
          <a:xfrm rot="10800000">
            <a:off x="507863" y="-2299003"/>
            <a:ext cx="5997183" cy="1136385"/>
          </a:xfrm>
          <a:prstGeom prst="roundRect">
            <a:avLst>
              <a:gd name="adj" fmla="val 27611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40729235-7706-2346-D3D2-53D6C5A037AE}"/>
              </a:ext>
            </a:extLst>
          </p:cNvPr>
          <p:cNvSpPr/>
          <p:nvPr/>
        </p:nvSpPr>
        <p:spPr>
          <a:xfrm rot="5400000">
            <a:off x="1335478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2FC23343-0242-E0C1-E61E-DFDF8EDBB4F2}"/>
              </a:ext>
            </a:extLst>
          </p:cNvPr>
          <p:cNvSpPr/>
          <p:nvPr/>
        </p:nvSpPr>
        <p:spPr>
          <a:xfrm rot="5400000">
            <a:off x="1780257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DAB044F4-9FCA-369D-6353-52C096264D70}"/>
              </a:ext>
            </a:extLst>
          </p:cNvPr>
          <p:cNvSpPr/>
          <p:nvPr/>
        </p:nvSpPr>
        <p:spPr>
          <a:xfrm rot="5400000">
            <a:off x="2225036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E1C04F78-2BA0-25C8-8050-7C7F7D5A923B}"/>
              </a:ext>
            </a:extLst>
          </p:cNvPr>
          <p:cNvSpPr/>
          <p:nvPr/>
        </p:nvSpPr>
        <p:spPr>
          <a:xfrm rot="5400000">
            <a:off x="2669815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58CD7D83-B22D-2F38-BC61-41322E552EC9}"/>
              </a:ext>
            </a:extLst>
          </p:cNvPr>
          <p:cNvSpPr/>
          <p:nvPr/>
        </p:nvSpPr>
        <p:spPr>
          <a:xfrm rot="5400000">
            <a:off x="3114594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>
            <a:extLst>
              <a:ext uri="{FF2B5EF4-FFF2-40B4-BE49-F238E27FC236}">
                <a16:creationId xmlns:a16="http://schemas.microsoft.com/office/drawing/2014/main" id="{0E18D4F0-71C6-171D-E1A8-1E2266FE0C91}"/>
              </a:ext>
            </a:extLst>
          </p:cNvPr>
          <p:cNvSpPr/>
          <p:nvPr/>
        </p:nvSpPr>
        <p:spPr>
          <a:xfrm rot="5400000">
            <a:off x="3559373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Скругленный прямоугольник 49">
            <a:extLst>
              <a:ext uri="{FF2B5EF4-FFF2-40B4-BE49-F238E27FC236}">
                <a16:creationId xmlns:a16="http://schemas.microsoft.com/office/drawing/2014/main" id="{12709B9D-CF4E-7906-4FC4-0F3C5305B56F}"/>
              </a:ext>
            </a:extLst>
          </p:cNvPr>
          <p:cNvSpPr/>
          <p:nvPr/>
        </p:nvSpPr>
        <p:spPr>
          <a:xfrm rot="5400000">
            <a:off x="4004152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Скругленный прямоугольник 50">
            <a:extLst>
              <a:ext uri="{FF2B5EF4-FFF2-40B4-BE49-F238E27FC236}">
                <a16:creationId xmlns:a16="http://schemas.microsoft.com/office/drawing/2014/main" id="{3A5392D6-ACBB-F9FC-D049-3630473521B5}"/>
              </a:ext>
            </a:extLst>
          </p:cNvPr>
          <p:cNvSpPr/>
          <p:nvPr/>
        </p:nvSpPr>
        <p:spPr>
          <a:xfrm rot="5400000">
            <a:off x="5338493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кругленный прямоугольник 51">
            <a:extLst>
              <a:ext uri="{FF2B5EF4-FFF2-40B4-BE49-F238E27FC236}">
                <a16:creationId xmlns:a16="http://schemas.microsoft.com/office/drawing/2014/main" id="{11D12723-F0FD-22A8-99BF-DC5808532D2F}"/>
              </a:ext>
            </a:extLst>
          </p:cNvPr>
          <p:cNvSpPr/>
          <p:nvPr/>
        </p:nvSpPr>
        <p:spPr>
          <a:xfrm rot="5400000">
            <a:off x="4893710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кругленный прямоугольник 52">
            <a:extLst>
              <a:ext uri="{FF2B5EF4-FFF2-40B4-BE49-F238E27FC236}">
                <a16:creationId xmlns:a16="http://schemas.microsoft.com/office/drawing/2014/main" id="{0ABB5716-93DA-86EF-FE2E-33EEAC68C99B}"/>
              </a:ext>
            </a:extLst>
          </p:cNvPr>
          <p:cNvSpPr/>
          <p:nvPr/>
        </p:nvSpPr>
        <p:spPr>
          <a:xfrm rot="5400000">
            <a:off x="4448931" y="-2091010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5AD49C4-4A9F-8232-D2BF-8971273A9022}"/>
              </a:ext>
            </a:extLst>
          </p:cNvPr>
          <p:cNvSpPr txBox="1"/>
          <p:nvPr/>
        </p:nvSpPr>
        <p:spPr>
          <a:xfrm>
            <a:off x="1289469" y="-1730811"/>
            <a:ext cx="5188527" cy="385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" panose="020B0305040102020103" pitchFamily="34" charset="0"/>
                <a:cs typeface="Times New Roman" panose="02020603050405020304" pitchFamily="18" charset="0"/>
              </a:rPr>
              <a:t>Азбука качественного визуала</a:t>
            </a:r>
          </a:p>
        </p:txBody>
      </p:sp>
      <p:sp>
        <p:nvSpPr>
          <p:cNvPr id="57" name="Овал 56">
            <a:extLst>
              <a:ext uri="{FF2B5EF4-FFF2-40B4-BE49-F238E27FC236}">
                <a16:creationId xmlns:a16="http://schemas.microsoft.com/office/drawing/2014/main" id="{291D6ABD-FB36-2F9A-CE89-4FE61BA38470}"/>
              </a:ext>
            </a:extLst>
          </p:cNvPr>
          <p:cNvSpPr/>
          <p:nvPr/>
        </p:nvSpPr>
        <p:spPr>
          <a:xfrm>
            <a:off x="9320664" y="13625274"/>
            <a:ext cx="343933" cy="343933"/>
          </a:xfrm>
          <a:prstGeom prst="ellipse">
            <a:avLst/>
          </a:prstGeom>
          <a:solidFill>
            <a:srgbClr val="C0D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7706585C-5D0A-8A38-630E-243E838BCD48}"/>
              </a:ext>
            </a:extLst>
          </p:cNvPr>
          <p:cNvCxnSpPr/>
          <p:nvPr/>
        </p:nvCxnSpPr>
        <p:spPr>
          <a:xfrm>
            <a:off x="9492630" y="13969207"/>
            <a:ext cx="1" cy="618004"/>
          </a:xfrm>
          <a:prstGeom prst="line">
            <a:avLst/>
          </a:prstGeom>
          <a:ln w="19050">
            <a:solidFill>
              <a:srgbClr val="C0DC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C2B81127-9170-C798-716C-DA65E31F2904}"/>
              </a:ext>
            </a:extLst>
          </p:cNvPr>
          <p:cNvGrpSpPr/>
          <p:nvPr/>
        </p:nvGrpSpPr>
        <p:grpSpPr>
          <a:xfrm>
            <a:off x="7388422" y="7913960"/>
            <a:ext cx="4216202" cy="5839143"/>
            <a:chOff x="7388422" y="685479"/>
            <a:chExt cx="4216202" cy="5839143"/>
          </a:xfrm>
        </p:grpSpPr>
        <p:sp>
          <p:nvSpPr>
            <p:cNvPr id="63" name="Rectangle: Rounded Corners 70">
              <a:extLst>
                <a:ext uri="{FF2B5EF4-FFF2-40B4-BE49-F238E27FC236}">
                  <a16:creationId xmlns:a16="http://schemas.microsoft.com/office/drawing/2014/main" id="{96E2265F-6166-92D3-3AA1-8802E121F00C}"/>
                </a:ext>
              </a:extLst>
            </p:cNvPr>
            <p:cNvSpPr/>
            <p:nvPr/>
          </p:nvSpPr>
          <p:spPr>
            <a:xfrm rot="10800000">
              <a:off x="7388422" y="685479"/>
              <a:ext cx="4216202" cy="5839143"/>
            </a:xfrm>
            <a:prstGeom prst="roundRect">
              <a:avLst>
                <a:gd name="adj" fmla="val 5955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pic>
          <p:nvPicPr>
            <p:cNvPr id="64" name="Рисунок 63">
              <a:extLst>
                <a:ext uri="{FF2B5EF4-FFF2-40B4-BE49-F238E27FC236}">
                  <a16:creationId xmlns:a16="http://schemas.microsoft.com/office/drawing/2014/main" id="{466AD778-6234-E330-D376-7EFA70EB4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98351" y="1084341"/>
              <a:ext cx="2557782" cy="2489344"/>
            </a:xfrm>
            <a:prstGeom prst="rect">
              <a:avLst/>
            </a:prstGeom>
          </p:spPr>
        </p:pic>
        <p:pic>
          <p:nvPicPr>
            <p:cNvPr id="65" name="Рисунок 64">
              <a:extLst>
                <a:ext uri="{FF2B5EF4-FFF2-40B4-BE49-F238E27FC236}">
                  <a16:creationId xmlns:a16="http://schemas.microsoft.com/office/drawing/2014/main" id="{7ABCDF83-1901-869F-F9DD-CA472C61C8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73108" y="3683177"/>
              <a:ext cx="2566336" cy="2489344"/>
            </a:xfrm>
            <a:prstGeom prst="rect">
              <a:avLst/>
            </a:prstGeom>
          </p:spPr>
        </p:pic>
      </p:grpSp>
      <p:sp useBgFill="1">
        <p:nvSpPr>
          <p:cNvPr id="70" name="Полилиния 69">
            <a:extLst>
              <a:ext uri="{FF2B5EF4-FFF2-40B4-BE49-F238E27FC236}">
                <a16:creationId xmlns:a16="http://schemas.microsoft.com/office/drawing/2014/main" id="{24DE8412-9751-DB1A-8373-40D74883F18E}"/>
              </a:ext>
            </a:extLst>
          </p:cNvPr>
          <p:cNvSpPr/>
          <p:nvPr/>
        </p:nvSpPr>
        <p:spPr>
          <a:xfrm>
            <a:off x="507862" y="-4173817"/>
            <a:ext cx="5997184" cy="3047995"/>
          </a:xfrm>
          <a:custGeom>
            <a:avLst/>
            <a:gdLst>
              <a:gd name="connsiteX0" fmla="*/ 0 w 5997184"/>
              <a:gd name="connsiteY0" fmla="*/ 0 h 3047995"/>
              <a:gd name="connsiteX1" fmla="*/ 5997184 w 5997184"/>
              <a:gd name="connsiteY1" fmla="*/ 0 h 3047995"/>
              <a:gd name="connsiteX2" fmla="*/ 5997184 w 5997184"/>
              <a:gd name="connsiteY2" fmla="*/ 2225376 h 3047995"/>
              <a:gd name="connsiteX3" fmla="*/ 5997184 w 5997184"/>
              <a:gd name="connsiteY3" fmla="*/ 2734227 h 3047995"/>
              <a:gd name="connsiteX4" fmla="*/ 5997184 w 5997184"/>
              <a:gd name="connsiteY4" fmla="*/ 3047995 h 3047995"/>
              <a:gd name="connsiteX5" fmla="*/ 0 w 5997184"/>
              <a:gd name="connsiteY5" fmla="*/ 3047995 h 304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97184" h="3047995">
                <a:moveTo>
                  <a:pt x="0" y="0"/>
                </a:moveTo>
                <a:lnTo>
                  <a:pt x="5997184" y="0"/>
                </a:lnTo>
                <a:lnTo>
                  <a:pt x="5997184" y="2225376"/>
                </a:lnTo>
                <a:lnTo>
                  <a:pt x="5997184" y="2734227"/>
                </a:lnTo>
                <a:lnTo>
                  <a:pt x="5997184" y="3047995"/>
                </a:lnTo>
                <a:lnTo>
                  <a:pt x="0" y="304799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9" name="Овал 58">
            <a:extLst>
              <a:ext uri="{FF2B5EF4-FFF2-40B4-BE49-F238E27FC236}">
                <a16:creationId xmlns:a16="http://schemas.microsoft.com/office/drawing/2014/main" id="{A98808A9-D0E1-6C5E-FBB7-AE9445FDD161}"/>
              </a:ext>
            </a:extLst>
          </p:cNvPr>
          <p:cNvSpPr/>
          <p:nvPr/>
        </p:nvSpPr>
        <p:spPr>
          <a:xfrm>
            <a:off x="5520584" y="383844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60" name="Овал 59">
            <a:extLst>
              <a:ext uri="{FF2B5EF4-FFF2-40B4-BE49-F238E27FC236}">
                <a16:creationId xmlns:a16="http://schemas.microsoft.com/office/drawing/2014/main" id="{F89D4E17-355A-01AB-236C-65F7281558F3}"/>
              </a:ext>
            </a:extLst>
          </p:cNvPr>
          <p:cNvSpPr/>
          <p:nvPr/>
        </p:nvSpPr>
        <p:spPr>
          <a:xfrm>
            <a:off x="8527425" y="4115829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</p:spTree>
    <p:extLst>
      <p:ext uri="{BB962C8B-B14F-4D97-AF65-F5344CB8AC3E}">
        <p14:creationId xmlns:p14="http://schemas.microsoft.com/office/powerpoint/2010/main" val="349283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rism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3000" fill="hold"/>
                                        <p:tgtEl>
                                          <p:spTgt spid="1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8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5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8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2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8" dur="8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" dur="5000" fill="hold"/>
                                        <p:tgtEl>
                                          <p:spTgt spid="2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2" dur="8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3000" fill="hold"/>
                                        <p:tgtEl>
                                          <p:spTgt spid="2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6" dur="8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2000" fill="hold"/>
                                        <p:tgtEl>
                                          <p:spTgt spid="2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0" dur="8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5000" fill="hold"/>
                                        <p:tgtEl>
                                          <p:spTgt spid="3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4" dur="3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6" dur="5000" fill="hold"/>
                                        <p:tgtEl>
                                          <p:spTgt spid="3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8" dur="8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0" dur="2000" fill="hold"/>
                                        <p:tgtEl>
                                          <p:spTgt spid="3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2" dur="5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4" dur="2000" fill="hold"/>
                                        <p:tgtEl>
                                          <p:spTgt spid="3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6" dur="8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8" dur="3000" fill="hold"/>
                                        <p:tgtEl>
                                          <p:spTgt spid="2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0" dur="5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2" dur="3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4" dur="8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6" dur="5000" fill="hold"/>
                                        <p:tgtEl>
                                          <p:spTgt spid="2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-3.33333E-6 L 0.06575 -3.33333E-6 " pathEditMode="relative" rAng="0" ptsTypes="AA">
                                      <p:cBhvr>
                                        <p:cTn id="58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0" dur="8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2" dur="5000" fill="hold"/>
                                        <p:tgtEl>
                                          <p:spTgt spid="5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4" dur="8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6" dur="5000" fill="hold"/>
                                        <p:tgtEl>
                                          <p:spTgt spid="6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15" grpId="0" animBg="1"/>
      <p:bldP spid="15" grpId="1" animBg="1"/>
      <p:bldP spid="26" grpId="0" animBg="1"/>
      <p:bldP spid="26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6" grpId="0" animBg="1"/>
      <p:bldP spid="36" grpId="1" animBg="1"/>
      <p:bldP spid="27" grpId="0" animBg="1"/>
      <p:bldP spid="27" grpId="1" animBg="1"/>
      <p:bldP spid="28" grpId="0" animBg="1"/>
      <p:bldP spid="28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4" grpId="1" animBg="1"/>
      <p:bldP spid="41" grpId="0"/>
      <p:bldP spid="59" grpId="0" animBg="1"/>
      <p:bldP spid="59" grpId="1" animBg="1"/>
      <p:bldP spid="60" grpId="0" animBg="1"/>
      <p:bldP spid="60" grpId="1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54000">
              <a:srgbClr val="18A0D0">
                <a:alpha val="0"/>
              </a:srgbClr>
            </a:gs>
            <a:gs pos="99000">
              <a:srgbClr val="18A0D0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53B8E41-42E0-7E42-881A-F133F990B9FF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gradFill>
            <a:gsLst>
              <a:gs pos="2000">
                <a:srgbClr val="A16DFE"/>
              </a:gs>
              <a:gs pos="38000">
                <a:srgbClr val="620CFD"/>
              </a:gs>
            </a:gsLst>
            <a:path path="circle">
              <a:fillToRect l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8DFA698-38E6-03BB-332C-E1CF55AA2EA3}"/>
              </a:ext>
            </a:extLst>
          </p:cNvPr>
          <p:cNvGrpSpPr/>
          <p:nvPr/>
        </p:nvGrpSpPr>
        <p:grpSpPr>
          <a:xfrm>
            <a:off x="623888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5A60490B-4325-0161-B20C-B88B12AE90BB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2F391B36-BE1D-E8D4-256B-A74A3155DB3E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" name="Рисунок 3">
            <a:extLst>
              <a:ext uri="{FF2B5EF4-FFF2-40B4-BE49-F238E27FC236}">
                <a16:creationId xmlns:a16="http://schemas.microsoft.com/office/drawing/2014/main" id="{3161A2EE-E4FE-9EFF-E54E-BBFE2738AE74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11" name="Полилиния 10">
              <a:extLst>
                <a:ext uri="{FF2B5EF4-FFF2-40B4-BE49-F238E27FC236}">
                  <a16:creationId xmlns:a16="http://schemas.microsoft.com/office/drawing/2014/main" id="{D5317DD2-416D-CAF5-6A74-2DC83FBED045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id="{D86E0946-D873-603A-EEED-A8AC44B862A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C10C4818-7638-E966-E7FD-3627A9462C5C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id="{1C82B3CC-C076-0AB5-1827-686EDE07B7CC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FE017B9F-C139-C5E7-684F-4B6A955E91A7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 16">
              <a:extLst>
                <a:ext uri="{FF2B5EF4-FFF2-40B4-BE49-F238E27FC236}">
                  <a16:creationId xmlns:a16="http://schemas.microsoft.com/office/drawing/2014/main" id="{A7EBA4C5-3227-2992-F35A-0F5D61BB83D1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ABED481D-93F3-36B8-D3F6-560BB8145AE9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 19">
              <a:extLst>
                <a:ext uri="{FF2B5EF4-FFF2-40B4-BE49-F238E27FC236}">
                  <a16:creationId xmlns:a16="http://schemas.microsoft.com/office/drawing/2014/main" id="{0BF81DE4-B694-E375-7460-B52134B4D520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 24">
              <a:extLst>
                <a:ext uri="{FF2B5EF4-FFF2-40B4-BE49-F238E27FC236}">
                  <a16:creationId xmlns:a16="http://schemas.microsoft.com/office/drawing/2014/main" id="{33A67B84-0B90-C9A1-984E-BE9F7500EEE3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7A3CB6ED-34ED-940C-E167-41AE91068E0E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AECC1CE8-C9B0-EF33-CBFC-069B3953E2F2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43" name="Rectangle: Rounded Corners 70">
            <a:extLst>
              <a:ext uri="{FF2B5EF4-FFF2-40B4-BE49-F238E27FC236}">
                <a16:creationId xmlns:a16="http://schemas.microsoft.com/office/drawing/2014/main" id="{3EA50D41-584A-AB41-019B-90B2427FC47E}"/>
              </a:ext>
            </a:extLst>
          </p:cNvPr>
          <p:cNvSpPr/>
          <p:nvPr/>
        </p:nvSpPr>
        <p:spPr>
          <a:xfrm rot="10800000">
            <a:off x="507863" y="-2299003"/>
            <a:ext cx="5997183" cy="1136385"/>
          </a:xfrm>
          <a:prstGeom prst="roundRect">
            <a:avLst>
              <a:gd name="adj" fmla="val 27611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40729235-7706-2346-D3D2-53D6C5A037AE}"/>
              </a:ext>
            </a:extLst>
          </p:cNvPr>
          <p:cNvSpPr/>
          <p:nvPr/>
        </p:nvSpPr>
        <p:spPr>
          <a:xfrm rot="5400000">
            <a:off x="1335478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2FC23343-0242-E0C1-E61E-DFDF8EDBB4F2}"/>
              </a:ext>
            </a:extLst>
          </p:cNvPr>
          <p:cNvSpPr/>
          <p:nvPr/>
        </p:nvSpPr>
        <p:spPr>
          <a:xfrm rot="5400000">
            <a:off x="1780257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DAB044F4-9FCA-369D-6353-52C096264D70}"/>
              </a:ext>
            </a:extLst>
          </p:cNvPr>
          <p:cNvSpPr/>
          <p:nvPr/>
        </p:nvSpPr>
        <p:spPr>
          <a:xfrm rot="5400000">
            <a:off x="2225036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E1C04F78-2BA0-25C8-8050-7C7F7D5A923B}"/>
              </a:ext>
            </a:extLst>
          </p:cNvPr>
          <p:cNvSpPr/>
          <p:nvPr/>
        </p:nvSpPr>
        <p:spPr>
          <a:xfrm rot="5400000">
            <a:off x="2669815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58CD7D83-B22D-2F38-BC61-41322E552EC9}"/>
              </a:ext>
            </a:extLst>
          </p:cNvPr>
          <p:cNvSpPr/>
          <p:nvPr/>
        </p:nvSpPr>
        <p:spPr>
          <a:xfrm rot="5400000">
            <a:off x="3114594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>
            <a:extLst>
              <a:ext uri="{FF2B5EF4-FFF2-40B4-BE49-F238E27FC236}">
                <a16:creationId xmlns:a16="http://schemas.microsoft.com/office/drawing/2014/main" id="{0E18D4F0-71C6-171D-E1A8-1E2266FE0C91}"/>
              </a:ext>
            </a:extLst>
          </p:cNvPr>
          <p:cNvSpPr/>
          <p:nvPr/>
        </p:nvSpPr>
        <p:spPr>
          <a:xfrm rot="5400000">
            <a:off x="3559373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Скругленный прямоугольник 49">
            <a:extLst>
              <a:ext uri="{FF2B5EF4-FFF2-40B4-BE49-F238E27FC236}">
                <a16:creationId xmlns:a16="http://schemas.microsoft.com/office/drawing/2014/main" id="{12709B9D-CF4E-7906-4FC4-0F3C5305B56F}"/>
              </a:ext>
            </a:extLst>
          </p:cNvPr>
          <p:cNvSpPr/>
          <p:nvPr/>
        </p:nvSpPr>
        <p:spPr>
          <a:xfrm rot="5400000">
            <a:off x="4004152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Скругленный прямоугольник 50">
            <a:extLst>
              <a:ext uri="{FF2B5EF4-FFF2-40B4-BE49-F238E27FC236}">
                <a16:creationId xmlns:a16="http://schemas.microsoft.com/office/drawing/2014/main" id="{3A5392D6-ACBB-F9FC-D049-3630473521B5}"/>
              </a:ext>
            </a:extLst>
          </p:cNvPr>
          <p:cNvSpPr/>
          <p:nvPr/>
        </p:nvSpPr>
        <p:spPr>
          <a:xfrm rot="5400000">
            <a:off x="5338493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кругленный прямоугольник 51">
            <a:extLst>
              <a:ext uri="{FF2B5EF4-FFF2-40B4-BE49-F238E27FC236}">
                <a16:creationId xmlns:a16="http://schemas.microsoft.com/office/drawing/2014/main" id="{11D12723-F0FD-22A8-99BF-DC5808532D2F}"/>
              </a:ext>
            </a:extLst>
          </p:cNvPr>
          <p:cNvSpPr/>
          <p:nvPr/>
        </p:nvSpPr>
        <p:spPr>
          <a:xfrm rot="5400000">
            <a:off x="4893710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кругленный прямоугольник 52">
            <a:extLst>
              <a:ext uri="{FF2B5EF4-FFF2-40B4-BE49-F238E27FC236}">
                <a16:creationId xmlns:a16="http://schemas.microsoft.com/office/drawing/2014/main" id="{0ABB5716-93DA-86EF-FE2E-33EEAC68C99B}"/>
              </a:ext>
            </a:extLst>
          </p:cNvPr>
          <p:cNvSpPr/>
          <p:nvPr/>
        </p:nvSpPr>
        <p:spPr>
          <a:xfrm rot="5400000">
            <a:off x="4448931" y="-2091010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5AD49C4-4A9F-8232-D2BF-8971273A9022}"/>
              </a:ext>
            </a:extLst>
          </p:cNvPr>
          <p:cNvSpPr txBox="1"/>
          <p:nvPr/>
        </p:nvSpPr>
        <p:spPr>
          <a:xfrm>
            <a:off x="1289469" y="-1730811"/>
            <a:ext cx="5188527" cy="385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" panose="020B0305040102020103" pitchFamily="34" charset="0"/>
                <a:cs typeface="Times New Roman" panose="02020603050405020304" pitchFamily="18" charset="0"/>
              </a:rPr>
              <a:t>Азбука качественного визуала</a:t>
            </a:r>
          </a:p>
        </p:txBody>
      </p:sp>
      <p:sp>
        <p:nvSpPr>
          <p:cNvPr id="57" name="Овал 56">
            <a:extLst>
              <a:ext uri="{FF2B5EF4-FFF2-40B4-BE49-F238E27FC236}">
                <a16:creationId xmlns:a16="http://schemas.microsoft.com/office/drawing/2014/main" id="{291D6ABD-FB36-2F9A-CE89-4FE61BA38470}"/>
              </a:ext>
            </a:extLst>
          </p:cNvPr>
          <p:cNvSpPr/>
          <p:nvPr/>
        </p:nvSpPr>
        <p:spPr>
          <a:xfrm>
            <a:off x="9320664" y="13625274"/>
            <a:ext cx="343933" cy="343933"/>
          </a:xfrm>
          <a:prstGeom prst="ellipse">
            <a:avLst/>
          </a:prstGeom>
          <a:solidFill>
            <a:srgbClr val="C0D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7706585C-5D0A-8A38-630E-243E838BCD48}"/>
              </a:ext>
            </a:extLst>
          </p:cNvPr>
          <p:cNvCxnSpPr/>
          <p:nvPr/>
        </p:nvCxnSpPr>
        <p:spPr>
          <a:xfrm>
            <a:off x="9492630" y="13969207"/>
            <a:ext cx="1" cy="618004"/>
          </a:xfrm>
          <a:prstGeom prst="line">
            <a:avLst/>
          </a:prstGeom>
          <a:ln w="19050">
            <a:solidFill>
              <a:srgbClr val="C0DC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70" name="Полилиния 69">
            <a:extLst>
              <a:ext uri="{FF2B5EF4-FFF2-40B4-BE49-F238E27FC236}">
                <a16:creationId xmlns:a16="http://schemas.microsoft.com/office/drawing/2014/main" id="{24DE8412-9751-DB1A-8373-40D74883F18E}"/>
              </a:ext>
            </a:extLst>
          </p:cNvPr>
          <p:cNvSpPr/>
          <p:nvPr/>
        </p:nvSpPr>
        <p:spPr>
          <a:xfrm>
            <a:off x="507862" y="-4173817"/>
            <a:ext cx="5997184" cy="3047995"/>
          </a:xfrm>
          <a:custGeom>
            <a:avLst/>
            <a:gdLst>
              <a:gd name="connsiteX0" fmla="*/ 0 w 5997184"/>
              <a:gd name="connsiteY0" fmla="*/ 0 h 3047995"/>
              <a:gd name="connsiteX1" fmla="*/ 5997184 w 5997184"/>
              <a:gd name="connsiteY1" fmla="*/ 0 h 3047995"/>
              <a:gd name="connsiteX2" fmla="*/ 5997184 w 5997184"/>
              <a:gd name="connsiteY2" fmla="*/ 2225376 h 3047995"/>
              <a:gd name="connsiteX3" fmla="*/ 5997184 w 5997184"/>
              <a:gd name="connsiteY3" fmla="*/ 2734227 h 3047995"/>
              <a:gd name="connsiteX4" fmla="*/ 5997184 w 5997184"/>
              <a:gd name="connsiteY4" fmla="*/ 3047995 h 3047995"/>
              <a:gd name="connsiteX5" fmla="*/ 0 w 5997184"/>
              <a:gd name="connsiteY5" fmla="*/ 3047995 h 304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97184" h="3047995">
                <a:moveTo>
                  <a:pt x="0" y="0"/>
                </a:moveTo>
                <a:lnTo>
                  <a:pt x="5997184" y="0"/>
                </a:lnTo>
                <a:lnTo>
                  <a:pt x="5997184" y="2225376"/>
                </a:lnTo>
                <a:lnTo>
                  <a:pt x="5997184" y="2734227"/>
                </a:lnTo>
                <a:lnTo>
                  <a:pt x="5997184" y="3047995"/>
                </a:lnTo>
                <a:lnTo>
                  <a:pt x="0" y="304799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A3E9C03-4770-A876-070D-EDBD62741D06}"/>
              </a:ext>
            </a:extLst>
          </p:cNvPr>
          <p:cNvSpPr txBox="1"/>
          <p:nvPr/>
        </p:nvSpPr>
        <p:spPr>
          <a:xfrm>
            <a:off x="509869" y="1055720"/>
            <a:ext cx="9667656" cy="3423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КАК И ГДЕ ПРИМЕНЯТЬ ПРЕЗЕНТАЦИ</a:t>
            </a:r>
            <a:r>
              <a:rPr lang="en-US" sz="4800" b="1" dirty="0" err="1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И</a:t>
            </a:r>
            <a:r>
              <a:rPr lang="ru-RU" sz="4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 БИЗНЕСУ И ЛИЧНЫМ БРЕНДАМ?</a:t>
            </a:r>
          </a:p>
        </p:txBody>
      </p: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2844405B-0D93-D24B-6155-AD8B98625DAB}"/>
              </a:ext>
            </a:extLst>
          </p:cNvPr>
          <p:cNvGrpSpPr/>
          <p:nvPr/>
        </p:nvGrpSpPr>
        <p:grpSpPr>
          <a:xfrm>
            <a:off x="8133754" y="2846456"/>
            <a:ext cx="3603541" cy="3633517"/>
            <a:chOff x="6216130" y="1119383"/>
            <a:chExt cx="11272723" cy="11366496"/>
          </a:xfrm>
        </p:grpSpPr>
        <p:grpSp>
          <p:nvGrpSpPr>
            <p:cNvPr id="175" name="Группа 174">
              <a:extLst>
                <a:ext uri="{FF2B5EF4-FFF2-40B4-BE49-F238E27FC236}">
                  <a16:creationId xmlns:a16="http://schemas.microsoft.com/office/drawing/2014/main" id="{2F72FE94-7CFC-DEC5-CBAD-015348E0F5CE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179" name="Полилиния 178">
                <a:extLst>
                  <a:ext uri="{FF2B5EF4-FFF2-40B4-BE49-F238E27FC236}">
                    <a16:creationId xmlns:a16="http://schemas.microsoft.com/office/drawing/2014/main" id="{51A2408B-95D6-C343-3D03-F8771781CC1A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180" name="Прямая соединительная линия 179">
                <a:extLst>
                  <a:ext uri="{FF2B5EF4-FFF2-40B4-BE49-F238E27FC236}">
                    <a16:creationId xmlns:a16="http://schemas.microsoft.com/office/drawing/2014/main" id="{1E08506D-5C55-493C-7B4B-EE1034706A3E}"/>
                  </a:ext>
                </a:extLst>
              </p:cNvPr>
              <p:cNvCxnSpPr>
                <a:cxnSpLocks/>
                <a:stCxn id="179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6" name="Овал 175">
              <a:extLst>
                <a:ext uri="{FF2B5EF4-FFF2-40B4-BE49-F238E27FC236}">
                  <a16:creationId xmlns:a16="http://schemas.microsoft.com/office/drawing/2014/main" id="{620A38AB-85AC-944B-368A-8CF1AC87796F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77" name="Овал 176">
              <a:extLst>
                <a:ext uri="{FF2B5EF4-FFF2-40B4-BE49-F238E27FC236}">
                  <a16:creationId xmlns:a16="http://schemas.microsoft.com/office/drawing/2014/main" id="{6C15909C-3632-24C2-A4CF-8E2270D143AD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78" name="Овал 177">
              <a:extLst>
                <a:ext uri="{FF2B5EF4-FFF2-40B4-BE49-F238E27FC236}">
                  <a16:creationId xmlns:a16="http://schemas.microsoft.com/office/drawing/2014/main" id="{D0958E8E-6A3A-63D1-247C-E90BA48ED8D8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181" name="Группа 180">
            <a:extLst>
              <a:ext uri="{FF2B5EF4-FFF2-40B4-BE49-F238E27FC236}">
                <a16:creationId xmlns:a16="http://schemas.microsoft.com/office/drawing/2014/main" id="{6363AA7F-C79D-ED70-5243-3C2BB31EFCD0}"/>
              </a:ext>
            </a:extLst>
          </p:cNvPr>
          <p:cNvGrpSpPr/>
          <p:nvPr/>
        </p:nvGrpSpPr>
        <p:grpSpPr>
          <a:xfrm rot="10800000">
            <a:off x="8580741" y="3297160"/>
            <a:ext cx="2709568" cy="2732109"/>
            <a:chOff x="6216130" y="1119383"/>
            <a:chExt cx="11272723" cy="11366496"/>
          </a:xfrm>
        </p:grpSpPr>
        <p:grpSp>
          <p:nvGrpSpPr>
            <p:cNvPr id="182" name="Группа 181">
              <a:extLst>
                <a:ext uri="{FF2B5EF4-FFF2-40B4-BE49-F238E27FC236}">
                  <a16:creationId xmlns:a16="http://schemas.microsoft.com/office/drawing/2014/main" id="{6ED7F80E-A35C-A57D-FF97-66A0FEC4252B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186" name="Полилиния 185">
                <a:extLst>
                  <a:ext uri="{FF2B5EF4-FFF2-40B4-BE49-F238E27FC236}">
                    <a16:creationId xmlns:a16="http://schemas.microsoft.com/office/drawing/2014/main" id="{9CFEE72D-07D5-1B06-203D-8D193F84D4BC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187" name="Прямая соединительная линия 186">
                <a:extLst>
                  <a:ext uri="{FF2B5EF4-FFF2-40B4-BE49-F238E27FC236}">
                    <a16:creationId xmlns:a16="http://schemas.microsoft.com/office/drawing/2014/main" id="{4B2ABB73-1FF0-976C-1B2F-A1FD40A6C9FD}"/>
                  </a:ext>
                </a:extLst>
              </p:cNvPr>
              <p:cNvCxnSpPr>
                <a:cxnSpLocks/>
                <a:stCxn id="186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3" name="Овал 182">
              <a:extLst>
                <a:ext uri="{FF2B5EF4-FFF2-40B4-BE49-F238E27FC236}">
                  <a16:creationId xmlns:a16="http://schemas.microsoft.com/office/drawing/2014/main" id="{8ED87EAA-152A-5B48-A8B1-04FEF613B40E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84" name="Овал 183">
              <a:extLst>
                <a:ext uri="{FF2B5EF4-FFF2-40B4-BE49-F238E27FC236}">
                  <a16:creationId xmlns:a16="http://schemas.microsoft.com/office/drawing/2014/main" id="{7A93BFCE-A81C-7CD5-793C-12AF71EA8712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85" name="Овал 184">
              <a:extLst>
                <a:ext uri="{FF2B5EF4-FFF2-40B4-BE49-F238E27FC236}">
                  <a16:creationId xmlns:a16="http://schemas.microsoft.com/office/drawing/2014/main" id="{DC654206-046D-EBDD-A29F-8DD8D08DD0B4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188" name="Группа 187">
            <a:extLst>
              <a:ext uri="{FF2B5EF4-FFF2-40B4-BE49-F238E27FC236}">
                <a16:creationId xmlns:a16="http://schemas.microsoft.com/office/drawing/2014/main" id="{56FE363C-60DF-7EDE-C5F6-C61A28147DEB}"/>
              </a:ext>
            </a:extLst>
          </p:cNvPr>
          <p:cNvGrpSpPr/>
          <p:nvPr/>
        </p:nvGrpSpPr>
        <p:grpSpPr>
          <a:xfrm>
            <a:off x="7852042" y="2562400"/>
            <a:ext cx="4166964" cy="4201628"/>
            <a:chOff x="6216130" y="1119383"/>
            <a:chExt cx="11272723" cy="11366496"/>
          </a:xfrm>
        </p:grpSpPr>
        <p:grpSp>
          <p:nvGrpSpPr>
            <p:cNvPr id="189" name="Группа 188">
              <a:extLst>
                <a:ext uri="{FF2B5EF4-FFF2-40B4-BE49-F238E27FC236}">
                  <a16:creationId xmlns:a16="http://schemas.microsoft.com/office/drawing/2014/main" id="{BCD0AF64-4B7A-0213-025D-13EEAFCD03AB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193" name="Полилиния 192">
                <a:extLst>
                  <a:ext uri="{FF2B5EF4-FFF2-40B4-BE49-F238E27FC236}">
                    <a16:creationId xmlns:a16="http://schemas.microsoft.com/office/drawing/2014/main" id="{44FC877F-D138-CBB0-6B48-E3987B727B38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194" name="Прямая соединительная линия 193">
                <a:extLst>
                  <a:ext uri="{FF2B5EF4-FFF2-40B4-BE49-F238E27FC236}">
                    <a16:creationId xmlns:a16="http://schemas.microsoft.com/office/drawing/2014/main" id="{84FEA32C-0278-2CD6-A90B-B46D0D27A0D5}"/>
                  </a:ext>
                </a:extLst>
              </p:cNvPr>
              <p:cNvCxnSpPr>
                <a:cxnSpLocks/>
                <a:stCxn id="193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90" name="Овал 189">
              <a:extLst>
                <a:ext uri="{FF2B5EF4-FFF2-40B4-BE49-F238E27FC236}">
                  <a16:creationId xmlns:a16="http://schemas.microsoft.com/office/drawing/2014/main" id="{806B21AE-B6D5-7C4D-E5E6-0F28C2BAA895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91" name="Овал 190">
              <a:extLst>
                <a:ext uri="{FF2B5EF4-FFF2-40B4-BE49-F238E27FC236}">
                  <a16:creationId xmlns:a16="http://schemas.microsoft.com/office/drawing/2014/main" id="{21A972DB-38B8-E241-918B-458604CDA627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92" name="Овал 191">
              <a:extLst>
                <a:ext uri="{FF2B5EF4-FFF2-40B4-BE49-F238E27FC236}">
                  <a16:creationId xmlns:a16="http://schemas.microsoft.com/office/drawing/2014/main" id="{7CAAFF81-96C0-15C2-25F0-0A2DC1C9D095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195" name="Группа 194">
            <a:extLst>
              <a:ext uri="{FF2B5EF4-FFF2-40B4-BE49-F238E27FC236}">
                <a16:creationId xmlns:a16="http://schemas.microsoft.com/office/drawing/2014/main" id="{D774F92F-063B-D956-E101-65BA3CDDDCDD}"/>
              </a:ext>
            </a:extLst>
          </p:cNvPr>
          <p:cNvGrpSpPr/>
          <p:nvPr/>
        </p:nvGrpSpPr>
        <p:grpSpPr>
          <a:xfrm rot="10800000">
            <a:off x="7474066" y="2181280"/>
            <a:ext cx="4922917" cy="4963870"/>
            <a:chOff x="6216130" y="1119383"/>
            <a:chExt cx="11272723" cy="11366496"/>
          </a:xfrm>
        </p:grpSpPr>
        <p:grpSp>
          <p:nvGrpSpPr>
            <p:cNvPr id="196" name="Группа 195">
              <a:extLst>
                <a:ext uri="{FF2B5EF4-FFF2-40B4-BE49-F238E27FC236}">
                  <a16:creationId xmlns:a16="http://schemas.microsoft.com/office/drawing/2014/main" id="{74B6C4AD-BEC4-ADCC-167F-4A203A7E3C57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00" name="Полилиния 199">
                <a:extLst>
                  <a:ext uri="{FF2B5EF4-FFF2-40B4-BE49-F238E27FC236}">
                    <a16:creationId xmlns:a16="http://schemas.microsoft.com/office/drawing/2014/main" id="{C97917EF-B4CD-6F1F-6285-8804BC8DBE57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01" name="Прямая соединительная линия 200">
                <a:extLst>
                  <a:ext uri="{FF2B5EF4-FFF2-40B4-BE49-F238E27FC236}">
                    <a16:creationId xmlns:a16="http://schemas.microsoft.com/office/drawing/2014/main" id="{F93EB145-84C0-0CDF-1A58-6928FEDF12D9}"/>
                  </a:ext>
                </a:extLst>
              </p:cNvPr>
              <p:cNvCxnSpPr>
                <a:cxnSpLocks/>
                <a:stCxn id="200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97" name="Овал 196">
              <a:extLst>
                <a:ext uri="{FF2B5EF4-FFF2-40B4-BE49-F238E27FC236}">
                  <a16:creationId xmlns:a16="http://schemas.microsoft.com/office/drawing/2014/main" id="{BC6870EC-64BE-9463-B930-DBB7142D1EF5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98" name="Овал 197">
              <a:extLst>
                <a:ext uri="{FF2B5EF4-FFF2-40B4-BE49-F238E27FC236}">
                  <a16:creationId xmlns:a16="http://schemas.microsoft.com/office/drawing/2014/main" id="{5EDF5D7B-F4ED-F13F-7321-448CA9C25EBE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99" name="Овал 198">
              <a:extLst>
                <a:ext uri="{FF2B5EF4-FFF2-40B4-BE49-F238E27FC236}">
                  <a16:creationId xmlns:a16="http://schemas.microsoft.com/office/drawing/2014/main" id="{64C0F90D-68E8-7122-F05E-E92845A28098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02" name="Группа 201">
            <a:extLst>
              <a:ext uri="{FF2B5EF4-FFF2-40B4-BE49-F238E27FC236}">
                <a16:creationId xmlns:a16="http://schemas.microsoft.com/office/drawing/2014/main" id="{51661D38-2BFA-BA03-84ED-C7502AEF752C}"/>
              </a:ext>
            </a:extLst>
          </p:cNvPr>
          <p:cNvGrpSpPr/>
          <p:nvPr/>
        </p:nvGrpSpPr>
        <p:grpSpPr>
          <a:xfrm>
            <a:off x="7440069" y="2147000"/>
            <a:ext cx="4990911" cy="5032429"/>
            <a:chOff x="6216130" y="1119383"/>
            <a:chExt cx="11272723" cy="11366496"/>
          </a:xfrm>
        </p:grpSpPr>
        <p:grpSp>
          <p:nvGrpSpPr>
            <p:cNvPr id="203" name="Группа 202">
              <a:extLst>
                <a:ext uri="{FF2B5EF4-FFF2-40B4-BE49-F238E27FC236}">
                  <a16:creationId xmlns:a16="http://schemas.microsoft.com/office/drawing/2014/main" id="{FB60027E-C24D-6BAB-6964-237F9234C693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07" name="Полилиния 206">
                <a:extLst>
                  <a:ext uri="{FF2B5EF4-FFF2-40B4-BE49-F238E27FC236}">
                    <a16:creationId xmlns:a16="http://schemas.microsoft.com/office/drawing/2014/main" id="{15288258-7BAA-8E0A-26BA-E9A904501E21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08" name="Прямая соединительная линия 207">
                <a:extLst>
                  <a:ext uri="{FF2B5EF4-FFF2-40B4-BE49-F238E27FC236}">
                    <a16:creationId xmlns:a16="http://schemas.microsoft.com/office/drawing/2014/main" id="{6A61E2C7-B686-72D0-C8CE-47E0E0796B74}"/>
                  </a:ext>
                </a:extLst>
              </p:cNvPr>
              <p:cNvCxnSpPr>
                <a:cxnSpLocks/>
                <a:stCxn id="207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4" name="Овал 203">
              <a:extLst>
                <a:ext uri="{FF2B5EF4-FFF2-40B4-BE49-F238E27FC236}">
                  <a16:creationId xmlns:a16="http://schemas.microsoft.com/office/drawing/2014/main" id="{E776CAB0-FCBA-E169-7A30-759CB0F54299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05" name="Овал 204">
              <a:extLst>
                <a:ext uri="{FF2B5EF4-FFF2-40B4-BE49-F238E27FC236}">
                  <a16:creationId xmlns:a16="http://schemas.microsoft.com/office/drawing/2014/main" id="{CCFF0B08-4931-BEC5-A630-AC13EADD360D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06" name="Овал 205">
              <a:extLst>
                <a:ext uri="{FF2B5EF4-FFF2-40B4-BE49-F238E27FC236}">
                  <a16:creationId xmlns:a16="http://schemas.microsoft.com/office/drawing/2014/main" id="{6883274F-33F5-627B-C7DF-CED1B8C6BFA9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09" name="Группа 208">
            <a:extLst>
              <a:ext uri="{FF2B5EF4-FFF2-40B4-BE49-F238E27FC236}">
                <a16:creationId xmlns:a16="http://schemas.microsoft.com/office/drawing/2014/main" id="{8428834F-4DEE-0128-365A-99ABC3B41C8E}"/>
              </a:ext>
            </a:extLst>
          </p:cNvPr>
          <p:cNvGrpSpPr/>
          <p:nvPr/>
        </p:nvGrpSpPr>
        <p:grpSpPr>
          <a:xfrm rot="10800000">
            <a:off x="8343248" y="3057692"/>
            <a:ext cx="3184553" cy="3211045"/>
            <a:chOff x="6216130" y="1119383"/>
            <a:chExt cx="11272723" cy="11366496"/>
          </a:xfrm>
        </p:grpSpPr>
        <p:grpSp>
          <p:nvGrpSpPr>
            <p:cNvPr id="210" name="Группа 209">
              <a:extLst>
                <a:ext uri="{FF2B5EF4-FFF2-40B4-BE49-F238E27FC236}">
                  <a16:creationId xmlns:a16="http://schemas.microsoft.com/office/drawing/2014/main" id="{F92C4DCD-E4CD-EE86-3880-E2A053E129E1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14" name="Полилиния 213">
                <a:extLst>
                  <a:ext uri="{FF2B5EF4-FFF2-40B4-BE49-F238E27FC236}">
                    <a16:creationId xmlns:a16="http://schemas.microsoft.com/office/drawing/2014/main" id="{2A0D3E16-FC87-DC1E-9AD4-4EA9D3F7F39C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15" name="Прямая соединительная линия 214">
                <a:extLst>
                  <a:ext uri="{FF2B5EF4-FFF2-40B4-BE49-F238E27FC236}">
                    <a16:creationId xmlns:a16="http://schemas.microsoft.com/office/drawing/2014/main" id="{0683ACFF-78B4-461C-0659-7FED8F0002DB}"/>
                  </a:ext>
                </a:extLst>
              </p:cNvPr>
              <p:cNvCxnSpPr>
                <a:cxnSpLocks/>
                <a:stCxn id="214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Овал 210">
              <a:extLst>
                <a:ext uri="{FF2B5EF4-FFF2-40B4-BE49-F238E27FC236}">
                  <a16:creationId xmlns:a16="http://schemas.microsoft.com/office/drawing/2014/main" id="{CF754C00-761E-38A5-276F-F6C3280BBEE6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12" name="Овал 211">
              <a:extLst>
                <a:ext uri="{FF2B5EF4-FFF2-40B4-BE49-F238E27FC236}">
                  <a16:creationId xmlns:a16="http://schemas.microsoft.com/office/drawing/2014/main" id="{286453A8-EA10-7F80-A402-D5DDFC2750A0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13" name="Овал 212">
              <a:extLst>
                <a:ext uri="{FF2B5EF4-FFF2-40B4-BE49-F238E27FC236}">
                  <a16:creationId xmlns:a16="http://schemas.microsoft.com/office/drawing/2014/main" id="{D6AFB5C9-2FB4-5709-BE76-FAA2AD1311AF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16" name="Группа 215">
            <a:extLst>
              <a:ext uri="{FF2B5EF4-FFF2-40B4-BE49-F238E27FC236}">
                <a16:creationId xmlns:a16="http://schemas.microsoft.com/office/drawing/2014/main" id="{CFD4A4BB-565E-AB26-FF88-499EB1545BCD}"/>
              </a:ext>
            </a:extLst>
          </p:cNvPr>
          <p:cNvGrpSpPr/>
          <p:nvPr/>
        </p:nvGrpSpPr>
        <p:grpSpPr>
          <a:xfrm>
            <a:off x="6661952" y="1362410"/>
            <a:ext cx="6547144" cy="6601608"/>
            <a:chOff x="6216130" y="1119383"/>
            <a:chExt cx="11272723" cy="11366496"/>
          </a:xfrm>
        </p:grpSpPr>
        <p:grpSp>
          <p:nvGrpSpPr>
            <p:cNvPr id="217" name="Группа 216">
              <a:extLst>
                <a:ext uri="{FF2B5EF4-FFF2-40B4-BE49-F238E27FC236}">
                  <a16:creationId xmlns:a16="http://schemas.microsoft.com/office/drawing/2014/main" id="{5E2BCB74-AF48-56EA-8629-157B69E17387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21" name="Полилиния 220">
                <a:extLst>
                  <a:ext uri="{FF2B5EF4-FFF2-40B4-BE49-F238E27FC236}">
                    <a16:creationId xmlns:a16="http://schemas.microsoft.com/office/drawing/2014/main" id="{C08ACCEF-8421-17BA-717A-1A469C6DD805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22" name="Прямая соединительная линия 221">
                <a:extLst>
                  <a:ext uri="{FF2B5EF4-FFF2-40B4-BE49-F238E27FC236}">
                    <a16:creationId xmlns:a16="http://schemas.microsoft.com/office/drawing/2014/main" id="{A039B357-5D6F-3BE9-B9CC-66B6AFDBBE78}"/>
                  </a:ext>
                </a:extLst>
              </p:cNvPr>
              <p:cNvCxnSpPr>
                <a:cxnSpLocks/>
                <a:stCxn id="221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8" name="Овал 217">
              <a:extLst>
                <a:ext uri="{FF2B5EF4-FFF2-40B4-BE49-F238E27FC236}">
                  <a16:creationId xmlns:a16="http://schemas.microsoft.com/office/drawing/2014/main" id="{37ECA658-4B00-1077-802E-77E4D45B9695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19" name="Овал 218">
              <a:extLst>
                <a:ext uri="{FF2B5EF4-FFF2-40B4-BE49-F238E27FC236}">
                  <a16:creationId xmlns:a16="http://schemas.microsoft.com/office/drawing/2014/main" id="{EF6362A2-C93D-4285-15ED-349C3F24D6AA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20" name="Овал 219">
              <a:extLst>
                <a:ext uri="{FF2B5EF4-FFF2-40B4-BE49-F238E27FC236}">
                  <a16:creationId xmlns:a16="http://schemas.microsoft.com/office/drawing/2014/main" id="{E939675F-E137-C4E8-9CD8-420D7A6474EE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23" name="Группа 222">
            <a:extLst>
              <a:ext uri="{FF2B5EF4-FFF2-40B4-BE49-F238E27FC236}">
                <a16:creationId xmlns:a16="http://schemas.microsoft.com/office/drawing/2014/main" id="{914CB187-E658-A8FE-9585-288C95073DFE}"/>
              </a:ext>
            </a:extLst>
          </p:cNvPr>
          <p:cNvGrpSpPr/>
          <p:nvPr/>
        </p:nvGrpSpPr>
        <p:grpSpPr>
          <a:xfrm rot="10800000">
            <a:off x="7852042" y="2562400"/>
            <a:ext cx="4166964" cy="4201629"/>
            <a:chOff x="6216130" y="1119383"/>
            <a:chExt cx="11272723" cy="11366496"/>
          </a:xfrm>
        </p:grpSpPr>
        <p:grpSp>
          <p:nvGrpSpPr>
            <p:cNvPr id="224" name="Группа 223">
              <a:extLst>
                <a:ext uri="{FF2B5EF4-FFF2-40B4-BE49-F238E27FC236}">
                  <a16:creationId xmlns:a16="http://schemas.microsoft.com/office/drawing/2014/main" id="{E561A1A1-AB41-EF1C-D745-6592208070AF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28" name="Полилиния 227">
                <a:extLst>
                  <a:ext uri="{FF2B5EF4-FFF2-40B4-BE49-F238E27FC236}">
                    <a16:creationId xmlns:a16="http://schemas.microsoft.com/office/drawing/2014/main" id="{7AC81052-AE54-D28B-4A1B-BDDAD2846D4F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29" name="Прямая соединительная линия 228">
                <a:extLst>
                  <a:ext uri="{FF2B5EF4-FFF2-40B4-BE49-F238E27FC236}">
                    <a16:creationId xmlns:a16="http://schemas.microsoft.com/office/drawing/2014/main" id="{8E975E96-FAFB-8FB2-089F-BD090674BE34}"/>
                  </a:ext>
                </a:extLst>
              </p:cNvPr>
              <p:cNvCxnSpPr>
                <a:cxnSpLocks/>
                <a:stCxn id="228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Овал 224">
              <a:extLst>
                <a:ext uri="{FF2B5EF4-FFF2-40B4-BE49-F238E27FC236}">
                  <a16:creationId xmlns:a16="http://schemas.microsoft.com/office/drawing/2014/main" id="{06C58591-1A49-0D9B-F6F1-EAAF24C8B36A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26" name="Овал 225">
              <a:extLst>
                <a:ext uri="{FF2B5EF4-FFF2-40B4-BE49-F238E27FC236}">
                  <a16:creationId xmlns:a16="http://schemas.microsoft.com/office/drawing/2014/main" id="{42A45BDF-E3C5-BF56-1207-7232E75BDC8A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27" name="Овал 226">
              <a:extLst>
                <a:ext uri="{FF2B5EF4-FFF2-40B4-BE49-F238E27FC236}">
                  <a16:creationId xmlns:a16="http://schemas.microsoft.com/office/drawing/2014/main" id="{9926EBE4-69A5-151B-90B2-D774388803CE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30" name="Группа 229">
            <a:extLst>
              <a:ext uri="{FF2B5EF4-FFF2-40B4-BE49-F238E27FC236}">
                <a16:creationId xmlns:a16="http://schemas.microsoft.com/office/drawing/2014/main" id="{B573E304-811F-23A2-DA77-7E5665B30601}"/>
              </a:ext>
            </a:extLst>
          </p:cNvPr>
          <p:cNvGrpSpPr/>
          <p:nvPr/>
        </p:nvGrpSpPr>
        <p:grpSpPr>
          <a:xfrm rot="4723074">
            <a:off x="8120073" y="2842103"/>
            <a:ext cx="3603541" cy="3633517"/>
            <a:chOff x="6216130" y="1119383"/>
            <a:chExt cx="11272723" cy="11366496"/>
          </a:xfrm>
        </p:grpSpPr>
        <p:grpSp>
          <p:nvGrpSpPr>
            <p:cNvPr id="231" name="Группа 230">
              <a:extLst>
                <a:ext uri="{FF2B5EF4-FFF2-40B4-BE49-F238E27FC236}">
                  <a16:creationId xmlns:a16="http://schemas.microsoft.com/office/drawing/2014/main" id="{FECC0ECC-0BCA-5DEC-D8A6-2956AEBE99D2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35" name="Полилиния 234">
                <a:extLst>
                  <a:ext uri="{FF2B5EF4-FFF2-40B4-BE49-F238E27FC236}">
                    <a16:creationId xmlns:a16="http://schemas.microsoft.com/office/drawing/2014/main" id="{DF92ACA9-28D5-52E6-911D-D3F348201ED1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36" name="Прямая соединительная линия 235">
                <a:extLst>
                  <a:ext uri="{FF2B5EF4-FFF2-40B4-BE49-F238E27FC236}">
                    <a16:creationId xmlns:a16="http://schemas.microsoft.com/office/drawing/2014/main" id="{D63760D3-CB3E-C0E7-6DC3-C3547D41D4A4}"/>
                  </a:ext>
                </a:extLst>
              </p:cNvPr>
              <p:cNvCxnSpPr>
                <a:cxnSpLocks/>
                <a:stCxn id="235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2" name="Овал 231">
              <a:extLst>
                <a:ext uri="{FF2B5EF4-FFF2-40B4-BE49-F238E27FC236}">
                  <a16:creationId xmlns:a16="http://schemas.microsoft.com/office/drawing/2014/main" id="{CD7B18C0-5471-7D25-1140-86B6CEAE2895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33" name="Овал 232">
              <a:extLst>
                <a:ext uri="{FF2B5EF4-FFF2-40B4-BE49-F238E27FC236}">
                  <a16:creationId xmlns:a16="http://schemas.microsoft.com/office/drawing/2014/main" id="{1D87BBAD-2B80-8677-396D-9EF740B5D854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34" name="Овал 233">
              <a:extLst>
                <a:ext uri="{FF2B5EF4-FFF2-40B4-BE49-F238E27FC236}">
                  <a16:creationId xmlns:a16="http://schemas.microsoft.com/office/drawing/2014/main" id="{01A90992-E68B-24FF-449C-5CC3388F4344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37" name="Группа 236">
            <a:extLst>
              <a:ext uri="{FF2B5EF4-FFF2-40B4-BE49-F238E27FC236}">
                <a16:creationId xmlns:a16="http://schemas.microsoft.com/office/drawing/2014/main" id="{0DF13FFF-CE12-59C9-DF18-24AACDDDEB43}"/>
              </a:ext>
            </a:extLst>
          </p:cNvPr>
          <p:cNvGrpSpPr/>
          <p:nvPr/>
        </p:nvGrpSpPr>
        <p:grpSpPr>
          <a:xfrm rot="15523074">
            <a:off x="8567060" y="3292807"/>
            <a:ext cx="2709568" cy="2732109"/>
            <a:chOff x="6216130" y="1119383"/>
            <a:chExt cx="11272723" cy="11366496"/>
          </a:xfrm>
        </p:grpSpPr>
        <p:grpSp>
          <p:nvGrpSpPr>
            <p:cNvPr id="238" name="Группа 237">
              <a:extLst>
                <a:ext uri="{FF2B5EF4-FFF2-40B4-BE49-F238E27FC236}">
                  <a16:creationId xmlns:a16="http://schemas.microsoft.com/office/drawing/2014/main" id="{C00ECB68-442F-F1C5-268C-5F201DB4E8BC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42" name="Полилиния 241">
                <a:extLst>
                  <a:ext uri="{FF2B5EF4-FFF2-40B4-BE49-F238E27FC236}">
                    <a16:creationId xmlns:a16="http://schemas.microsoft.com/office/drawing/2014/main" id="{56137AE7-8DAD-4DF7-359E-94E2633633E0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43" name="Прямая соединительная линия 242">
                <a:extLst>
                  <a:ext uri="{FF2B5EF4-FFF2-40B4-BE49-F238E27FC236}">
                    <a16:creationId xmlns:a16="http://schemas.microsoft.com/office/drawing/2014/main" id="{CC1AE50B-091E-9FED-E196-E7D8782B57F0}"/>
                  </a:ext>
                </a:extLst>
              </p:cNvPr>
              <p:cNvCxnSpPr>
                <a:cxnSpLocks/>
                <a:stCxn id="242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Овал 238">
              <a:extLst>
                <a:ext uri="{FF2B5EF4-FFF2-40B4-BE49-F238E27FC236}">
                  <a16:creationId xmlns:a16="http://schemas.microsoft.com/office/drawing/2014/main" id="{76A0D41C-22A7-3467-9547-DD71ED79C80F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40" name="Овал 239">
              <a:extLst>
                <a:ext uri="{FF2B5EF4-FFF2-40B4-BE49-F238E27FC236}">
                  <a16:creationId xmlns:a16="http://schemas.microsoft.com/office/drawing/2014/main" id="{D586EDEA-6147-A920-5C0D-5758A4377F43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41" name="Овал 240">
              <a:extLst>
                <a:ext uri="{FF2B5EF4-FFF2-40B4-BE49-F238E27FC236}">
                  <a16:creationId xmlns:a16="http://schemas.microsoft.com/office/drawing/2014/main" id="{711D65A0-A0D3-5414-ED41-A4ECD3E9111A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44" name="Группа 243">
            <a:extLst>
              <a:ext uri="{FF2B5EF4-FFF2-40B4-BE49-F238E27FC236}">
                <a16:creationId xmlns:a16="http://schemas.microsoft.com/office/drawing/2014/main" id="{DD4716B4-A569-D334-4F31-977FB69BC9E4}"/>
              </a:ext>
            </a:extLst>
          </p:cNvPr>
          <p:cNvGrpSpPr/>
          <p:nvPr/>
        </p:nvGrpSpPr>
        <p:grpSpPr>
          <a:xfrm rot="4723074">
            <a:off x="7838361" y="2558047"/>
            <a:ext cx="4166964" cy="4201628"/>
            <a:chOff x="6216130" y="1119383"/>
            <a:chExt cx="11272723" cy="11366496"/>
          </a:xfrm>
        </p:grpSpPr>
        <p:grpSp>
          <p:nvGrpSpPr>
            <p:cNvPr id="245" name="Группа 244">
              <a:extLst>
                <a:ext uri="{FF2B5EF4-FFF2-40B4-BE49-F238E27FC236}">
                  <a16:creationId xmlns:a16="http://schemas.microsoft.com/office/drawing/2014/main" id="{B69640BA-806F-C529-89F6-941695A56EF5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49" name="Полилиния 248">
                <a:extLst>
                  <a:ext uri="{FF2B5EF4-FFF2-40B4-BE49-F238E27FC236}">
                    <a16:creationId xmlns:a16="http://schemas.microsoft.com/office/drawing/2014/main" id="{9828E477-0772-4392-E8E4-53976FCA2782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50" name="Прямая соединительная линия 249">
                <a:extLst>
                  <a:ext uri="{FF2B5EF4-FFF2-40B4-BE49-F238E27FC236}">
                    <a16:creationId xmlns:a16="http://schemas.microsoft.com/office/drawing/2014/main" id="{3DD98930-4177-C6ED-BC6D-20B08CA352E0}"/>
                  </a:ext>
                </a:extLst>
              </p:cNvPr>
              <p:cNvCxnSpPr>
                <a:cxnSpLocks/>
                <a:stCxn id="249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6" name="Овал 245">
              <a:extLst>
                <a:ext uri="{FF2B5EF4-FFF2-40B4-BE49-F238E27FC236}">
                  <a16:creationId xmlns:a16="http://schemas.microsoft.com/office/drawing/2014/main" id="{9E0515C5-CEA6-AFA9-667E-3AC4D5C5BD54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47" name="Овал 246">
              <a:extLst>
                <a:ext uri="{FF2B5EF4-FFF2-40B4-BE49-F238E27FC236}">
                  <a16:creationId xmlns:a16="http://schemas.microsoft.com/office/drawing/2014/main" id="{15851D4D-F65E-4B00-FE4A-FF2C9116849F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48" name="Овал 247">
              <a:extLst>
                <a:ext uri="{FF2B5EF4-FFF2-40B4-BE49-F238E27FC236}">
                  <a16:creationId xmlns:a16="http://schemas.microsoft.com/office/drawing/2014/main" id="{90741936-43AE-FE41-B2A3-A528881B743E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51" name="Группа 250">
            <a:extLst>
              <a:ext uri="{FF2B5EF4-FFF2-40B4-BE49-F238E27FC236}">
                <a16:creationId xmlns:a16="http://schemas.microsoft.com/office/drawing/2014/main" id="{4445995E-0041-BAE9-350C-EE7203A6A88C}"/>
              </a:ext>
            </a:extLst>
          </p:cNvPr>
          <p:cNvGrpSpPr/>
          <p:nvPr/>
        </p:nvGrpSpPr>
        <p:grpSpPr>
          <a:xfrm rot="15523074">
            <a:off x="7471489" y="2180199"/>
            <a:ext cx="4922917" cy="4963870"/>
            <a:chOff x="6216130" y="1119383"/>
            <a:chExt cx="11272723" cy="11366496"/>
          </a:xfrm>
        </p:grpSpPr>
        <p:grpSp>
          <p:nvGrpSpPr>
            <p:cNvPr id="252" name="Группа 251">
              <a:extLst>
                <a:ext uri="{FF2B5EF4-FFF2-40B4-BE49-F238E27FC236}">
                  <a16:creationId xmlns:a16="http://schemas.microsoft.com/office/drawing/2014/main" id="{1E09B77F-02DA-2CED-3036-DC59AB07B1F2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56" name="Полилиния 255">
                <a:extLst>
                  <a:ext uri="{FF2B5EF4-FFF2-40B4-BE49-F238E27FC236}">
                    <a16:creationId xmlns:a16="http://schemas.microsoft.com/office/drawing/2014/main" id="{BF6FA457-6C41-0F29-AB5D-E51026069C11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57" name="Прямая соединительная линия 256">
                <a:extLst>
                  <a:ext uri="{FF2B5EF4-FFF2-40B4-BE49-F238E27FC236}">
                    <a16:creationId xmlns:a16="http://schemas.microsoft.com/office/drawing/2014/main" id="{45621A61-9833-EB6A-6E4B-E70178ED2271}"/>
                  </a:ext>
                </a:extLst>
              </p:cNvPr>
              <p:cNvCxnSpPr>
                <a:cxnSpLocks/>
                <a:stCxn id="256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3" name="Овал 252">
              <a:extLst>
                <a:ext uri="{FF2B5EF4-FFF2-40B4-BE49-F238E27FC236}">
                  <a16:creationId xmlns:a16="http://schemas.microsoft.com/office/drawing/2014/main" id="{D5F5EA49-C2CB-8B20-12B8-331E4E4EDCA3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54" name="Овал 253">
              <a:extLst>
                <a:ext uri="{FF2B5EF4-FFF2-40B4-BE49-F238E27FC236}">
                  <a16:creationId xmlns:a16="http://schemas.microsoft.com/office/drawing/2014/main" id="{9ACB0B25-9440-765E-DFBD-6B9187725885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55" name="Овал 254">
              <a:extLst>
                <a:ext uri="{FF2B5EF4-FFF2-40B4-BE49-F238E27FC236}">
                  <a16:creationId xmlns:a16="http://schemas.microsoft.com/office/drawing/2014/main" id="{80B18FD9-7964-2EEF-914D-42C7737BE2E8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58" name="Группа 257">
            <a:extLst>
              <a:ext uri="{FF2B5EF4-FFF2-40B4-BE49-F238E27FC236}">
                <a16:creationId xmlns:a16="http://schemas.microsoft.com/office/drawing/2014/main" id="{F1C0EE38-E913-5180-0444-9E9556BF6C27}"/>
              </a:ext>
            </a:extLst>
          </p:cNvPr>
          <p:cNvGrpSpPr/>
          <p:nvPr/>
        </p:nvGrpSpPr>
        <p:grpSpPr>
          <a:xfrm rot="4723074">
            <a:off x="7460384" y="2134550"/>
            <a:ext cx="4990911" cy="5032429"/>
            <a:chOff x="6216130" y="1119383"/>
            <a:chExt cx="11272723" cy="11366496"/>
          </a:xfrm>
        </p:grpSpPr>
        <p:grpSp>
          <p:nvGrpSpPr>
            <p:cNvPr id="259" name="Группа 258">
              <a:extLst>
                <a:ext uri="{FF2B5EF4-FFF2-40B4-BE49-F238E27FC236}">
                  <a16:creationId xmlns:a16="http://schemas.microsoft.com/office/drawing/2014/main" id="{289A1AC1-A9A4-27E6-A2E0-3001EE080BBD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63" name="Полилиния 262">
                <a:extLst>
                  <a:ext uri="{FF2B5EF4-FFF2-40B4-BE49-F238E27FC236}">
                    <a16:creationId xmlns:a16="http://schemas.microsoft.com/office/drawing/2014/main" id="{C106C984-A96D-C77B-21BF-2C50154A56D2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>
                    <a:alpha val="1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64" name="Прямая соединительная линия 263">
                <a:extLst>
                  <a:ext uri="{FF2B5EF4-FFF2-40B4-BE49-F238E27FC236}">
                    <a16:creationId xmlns:a16="http://schemas.microsoft.com/office/drawing/2014/main" id="{2A5286F2-D572-29B1-FE85-B548A7CE6FFE}"/>
                  </a:ext>
                </a:extLst>
              </p:cNvPr>
              <p:cNvCxnSpPr>
                <a:cxnSpLocks/>
                <a:stCxn id="263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>
                    <a:alpha val="12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0" name="Овал 259">
              <a:extLst>
                <a:ext uri="{FF2B5EF4-FFF2-40B4-BE49-F238E27FC236}">
                  <a16:creationId xmlns:a16="http://schemas.microsoft.com/office/drawing/2014/main" id="{1A0E0E67-FBA5-B628-8A27-53A2B985805B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61" name="Овал 260">
              <a:extLst>
                <a:ext uri="{FF2B5EF4-FFF2-40B4-BE49-F238E27FC236}">
                  <a16:creationId xmlns:a16="http://schemas.microsoft.com/office/drawing/2014/main" id="{FBB24805-8018-FF95-F38B-35E060739A1C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62" name="Овал 261">
              <a:extLst>
                <a:ext uri="{FF2B5EF4-FFF2-40B4-BE49-F238E27FC236}">
                  <a16:creationId xmlns:a16="http://schemas.microsoft.com/office/drawing/2014/main" id="{03B780D7-7DE7-DF16-8DB5-C9F180E0572A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65" name="Группа 264">
            <a:extLst>
              <a:ext uri="{FF2B5EF4-FFF2-40B4-BE49-F238E27FC236}">
                <a16:creationId xmlns:a16="http://schemas.microsoft.com/office/drawing/2014/main" id="{EDEAA46D-2A7D-B5CF-C0F1-7E043F47B153}"/>
              </a:ext>
            </a:extLst>
          </p:cNvPr>
          <p:cNvGrpSpPr/>
          <p:nvPr/>
        </p:nvGrpSpPr>
        <p:grpSpPr>
          <a:xfrm rot="15523074">
            <a:off x="8329567" y="3053339"/>
            <a:ext cx="3184553" cy="3211045"/>
            <a:chOff x="6216130" y="1119383"/>
            <a:chExt cx="11272723" cy="11366496"/>
          </a:xfrm>
        </p:grpSpPr>
        <p:grpSp>
          <p:nvGrpSpPr>
            <p:cNvPr id="266" name="Группа 265">
              <a:extLst>
                <a:ext uri="{FF2B5EF4-FFF2-40B4-BE49-F238E27FC236}">
                  <a16:creationId xmlns:a16="http://schemas.microsoft.com/office/drawing/2014/main" id="{0C9EA9FC-ECE9-0012-AE54-4CEE68AD1273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70" name="Полилиния 269">
                <a:extLst>
                  <a:ext uri="{FF2B5EF4-FFF2-40B4-BE49-F238E27FC236}">
                    <a16:creationId xmlns:a16="http://schemas.microsoft.com/office/drawing/2014/main" id="{AC7B0BFD-8FBE-5227-7701-E70963D42347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71" name="Прямая соединительная линия 270">
                <a:extLst>
                  <a:ext uri="{FF2B5EF4-FFF2-40B4-BE49-F238E27FC236}">
                    <a16:creationId xmlns:a16="http://schemas.microsoft.com/office/drawing/2014/main" id="{116F9D39-190E-D71E-9B2A-76E52565E21C}"/>
                  </a:ext>
                </a:extLst>
              </p:cNvPr>
              <p:cNvCxnSpPr>
                <a:cxnSpLocks/>
                <a:stCxn id="270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7" name="Овал 266">
              <a:extLst>
                <a:ext uri="{FF2B5EF4-FFF2-40B4-BE49-F238E27FC236}">
                  <a16:creationId xmlns:a16="http://schemas.microsoft.com/office/drawing/2014/main" id="{AA2CB144-906C-2C52-9574-8DEE063EF904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68" name="Овал 267">
              <a:extLst>
                <a:ext uri="{FF2B5EF4-FFF2-40B4-BE49-F238E27FC236}">
                  <a16:creationId xmlns:a16="http://schemas.microsoft.com/office/drawing/2014/main" id="{78A8B120-7028-955B-7862-51C9E4E94D67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69" name="Овал 268">
              <a:extLst>
                <a:ext uri="{FF2B5EF4-FFF2-40B4-BE49-F238E27FC236}">
                  <a16:creationId xmlns:a16="http://schemas.microsoft.com/office/drawing/2014/main" id="{81366E5C-B3EB-25D9-D9D4-07E3D09BE585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72" name="Группа 271">
            <a:extLst>
              <a:ext uri="{FF2B5EF4-FFF2-40B4-BE49-F238E27FC236}">
                <a16:creationId xmlns:a16="http://schemas.microsoft.com/office/drawing/2014/main" id="{C49E29E7-D4AC-4ED8-AF80-A58F9CF94B4C}"/>
              </a:ext>
            </a:extLst>
          </p:cNvPr>
          <p:cNvGrpSpPr/>
          <p:nvPr/>
        </p:nvGrpSpPr>
        <p:grpSpPr>
          <a:xfrm rot="4723074">
            <a:off x="6634591" y="1361330"/>
            <a:ext cx="6547144" cy="6601608"/>
            <a:chOff x="6216130" y="1119383"/>
            <a:chExt cx="11272723" cy="11366496"/>
          </a:xfrm>
        </p:grpSpPr>
        <p:grpSp>
          <p:nvGrpSpPr>
            <p:cNvPr id="273" name="Группа 272">
              <a:extLst>
                <a:ext uri="{FF2B5EF4-FFF2-40B4-BE49-F238E27FC236}">
                  <a16:creationId xmlns:a16="http://schemas.microsoft.com/office/drawing/2014/main" id="{71607230-9751-3A1E-06A3-D3708CBBCA23}"/>
                </a:ext>
              </a:extLst>
            </p:cNvPr>
            <p:cNvGrpSpPr/>
            <p:nvPr/>
          </p:nvGrpSpPr>
          <p:grpSpPr>
            <a:xfrm>
              <a:off x="6432154" y="1476911"/>
              <a:ext cx="10903324" cy="10763765"/>
              <a:chOff x="6741132" y="1525782"/>
              <a:chExt cx="10903324" cy="10763765"/>
            </a:xfrm>
          </p:grpSpPr>
          <p:sp>
            <p:nvSpPr>
              <p:cNvPr id="277" name="Полилиния 276">
                <a:extLst>
                  <a:ext uri="{FF2B5EF4-FFF2-40B4-BE49-F238E27FC236}">
                    <a16:creationId xmlns:a16="http://schemas.microsoft.com/office/drawing/2014/main" id="{9AB944CC-A69A-B5C3-9E96-AE233D725593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>
                    <a:alpha val="48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78" name="Прямая соединительная линия 277">
                <a:extLst>
                  <a:ext uri="{FF2B5EF4-FFF2-40B4-BE49-F238E27FC236}">
                    <a16:creationId xmlns:a16="http://schemas.microsoft.com/office/drawing/2014/main" id="{469D3E9F-8EF1-3CEC-79F4-8DA70DEFC04D}"/>
                  </a:ext>
                </a:extLst>
              </p:cNvPr>
              <p:cNvCxnSpPr>
                <a:cxnSpLocks/>
                <a:stCxn id="277" idx="1"/>
              </p:cNvCxnSpPr>
              <p:nvPr/>
            </p:nvCxnSpPr>
            <p:spPr>
              <a:xfrm flipV="1">
                <a:off x="12192794" y="1525782"/>
                <a:ext cx="0" cy="5312101"/>
              </a:xfrm>
              <a:prstGeom prst="line">
                <a:avLst/>
              </a:prstGeom>
              <a:ln>
                <a:solidFill>
                  <a:schemeClr val="bg1">
                    <a:alpha val="4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4" name="Овал 273">
              <a:extLst>
                <a:ext uri="{FF2B5EF4-FFF2-40B4-BE49-F238E27FC236}">
                  <a16:creationId xmlns:a16="http://schemas.microsoft.com/office/drawing/2014/main" id="{0868C725-03AA-48CB-21E8-31780322E89C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75" name="Овал 274">
              <a:extLst>
                <a:ext uri="{FF2B5EF4-FFF2-40B4-BE49-F238E27FC236}">
                  <a16:creationId xmlns:a16="http://schemas.microsoft.com/office/drawing/2014/main" id="{B9D94A15-FE75-AF24-E44C-1184AA67401D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76" name="Овал 275">
              <a:extLst>
                <a:ext uri="{FF2B5EF4-FFF2-40B4-BE49-F238E27FC236}">
                  <a16:creationId xmlns:a16="http://schemas.microsoft.com/office/drawing/2014/main" id="{276FC8FF-5F65-52EA-06F5-F877AB9F15DF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79" name="Группа 278">
            <a:extLst>
              <a:ext uri="{FF2B5EF4-FFF2-40B4-BE49-F238E27FC236}">
                <a16:creationId xmlns:a16="http://schemas.microsoft.com/office/drawing/2014/main" id="{0F4AD77B-B4CF-EF4C-8E7B-1B4B189FBFB3}"/>
              </a:ext>
            </a:extLst>
          </p:cNvPr>
          <p:cNvGrpSpPr/>
          <p:nvPr/>
        </p:nvGrpSpPr>
        <p:grpSpPr>
          <a:xfrm rot="15523074">
            <a:off x="7852230" y="2544916"/>
            <a:ext cx="4166964" cy="4201629"/>
            <a:chOff x="6216130" y="1119383"/>
            <a:chExt cx="11272723" cy="11366496"/>
          </a:xfrm>
        </p:grpSpPr>
        <p:grpSp>
          <p:nvGrpSpPr>
            <p:cNvPr id="280" name="Группа 279">
              <a:extLst>
                <a:ext uri="{FF2B5EF4-FFF2-40B4-BE49-F238E27FC236}">
                  <a16:creationId xmlns:a16="http://schemas.microsoft.com/office/drawing/2014/main" id="{BFCD2A34-F437-D861-3927-F96B273F2539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84" name="Полилиния 283">
                <a:extLst>
                  <a:ext uri="{FF2B5EF4-FFF2-40B4-BE49-F238E27FC236}">
                    <a16:creationId xmlns:a16="http://schemas.microsoft.com/office/drawing/2014/main" id="{E54C4F9C-4CBA-CDCD-1009-2C8DE30DCEDA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>
                    <a:alpha val="19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85" name="Прямая соединительная линия 284">
                <a:extLst>
                  <a:ext uri="{FF2B5EF4-FFF2-40B4-BE49-F238E27FC236}">
                    <a16:creationId xmlns:a16="http://schemas.microsoft.com/office/drawing/2014/main" id="{8B8A6295-A220-EB17-6591-A1D87CAEC691}"/>
                  </a:ext>
                </a:extLst>
              </p:cNvPr>
              <p:cNvCxnSpPr>
                <a:cxnSpLocks/>
                <a:stCxn id="284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>
                    <a:alpha val="19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1" name="Овал 280">
              <a:extLst>
                <a:ext uri="{FF2B5EF4-FFF2-40B4-BE49-F238E27FC236}">
                  <a16:creationId xmlns:a16="http://schemas.microsoft.com/office/drawing/2014/main" id="{700F8271-601E-5CBD-73B8-F7ED3BCEF95E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82" name="Овал 281">
              <a:extLst>
                <a:ext uri="{FF2B5EF4-FFF2-40B4-BE49-F238E27FC236}">
                  <a16:creationId xmlns:a16="http://schemas.microsoft.com/office/drawing/2014/main" id="{BF2DC768-2B2A-D38B-4B07-0C84A80AE4CA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83" name="Овал 282">
              <a:extLst>
                <a:ext uri="{FF2B5EF4-FFF2-40B4-BE49-F238E27FC236}">
                  <a16:creationId xmlns:a16="http://schemas.microsoft.com/office/drawing/2014/main" id="{86D059DE-E793-3979-24CC-B07A6BE72CD5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pic>
        <p:nvPicPr>
          <p:cNvPr id="294" name="Рисунок 293">
            <a:extLst>
              <a:ext uri="{FF2B5EF4-FFF2-40B4-BE49-F238E27FC236}">
                <a16:creationId xmlns:a16="http://schemas.microsoft.com/office/drawing/2014/main" id="{9C1AC973-DFA8-47A8-6D77-AECC37EB75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47147">
            <a:off x="8094150" y="9708143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295" name="Рисунок 294">
            <a:extLst>
              <a:ext uri="{FF2B5EF4-FFF2-40B4-BE49-F238E27FC236}">
                <a16:creationId xmlns:a16="http://schemas.microsoft.com/office/drawing/2014/main" id="{CED0915A-DF70-90D4-AFD7-7C76D686FE4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20147147">
            <a:off x="9522900" y="13020424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296" name="Рисунок 295">
            <a:extLst>
              <a:ext uri="{FF2B5EF4-FFF2-40B4-BE49-F238E27FC236}">
                <a16:creationId xmlns:a16="http://schemas.microsoft.com/office/drawing/2014/main" id="{C00716C9-1BBF-47B5-09B3-994D303A118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 rot="20147147">
            <a:off x="2001790" y="-11236508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297" name="Рисунок 296">
            <a:extLst>
              <a:ext uri="{FF2B5EF4-FFF2-40B4-BE49-F238E27FC236}">
                <a16:creationId xmlns:a16="http://schemas.microsoft.com/office/drawing/2014/main" id="{84331DB5-F7F5-96DE-5427-B32BB6D3E17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 rot="20147147">
            <a:off x="3498757" y="-8009075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298" name="Рисунок 297">
            <a:extLst>
              <a:ext uri="{FF2B5EF4-FFF2-40B4-BE49-F238E27FC236}">
                <a16:creationId xmlns:a16="http://schemas.microsoft.com/office/drawing/2014/main" id="{2F872DB8-5B4E-663A-9C2F-8B850F3B63A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 rot="20147147">
            <a:off x="5092500" y="-4753026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299" name="Рисунок 298">
            <a:extLst>
              <a:ext uri="{FF2B5EF4-FFF2-40B4-BE49-F238E27FC236}">
                <a16:creationId xmlns:a16="http://schemas.microsoft.com/office/drawing/2014/main" id="{F372E299-5324-B121-2AC4-10CF45C19A5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 rot="20147147">
            <a:off x="14280015" y="7867950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300" name="Рисунок 299">
            <a:extLst>
              <a:ext uri="{FF2B5EF4-FFF2-40B4-BE49-F238E27FC236}">
                <a16:creationId xmlns:a16="http://schemas.microsoft.com/office/drawing/2014/main" id="{4E1F8623-51F1-B549-D602-D71B38023F6F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 rot="20147147">
            <a:off x="15873758" y="11123999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40261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2.22222E-6 L 0.06576 -2.22222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100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3000" fill="hold"/>
                                        <p:tgtEl>
                                          <p:spTgt spid="174"/>
                                        </p:tgtEl>
                                      </p:cBhvr>
                                      <p:by x="300000" y="30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50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000" fill="hold"/>
                                        <p:tgtEl>
                                          <p:spTgt spid="18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8000" fill="hold"/>
                                        <p:tgtEl>
                                          <p:spTgt spid="18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4000" fill="hold"/>
                                        <p:tgtEl>
                                          <p:spTgt spid="188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0" dur="12000" fill="hold"/>
                                        <p:tgtEl>
                                          <p:spTgt spid="19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2500" fill="hold"/>
                                        <p:tgtEl>
                                          <p:spTgt spid="19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4" dur="10000" fill="hold"/>
                                        <p:tgtEl>
                                          <p:spTgt spid="2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6" dur="3000" fill="hold"/>
                                        <p:tgtEl>
                                          <p:spTgt spid="202"/>
                                        </p:tgtEl>
                                      </p:cBhvr>
                                      <p:by x="300000" y="300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8" dur="5000" fill="hold"/>
                                        <p:tgtEl>
                                          <p:spTgt spid="20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209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32" dur="8000" fill="hold"/>
                                        <p:tgtEl>
                                          <p:spTgt spid="2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3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4" dur="4000" fill="hold"/>
                                        <p:tgtEl>
                                          <p:spTgt spid="216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36" dur="12000" fill="hold"/>
                                        <p:tgtEl>
                                          <p:spTgt spid="2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7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8" dur="2500" fill="hold"/>
                                        <p:tgtEl>
                                          <p:spTgt spid="2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0" dur="10000" fill="hold"/>
                                        <p:tgtEl>
                                          <p:spTgt spid="2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1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2" dur="3000" fill="hold"/>
                                        <p:tgtEl>
                                          <p:spTgt spid="230"/>
                                        </p:tgtEl>
                                      </p:cBhvr>
                                      <p:by x="300000" y="300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4" dur="50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5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6" dur="2000" fill="hold"/>
                                        <p:tgtEl>
                                          <p:spTgt spid="23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8" dur="8000" fill="hold"/>
                                        <p:tgtEl>
                                          <p:spTgt spid="24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9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0" dur="4000" fill="hold"/>
                                        <p:tgtEl>
                                          <p:spTgt spid="244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5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2" dur="1200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3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4" dur="2500" fill="hold"/>
                                        <p:tgtEl>
                                          <p:spTgt spid="25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56" dur="1000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7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8" dur="3000" fill="hold"/>
                                        <p:tgtEl>
                                          <p:spTgt spid="258"/>
                                        </p:tgtEl>
                                      </p:cBhvr>
                                      <p:by x="300000" y="300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0" dur="500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1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2" dur="2000" fill="hold"/>
                                        <p:tgtEl>
                                          <p:spTgt spid="265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63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4" dur="8000" fill="hold"/>
                                        <p:tgtEl>
                                          <p:spTgt spid="27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5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6" dur="4000" fill="hold"/>
                                        <p:tgtEl>
                                          <p:spTgt spid="272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6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8" dur="12000" fill="hold"/>
                                        <p:tgtEl>
                                          <p:spTgt spid="27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9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0" dur="2500" fill="hold"/>
                                        <p:tgtEl>
                                          <p:spTgt spid="27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54000">
              <a:srgbClr val="18A0D0">
                <a:alpha val="0"/>
              </a:srgbClr>
            </a:gs>
            <a:gs pos="99000">
              <a:srgbClr val="18A0D0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53B8E41-42E0-7E42-881A-F133F990B9FF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gradFill>
            <a:gsLst>
              <a:gs pos="2000">
                <a:srgbClr val="A16DFE"/>
              </a:gs>
              <a:gs pos="38000">
                <a:srgbClr val="620CFD"/>
              </a:gs>
            </a:gsLst>
            <a:path path="circle">
              <a:fillToRect l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8DFA698-38E6-03BB-332C-E1CF55AA2EA3}"/>
              </a:ext>
            </a:extLst>
          </p:cNvPr>
          <p:cNvGrpSpPr/>
          <p:nvPr/>
        </p:nvGrpSpPr>
        <p:grpSpPr>
          <a:xfrm>
            <a:off x="623888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5A60490B-4325-0161-B20C-B88B12AE90BB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2F391B36-BE1D-E8D4-256B-A74A3155DB3E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" name="Рисунок 3">
            <a:extLst>
              <a:ext uri="{FF2B5EF4-FFF2-40B4-BE49-F238E27FC236}">
                <a16:creationId xmlns:a16="http://schemas.microsoft.com/office/drawing/2014/main" id="{3161A2EE-E4FE-9EFF-E54E-BBFE2738AE74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11" name="Полилиния 10">
              <a:extLst>
                <a:ext uri="{FF2B5EF4-FFF2-40B4-BE49-F238E27FC236}">
                  <a16:creationId xmlns:a16="http://schemas.microsoft.com/office/drawing/2014/main" id="{D5317DD2-416D-CAF5-6A74-2DC83FBED045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id="{D86E0946-D873-603A-EEED-A8AC44B862A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C10C4818-7638-E966-E7FD-3627A9462C5C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id="{1C82B3CC-C076-0AB5-1827-686EDE07B7CC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FE017B9F-C139-C5E7-684F-4B6A955E91A7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 16">
              <a:extLst>
                <a:ext uri="{FF2B5EF4-FFF2-40B4-BE49-F238E27FC236}">
                  <a16:creationId xmlns:a16="http://schemas.microsoft.com/office/drawing/2014/main" id="{A7EBA4C5-3227-2992-F35A-0F5D61BB83D1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ABED481D-93F3-36B8-D3F6-560BB8145AE9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 19">
              <a:extLst>
                <a:ext uri="{FF2B5EF4-FFF2-40B4-BE49-F238E27FC236}">
                  <a16:creationId xmlns:a16="http://schemas.microsoft.com/office/drawing/2014/main" id="{0BF81DE4-B694-E375-7460-B52134B4D520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 24">
              <a:extLst>
                <a:ext uri="{FF2B5EF4-FFF2-40B4-BE49-F238E27FC236}">
                  <a16:creationId xmlns:a16="http://schemas.microsoft.com/office/drawing/2014/main" id="{33A67B84-0B90-C9A1-984E-BE9F7500EEE3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7A3CB6ED-34ED-940C-E167-41AE91068E0E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AECC1CE8-C9B0-EF33-CBFC-069B3953E2F2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7" name="Овал 56">
            <a:extLst>
              <a:ext uri="{FF2B5EF4-FFF2-40B4-BE49-F238E27FC236}">
                <a16:creationId xmlns:a16="http://schemas.microsoft.com/office/drawing/2014/main" id="{291D6ABD-FB36-2F9A-CE89-4FE61BA38470}"/>
              </a:ext>
            </a:extLst>
          </p:cNvPr>
          <p:cNvSpPr/>
          <p:nvPr/>
        </p:nvSpPr>
        <p:spPr>
          <a:xfrm>
            <a:off x="9320664" y="13625274"/>
            <a:ext cx="343933" cy="343933"/>
          </a:xfrm>
          <a:prstGeom prst="ellipse">
            <a:avLst/>
          </a:prstGeom>
          <a:solidFill>
            <a:srgbClr val="C0D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7706585C-5D0A-8A38-630E-243E838BCD48}"/>
              </a:ext>
            </a:extLst>
          </p:cNvPr>
          <p:cNvCxnSpPr/>
          <p:nvPr/>
        </p:nvCxnSpPr>
        <p:spPr>
          <a:xfrm>
            <a:off x="9492630" y="13969207"/>
            <a:ext cx="1" cy="618004"/>
          </a:xfrm>
          <a:prstGeom prst="line">
            <a:avLst/>
          </a:prstGeom>
          <a:ln w="19050">
            <a:solidFill>
              <a:srgbClr val="C0DC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0F57553F-6BE4-F765-7126-42D1DE33F4FB}"/>
              </a:ext>
            </a:extLst>
          </p:cNvPr>
          <p:cNvGrpSpPr/>
          <p:nvPr/>
        </p:nvGrpSpPr>
        <p:grpSpPr>
          <a:xfrm rot="7873022">
            <a:off x="7876262" y="2611866"/>
            <a:ext cx="2034105" cy="2051025"/>
            <a:chOff x="6216130" y="1119383"/>
            <a:chExt cx="11272723" cy="11366496"/>
          </a:xfrm>
        </p:grpSpPr>
        <p:grpSp>
          <p:nvGrpSpPr>
            <p:cNvPr id="3" name="Группа 2">
              <a:extLst>
                <a:ext uri="{FF2B5EF4-FFF2-40B4-BE49-F238E27FC236}">
                  <a16:creationId xmlns:a16="http://schemas.microsoft.com/office/drawing/2014/main" id="{308CFD7B-8CDD-21C7-58AA-F620A074E064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7" name="Полилиния 6">
                <a:extLst>
                  <a:ext uri="{FF2B5EF4-FFF2-40B4-BE49-F238E27FC236}">
                    <a16:creationId xmlns:a16="http://schemas.microsoft.com/office/drawing/2014/main" id="{7CD4051A-33D4-3BF1-33F7-7EFF6F688B3A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15" name="Прямая соединительная линия 14">
                <a:extLst>
                  <a:ext uri="{FF2B5EF4-FFF2-40B4-BE49-F238E27FC236}">
                    <a16:creationId xmlns:a16="http://schemas.microsoft.com/office/drawing/2014/main" id="{F9A9FAEC-2D64-0288-D943-C5FDFA32695A}"/>
                  </a:ext>
                </a:extLst>
              </p:cNvPr>
              <p:cNvCxnSpPr>
                <a:cxnSpLocks/>
                <a:stCxn id="7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" name="Овал 3">
              <a:extLst>
                <a:ext uri="{FF2B5EF4-FFF2-40B4-BE49-F238E27FC236}">
                  <a16:creationId xmlns:a16="http://schemas.microsoft.com/office/drawing/2014/main" id="{5C8923DA-325E-D9F5-B09E-748CF1CE74D7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5" name="Овал 4">
              <a:extLst>
                <a:ext uri="{FF2B5EF4-FFF2-40B4-BE49-F238E27FC236}">
                  <a16:creationId xmlns:a16="http://schemas.microsoft.com/office/drawing/2014/main" id="{41366A0F-F398-3919-ECCE-A5A9CCA61C3A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6" name="Овал 5">
              <a:extLst>
                <a:ext uri="{FF2B5EF4-FFF2-40B4-BE49-F238E27FC236}">
                  <a16:creationId xmlns:a16="http://schemas.microsoft.com/office/drawing/2014/main" id="{991A1558-8DFA-15C6-D160-6988A0EA702F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DCCE5732-A9F0-53C3-5DE2-03F164A05119}"/>
              </a:ext>
            </a:extLst>
          </p:cNvPr>
          <p:cNvGrpSpPr/>
          <p:nvPr/>
        </p:nvGrpSpPr>
        <p:grpSpPr>
          <a:xfrm rot="18673022">
            <a:off x="8128575" y="2866276"/>
            <a:ext cx="1529481" cy="1542205"/>
            <a:chOff x="6216130" y="1119383"/>
            <a:chExt cx="11272723" cy="11366496"/>
          </a:xfrm>
        </p:grpSpPr>
        <p:grpSp>
          <p:nvGrpSpPr>
            <p:cNvPr id="22" name="Группа 21">
              <a:extLst>
                <a:ext uri="{FF2B5EF4-FFF2-40B4-BE49-F238E27FC236}">
                  <a16:creationId xmlns:a16="http://schemas.microsoft.com/office/drawing/2014/main" id="{A6D7107A-1AF2-5627-3759-E758B50B1FEC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7" name="Полилиния 26">
                <a:extLst>
                  <a:ext uri="{FF2B5EF4-FFF2-40B4-BE49-F238E27FC236}">
                    <a16:creationId xmlns:a16="http://schemas.microsoft.com/office/drawing/2014/main" id="{824F5E46-2391-E99A-DD2A-D1013C84215C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8" name="Прямая соединительная линия 27">
                <a:extLst>
                  <a:ext uri="{FF2B5EF4-FFF2-40B4-BE49-F238E27FC236}">
                    <a16:creationId xmlns:a16="http://schemas.microsoft.com/office/drawing/2014/main" id="{5EE21046-6E0B-5EEA-3B74-71EB2D20FE98}"/>
                  </a:ext>
                </a:extLst>
              </p:cNvPr>
              <p:cNvCxnSpPr>
                <a:cxnSpLocks/>
                <a:stCxn id="27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7F0837E3-63CC-A12D-EC7D-ADF39B2FEC6F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0B3390CB-5CA3-7FBB-CDEA-55D67C881194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6" name="Овал 25">
              <a:extLst>
                <a:ext uri="{FF2B5EF4-FFF2-40B4-BE49-F238E27FC236}">
                  <a16:creationId xmlns:a16="http://schemas.microsoft.com/office/drawing/2014/main" id="{B839E168-204A-B04D-8769-618E930C6B22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38D65FE2-3886-C911-4EA5-47420BF868FB}"/>
              </a:ext>
            </a:extLst>
          </p:cNvPr>
          <p:cNvGrpSpPr/>
          <p:nvPr/>
        </p:nvGrpSpPr>
        <p:grpSpPr>
          <a:xfrm rot="7873022">
            <a:off x="7717243" y="2451524"/>
            <a:ext cx="2352143" cy="2371709"/>
            <a:chOff x="6216130" y="1119383"/>
            <a:chExt cx="11272723" cy="11366496"/>
          </a:xfrm>
        </p:grpSpPr>
        <p:grpSp>
          <p:nvGrpSpPr>
            <p:cNvPr id="30" name="Группа 29">
              <a:extLst>
                <a:ext uri="{FF2B5EF4-FFF2-40B4-BE49-F238E27FC236}">
                  <a16:creationId xmlns:a16="http://schemas.microsoft.com/office/drawing/2014/main" id="{5444833D-08AD-4C89-412E-E0C7C9A216FF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36" name="Полилиния 35">
                <a:extLst>
                  <a:ext uri="{FF2B5EF4-FFF2-40B4-BE49-F238E27FC236}">
                    <a16:creationId xmlns:a16="http://schemas.microsoft.com/office/drawing/2014/main" id="{E8D49586-9C01-1AC5-4759-7A6BA0D450B7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37" name="Прямая соединительная линия 36">
                <a:extLst>
                  <a:ext uri="{FF2B5EF4-FFF2-40B4-BE49-F238E27FC236}">
                    <a16:creationId xmlns:a16="http://schemas.microsoft.com/office/drawing/2014/main" id="{315ECB01-65B5-198E-E79C-B7BB3B5C4BFF}"/>
                  </a:ext>
                </a:extLst>
              </p:cNvPr>
              <p:cNvCxnSpPr>
                <a:cxnSpLocks/>
                <a:stCxn id="36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25F80C0F-3BB2-DDE4-CEDE-BAB97F5A84E6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id="{B0DBFC76-D734-9239-B48B-1AD3D0172572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90A3FA40-BFE8-1140-03AC-E2A8F08CE0BA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504021AD-B621-A468-8EFD-E00FC96E7102}"/>
              </a:ext>
            </a:extLst>
          </p:cNvPr>
          <p:cNvGrpSpPr/>
          <p:nvPr/>
        </p:nvGrpSpPr>
        <p:grpSpPr>
          <a:xfrm rot="18673022">
            <a:off x="7503885" y="2236392"/>
            <a:ext cx="2778858" cy="2801975"/>
            <a:chOff x="6216130" y="1119383"/>
            <a:chExt cx="11272723" cy="11366496"/>
          </a:xfrm>
        </p:grpSpPr>
        <p:grpSp>
          <p:nvGrpSpPr>
            <p:cNvPr id="41" name="Группа 40">
              <a:extLst>
                <a:ext uri="{FF2B5EF4-FFF2-40B4-BE49-F238E27FC236}">
                  <a16:creationId xmlns:a16="http://schemas.microsoft.com/office/drawing/2014/main" id="{A4F1FAC4-C038-C6D7-C275-FCB7B59F935B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59" name="Полилиния 58">
                <a:extLst>
                  <a:ext uri="{FF2B5EF4-FFF2-40B4-BE49-F238E27FC236}">
                    <a16:creationId xmlns:a16="http://schemas.microsoft.com/office/drawing/2014/main" id="{8F4E4492-CC9F-E117-C963-B86A681BF479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60" name="Прямая соединительная линия 59">
                <a:extLst>
                  <a:ext uri="{FF2B5EF4-FFF2-40B4-BE49-F238E27FC236}">
                    <a16:creationId xmlns:a16="http://schemas.microsoft.com/office/drawing/2014/main" id="{236501F0-7C24-E718-E109-5D6696B97E7C}"/>
                  </a:ext>
                </a:extLst>
              </p:cNvPr>
              <p:cNvCxnSpPr>
                <a:cxnSpLocks/>
                <a:stCxn id="59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id="{4A5961AE-4333-E8E8-F7FF-659B0118F912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55" name="Овал 54">
              <a:extLst>
                <a:ext uri="{FF2B5EF4-FFF2-40B4-BE49-F238E27FC236}">
                  <a16:creationId xmlns:a16="http://schemas.microsoft.com/office/drawing/2014/main" id="{2E9475B1-8495-4120-AD1F-9F1C1F93DB07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56" name="Овал 55">
              <a:extLst>
                <a:ext uri="{FF2B5EF4-FFF2-40B4-BE49-F238E27FC236}">
                  <a16:creationId xmlns:a16="http://schemas.microsoft.com/office/drawing/2014/main" id="{FE2B18E7-D6FE-2918-0904-2111A123BC5D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17404FE5-DCFC-D66F-AC51-33341E573556}"/>
              </a:ext>
            </a:extLst>
          </p:cNvPr>
          <p:cNvGrpSpPr/>
          <p:nvPr/>
        </p:nvGrpSpPr>
        <p:grpSpPr>
          <a:xfrm rot="7873022">
            <a:off x="7484695" y="2217041"/>
            <a:ext cx="2817239" cy="2840675"/>
            <a:chOff x="6216130" y="1119383"/>
            <a:chExt cx="11272723" cy="11366496"/>
          </a:xfrm>
        </p:grpSpPr>
        <p:grpSp>
          <p:nvGrpSpPr>
            <p:cNvPr id="62" name="Группа 61">
              <a:extLst>
                <a:ext uri="{FF2B5EF4-FFF2-40B4-BE49-F238E27FC236}">
                  <a16:creationId xmlns:a16="http://schemas.microsoft.com/office/drawing/2014/main" id="{579FB545-B400-65CB-7E39-5AE81F662ED8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66" name="Полилиния 65">
                <a:extLst>
                  <a:ext uri="{FF2B5EF4-FFF2-40B4-BE49-F238E27FC236}">
                    <a16:creationId xmlns:a16="http://schemas.microsoft.com/office/drawing/2014/main" id="{0D8960A5-B57F-5579-8220-3670F9802427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67" name="Прямая соединительная линия 66">
                <a:extLst>
                  <a:ext uri="{FF2B5EF4-FFF2-40B4-BE49-F238E27FC236}">
                    <a16:creationId xmlns:a16="http://schemas.microsoft.com/office/drawing/2014/main" id="{6CE934D1-F182-7604-AA15-85DE9A1974DC}"/>
                  </a:ext>
                </a:extLst>
              </p:cNvPr>
              <p:cNvCxnSpPr>
                <a:cxnSpLocks/>
                <a:stCxn id="66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" name="Овал 62">
              <a:extLst>
                <a:ext uri="{FF2B5EF4-FFF2-40B4-BE49-F238E27FC236}">
                  <a16:creationId xmlns:a16="http://schemas.microsoft.com/office/drawing/2014/main" id="{F1EBDB14-23B1-56D7-DF74-E7AD898AAB33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64" name="Овал 63">
              <a:extLst>
                <a:ext uri="{FF2B5EF4-FFF2-40B4-BE49-F238E27FC236}">
                  <a16:creationId xmlns:a16="http://schemas.microsoft.com/office/drawing/2014/main" id="{747B8BBB-2E90-A1A1-692D-430C18F6361F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65" name="Овал 64">
              <a:extLst>
                <a:ext uri="{FF2B5EF4-FFF2-40B4-BE49-F238E27FC236}">
                  <a16:creationId xmlns:a16="http://schemas.microsoft.com/office/drawing/2014/main" id="{75E2E57B-B270-0C39-B7B3-04233336BEA9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1499D05E-5E58-7400-05D4-51604B8A1E11}"/>
              </a:ext>
            </a:extLst>
          </p:cNvPr>
          <p:cNvGrpSpPr/>
          <p:nvPr/>
        </p:nvGrpSpPr>
        <p:grpSpPr>
          <a:xfrm rot="18673022">
            <a:off x="7994516" y="2731103"/>
            <a:ext cx="1797597" cy="1812550"/>
            <a:chOff x="6216130" y="1119383"/>
            <a:chExt cx="11272723" cy="11366496"/>
          </a:xfrm>
        </p:grpSpPr>
        <p:grpSp>
          <p:nvGrpSpPr>
            <p:cNvPr id="69" name="Группа 68">
              <a:extLst>
                <a:ext uri="{FF2B5EF4-FFF2-40B4-BE49-F238E27FC236}">
                  <a16:creationId xmlns:a16="http://schemas.microsoft.com/office/drawing/2014/main" id="{9E728F09-90D1-D51E-11DA-CDDEDD31AA05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74" name="Полилиния 73">
                <a:extLst>
                  <a:ext uri="{FF2B5EF4-FFF2-40B4-BE49-F238E27FC236}">
                    <a16:creationId xmlns:a16="http://schemas.microsoft.com/office/drawing/2014/main" id="{6C2DE3A3-A030-751B-0ECD-520F962679F7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75" name="Прямая соединительная линия 74">
                <a:extLst>
                  <a:ext uri="{FF2B5EF4-FFF2-40B4-BE49-F238E27FC236}">
                    <a16:creationId xmlns:a16="http://schemas.microsoft.com/office/drawing/2014/main" id="{5BAEA505-A647-AC40-F5D3-94680F1AB68A}"/>
                  </a:ext>
                </a:extLst>
              </p:cNvPr>
              <p:cNvCxnSpPr>
                <a:cxnSpLocks/>
                <a:stCxn id="74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1" name="Овал 70">
              <a:extLst>
                <a:ext uri="{FF2B5EF4-FFF2-40B4-BE49-F238E27FC236}">
                  <a16:creationId xmlns:a16="http://schemas.microsoft.com/office/drawing/2014/main" id="{1F4C93B5-2E05-0F63-A951-D315E97F25BD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72" name="Овал 71">
              <a:extLst>
                <a:ext uri="{FF2B5EF4-FFF2-40B4-BE49-F238E27FC236}">
                  <a16:creationId xmlns:a16="http://schemas.microsoft.com/office/drawing/2014/main" id="{84214F19-8E86-7506-54CB-1B43F24056B1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51458F12-8E1F-21DC-8AEC-1314D0210B54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76" name="Группа 75">
            <a:extLst>
              <a:ext uri="{FF2B5EF4-FFF2-40B4-BE49-F238E27FC236}">
                <a16:creationId xmlns:a16="http://schemas.microsoft.com/office/drawing/2014/main" id="{ACC3E33B-9329-3272-BB41-A7622BDE3230}"/>
              </a:ext>
            </a:extLst>
          </p:cNvPr>
          <p:cNvGrpSpPr/>
          <p:nvPr/>
        </p:nvGrpSpPr>
        <p:grpSpPr>
          <a:xfrm rot="7873022">
            <a:off x="7045468" y="1774161"/>
            <a:ext cx="3695692" cy="3726435"/>
            <a:chOff x="6216130" y="1119383"/>
            <a:chExt cx="11272723" cy="11366496"/>
          </a:xfrm>
        </p:grpSpPr>
        <p:grpSp>
          <p:nvGrpSpPr>
            <p:cNvPr id="77" name="Группа 76">
              <a:extLst>
                <a:ext uri="{FF2B5EF4-FFF2-40B4-BE49-F238E27FC236}">
                  <a16:creationId xmlns:a16="http://schemas.microsoft.com/office/drawing/2014/main" id="{C73AEA37-26E7-C0D3-BFCF-96FDA1E80C9B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81" name="Полилиния 80">
                <a:extLst>
                  <a:ext uri="{FF2B5EF4-FFF2-40B4-BE49-F238E27FC236}">
                    <a16:creationId xmlns:a16="http://schemas.microsoft.com/office/drawing/2014/main" id="{FB030253-398A-B168-F6BB-A23798AC2193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82" name="Прямая соединительная линия 81">
                <a:extLst>
                  <a:ext uri="{FF2B5EF4-FFF2-40B4-BE49-F238E27FC236}">
                    <a16:creationId xmlns:a16="http://schemas.microsoft.com/office/drawing/2014/main" id="{8671C87C-7D40-11E9-E847-2D63042D1FCE}"/>
                  </a:ext>
                </a:extLst>
              </p:cNvPr>
              <p:cNvCxnSpPr>
                <a:cxnSpLocks/>
                <a:stCxn id="81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8" name="Овал 77">
              <a:extLst>
                <a:ext uri="{FF2B5EF4-FFF2-40B4-BE49-F238E27FC236}">
                  <a16:creationId xmlns:a16="http://schemas.microsoft.com/office/drawing/2014/main" id="{C5D46A38-6131-D806-F3F0-6A13CC4668B7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79" name="Овал 78">
              <a:extLst>
                <a:ext uri="{FF2B5EF4-FFF2-40B4-BE49-F238E27FC236}">
                  <a16:creationId xmlns:a16="http://schemas.microsoft.com/office/drawing/2014/main" id="{2C6AF3F8-A05B-085E-5F92-0BE263AC42D0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80" name="Овал 79">
              <a:extLst>
                <a:ext uri="{FF2B5EF4-FFF2-40B4-BE49-F238E27FC236}">
                  <a16:creationId xmlns:a16="http://schemas.microsoft.com/office/drawing/2014/main" id="{00DC1746-20FE-754E-5F1B-91DF9D456CE8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0C9F2243-642C-2416-8327-270F6B4181A4}"/>
              </a:ext>
            </a:extLst>
          </p:cNvPr>
          <p:cNvGrpSpPr/>
          <p:nvPr/>
        </p:nvGrpSpPr>
        <p:grpSpPr>
          <a:xfrm rot="18673022">
            <a:off x="7717243" y="2451523"/>
            <a:ext cx="2352143" cy="2371710"/>
            <a:chOff x="6216130" y="1119383"/>
            <a:chExt cx="11272723" cy="11366496"/>
          </a:xfrm>
        </p:grpSpPr>
        <p:grpSp>
          <p:nvGrpSpPr>
            <p:cNvPr id="84" name="Группа 83">
              <a:extLst>
                <a:ext uri="{FF2B5EF4-FFF2-40B4-BE49-F238E27FC236}">
                  <a16:creationId xmlns:a16="http://schemas.microsoft.com/office/drawing/2014/main" id="{786B2250-C349-84DD-709D-D2623DFEFF68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88" name="Полилиния 87">
                <a:extLst>
                  <a:ext uri="{FF2B5EF4-FFF2-40B4-BE49-F238E27FC236}">
                    <a16:creationId xmlns:a16="http://schemas.microsoft.com/office/drawing/2014/main" id="{3E53A0C3-49E5-A06A-DA22-8B5572E64BED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89" name="Прямая соединительная линия 88">
                <a:extLst>
                  <a:ext uri="{FF2B5EF4-FFF2-40B4-BE49-F238E27FC236}">
                    <a16:creationId xmlns:a16="http://schemas.microsoft.com/office/drawing/2014/main" id="{B135E9F6-332D-70B9-FBAC-C5B6C1944849}"/>
                  </a:ext>
                </a:extLst>
              </p:cNvPr>
              <p:cNvCxnSpPr>
                <a:cxnSpLocks/>
                <a:stCxn id="88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5" name="Овал 84">
              <a:extLst>
                <a:ext uri="{FF2B5EF4-FFF2-40B4-BE49-F238E27FC236}">
                  <a16:creationId xmlns:a16="http://schemas.microsoft.com/office/drawing/2014/main" id="{9342FF76-388A-E047-F313-214A4D64FB5C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86" name="Овал 85">
              <a:extLst>
                <a:ext uri="{FF2B5EF4-FFF2-40B4-BE49-F238E27FC236}">
                  <a16:creationId xmlns:a16="http://schemas.microsoft.com/office/drawing/2014/main" id="{E30CF41E-4BDC-1178-20AF-EDC3E5BD6E7D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87" name="Овал 86">
              <a:extLst>
                <a:ext uri="{FF2B5EF4-FFF2-40B4-BE49-F238E27FC236}">
                  <a16:creationId xmlns:a16="http://schemas.microsoft.com/office/drawing/2014/main" id="{F9AE5C2D-EF71-CD75-DD93-1ADCD991A18F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90" name="Группа 89">
            <a:extLst>
              <a:ext uri="{FF2B5EF4-FFF2-40B4-BE49-F238E27FC236}">
                <a16:creationId xmlns:a16="http://schemas.microsoft.com/office/drawing/2014/main" id="{147AF23A-A218-C557-5E0B-31F7B43930A6}"/>
              </a:ext>
            </a:extLst>
          </p:cNvPr>
          <p:cNvGrpSpPr/>
          <p:nvPr/>
        </p:nvGrpSpPr>
        <p:grpSpPr>
          <a:xfrm rot="12596096">
            <a:off x="7862581" y="2607513"/>
            <a:ext cx="2034105" cy="2051025"/>
            <a:chOff x="6216130" y="1119383"/>
            <a:chExt cx="11272723" cy="11366496"/>
          </a:xfrm>
        </p:grpSpPr>
        <p:grpSp>
          <p:nvGrpSpPr>
            <p:cNvPr id="91" name="Группа 90">
              <a:extLst>
                <a:ext uri="{FF2B5EF4-FFF2-40B4-BE49-F238E27FC236}">
                  <a16:creationId xmlns:a16="http://schemas.microsoft.com/office/drawing/2014/main" id="{4A31EA42-5F6B-0CBC-CAA7-E99FCF410881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95" name="Полилиния 94">
                <a:extLst>
                  <a:ext uri="{FF2B5EF4-FFF2-40B4-BE49-F238E27FC236}">
                    <a16:creationId xmlns:a16="http://schemas.microsoft.com/office/drawing/2014/main" id="{0408344D-980E-A0AB-3CD8-4ABC65FD278C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96" name="Прямая соединительная линия 95">
                <a:extLst>
                  <a:ext uri="{FF2B5EF4-FFF2-40B4-BE49-F238E27FC236}">
                    <a16:creationId xmlns:a16="http://schemas.microsoft.com/office/drawing/2014/main" id="{DF396688-CE27-B4D1-BC1F-4925657580A2}"/>
                  </a:ext>
                </a:extLst>
              </p:cNvPr>
              <p:cNvCxnSpPr>
                <a:cxnSpLocks/>
                <a:stCxn id="95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2" name="Овал 91">
              <a:extLst>
                <a:ext uri="{FF2B5EF4-FFF2-40B4-BE49-F238E27FC236}">
                  <a16:creationId xmlns:a16="http://schemas.microsoft.com/office/drawing/2014/main" id="{5DC6149E-5FB8-AE52-8B9C-6DD52BB383C1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93" name="Овал 92">
              <a:extLst>
                <a:ext uri="{FF2B5EF4-FFF2-40B4-BE49-F238E27FC236}">
                  <a16:creationId xmlns:a16="http://schemas.microsoft.com/office/drawing/2014/main" id="{2E99B32E-7FCE-93D8-59D6-27EA64E33426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94" name="Овал 93">
              <a:extLst>
                <a:ext uri="{FF2B5EF4-FFF2-40B4-BE49-F238E27FC236}">
                  <a16:creationId xmlns:a16="http://schemas.microsoft.com/office/drawing/2014/main" id="{D3A30117-BECF-7084-51A5-C359A07D739B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id="{C890F621-A77D-CA83-9E8F-E5B94969C7DF}"/>
              </a:ext>
            </a:extLst>
          </p:cNvPr>
          <p:cNvGrpSpPr/>
          <p:nvPr/>
        </p:nvGrpSpPr>
        <p:grpSpPr>
          <a:xfrm rot="1796096">
            <a:off x="8114894" y="2861923"/>
            <a:ext cx="1529481" cy="1542205"/>
            <a:chOff x="6216130" y="1119383"/>
            <a:chExt cx="11272723" cy="11366496"/>
          </a:xfrm>
        </p:grpSpPr>
        <p:grpSp>
          <p:nvGrpSpPr>
            <p:cNvPr id="98" name="Группа 97">
              <a:extLst>
                <a:ext uri="{FF2B5EF4-FFF2-40B4-BE49-F238E27FC236}">
                  <a16:creationId xmlns:a16="http://schemas.microsoft.com/office/drawing/2014/main" id="{C2E969F0-923C-76BF-B465-C04A6BEFAE7E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102" name="Полилиния 101">
                <a:extLst>
                  <a:ext uri="{FF2B5EF4-FFF2-40B4-BE49-F238E27FC236}">
                    <a16:creationId xmlns:a16="http://schemas.microsoft.com/office/drawing/2014/main" id="{6322BC53-A965-55E0-8BBC-4800756E22CC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103" name="Прямая соединительная линия 102">
                <a:extLst>
                  <a:ext uri="{FF2B5EF4-FFF2-40B4-BE49-F238E27FC236}">
                    <a16:creationId xmlns:a16="http://schemas.microsoft.com/office/drawing/2014/main" id="{8B6C2E83-FC7F-E80E-16AE-8B5D93B7993D}"/>
                  </a:ext>
                </a:extLst>
              </p:cNvPr>
              <p:cNvCxnSpPr>
                <a:cxnSpLocks/>
                <a:stCxn id="102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9" name="Овал 98">
              <a:extLst>
                <a:ext uri="{FF2B5EF4-FFF2-40B4-BE49-F238E27FC236}">
                  <a16:creationId xmlns:a16="http://schemas.microsoft.com/office/drawing/2014/main" id="{5744EDB6-133E-672E-DBB1-AC4872FEFC9D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00" name="Овал 99">
              <a:extLst>
                <a:ext uri="{FF2B5EF4-FFF2-40B4-BE49-F238E27FC236}">
                  <a16:creationId xmlns:a16="http://schemas.microsoft.com/office/drawing/2014/main" id="{3381754C-2731-36F9-53A4-FE3616D34262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01" name="Овал 100">
              <a:extLst>
                <a:ext uri="{FF2B5EF4-FFF2-40B4-BE49-F238E27FC236}">
                  <a16:creationId xmlns:a16="http://schemas.microsoft.com/office/drawing/2014/main" id="{D09F9FA1-AA8F-8F7E-A451-A01429622B48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104" name="Группа 103">
            <a:extLst>
              <a:ext uri="{FF2B5EF4-FFF2-40B4-BE49-F238E27FC236}">
                <a16:creationId xmlns:a16="http://schemas.microsoft.com/office/drawing/2014/main" id="{95F378DB-5F39-6BAA-8F54-2D46214AD796}"/>
              </a:ext>
            </a:extLst>
          </p:cNvPr>
          <p:cNvGrpSpPr/>
          <p:nvPr/>
        </p:nvGrpSpPr>
        <p:grpSpPr>
          <a:xfrm rot="12596096">
            <a:off x="7703562" y="2447171"/>
            <a:ext cx="2352143" cy="2371709"/>
            <a:chOff x="6216130" y="1119383"/>
            <a:chExt cx="11272723" cy="11366496"/>
          </a:xfrm>
        </p:grpSpPr>
        <p:grpSp>
          <p:nvGrpSpPr>
            <p:cNvPr id="105" name="Группа 104">
              <a:extLst>
                <a:ext uri="{FF2B5EF4-FFF2-40B4-BE49-F238E27FC236}">
                  <a16:creationId xmlns:a16="http://schemas.microsoft.com/office/drawing/2014/main" id="{ED6307AE-F813-2C5D-A638-853DD48ADDA0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109" name="Полилиния 108">
                <a:extLst>
                  <a:ext uri="{FF2B5EF4-FFF2-40B4-BE49-F238E27FC236}">
                    <a16:creationId xmlns:a16="http://schemas.microsoft.com/office/drawing/2014/main" id="{DB6CD65A-54D8-2A66-D835-6EA16E26DB1B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110" name="Прямая соединительная линия 109">
                <a:extLst>
                  <a:ext uri="{FF2B5EF4-FFF2-40B4-BE49-F238E27FC236}">
                    <a16:creationId xmlns:a16="http://schemas.microsoft.com/office/drawing/2014/main" id="{21DCE994-5509-02E0-7D18-0A88F0EA62B2}"/>
                  </a:ext>
                </a:extLst>
              </p:cNvPr>
              <p:cNvCxnSpPr>
                <a:cxnSpLocks/>
                <a:stCxn id="109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6" name="Овал 105">
              <a:extLst>
                <a:ext uri="{FF2B5EF4-FFF2-40B4-BE49-F238E27FC236}">
                  <a16:creationId xmlns:a16="http://schemas.microsoft.com/office/drawing/2014/main" id="{048A063F-6D78-E99F-5011-3E005D78D1A2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07" name="Овал 106">
              <a:extLst>
                <a:ext uri="{FF2B5EF4-FFF2-40B4-BE49-F238E27FC236}">
                  <a16:creationId xmlns:a16="http://schemas.microsoft.com/office/drawing/2014/main" id="{2E7CF1DA-2DEE-574E-7782-B1A863F80C64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08" name="Овал 107">
              <a:extLst>
                <a:ext uri="{FF2B5EF4-FFF2-40B4-BE49-F238E27FC236}">
                  <a16:creationId xmlns:a16="http://schemas.microsoft.com/office/drawing/2014/main" id="{D9E9F64C-D0FB-C761-6FB9-427648DF6943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111" name="Группа 110">
            <a:extLst>
              <a:ext uri="{FF2B5EF4-FFF2-40B4-BE49-F238E27FC236}">
                <a16:creationId xmlns:a16="http://schemas.microsoft.com/office/drawing/2014/main" id="{BBF2BD71-5C40-840F-0415-424F46E02BF1}"/>
              </a:ext>
            </a:extLst>
          </p:cNvPr>
          <p:cNvGrpSpPr/>
          <p:nvPr/>
        </p:nvGrpSpPr>
        <p:grpSpPr>
          <a:xfrm rot="1796096">
            <a:off x="7501308" y="2235311"/>
            <a:ext cx="2778858" cy="2801975"/>
            <a:chOff x="6216130" y="1119383"/>
            <a:chExt cx="11272723" cy="11366496"/>
          </a:xfrm>
        </p:grpSpPr>
        <p:grpSp>
          <p:nvGrpSpPr>
            <p:cNvPr id="112" name="Группа 111">
              <a:extLst>
                <a:ext uri="{FF2B5EF4-FFF2-40B4-BE49-F238E27FC236}">
                  <a16:creationId xmlns:a16="http://schemas.microsoft.com/office/drawing/2014/main" id="{3122CDF7-7CA9-DA6E-8F70-FD45A1CC640A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116" name="Полилиния 115">
                <a:extLst>
                  <a:ext uri="{FF2B5EF4-FFF2-40B4-BE49-F238E27FC236}">
                    <a16:creationId xmlns:a16="http://schemas.microsoft.com/office/drawing/2014/main" id="{3125F966-A684-3D49-025E-BDE0E869CE0A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117" name="Прямая соединительная линия 116">
                <a:extLst>
                  <a:ext uri="{FF2B5EF4-FFF2-40B4-BE49-F238E27FC236}">
                    <a16:creationId xmlns:a16="http://schemas.microsoft.com/office/drawing/2014/main" id="{9501AD4B-2522-7321-5B79-C30E4D138986}"/>
                  </a:ext>
                </a:extLst>
              </p:cNvPr>
              <p:cNvCxnSpPr>
                <a:cxnSpLocks/>
                <a:stCxn id="116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3" name="Овал 112">
              <a:extLst>
                <a:ext uri="{FF2B5EF4-FFF2-40B4-BE49-F238E27FC236}">
                  <a16:creationId xmlns:a16="http://schemas.microsoft.com/office/drawing/2014/main" id="{12E4A7A1-D604-9A53-7664-38EAD1872051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14" name="Овал 113">
              <a:extLst>
                <a:ext uri="{FF2B5EF4-FFF2-40B4-BE49-F238E27FC236}">
                  <a16:creationId xmlns:a16="http://schemas.microsoft.com/office/drawing/2014/main" id="{DEB05B3F-69F5-BD30-8149-774DB29815E0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15" name="Овал 114">
              <a:extLst>
                <a:ext uri="{FF2B5EF4-FFF2-40B4-BE49-F238E27FC236}">
                  <a16:creationId xmlns:a16="http://schemas.microsoft.com/office/drawing/2014/main" id="{DF198472-BB4A-054E-46C0-AEE5229C6296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1AB0DB0E-BE24-62C1-74C2-8E3069691F69}"/>
              </a:ext>
            </a:extLst>
          </p:cNvPr>
          <p:cNvGrpSpPr/>
          <p:nvPr/>
        </p:nvGrpSpPr>
        <p:grpSpPr>
          <a:xfrm rot="12596096">
            <a:off x="7505010" y="2204591"/>
            <a:ext cx="2817239" cy="2840675"/>
            <a:chOff x="6216130" y="1119383"/>
            <a:chExt cx="11272723" cy="11366496"/>
          </a:xfrm>
        </p:grpSpPr>
        <p:grpSp>
          <p:nvGrpSpPr>
            <p:cNvPr id="119" name="Группа 118">
              <a:extLst>
                <a:ext uri="{FF2B5EF4-FFF2-40B4-BE49-F238E27FC236}">
                  <a16:creationId xmlns:a16="http://schemas.microsoft.com/office/drawing/2014/main" id="{34D83A93-5277-6350-452B-CB163973490D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123" name="Полилиния 122">
                <a:extLst>
                  <a:ext uri="{FF2B5EF4-FFF2-40B4-BE49-F238E27FC236}">
                    <a16:creationId xmlns:a16="http://schemas.microsoft.com/office/drawing/2014/main" id="{C94EF275-7925-289F-19DE-3C99AB48363A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>
                    <a:alpha val="1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124" name="Прямая соединительная линия 123">
                <a:extLst>
                  <a:ext uri="{FF2B5EF4-FFF2-40B4-BE49-F238E27FC236}">
                    <a16:creationId xmlns:a16="http://schemas.microsoft.com/office/drawing/2014/main" id="{73DED86C-E400-57C3-5760-8262123FE110}"/>
                  </a:ext>
                </a:extLst>
              </p:cNvPr>
              <p:cNvCxnSpPr>
                <a:cxnSpLocks/>
                <a:stCxn id="123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>
                    <a:alpha val="12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0" name="Овал 119">
              <a:extLst>
                <a:ext uri="{FF2B5EF4-FFF2-40B4-BE49-F238E27FC236}">
                  <a16:creationId xmlns:a16="http://schemas.microsoft.com/office/drawing/2014/main" id="{1F7A2680-2D05-DFD8-24E2-0763F46733A5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21" name="Овал 120">
              <a:extLst>
                <a:ext uri="{FF2B5EF4-FFF2-40B4-BE49-F238E27FC236}">
                  <a16:creationId xmlns:a16="http://schemas.microsoft.com/office/drawing/2014/main" id="{A63074B3-6C5A-AA00-BF2F-B7BEE9028284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22" name="Овал 121">
              <a:extLst>
                <a:ext uri="{FF2B5EF4-FFF2-40B4-BE49-F238E27FC236}">
                  <a16:creationId xmlns:a16="http://schemas.microsoft.com/office/drawing/2014/main" id="{384E89DE-5932-4C73-3334-6A909B768AB9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125" name="Группа 124">
            <a:extLst>
              <a:ext uri="{FF2B5EF4-FFF2-40B4-BE49-F238E27FC236}">
                <a16:creationId xmlns:a16="http://schemas.microsoft.com/office/drawing/2014/main" id="{9F088170-A02C-DCAF-9F77-2C1D775F8642}"/>
              </a:ext>
            </a:extLst>
          </p:cNvPr>
          <p:cNvGrpSpPr/>
          <p:nvPr/>
        </p:nvGrpSpPr>
        <p:grpSpPr>
          <a:xfrm rot="1796096">
            <a:off x="7980835" y="2726750"/>
            <a:ext cx="1797597" cy="1812550"/>
            <a:chOff x="6216130" y="1119383"/>
            <a:chExt cx="11272723" cy="11366496"/>
          </a:xfrm>
        </p:grpSpPr>
        <p:grpSp>
          <p:nvGrpSpPr>
            <p:cNvPr id="126" name="Группа 125">
              <a:extLst>
                <a:ext uri="{FF2B5EF4-FFF2-40B4-BE49-F238E27FC236}">
                  <a16:creationId xmlns:a16="http://schemas.microsoft.com/office/drawing/2014/main" id="{FEC960F9-9525-60B8-6971-8EF7A5F46B54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130" name="Полилиния 129">
                <a:extLst>
                  <a:ext uri="{FF2B5EF4-FFF2-40B4-BE49-F238E27FC236}">
                    <a16:creationId xmlns:a16="http://schemas.microsoft.com/office/drawing/2014/main" id="{923699DC-2CAD-61EE-D3C9-930F1CFF00FF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131" name="Прямая соединительная линия 130">
                <a:extLst>
                  <a:ext uri="{FF2B5EF4-FFF2-40B4-BE49-F238E27FC236}">
                    <a16:creationId xmlns:a16="http://schemas.microsoft.com/office/drawing/2014/main" id="{3CDEA4E8-7147-5BA2-C387-15F4CDE8D776}"/>
                  </a:ext>
                </a:extLst>
              </p:cNvPr>
              <p:cNvCxnSpPr>
                <a:cxnSpLocks/>
                <a:stCxn id="130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7" name="Овал 126">
              <a:extLst>
                <a:ext uri="{FF2B5EF4-FFF2-40B4-BE49-F238E27FC236}">
                  <a16:creationId xmlns:a16="http://schemas.microsoft.com/office/drawing/2014/main" id="{788E3609-AC51-1587-5C94-04BA13997BC1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28" name="Овал 127">
              <a:extLst>
                <a:ext uri="{FF2B5EF4-FFF2-40B4-BE49-F238E27FC236}">
                  <a16:creationId xmlns:a16="http://schemas.microsoft.com/office/drawing/2014/main" id="{7383A51A-4755-6368-FD7D-A2C1F322E0F6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29" name="Овал 128">
              <a:extLst>
                <a:ext uri="{FF2B5EF4-FFF2-40B4-BE49-F238E27FC236}">
                  <a16:creationId xmlns:a16="http://schemas.microsoft.com/office/drawing/2014/main" id="{499F6FA8-387C-745A-88CD-2BD02F7F233F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132" name="Группа 131">
            <a:extLst>
              <a:ext uri="{FF2B5EF4-FFF2-40B4-BE49-F238E27FC236}">
                <a16:creationId xmlns:a16="http://schemas.microsoft.com/office/drawing/2014/main" id="{F3C85D2E-0F60-CE40-D58F-4A664A25F01A}"/>
              </a:ext>
            </a:extLst>
          </p:cNvPr>
          <p:cNvGrpSpPr/>
          <p:nvPr/>
        </p:nvGrpSpPr>
        <p:grpSpPr>
          <a:xfrm rot="12596096">
            <a:off x="7018107" y="1773081"/>
            <a:ext cx="3695692" cy="3726435"/>
            <a:chOff x="6216130" y="1119383"/>
            <a:chExt cx="11272723" cy="11366496"/>
          </a:xfrm>
        </p:grpSpPr>
        <p:grpSp>
          <p:nvGrpSpPr>
            <p:cNvPr id="133" name="Группа 132">
              <a:extLst>
                <a:ext uri="{FF2B5EF4-FFF2-40B4-BE49-F238E27FC236}">
                  <a16:creationId xmlns:a16="http://schemas.microsoft.com/office/drawing/2014/main" id="{3820F296-8114-996A-A95B-4AD9B7B7D61A}"/>
                </a:ext>
              </a:extLst>
            </p:cNvPr>
            <p:cNvGrpSpPr/>
            <p:nvPr/>
          </p:nvGrpSpPr>
          <p:grpSpPr>
            <a:xfrm>
              <a:off x="6432154" y="1476911"/>
              <a:ext cx="10903324" cy="10763765"/>
              <a:chOff x="6741132" y="1525782"/>
              <a:chExt cx="10903324" cy="10763765"/>
            </a:xfrm>
          </p:grpSpPr>
          <p:sp>
            <p:nvSpPr>
              <p:cNvPr id="137" name="Полилиния 136">
                <a:extLst>
                  <a:ext uri="{FF2B5EF4-FFF2-40B4-BE49-F238E27FC236}">
                    <a16:creationId xmlns:a16="http://schemas.microsoft.com/office/drawing/2014/main" id="{702A5F99-8EA5-AA6A-B648-6AED540D777B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>
                    <a:alpha val="48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138" name="Прямая соединительная линия 137">
                <a:extLst>
                  <a:ext uri="{FF2B5EF4-FFF2-40B4-BE49-F238E27FC236}">
                    <a16:creationId xmlns:a16="http://schemas.microsoft.com/office/drawing/2014/main" id="{88048FE8-B405-06A5-3669-513136B8628E}"/>
                  </a:ext>
                </a:extLst>
              </p:cNvPr>
              <p:cNvCxnSpPr>
                <a:cxnSpLocks/>
                <a:stCxn id="137" idx="1"/>
              </p:cNvCxnSpPr>
              <p:nvPr/>
            </p:nvCxnSpPr>
            <p:spPr>
              <a:xfrm flipV="1">
                <a:off x="12192794" y="1525782"/>
                <a:ext cx="0" cy="5312101"/>
              </a:xfrm>
              <a:prstGeom prst="line">
                <a:avLst/>
              </a:prstGeom>
              <a:ln>
                <a:solidFill>
                  <a:schemeClr val="bg1">
                    <a:alpha val="4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4" name="Овал 133">
              <a:extLst>
                <a:ext uri="{FF2B5EF4-FFF2-40B4-BE49-F238E27FC236}">
                  <a16:creationId xmlns:a16="http://schemas.microsoft.com/office/drawing/2014/main" id="{ECAA84CF-6C05-C9E9-2387-2207F71AF4FA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35" name="Овал 134">
              <a:extLst>
                <a:ext uri="{FF2B5EF4-FFF2-40B4-BE49-F238E27FC236}">
                  <a16:creationId xmlns:a16="http://schemas.microsoft.com/office/drawing/2014/main" id="{1727B2C2-D462-0CA2-D63C-69113A24DCC7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36" name="Овал 135">
              <a:extLst>
                <a:ext uri="{FF2B5EF4-FFF2-40B4-BE49-F238E27FC236}">
                  <a16:creationId xmlns:a16="http://schemas.microsoft.com/office/drawing/2014/main" id="{BEA6AD56-D260-822C-8AAA-BB2E976AEE19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139" name="Группа 138">
            <a:extLst>
              <a:ext uri="{FF2B5EF4-FFF2-40B4-BE49-F238E27FC236}">
                <a16:creationId xmlns:a16="http://schemas.microsoft.com/office/drawing/2014/main" id="{F6B6278C-A2B5-EE2A-8D23-E0B68846F1F4}"/>
              </a:ext>
            </a:extLst>
          </p:cNvPr>
          <p:cNvGrpSpPr/>
          <p:nvPr/>
        </p:nvGrpSpPr>
        <p:grpSpPr>
          <a:xfrm rot="1796096">
            <a:off x="7717431" y="2434039"/>
            <a:ext cx="2352143" cy="2371710"/>
            <a:chOff x="6216130" y="1119383"/>
            <a:chExt cx="11272723" cy="11366496"/>
          </a:xfrm>
        </p:grpSpPr>
        <p:grpSp>
          <p:nvGrpSpPr>
            <p:cNvPr id="140" name="Группа 139">
              <a:extLst>
                <a:ext uri="{FF2B5EF4-FFF2-40B4-BE49-F238E27FC236}">
                  <a16:creationId xmlns:a16="http://schemas.microsoft.com/office/drawing/2014/main" id="{753705EC-E5E7-0723-7B80-5D975564CC4C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144" name="Полилиния 143">
                <a:extLst>
                  <a:ext uri="{FF2B5EF4-FFF2-40B4-BE49-F238E27FC236}">
                    <a16:creationId xmlns:a16="http://schemas.microsoft.com/office/drawing/2014/main" id="{F089A1A2-2924-FC88-444B-ADEEFCD19BD4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>
                    <a:alpha val="19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145" name="Прямая соединительная линия 144">
                <a:extLst>
                  <a:ext uri="{FF2B5EF4-FFF2-40B4-BE49-F238E27FC236}">
                    <a16:creationId xmlns:a16="http://schemas.microsoft.com/office/drawing/2014/main" id="{5689933A-9B17-37C4-F270-85FA68ECEEA6}"/>
                  </a:ext>
                </a:extLst>
              </p:cNvPr>
              <p:cNvCxnSpPr>
                <a:cxnSpLocks/>
                <a:stCxn id="144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>
                    <a:alpha val="19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1" name="Овал 140">
              <a:extLst>
                <a:ext uri="{FF2B5EF4-FFF2-40B4-BE49-F238E27FC236}">
                  <a16:creationId xmlns:a16="http://schemas.microsoft.com/office/drawing/2014/main" id="{944C2141-71E3-658D-2493-A85F1C18E038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42" name="Овал 141">
              <a:extLst>
                <a:ext uri="{FF2B5EF4-FFF2-40B4-BE49-F238E27FC236}">
                  <a16:creationId xmlns:a16="http://schemas.microsoft.com/office/drawing/2014/main" id="{486CF258-AB67-35D2-34B8-772CED420395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43" name="Овал 142">
              <a:extLst>
                <a:ext uri="{FF2B5EF4-FFF2-40B4-BE49-F238E27FC236}">
                  <a16:creationId xmlns:a16="http://schemas.microsoft.com/office/drawing/2014/main" id="{0560F584-F548-95F6-AC17-E64F96446DFE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sp>
        <p:nvSpPr>
          <p:cNvPr id="146" name="TextBox 145">
            <a:extLst>
              <a:ext uri="{FF2B5EF4-FFF2-40B4-BE49-F238E27FC236}">
                <a16:creationId xmlns:a16="http://schemas.microsoft.com/office/drawing/2014/main" id="{4DACD429-5ABE-0B7E-5088-F3C6D02FBD23}"/>
              </a:ext>
            </a:extLst>
          </p:cNvPr>
          <p:cNvSpPr txBox="1"/>
          <p:nvPr/>
        </p:nvSpPr>
        <p:spPr>
          <a:xfrm>
            <a:off x="442614" y="985748"/>
            <a:ext cx="9667656" cy="1724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СКАЧИВАЙТЕ</a:t>
            </a:r>
            <a:br>
              <a:rPr lang="ru-RU" sz="4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</a:br>
            <a:r>
              <a:rPr lang="ru-RU" sz="4800" b="1" dirty="0">
                <a:solidFill>
                  <a:schemeClr val="bg1"/>
                </a:solidFill>
                <a:latin typeface="Unbounded SemiBold" panose="020B0305040102020103" pitchFamily="34" charset="0"/>
                <a:cs typeface="Times New Roman" panose="02020603050405020304" pitchFamily="18" charset="0"/>
              </a:rPr>
              <a:t>ИНСАЙТ </a:t>
            </a:r>
          </a:p>
        </p:txBody>
      </p:sp>
      <p:pic>
        <p:nvPicPr>
          <p:cNvPr id="157" name="Рисунок 156">
            <a:extLst>
              <a:ext uri="{FF2B5EF4-FFF2-40B4-BE49-F238E27FC236}">
                <a16:creationId xmlns:a16="http://schemas.microsoft.com/office/drawing/2014/main" id="{4DB24475-8BCE-CF7A-1A58-84173965D33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 rot="20147147">
            <a:off x="6648129" y="-629453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158" name="Рисунок 157">
            <a:extLst>
              <a:ext uri="{FF2B5EF4-FFF2-40B4-BE49-F238E27FC236}">
                <a16:creationId xmlns:a16="http://schemas.microsoft.com/office/drawing/2014/main" id="{E078C874-1E61-C0F3-DD3F-A7D2F50FB6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147147">
            <a:off x="4663993" y="2217385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159" name="Рисунок 158">
            <a:extLst>
              <a:ext uri="{FF2B5EF4-FFF2-40B4-BE49-F238E27FC236}">
                <a16:creationId xmlns:a16="http://schemas.microsoft.com/office/drawing/2014/main" id="{0CAB5D94-A66C-D551-B096-E3F30312589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 rot="20147147">
            <a:off x="10129232" y="-248858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160" name="Рисунок 159">
            <a:extLst>
              <a:ext uri="{FF2B5EF4-FFF2-40B4-BE49-F238E27FC236}">
                <a16:creationId xmlns:a16="http://schemas.microsoft.com/office/drawing/2014/main" id="{A9AAC26A-C03E-9F82-341C-97F6B53CA41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 rot="20147147">
            <a:off x="8145096" y="2597980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161" name="Рисунок 160">
            <a:extLst>
              <a:ext uri="{FF2B5EF4-FFF2-40B4-BE49-F238E27FC236}">
                <a16:creationId xmlns:a16="http://schemas.microsoft.com/office/drawing/2014/main" id="{0C39716D-0FD1-BDC5-DD64-174ED6B5A03F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 rot="20147147">
            <a:off x="6092743" y="5529666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162" name="Рисунок 161">
            <a:extLst>
              <a:ext uri="{FF2B5EF4-FFF2-40B4-BE49-F238E27FC236}">
                <a16:creationId xmlns:a16="http://schemas.microsoft.com/office/drawing/2014/main" id="{0D5D8BE1-8639-52F4-0023-584930C2452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 rot="20147147">
            <a:off x="11722975" y="3007191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163" name="Рисунок 162">
            <a:extLst>
              <a:ext uri="{FF2B5EF4-FFF2-40B4-BE49-F238E27FC236}">
                <a16:creationId xmlns:a16="http://schemas.microsoft.com/office/drawing/2014/main" id="{1628480D-D808-CE3F-33B8-35087F80688E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 rot="20147147">
            <a:off x="9738839" y="5854029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grpSp>
        <p:nvGrpSpPr>
          <p:cNvPr id="678" name="Группа 677">
            <a:extLst>
              <a:ext uri="{FF2B5EF4-FFF2-40B4-BE49-F238E27FC236}">
                <a16:creationId xmlns:a16="http://schemas.microsoft.com/office/drawing/2014/main" id="{EEE2CC9F-A6F4-BD64-D53E-56BD6B039E8C}"/>
              </a:ext>
            </a:extLst>
          </p:cNvPr>
          <p:cNvGrpSpPr/>
          <p:nvPr/>
        </p:nvGrpSpPr>
        <p:grpSpPr>
          <a:xfrm>
            <a:off x="594185" y="2830889"/>
            <a:ext cx="3757815" cy="3702842"/>
            <a:chOff x="594185" y="2830889"/>
            <a:chExt cx="3757815" cy="3702842"/>
          </a:xfrm>
        </p:grpSpPr>
        <p:sp>
          <p:nvSpPr>
            <p:cNvPr id="44" name="Rectangle: Rounded Corners 70">
              <a:extLst>
                <a:ext uri="{FF2B5EF4-FFF2-40B4-BE49-F238E27FC236}">
                  <a16:creationId xmlns:a16="http://schemas.microsoft.com/office/drawing/2014/main" id="{BBD2D302-00E9-2726-DD79-3EFC74EA7391}"/>
                </a:ext>
              </a:extLst>
            </p:cNvPr>
            <p:cNvSpPr/>
            <p:nvPr/>
          </p:nvSpPr>
          <p:spPr>
            <a:xfrm rot="10800000">
              <a:off x="772031" y="2843157"/>
              <a:ext cx="3330917" cy="3690574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10036"/>
              </a:schemeClr>
            </a:solidFill>
            <a:ln w="15875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45" name="Скругленный прямоугольник 44">
              <a:extLst>
                <a:ext uri="{FF2B5EF4-FFF2-40B4-BE49-F238E27FC236}">
                  <a16:creationId xmlns:a16="http://schemas.microsoft.com/office/drawing/2014/main" id="{A77201DC-99A9-B682-F0EF-43F4F04A928F}"/>
                </a:ext>
              </a:extLst>
            </p:cNvPr>
            <p:cNvSpPr/>
            <p:nvPr/>
          </p:nvSpPr>
          <p:spPr>
            <a:xfrm>
              <a:off x="594185" y="2830889"/>
              <a:ext cx="3757815" cy="69134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" panose="020B0305040102020103" pitchFamily="34" charset="0"/>
                </a:rPr>
                <a:t>https://</a:t>
              </a:r>
              <a:r>
                <a:rPr lang="en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" panose="020B0305040102020103" pitchFamily="34" charset="0"/>
                </a:rPr>
                <a:t>goo.su</a:t>
              </a:r>
              <a:r>
                <a:rPr lang="en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" panose="020B0305040102020103" pitchFamily="34" charset="0"/>
                </a:rPr>
                <a:t>/bon_1</a:t>
              </a:r>
              <a:endParaRPr lang="ru-RU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" panose="020B0305040102020103" pitchFamily="34" charset="0"/>
              </a:endParaRPr>
            </a:p>
          </p:txBody>
        </p:sp>
        <p:grpSp>
          <p:nvGrpSpPr>
            <p:cNvPr id="46" name="Рисунок 167">
              <a:extLst>
                <a:ext uri="{FF2B5EF4-FFF2-40B4-BE49-F238E27FC236}">
                  <a16:creationId xmlns:a16="http://schemas.microsoft.com/office/drawing/2014/main" id="{19B067ED-2006-3618-1516-44CA0E9B54DC}"/>
                </a:ext>
              </a:extLst>
            </p:cNvPr>
            <p:cNvGrpSpPr/>
            <p:nvPr/>
          </p:nvGrpSpPr>
          <p:grpSpPr>
            <a:xfrm>
              <a:off x="1252377" y="3901076"/>
              <a:ext cx="2279357" cy="2279357"/>
              <a:chOff x="1252377" y="3901076"/>
              <a:chExt cx="2279357" cy="2279357"/>
            </a:xfrm>
            <a:solidFill>
              <a:schemeClr val="bg1"/>
            </a:solidFill>
          </p:grpSpPr>
          <p:sp>
            <p:nvSpPr>
              <p:cNvPr id="47" name="Полилиния 46">
                <a:extLst>
                  <a:ext uri="{FF2B5EF4-FFF2-40B4-BE49-F238E27FC236}">
                    <a16:creationId xmlns:a16="http://schemas.microsoft.com/office/drawing/2014/main" id="{9964087F-FA51-42B3-31D9-B8A7C6B84985}"/>
                  </a:ext>
                </a:extLst>
              </p:cNvPr>
              <p:cNvSpPr/>
              <p:nvPr/>
            </p:nvSpPr>
            <p:spPr>
              <a:xfrm rot="-5400000">
                <a:off x="1434726" y="5724562"/>
                <a:ext cx="273522" cy="273522"/>
              </a:xfrm>
              <a:custGeom>
                <a:avLst/>
                <a:gdLst>
                  <a:gd name="connsiteX0" fmla="*/ 273523 w 273522"/>
                  <a:gd name="connsiteY0" fmla="*/ 136761 h 273522"/>
                  <a:gd name="connsiteX1" fmla="*/ 136761 w 273522"/>
                  <a:gd name="connsiteY1" fmla="*/ 273523 h 273522"/>
                  <a:gd name="connsiteX2" fmla="*/ 0 w 273522"/>
                  <a:gd name="connsiteY2" fmla="*/ 136761 h 273522"/>
                  <a:gd name="connsiteX3" fmla="*/ 136761 w 273522"/>
                  <a:gd name="connsiteY3" fmla="*/ 0 h 273522"/>
                  <a:gd name="connsiteX4" fmla="*/ 273523 w 273522"/>
                  <a:gd name="connsiteY4" fmla="*/ 136761 h 273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522" h="273522">
                    <a:moveTo>
                      <a:pt x="273523" y="136761"/>
                    </a:moveTo>
                    <a:cubicBezTo>
                      <a:pt x="273523" y="212293"/>
                      <a:pt x="212293" y="273523"/>
                      <a:pt x="136761" y="273523"/>
                    </a:cubicBezTo>
                    <a:cubicBezTo>
                      <a:pt x="61230" y="273523"/>
                      <a:pt x="0" y="212293"/>
                      <a:pt x="0" y="136761"/>
                    </a:cubicBezTo>
                    <a:cubicBezTo>
                      <a:pt x="0" y="61230"/>
                      <a:pt x="61230" y="0"/>
                      <a:pt x="136761" y="0"/>
                    </a:cubicBezTo>
                    <a:cubicBezTo>
                      <a:pt x="212293" y="0"/>
                      <a:pt x="273523" y="61230"/>
                      <a:pt x="273523" y="136761"/>
                    </a:cubicBez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" name="Полилиния 47">
                <a:extLst>
                  <a:ext uri="{FF2B5EF4-FFF2-40B4-BE49-F238E27FC236}">
                    <a16:creationId xmlns:a16="http://schemas.microsoft.com/office/drawing/2014/main" id="{A3EBAB00-29BB-DC87-C359-BBDFB43765A4}"/>
                  </a:ext>
                </a:extLst>
              </p:cNvPr>
              <p:cNvSpPr/>
              <p:nvPr/>
            </p:nvSpPr>
            <p:spPr>
              <a:xfrm rot="-5400000">
                <a:off x="1252377" y="5542214"/>
                <a:ext cx="638220" cy="638220"/>
              </a:xfrm>
              <a:custGeom>
                <a:avLst/>
                <a:gdLst>
                  <a:gd name="connsiteX0" fmla="*/ 0 w 638220"/>
                  <a:gd name="connsiteY0" fmla="*/ 227936 h 638220"/>
                  <a:gd name="connsiteX1" fmla="*/ 0 w 638220"/>
                  <a:gd name="connsiteY1" fmla="*/ 410284 h 638220"/>
                  <a:gd name="connsiteX2" fmla="*/ 227936 w 638220"/>
                  <a:gd name="connsiteY2" fmla="*/ 638220 h 638220"/>
                  <a:gd name="connsiteX3" fmla="*/ 410284 w 638220"/>
                  <a:gd name="connsiteY3" fmla="*/ 638220 h 638220"/>
                  <a:gd name="connsiteX4" fmla="*/ 638220 w 638220"/>
                  <a:gd name="connsiteY4" fmla="*/ 410284 h 638220"/>
                  <a:gd name="connsiteX5" fmla="*/ 638220 w 638220"/>
                  <a:gd name="connsiteY5" fmla="*/ 227936 h 638220"/>
                  <a:gd name="connsiteX6" fmla="*/ 410284 w 638220"/>
                  <a:gd name="connsiteY6" fmla="*/ 0 h 638220"/>
                  <a:gd name="connsiteX7" fmla="*/ 227936 w 638220"/>
                  <a:gd name="connsiteY7" fmla="*/ 0 h 638220"/>
                  <a:gd name="connsiteX8" fmla="*/ 0 w 638220"/>
                  <a:gd name="connsiteY8" fmla="*/ 227936 h 638220"/>
                  <a:gd name="connsiteX9" fmla="*/ 227936 w 638220"/>
                  <a:gd name="connsiteY9" fmla="*/ 91174 h 638220"/>
                  <a:gd name="connsiteX10" fmla="*/ 410284 w 638220"/>
                  <a:gd name="connsiteY10" fmla="*/ 91174 h 638220"/>
                  <a:gd name="connsiteX11" fmla="*/ 547046 w 638220"/>
                  <a:gd name="connsiteY11" fmla="*/ 227936 h 638220"/>
                  <a:gd name="connsiteX12" fmla="*/ 547046 w 638220"/>
                  <a:gd name="connsiteY12" fmla="*/ 410284 h 638220"/>
                  <a:gd name="connsiteX13" fmla="*/ 410284 w 638220"/>
                  <a:gd name="connsiteY13" fmla="*/ 547046 h 638220"/>
                  <a:gd name="connsiteX14" fmla="*/ 227936 w 638220"/>
                  <a:gd name="connsiteY14" fmla="*/ 547046 h 638220"/>
                  <a:gd name="connsiteX15" fmla="*/ 91174 w 638220"/>
                  <a:gd name="connsiteY15" fmla="*/ 410284 h 638220"/>
                  <a:gd name="connsiteX16" fmla="*/ 91174 w 638220"/>
                  <a:gd name="connsiteY16" fmla="*/ 227936 h 638220"/>
                  <a:gd name="connsiteX17" fmla="*/ 227936 w 638220"/>
                  <a:gd name="connsiteY17" fmla="*/ 91174 h 63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38220" h="638220">
                    <a:moveTo>
                      <a:pt x="0" y="227936"/>
                    </a:moveTo>
                    <a:lnTo>
                      <a:pt x="0" y="410284"/>
                    </a:lnTo>
                    <a:cubicBezTo>
                      <a:pt x="0" y="536170"/>
                      <a:pt x="102050" y="638220"/>
                      <a:pt x="227936" y="638220"/>
                    </a:cubicBezTo>
                    <a:lnTo>
                      <a:pt x="410284" y="638220"/>
                    </a:lnTo>
                    <a:cubicBezTo>
                      <a:pt x="536170" y="638220"/>
                      <a:pt x="638220" y="536170"/>
                      <a:pt x="638220" y="410284"/>
                    </a:cubicBezTo>
                    <a:lnTo>
                      <a:pt x="638220" y="227936"/>
                    </a:lnTo>
                    <a:cubicBezTo>
                      <a:pt x="638220" y="102050"/>
                      <a:pt x="536170" y="0"/>
                      <a:pt x="410284" y="0"/>
                    </a:cubicBezTo>
                    <a:lnTo>
                      <a:pt x="227936" y="0"/>
                    </a:lnTo>
                    <a:cubicBezTo>
                      <a:pt x="102050" y="0"/>
                      <a:pt x="0" y="102050"/>
                      <a:pt x="0" y="227936"/>
                    </a:cubicBezTo>
                    <a:moveTo>
                      <a:pt x="227936" y="91174"/>
                    </a:moveTo>
                    <a:lnTo>
                      <a:pt x="410284" y="91174"/>
                    </a:lnTo>
                    <a:cubicBezTo>
                      <a:pt x="485816" y="91174"/>
                      <a:pt x="547046" y="152405"/>
                      <a:pt x="547046" y="227936"/>
                    </a:cubicBezTo>
                    <a:lnTo>
                      <a:pt x="547046" y="410284"/>
                    </a:lnTo>
                    <a:cubicBezTo>
                      <a:pt x="547046" y="485816"/>
                      <a:pt x="485816" y="547046"/>
                      <a:pt x="410284" y="547046"/>
                    </a:cubicBezTo>
                    <a:lnTo>
                      <a:pt x="227936" y="547046"/>
                    </a:lnTo>
                    <a:cubicBezTo>
                      <a:pt x="152405" y="547046"/>
                      <a:pt x="91174" y="485816"/>
                      <a:pt x="91174" y="410284"/>
                    </a:cubicBezTo>
                    <a:lnTo>
                      <a:pt x="91174" y="227936"/>
                    </a:lnTo>
                    <a:cubicBezTo>
                      <a:pt x="91174" y="152405"/>
                      <a:pt x="152405" y="91174"/>
                      <a:pt x="227936" y="91174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" name="Полилиния 48">
                <a:extLst>
                  <a:ext uri="{FF2B5EF4-FFF2-40B4-BE49-F238E27FC236}">
                    <a16:creationId xmlns:a16="http://schemas.microsoft.com/office/drawing/2014/main" id="{6B7DDBC4-EAF2-B963-2622-463EBD26C5B2}"/>
                  </a:ext>
                </a:extLst>
              </p:cNvPr>
              <p:cNvSpPr/>
              <p:nvPr/>
            </p:nvSpPr>
            <p:spPr>
              <a:xfrm rot="5400000">
                <a:off x="3075863" y="4083425"/>
                <a:ext cx="273522" cy="273522"/>
              </a:xfrm>
              <a:custGeom>
                <a:avLst/>
                <a:gdLst>
                  <a:gd name="connsiteX0" fmla="*/ 273523 w 273522"/>
                  <a:gd name="connsiteY0" fmla="*/ 136761 h 273522"/>
                  <a:gd name="connsiteX1" fmla="*/ 136761 w 273522"/>
                  <a:gd name="connsiteY1" fmla="*/ 273523 h 273522"/>
                  <a:gd name="connsiteX2" fmla="*/ 0 w 273522"/>
                  <a:gd name="connsiteY2" fmla="*/ 136761 h 273522"/>
                  <a:gd name="connsiteX3" fmla="*/ 136761 w 273522"/>
                  <a:gd name="connsiteY3" fmla="*/ 0 h 273522"/>
                  <a:gd name="connsiteX4" fmla="*/ 273523 w 273522"/>
                  <a:gd name="connsiteY4" fmla="*/ 136761 h 273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522" h="273522">
                    <a:moveTo>
                      <a:pt x="273523" y="136761"/>
                    </a:moveTo>
                    <a:cubicBezTo>
                      <a:pt x="273523" y="212293"/>
                      <a:pt x="212293" y="273523"/>
                      <a:pt x="136761" y="273523"/>
                    </a:cubicBezTo>
                    <a:cubicBezTo>
                      <a:pt x="61230" y="273523"/>
                      <a:pt x="0" y="212293"/>
                      <a:pt x="0" y="136761"/>
                    </a:cubicBezTo>
                    <a:cubicBezTo>
                      <a:pt x="0" y="61230"/>
                      <a:pt x="61230" y="0"/>
                      <a:pt x="136761" y="0"/>
                    </a:cubicBezTo>
                    <a:cubicBezTo>
                      <a:pt x="212293" y="0"/>
                      <a:pt x="273523" y="61230"/>
                      <a:pt x="273523" y="136761"/>
                    </a:cubicBez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" name="Полилиния 49">
                <a:extLst>
                  <a:ext uri="{FF2B5EF4-FFF2-40B4-BE49-F238E27FC236}">
                    <a16:creationId xmlns:a16="http://schemas.microsoft.com/office/drawing/2014/main" id="{B77C2BDD-4E1B-ABC6-F127-5A144E3B32C8}"/>
                  </a:ext>
                </a:extLst>
              </p:cNvPr>
              <p:cNvSpPr/>
              <p:nvPr/>
            </p:nvSpPr>
            <p:spPr>
              <a:xfrm rot="5400000">
                <a:off x="2893515" y="3901076"/>
                <a:ext cx="638220" cy="638220"/>
              </a:xfrm>
              <a:custGeom>
                <a:avLst/>
                <a:gdLst>
                  <a:gd name="connsiteX0" fmla="*/ 0 w 638220"/>
                  <a:gd name="connsiteY0" fmla="*/ 227936 h 638220"/>
                  <a:gd name="connsiteX1" fmla="*/ 0 w 638220"/>
                  <a:gd name="connsiteY1" fmla="*/ 410284 h 638220"/>
                  <a:gd name="connsiteX2" fmla="*/ 227936 w 638220"/>
                  <a:gd name="connsiteY2" fmla="*/ 638220 h 638220"/>
                  <a:gd name="connsiteX3" fmla="*/ 410284 w 638220"/>
                  <a:gd name="connsiteY3" fmla="*/ 638220 h 638220"/>
                  <a:gd name="connsiteX4" fmla="*/ 638220 w 638220"/>
                  <a:gd name="connsiteY4" fmla="*/ 410284 h 638220"/>
                  <a:gd name="connsiteX5" fmla="*/ 638220 w 638220"/>
                  <a:gd name="connsiteY5" fmla="*/ 227936 h 638220"/>
                  <a:gd name="connsiteX6" fmla="*/ 410284 w 638220"/>
                  <a:gd name="connsiteY6" fmla="*/ 0 h 638220"/>
                  <a:gd name="connsiteX7" fmla="*/ 227936 w 638220"/>
                  <a:gd name="connsiteY7" fmla="*/ 0 h 638220"/>
                  <a:gd name="connsiteX8" fmla="*/ 0 w 638220"/>
                  <a:gd name="connsiteY8" fmla="*/ 227936 h 638220"/>
                  <a:gd name="connsiteX9" fmla="*/ 227936 w 638220"/>
                  <a:gd name="connsiteY9" fmla="*/ 91174 h 638220"/>
                  <a:gd name="connsiteX10" fmla="*/ 410284 w 638220"/>
                  <a:gd name="connsiteY10" fmla="*/ 91174 h 638220"/>
                  <a:gd name="connsiteX11" fmla="*/ 547046 w 638220"/>
                  <a:gd name="connsiteY11" fmla="*/ 227936 h 638220"/>
                  <a:gd name="connsiteX12" fmla="*/ 547046 w 638220"/>
                  <a:gd name="connsiteY12" fmla="*/ 410284 h 638220"/>
                  <a:gd name="connsiteX13" fmla="*/ 410284 w 638220"/>
                  <a:gd name="connsiteY13" fmla="*/ 547046 h 638220"/>
                  <a:gd name="connsiteX14" fmla="*/ 227936 w 638220"/>
                  <a:gd name="connsiteY14" fmla="*/ 547046 h 638220"/>
                  <a:gd name="connsiteX15" fmla="*/ 91174 w 638220"/>
                  <a:gd name="connsiteY15" fmla="*/ 410284 h 638220"/>
                  <a:gd name="connsiteX16" fmla="*/ 91174 w 638220"/>
                  <a:gd name="connsiteY16" fmla="*/ 227936 h 638220"/>
                  <a:gd name="connsiteX17" fmla="*/ 227936 w 638220"/>
                  <a:gd name="connsiteY17" fmla="*/ 91174 h 63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38220" h="638220">
                    <a:moveTo>
                      <a:pt x="0" y="227936"/>
                    </a:moveTo>
                    <a:lnTo>
                      <a:pt x="0" y="410284"/>
                    </a:lnTo>
                    <a:cubicBezTo>
                      <a:pt x="0" y="536170"/>
                      <a:pt x="102050" y="638220"/>
                      <a:pt x="227936" y="638220"/>
                    </a:cubicBezTo>
                    <a:lnTo>
                      <a:pt x="410284" y="638220"/>
                    </a:lnTo>
                    <a:cubicBezTo>
                      <a:pt x="536170" y="638220"/>
                      <a:pt x="638220" y="536170"/>
                      <a:pt x="638220" y="410284"/>
                    </a:cubicBezTo>
                    <a:lnTo>
                      <a:pt x="638220" y="227936"/>
                    </a:lnTo>
                    <a:cubicBezTo>
                      <a:pt x="638220" y="102050"/>
                      <a:pt x="536170" y="0"/>
                      <a:pt x="410284" y="0"/>
                    </a:cubicBezTo>
                    <a:lnTo>
                      <a:pt x="227936" y="0"/>
                    </a:lnTo>
                    <a:cubicBezTo>
                      <a:pt x="102050" y="0"/>
                      <a:pt x="0" y="102050"/>
                      <a:pt x="0" y="227936"/>
                    </a:cubicBezTo>
                    <a:moveTo>
                      <a:pt x="227936" y="91174"/>
                    </a:moveTo>
                    <a:lnTo>
                      <a:pt x="410284" y="91174"/>
                    </a:lnTo>
                    <a:cubicBezTo>
                      <a:pt x="485816" y="91174"/>
                      <a:pt x="547046" y="152405"/>
                      <a:pt x="547046" y="227936"/>
                    </a:cubicBezTo>
                    <a:lnTo>
                      <a:pt x="547046" y="410284"/>
                    </a:lnTo>
                    <a:cubicBezTo>
                      <a:pt x="547046" y="485816"/>
                      <a:pt x="485816" y="547046"/>
                      <a:pt x="410284" y="547046"/>
                    </a:cubicBezTo>
                    <a:lnTo>
                      <a:pt x="227936" y="547046"/>
                    </a:lnTo>
                    <a:cubicBezTo>
                      <a:pt x="152405" y="547046"/>
                      <a:pt x="91174" y="485816"/>
                      <a:pt x="91174" y="410284"/>
                    </a:cubicBezTo>
                    <a:lnTo>
                      <a:pt x="91174" y="227936"/>
                    </a:lnTo>
                    <a:cubicBezTo>
                      <a:pt x="91174" y="152405"/>
                      <a:pt x="152405" y="91174"/>
                      <a:pt x="227936" y="91174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" name="Полилиния 50">
                <a:extLst>
                  <a:ext uri="{FF2B5EF4-FFF2-40B4-BE49-F238E27FC236}">
                    <a16:creationId xmlns:a16="http://schemas.microsoft.com/office/drawing/2014/main" id="{D64740FA-B0FF-F807-B62A-FFAD4B31087B}"/>
                  </a:ext>
                </a:extLst>
              </p:cNvPr>
              <p:cNvSpPr/>
              <p:nvPr/>
            </p:nvSpPr>
            <p:spPr>
              <a:xfrm>
                <a:off x="1434726" y="4083425"/>
                <a:ext cx="273522" cy="273522"/>
              </a:xfrm>
              <a:custGeom>
                <a:avLst/>
                <a:gdLst>
                  <a:gd name="connsiteX0" fmla="*/ 273523 w 273522"/>
                  <a:gd name="connsiteY0" fmla="*/ 136761 h 273522"/>
                  <a:gd name="connsiteX1" fmla="*/ 136761 w 273522"/>
                  <a:gd name="connsiteY1" fmla="*/ 273523 h 273522"/>
                  <a:gd name="connsiteX2" fmla="*/ 0 w 273522"/>
                  <a:gd name="connsiteY2" fmla="*/ 136761 h 273522"/>
                  <a:gd name="connsiteX3" fmla="*/ 136761 w 273522"/>
                  <a:gd name="connsiteY3" fmla="*/ 0 h 273522"/>
                  <a:gd name="connsiteX4" fmla="*/ 273523 w 273522"/>
                  <a:gd name="connsiteY4" fmla="*/ 136761 h 273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522" h="273522">
                    <a:moveTo>
                      <a:pt x="273523" y="136761"/>
                    </a:moveTo>
                    <a:cubicBezTo>
                      <a:pt x="273523" y="212293"/>
                      <a:pt x="212293" y="273523"/>
                      <a:pt x="136761" y="273523"/>
                    </a:cubicBezTo>
                    <a:cubicBezTo>
                      <a:pt x="61230" y="273523"/>
                      <a:pt x="0" y="212293"/>
                      <a:pt x="0" y="136761"/>
                    </a:cubicBezTo>
                    <a:cubicBezTo>
                      <a:pt x="0" y="61230"/>
                      <a:pt x="61230" y="0"/>
                      <a:pt x="136761" y="0"/>
                    </a:cubicBezTo>
                    <a:cubicBezTo>
                      <a:pt x="212293" y="0"/>
                      <a:pt x="273523" y="61230"/>
                      <a:pt x="273523" y="136761"/>
                    </a:cubicBez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" name="Полилиния 51">
                <a:extLst>
                  <a:ext uri="{FF2B5EF4-FFF2-40B4-BE49-F238E27FC236}">
                    <a16:creationId xmlns:a16="http://schemas.microsoft.com/office/drawing/2014/main" id="{0D15FC4A-C063-622C-FBD4-B3F06936E872}"/>
                  </a:ext>
                </a:extLst>
              </p:cNvPr>
              <p:cNvSpPr/>
              <p:nvPr/>
            </p:nvSpPr>
            <p:spPr>
              <a:xfrm>
                <a:off x="1252377" y="3901076"/>
                <a:ext cx="638220" cy="638220"/>
              </a:xfrm>
              <a:custGeom>
                <a:avLst/>
                <a:gdLst>
                  <a:gd name="connsiteX0" fmla="*/ 0 w 638220"/>
                  <a:gd name="connsiteY0" fmla="*/ 227936 h 638220"/>
                  <a:gd name="connsiteX1" fmla="*/ 0 w 638220"/>
                  <a:gd name="connsiteY1" fmla="*/ 410284 h 638220"/>
                  <a:gd name="connsiteX2" fmla="*/ 227936 w 638220"/>
                  <a:gd name="connsiteY2" fmla="*/ 638220 h 638220"/>
                  <a:gd name="connsiteX3" fmla="*/ 410284 w 638220"/>
                  <a:gd name="connsiteY3" fmla="*/ 638220 h 638220"/>
                  <a:gd name="connsiteX4" fmla="*/ 638220 w 638220"/>
                  <a:gd name="connsiteY4" fmla="*/ 410284 h 638220"/>
                  <a:gd name="connsiteX5" fmla="*/ 638220 w 638220"/>
                  <a:gd name="connsiteY5" fmla="*/ 227936 h 638220"/>
                  <a:gd name="connsiteX6" fmla="*/ 410284 w 638220"/>
                  <a:gd name="connsiteY6" fmla="*/ 0 h 638220"/>
                  <a:gd name="connsiteX7" fmla="*/ 227936 w 638220"/>
                  <a:gd name="connsiteY7" fmla="*/ 0 h 638220"/>
                  <a:gd name="connsiteX8" fmla="*/ 0 w 638220"/>
                  <a:gd name="connsiteY8" fmla="*/ 227936 h 638220"/>
                  <a:gd name="connsiteX9" fmla="*/ 227936 w 638220"/>
                  <a:gd name="connsiteY9" fmla="*/ 91174 h 638220"/>
                  <a:gd name="connsiteX10" fmla="*/ 410284 w 638220"/>
                  <a:gd name="connsiteY10" fmla="*/ 91174 h 638220"/>
                  <a:gd name="connsiteX11" fmla="*/ 547046 w 638220"/>
                  <a:gd name="connsiteY11" fmla="*/ 227936 h 638220"/>
                  <a:gd name="connsiteX12" fmla="*/ 547046 w 638220"/>
                  <a:gd name="connsiteY12" fmla="*/ 410284 h 638220"/>
                  <a:gd name="connsiteX13" fmla="*/ 410284 w 638220"/>
                  <a:gd name="connsiteY13" fmla="*/ 547046 h 638220"/>
                  <a:gd name="connsiteX14" fmla="*/ 227936 w 638220"/>
                  <a:gd name="connsiteY14" fmla="*/ 547046 h 638220"/>
                  <a:gd name="connsiteX15" fmla="*/ 91174 w 638220"/>
                  <a:gd name="connsiteY15" fmla="*/ 410284 h 638220"/>
                  <a:gd name="connsiteX16" fmla="*/ 91174 w 638220"/>
                  <a:gd name="connsiteY16" fmla="*/ 227936 h 638220"/>
                  <a:gd name="connsiteX17" fmla="*/ 227936 w 638220"/>
                  <a:gd name="connsiteY17" fmla="*/ 91174 h 63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38220" h="638220">
                    <a:moveTo>
                      <a:pt x="0" y="227936"/>
                    </a:moveTo>
                    <a:lnTo>
                      <a:pt x="0" y="410284"/>
                    </a:lnTo>
                    <a:cubicBezTo>
                      <a:pt x="0" y="536170"/>
                      <a:pt x="102050" y="638220"/>
                      <a:pt x="227936" y="638220"/>
                    </a:cubicBezTo>
                    <a:lnTo>
                      <a:pt x="410284" y="638220"/>
                    </a:lnTo>
                    <a:cubicBezTo>
                      <a:pt x="536170" y="638220"/>
                      <a:pt x="638220" y="536170"/>
                      <a:pt x="638220" y="410284"/>
                    </a:cubicBezTo>
                    <a:lnTo>
                      <a:pt x="638220" y="227936"/>
                    </a:lnTo>
                    <a:cubicBezTo>
                      <a:pt x="638220" y="102050"/>
                      <a:pt x="536170" y="0"/>
                      <a:pt x="410284" y="0"/>
                    </a:cubicBezTo>
                    <a:lnTo>
                      <a:pt x="227936" y="0"/>
                    </a:lnTo>
                    <a:cubicBezTo>
                      <a:pt x="102050" y="0"/>
                      <a:pt x="0" y="102050"/>
                      <a:pt x="0" y="227936"/>
                    </a:cubicBezTo>
                    <a:moveTo>
                      <a:pt x="227936" y="91174"/>
                    </a:moveTo>
                    <a:lnTo>
                      <a:pt x="410284" y="91174"/>
                    </a:lnTo>
                    <a:cubicBezTo>
                      <a:pt x="485816" y="91174"/>
                      <a:pt x="547046" y="152405"/>
                      <a:pt x="547046" y="227936"/>
                    </a:cubicBezTo>
                    <a:lnTo>
                      <a:pt x="547046" y="410284"/>
                    </a:lnTo>
                    <a:cubicBezTo>
                      <a:pt x="547046" y="485816"/>
                      <a:pt x="485816" y="547046"/>
                      <a:pt x="410284" y="547046"/>
                    </a:cubicBezTo>
                    <a:lnTo>
                      <a:pt x="227936" y="547046"/>
                    </a:lnTo>
                    <a:cubicBezTo>
                      <a:pt x="152405" y="547046"/>
                      <a:pt x="91174" y="485816"/>
                      <a:pt x="91174" y="410284"/>
                    </a:cubicBezTo>
                    <a:lnTo>
                      <a:pt x="91174" y="227936"/>
                    </a:lnTo>
                    <a:cubicBezTo>
                      <a:pt x="91174" y="152405"/>
                      <a:pt x="152405" y="91174"/>
                      <a:pt x="227936" y="91174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" name="Полилиния 52">
                <a:extLst>
                  <a:ext uri="{FF2B5EF4-FFF2-40B4-BE49-F238E27FC236}">
                    <a16:creationId xmlns:a16="http://schemas.microsoft.com/office/drawing/2014/main" id="{DA8E7CD3-9612-CEBC-A88C-23EBB29CB0F0}"/>
                  </a:ext>
                </a:extLst>
              </p:cNvPr>
              <p:cNvSpPr/>
              <p:nvPr/>
            </p:nvSpPr>
            <p:spPr>
              <a:xfrm rot="-5400000">
                <a:off x="2346469" y="390107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" name="Полилиния 53">
                <a:extLst>
                  <a:ext uri="{FF2B5EF4-FFF2-40B4-BE49-F238E27FC236}">
                    <a16:creationId xmlns:a16="http://schemas.microsoft.com/office/drawing/2014/main" id="{CB7C1552-A558-3223-5E38-844A6277ECEC}"/>
                  </a:ext>
                </a:extLst>
              </p:cNvPr>
              <p:cNvSpPr/>
              <p:nvPr/>
            </p:nvSpPr>
            <p:spPr>
              <a:xfrm rot="5400000">
                <a:off x="2528817" y="390107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" name="Полилиния 69">
                <a:extLst>
                  <a:ext uri="{FF2B5EF4-FFF2-40B4-BE49-F238E27FC236}">
                    <a16:creationId xmlns:a16="http://schemas.microsoft.com/office/drawing/2014/main" id="{83E183D2-341F-9732-61D2-0E3D448F937C}"/>
                  </a:ext>
                </a:extLst>
              </p:cNvPr>
              <p:cNvSpPr/>
              <p:nvPr/>
            </p:nvSpPr>
            <p:spPr>
              <a:xfrm rot="-5400000">
                <a:off x="1981772" y="399225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7" name="Полилиния 516">
                <a:extLst>
                  <a:ext uri="{FF2B5EF4-FFF2-40B4-BE49-F238E27FC236}">
                    <a16:creationId xmlns:a16="http://schemas.microsoft.com/office/drawing/2014/main" id="{BE93B9A0-3D29-D545-AC1A-BB1BAF43F402}"/>
                  </a:ext>
                </a:extLst>
              </p:cNvPr>
              <p:cNvSpPr/>
              <p:nvPr/>
            </p:nvSpPr>
            <p:spPr>
              <a:xfrm>
                <a:off x="2072946" y="399225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8" name="Полилиния 517">
                <a:extLst>
                  <a:ext uri="{FF2B5EF4-FFF2-40B4-BE49-F238E27FC236}">
                    <a16:creationId xmlns:a16="http://schemas.microsoft.com/office/drawing/2014/main" id="{3387DE8B-514E-D77E-08B7-56D9407EF1D4}"/>
                  </a:ext>
                </a:extLst>
              </p:cNvPr>
              <p:cNvSpPr/>
              <p:nvPr/>
            </p:nvSpPr>
            <p:spPr>
              <a:xfrm>
                <a:off x="2164120" y="399225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9" name="Полилиния 518">
                <a:extLst>
                  <a:ext uri="{FF2B5EF4-FFF2-40B4-BE49-F238E27FC236}">
                    <a16:creationId xmlns:a16="http://schemas.microsoft.com/office/drawing/2014/main" id="{519213B3-DE68-906F-2C43-B407526D5E83}"/>
                  </a:ext>
                </a:extLst>
              </p:cNvPr>
              <p:cNvSpPr/>
              <p:nvPr/>
            </p:nvSpPr>
            <p:spPr>
              <a:xfrm rot="5400000">
                <a:off x="2346469" y="399225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0" name="Полилиния 519">
                <a:extLst>
                  <a:ext uri="{FF2B5EF4-FFF2-40B4-BE49-F238E27FC236}">
                    <a16:creationId xmlns:a16="http://schemas.microsoft.com/office/drawing/2014/main" id="{DF5769A5-368D-B458-DEEE-EE4AA21CCF7C}"/>
                  </a:ext>
                </a:extLst>
              </p:cNvPr>
              <p:cNvSpPr/>
              <p:nvPr/>
            </p:nvSpPr>
            <p:spPr>
              <a:xfrm rot="5400000">
                <a:off x="2711166" y="399225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1" name="Полилиния 520">
                <a:extLst>
                  <a:ext uri="{FF2B5EF4-FFF2-40B4-BE49-F238E27FC236}">
                    <a16:creationId xmlns:a16="http://schemas.microsoft.com/office/drawing/2014/main" id="{DE9076D0-C068-D22B-D814-C6E2ED9546E4}"/>
                  </a:ext>
                </a:extLst>
              </p:cNvPr>
              <p:cNvSpPr/>
              <p:nvPr/>
            </p:nvSpPr>
            <p:spPr>
              <a:xfrm>
                <a:off x="2072946" y="408342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2" name="Полилиния 521">
                <a:extLst>
                  <a:ext uri="{FF2B5EF4-FFF2-40B4-BE49-F238E27FC236}">
                    <a16:creationId xmlns:a16="http://schemas.microsoft.com/office/drawing/2014/main" id="{75B9072C-074E-2168-52FA-318B9E089D21}"/>
                  </a:ext>
                </a:extLst>
              </p:cNvPr>
              <p:cNvSpPr/>
              <p:nvPr/>
            </p:nvSpPr>
            <p:spPr>
              <a:xfrm>
                <a:off x="2164120" y="408342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3" name="Полилиния 522">
                <a:extLst>
                  <a:ext uri="{FF2B5EF4-FFF2-40B4-BE49-F238E27FC236}">
                    <a16:creationId xmlns:a16="http://schemas.microsoft.com/office/drawing/2014/main" id="{C79EE20A-BE74-1C15-CA68-2000E78617AE}"/>
                  </a:ext>
                </a:extLst>
              </p:cNvPr>
              <p:cNvSpPr/>
              <p:nvPr/>
            </p:nvSpPr>
            <p:spPr>
              <a:xfrm rot="5400000">
                <a:off x="2437643" y="408342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4" name="Полилиния 523">
                <a:extLst>
                  <a:ext uri="{FF2B5EF4-FFF2-40B4-BE49-F238E27FC236}">
                    <a16:creationId xmlns:a16="http://schemas.microsoft.com/office/drawing/2014/main" id="{97F4047C-A0C0-BAA4-7624-2C5E1E94D5EE}"/>
                  </a:ext>
                </a:extLst>
              </p:cNvPr>
              <p:cNvSpPr/>
              <p:nvPr/>
            </p:nvSpPr>
            <p:spPr>
              <a:xfrm rot="-5400000">
                <a:off x="1981772" y="417459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5" name="Полилиния 524">
                <a:extLst>
                  <a:ext uri="{FF2B5EF4-FFF2-40B4-BE49-F238E27FC236}">
                    <a16:creationId xmlns:a16="http://schemas.microsoft.com/office/drawing/2014/main" id="{29E56241-E3D0-CFBF-8DED-C49434E7FDEA}"/>
                  </a:ext>
                </a:extLst>
              </p:cNvPr>
              <p:cNvSpPr/>
              <p:nvPr/>
            </p:nvSpPr>
            <p:spPr>
              <a:xfrm rot="5400000">
                <a:off x="2164120" y="417459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6" name="Полилиния 525">
                <a:extLst>
                  <a:ext uri="{FF2B5EF4-FFF2-40B4-BE49-F238E27FC236}">
                    <a16:creationId xmlns:a16="http://schemas.microsoft.com/office/drawing/2014/main" id="{AC1E651A-424A-05CC-AD47-287163D3920A}"/>
                  </a:ext>
                </a:extLst>
              </p:cNvPr>
              <p:cNvSpPr/>
              <p:nvPr/>
            </p:nvSpPr>
            <p:spPr>
              <a:xfrm rot="-5400000">
                <a:off x="2619992" y="417459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7" name="Полилиния 526">
                <a:extLst>
                  <a:ext uri="{FF2B5EF4-FFF2-40B4-BE49-F238E27FC236}">
                    <a16:creationId xmlns:a16="http://schemas.microsoft.com/office/drawing/2014/main" id="{E37976E2-FA99-FD73-09D0-21375542CB8C}"/>
                  </a:ext>
                </a:extLst>
              </p:cNvPr>
              <p:cNvSpPr/>
              <p:nvPr/>
            </p:nvSpPr>
            <p:spPr>
              <a:xfrm>
                <a:off x="2711166" y="417459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8" name="Полилиния 527">
                <a:extLst>
                  <a:ext uri="{FF2B5EF4-FFF2-40B4-BE49-F238E27FC236}">
                    <a16:creationId xmlns:a16="http://schemas.microsoft.com/office/drawing/2014/main" id="{1D0A1A12-0F98-9829-672B-5CEDC08E1753}"/>
                  </a:ext>
                </a:extLst>
              </p:cNvPr>
              <p:cNvSpPr/>
              <p:nvPr/>
            </p:nvSpPr>
            <p:spPr>
              <a:xfrm>
                <a:off x="1981772" y="4265773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9" name="Полилиния 528">
                <a:extLst>
                  <a:ext uri="{FF2B5EF4-FFF2-40B4-BE49-F238E27FC236}">
                    <a16:creationId xmlns:a16="http://schemas.microsoft.com/office/drawing/2014/main" id="{A841BAF6-BB32-9E0E-6724-357CE3813ED6}"/>
                  </a:ext>
                </a:extLst>
              </p:cNvPr>
              <p:cNvSpPr/>
              <p:nvPr/>
            </p:nvSpPr>
            <p:spPr>
              <a:xfrm rot="5400000">
                <a:off x="2072946" y="4265773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0" name="Полилиния 529">
                <a:extLst>
                  <a:ext uri="{FF2B5EF4-FFF2-40B4-BE49-F238E27FC236}">
                    <a16:creationId xmlns:a16="http://schemas.microsoft.com/office/drawing/2014/main" id="{21390D67-1D76-90E4-D1B0-4626009479E5}"/>
                  </a:ext>
                </a:extLst>
              </p:cNvPr>
              <p:cNvSpPr/>
              <p:nvPr/>
            </p:nvSpPr>
            <p:spPr>
              <a:xfrm rot="-5400000">
                <a:off x="2346469" y="4265773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1" name="Полилиния 530">
                <a:extLst>
                  <a:ext uri="{FF2B5EF4-FFF2-40B4-BE49-F238E27FC236}">
                    <a16:creationId xmlns:a16="http://schemas.microsoft.com/office/drawing/2014/main" id="{69F41641-C026-0594-3EFE-0E92EA41FEFD}"/>
                  </a:ext>
                </a:extLst>
              </p:cNvPr>
              <p:cNvSpPr/>
              <p:nvPr/>
            </p:nvSpPr>
            <p:spPr>
              <a:xfrm>
                <a:off x="2437643" y="4265773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2" name="Полилиния 531">
                <a:extLst>
                  <a:ext uri="{FF2B5EF4-FFF2-40B4-BE49-F238E27FC236}">
                    <a16:creationId xmlns:a16="http://schemas.microsoft.com/office/drawing/2014/main" id="{5B938F9F-9C6D-12B5-4656-15425F4A749A}"/>
                  </a:ext>
                </a:extLst>
              </p:cNvPr>
              <p:cNvSpPr/>
              <p:nvPr/>
            </p:nvSpPr>
            <p:spPr>
              <a:xfrm>
                <a:off x="2711166" y="4265773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3" name="Полилиния 532">
                <a:extLst>
                  <a:ext uri="{FF2B5EF4-FFF2-40B4-BE49-F238E27FC236}">
                    <a16:creationId xmlns:a16="http://schemas.microsoft.com/office/drawing/2014/main" id="{11A1E973-A347-2F55-FAAC-EAECD771E638}"/>
                  </a:ext>
                </a:extLst>
              </p:cNvPr>
              <p:cNvSpPr/>
              <p:nvPr/>
            </p:nvSpPr>
            <p:spPr>
              <a:xfrm rot="-5400000">
                <a:off x="2164120" y="435694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4" name="Полилиния 533">
                <a:extLst>
                  <a:ext uri="{FF2B5EF4-FFF2-40B4-BE49-F238E27FC236}">
                    <a16:creationId xmlns:a16="http://schemas.microsoft.com/office/drawing/2014/main" id="{FE555B61-691C-0875-0835-FC484C0EA988}"/>
                  </a:ext>
                </a:extLst>
              </p:cNvPr>
              <p:cNvSpPr/>
              <p:nvPr/>
            </p:nvSpPr>
            <p:spPr>
              <a:xfrm>
                <a:off x="2346469" y="435694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5" name="Полилиния 534">
                <a:extLst>
                  <a:ext uri="{FF2B5EF4-FFF2-40B4-BE49-F238E27FC236}">
                    <a16:creationId xmlns:a16="http://schemas.microsoft.com/office/drawing/2014/main" id="{557061A5-4341-2A79-2AD8-579DC13719B9}"/>
                  </a:ext>
                </a:extLst>
              </p:cNvPr>
              <p:cNvSpPr/>
              <p:nvPr/>
            </p:nvSpPr>
            <p:spPr>
              <a:xfrm>
                <a:off x="2437643" y="435694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6" name="Полилиния 535">
                <a:extLst>
                  <a:ext uri="{FF2B5EF4-FFF2-40B4-BE49-F238E27FC236}">
                    <a16:creationId xmlns:a16="http://schemas.microsoft.com/office/drawing/2014/main" id="{E81B9010-1A12-519F-D748-252D42DC2409}"/>
                  </a:ext>
                </a:extLst>
              </p:cNvPr>
              <p:cNvSpPr/>
              <p:nvPr/>
            </p:nvSpPr>
            <p:spPr>
              <a:xfrm>
                <a:off x="2528817" y="435694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7" name="Полилиния 536">
                <a:extLst>
                  <a:ext uri="{FF2B5EF4-FFF2-40B4-BE49-F238E27FC236}">
                    <a16:creationId xmlns:a16="http://schemas.microsoft.com/office/drawing/2014/main" id="{106DE656-C972-9972-A226-2AB8B4600FCB}"/>
                  </a:ext>
                </a:extLst>
              </p:cNvPr>
              <p:cNvSpPr/>
              <p:nvPr/>
            </p:nvSpPr>
            <p:spPr>
              <a:xfrm>
                <a:off x="2711166" y="435694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8" name="Полилиния 537">
                <a:extLst>
                  <a:ext uri="{FF2B5EF4-FFF2-40B4-BE49-F238E27FC236}">
                    <a16:creationId xmlns:a16="http://schemas.microsoft.com/office/drawing/2014/main" id="{7DAB82A6-7C73-369C-3F90-F4EF544AC409}"/>
                  </a:ext>
                </a:extLst>
              </p:cNvPr>
              <p:cNvSpPr/>
              <p:nvPr/>
            </p:nvSpPr>
            <p:spPr>
              <a:xfrm rot="-5400000">
                <a:off x="1981772" y="444812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9" name="Полилиния 538">
                <a:extLst>
                  <a:ext uri="{FF2B5EF4-FFF2-40B4-BE49-F238E27FC236}">
                    <a16:creationId xmlns:a16="http://schemas.microsoft.com/office/drawing/2014/main" id="{0C1EF222-D350-52A7-2F9F-0B19446727EE}"/>
                  </a:ext>
                </a:extLst>
              </p:cNvPr>
              <p:cNvSpPr/>
              <p:nvPr/>
            </p:nvSpPr>
            <p:spPr>
              <a:xfrm rot="5400000">
                <a:off x="2164120" y="444812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0" name="Полилиния 539">
                <a:extLst>
                  <a:ext uri="{FF2B5EF4-FFF2-40B4-BE49-F238E27FC236}">
                    <a16:creationId xmlns:a16="http://schemas.microsoft.com/office/drawing/2014/main" id="{2A287CC9-CE4A-49D0-30AF-89606F3FB31C}"/>
                  </a:ext>
                </a:extLst>
              </p:cNvPr>
              <p:cNvSpPr/>
              <p:nvPr/>
            </p:nvSpPr>
            <p:spPr>
              <a:xfrm>
                <a:off x="2346469" y="444812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1" name="Полилиния 540">
                <a:extLst>
                  <a:ext uri="{FF2B5EF4-FFF2-40B4-BE49-F238E27FC236}">
                    <a16:creationId xmlns:a16="http://schemas.microsoft.com/office/drawing/2014/main" id="{8F67F479-4A17-47B9-2A78-BB6BFF80B95E}"/>
                  </a:ext>
                </a:extLst>
              </p:cNvPr>
              <p:cNvSpPr/>
              <p:nvPr/>
            </p:nvSpPr>
            <p:spPr>
              <a:xfrm rot="5400000">
                <a:off x="2528817" y="444812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2" name="Полилиния 541">
                <a:extLst>
                  <a:ext uri="{FF2B5EF4-FFF2-40B4-BE49-F238E27FC236}">
                    <a16:creationId xmlns:a16="http://schemas.microsoft.com/office/drawing/2014/main" id="{28D867A6-8384-7784-E962-4D82546F719B}"/>
                  </a:ext>
                </a:extLst>
              </p:cNvPr>
              <p:cNvSpPr/>
              <p:nvPr/>
            </p:nvSpPr>
            <p:spPr>
              <a:xfrm rot="5400000">
                <a:off x="2711166" y="444812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3" name="Полилиния 542">
                <a:extLst>
                  <a:ext uri="{FF2B5EF4-FFF2-40B4-BE49-F238E27FC236}">
                    <a16:creationId xmlns:a16="http://schemas.microsoft.com/office/drawing/2014/main" id="{343F1118-8B40-A17E-8788-55826DF4ABDD}"/>
                  </a:ext>
                </a:extLst>
              </p:cNvPr>
              <p:cNvSpPr/>
              <p:nvPr/>
            </p:nvSpPr>
            <p:spPr>
              <a:xfrm>
                <a:off x="1981772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4" name="Полилиния 543">
                <a:extLst>
                  <a:ext uri="{FF2B5EF4-FFF2-40B4-BE49-F238E27FC236}">
                    <a16:creationId xmlns:a16="http://schemas.microsoft.com/office/drawing/2014/main" id="{01AC4592-E26D-83F0-2301-6FD9EAD754A5}"/>
                  </a:ext>
                </a:extLst>
              </p:cNvPr>
              <p:cNvSpPr/>
              <p:nvPr/>
            </p:nvSpPr>
            <p:spPr>
              <a:xfrm rot="5400000">
                <a:off x="2072946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5" name="Полилиния 544">
                <a:extLst>
                  <a:ext uri="{FF2B5EF4-FFF2-40B4-BE49-F238E27FC236}">
                    <a16:creationId xmlns:a16="http://schemas.microsoft.com/office/drawing/2014/main" id="{AA78B312-3FD2-4217-4796-964EE35D3A7A}"/>
                  </a:ext>
                </a:extLst>
              </p:cNvPr>
              <p:cNvSpPr/>
              <p:nvPr/>
            </p:nvSpPr>
            <p:spPr>
              <a:xfrm rot="-5400000">
                <a:off x="2255295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6" name="Полилиния 545">
                <a:extLst>
                  <a:ext uri="{FF2B5EF4-FFF2-40B4-BE49-F238E27FC236}">
                    <a16:creationId xmlns:a16="http://schemas.microsoft.com/office/drawing/2014/main" id="{A44A3178-9992-11EE-4ED0-B434EC2CEC02}"/>
                  </a:ext>
                </a:extLst>
              </p:cNvPr>
              <p:cNvSpPr/>
              <p:nvPr/>
            </p:nvSpPr>
            <p:spPr>
              <a:xfrm>
                <a:off x="2346469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7" name="Полилиния 546">
                <a:extLst>
                  <a:ext uri="{FF2B5EF4-FFF2-40B4-BE49-F238E27FC236}">
                    <a16:creationId xmlns:a16="http://schemas.microsoft.com/office/drawing/2014/main" id="{FB2F5F90-B3E6-1D60-1804-9C01FB4B6E8C}"/>
                  </a:ext>
                </a:extLst>
              </p:cNvPr>
              <p:cNvSpPr/>
              <p:nvPr/>
            </p:nvSpPr>
            <p:spPr>
              <a:xfrm rot="5400000">
                <a:off x="2437643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8" name="Полилиния 547">
                <a:extLst>
                  <a:ext uri="{FF2B5EF4-FFF2-40B4-BE49-F238E27FC236}">
                    <a16:creationId xmlns:a16="http://schemas.microsoft.com/office/drawing/2014/main" id="{B4B83C10-9C60-C9B7-A162-A6CE679303AA}"/>
                  </a:ext>
                </a:extLst>
              </p:cNvPr>
              <p:cNvSpPr/>
              <p:nvPr/>
            </p:nvSpPr>
            <p:spPr>
              <a:xfrm rot="-5400000">
                <a:off x="2619992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9" name="Полилиния 548">
                <a:extLst>
                  <a:ext uri="{FF2B5EF4-FFF2-40B4-BE49-F238E27FC236}">
                    <a16:creationId xmlns:a16="http://schemas.microsoft.com/office/drawing/2014/main" id="{E6669F05-BAFE-A425-BB2E-3858B780240F}"/>
                  </a:ext>
                </a:extLst>
              </p:cNvPr>
              <p:cNvSpPr/>
              <p:nvPr/>
            </p:nvSpPr>
            <p:spPr>
              <a:xfrm rot="-5400000">
                <a:off x="1343551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0" name="Полилиния 549">
                <a:extLst>
                  <a:ext uri="{FF2B5EF4-FFF2-40B4-BE49-F238E27FC236}">
                    <a16:creationId xmlns:a16="http://schemas.microsoft.com/office/drawing/2014/main" id="{85FF2051-2128-8512-8DC6-A83E2A010CDA}"/>
                  </a:ext>
                </a:extLst>
              </p:cNvPr>
              <p:cNvSpPr/>
              <p:nvPr/>
            </p:nvSpPr>
            <p:spPr>
              <a:xfrm rot="-5400000">
                <a:off x="1525900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1" name="Полилиния 550">
                <a:extLst>
                  <a:ext uri="{FF2B5EF4-FFF2-40B4-BE49-F238E27FC236}">
                    <a16:creationId xmlns:a16="http://schemas.microsoft.com/office/drawing/2014/main" id="{99B3F6F8-4221-2FAB-9C96-C91491477D32}"/>
                  </a:ext>
                </a:extLst>
              </p:cNvPr>
              <p:cNvSpPr/>
              <p:nvPr/>
            </p:nvSpPr>
            <p:spPr>
              <a:xfrm>
                <a:off x="1617074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2" name="Полилиния 551">
                <a:extLst>
                  <a:ext uri="{FF2B5EF4-FFF2-40B4-BE49-F238E27FC236}">
                    <a16:creationId xmlns:a16="http://schemas.microsoft.com/office/drawing/2014/main" id="{8EB294B6-28CC-4FDA-AC4E-91856F21C539}"/>
                  </a:ext>
                </a:extLst>
              </p:cNvPr>
              <p:cNvSpPr/>
              <p:nvPr/>
            </p:nvSpPr>
            <p:spPr>
              <a:xfrm>
                <a:off x="1708249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3" name="Полилиния 552">
                <a:extLst>
                  <a:ext uri="{FF2B5EF4-FFF2-40B4-BE49-F238E27FC236}">
                    <a16:creationId xmlns:a16="http://schemas.microsoft.com/office/drawing/2014/main" id="{1DC3D129-6B81-8CEF-0711-73AA07E9C01B}"/>
                  </a:ext>
                </a:extLst>
              </p:cNvPr>
              <p:cNvSpPr/>
              <p:nvPr/>
            </p:nvSpPr>
            <p:spPr>
              <a:xfrm rot="5400000">
                <a:off x="1799423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4" name="Полилиния 553">
                <a:extLst>
                  <a:ext uri="{FF2B5EF4-FFF2-40B4-BE49-F238E27FC236}">
                    <a16:creationId xmlns:a16="http://schemas.microsoft.com/office/drawing/2014/main" id="{D477FB1C-F451-8A5F-D583-AB73B5927A07}"/>
                  </a:ext>
                </a:extLst>
              </p:cNvPr>
              <p:cNvSpPr/>
              <p:nvPr/>
            </p:nvSpPr>
            <p:spPr>
              <a:xfrm rot="5400000">
                <a:off x="1981772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5" name="Полилиния 554">
                <a:extLst>
                  <a:ext uri="{FF2B5EF4-FFF2-40B4-BE49-F238E27FC236}">
                    <a16:creationId xmlns:a16="http://schemas.microsoft.com/office/drawing/2014/main" id="{844B423A-C478-F3DC-4955-761EE4CC80DB}"/>
                  </a:ext>
                </a:extLst>
              </p:cNvPr>
              <p:cNvSpPr/>
              <p:nvPr/>
            </p:nvSpPr>
            <p:spPr>
              <a:xfrm>
                <a:off x="2619992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6" name="Полилиния 555">
                <a:extLst>
                  <a:ext uri="{FF2B5EF4-FFF2-40B4-BE49-F238E27FC236}">
                    <a16:creationId xmlns:a16="http://schemas.microsoft.com/office/drawing/2014/main" id="{4F536310-072A-42E7-E151-E7B29DBA512F}"/>
                  </a:ext>
                </a:extLst>
              </p:cNvPr>
              <p:cNvSpPr/>
              <p:nvPr/>
            </p:nvSpPr>
            <p:spPr>
              <a:xfrm>
                <a:off x="2711166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7" name="Полилиния 556">
                <a:extLst>
                  <a:ext uri="{FF2B5EF4-FFF2-40B4-BE49-F238E27FC236}">
                    <a16:creationId xmlns:a16="http://schemas.microsoft.com/office/drawing/2014/main" id="{D6EDEB6E-2381-1F4B-1A67-0E04062A3445}"/>
                  </a:ext>
                </a:extLst>
              </p:cNvPr>
              <p:cNvSpPr/>
              <p:nvPr/>
            </p:nvSpPr>
            <p:spPr>
              <a:xfrm>
                <a:off x="2802340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8" name="Полилиния 557">
                <a:extLst>
                  <a:ext uri="{FF2B5EF4-FFF2-40B4-BE49-F238E27FC236}">
                    <a16:creationId xmlns:a16="http://schemas.microsoft.com/office/drawing/2014/main" id="{F09DBFCC-63DA-80FE-5E28-7729CC662417}"/>
                  </a:ext>
                </a:extLst>
              </p:cNvPr>
              <p:cNvSpPr/>
              <p:nvPr/>
            </p:nvSpPr>
            <p:spPr>
              <a:xfrm rot="5400000">
                <a:off x="2893515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9" name="Полилиния 558">
                <a:extLst>
                  <a:ext uri="{FF2B5EF4-FFF2-40B4-BE49-F238E27FC236}">
                    <a16:creationId xmlns:a16="http://schemas.microsoft.com/office/drawing/2014/main" id="{663BD2D9-0584-B94D-21C9-770C57A093F9}"/>
                  </a:ext>
                </a:extLst>
              </p:cNvPr>
              <p:cNvSpPr/>
              <p:nvPr/>
            </p:nvSpPr>
            <p:spPr>
              <a:xfrm rot="-5400000">
                <a:off x="3075863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0" name="Полилиния 559">
                <a:extLst>
                  <a:ext uri="{FF2B5EF4-FFF2-40B4-BE49-F238E27FC236}">
                    <a16:creationId xmlns:a16="http://schemas.microsoft.com/office/drawing/2014/main" id="{FF5EADE2-2346-7CD2-E8EA-E83E575B4A96}"/>
                  </a:ext>
                </a:extLst>
              </p:cNvPr>
              <p:cNvSpPr/>
              <p:nvPr/>
            </p:nvSpPr>
            <p:spPr>
              <a:xfrm>
                <a:off x="3167038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1" name="Полилиния 560">
                <a:extLst>
                  <a:ext uri="{FF2B5EF4-FFF2-40B4-BE49-F238E27FC236}">
                    <a16:creationId xmlns:a16="http://schemas.microsoft.com/office/drawing/2014/main" id="{719352FA-A8AE-A198-D8A1-98EA39F96084}"/>
                  </a:ext>
                </a:extLst>
              </p:cNvPr>
              <p:cNvSpPr/>
              <p:nvPr/>
            </p:nvSpPr>
            <p:spPr>
              <a:xfrm rot="-5400000">
                <a:off x="3349386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2" name="Полилиния 561">
                <a:extLst>
                  <a:ext uri="{FF2B5EF4-FFF2-40B4-BE49-F238E27FC236}">
                    <a16:creationId xmlns:a16="http://schemas.microsoft.com/office/drawing/2014/main" id="{00712A79-E93D-4AE4-6A47-651D7FAB40D5}"/>
                  </a:ext>
                </a:extLst>
              </p:cNvPr>
              <p:cNvSpPr/>
              <p:nvPr/>
            </p:nvSpPr>
            <p:spPr>
              <a:xfrm rot="-5400000">
                <a:off x="1252377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3" name="Полилиния 562">
                <a:extLst>
                  <a:ext uri="{FF2B5EF4-FFF2-40B4-BE49-F238E27FC236}">
                    <a16:creationId xmlns:a16="http://schemas.microsoft.com/office/drawing/2014/main" id="{0B0B287A-1873-7026-9790-04ED3BDB6221}"/>
                  </a:ext>
                </a:extLst>
              </p:cNvPr>
              <p:cNvSpPr/>
              <p:nvPr/>
            </p:nvSpPr>
            <p:spPr>
              <a:xfrm>
                <a:off x="1343551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4" name="Полилиния 563">
                <a:extLst>
                  <a:ext uri="{FF2B5EF4-FFF2-40B4-BE49-F238E27FC236}">
                    <a16:creationId xmlns:a16="http://schemas.microsoft.com/office/drawing/2014/main" id="{7B6322AC-B9F4-A6CF-B2AB-83DC19BB38D7}"/>
                  </a:ext>
                </a:extLst>
              </p:cNvPr>
              <p:cNvSpPr/>
              <p:nvPr/>
            </p:nvSpPr>
            <p:spPr>
              <a:xfrm>
                <a:off x="1434726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5" name="Полилиния 564">
                <a:extLst>
                  <a:ext uri="{FF2B5EF4-FFF2-40B4-BE49-F238E27FC236}">
                    <a16:creationId xmlns:a16="http://schemas.microsoft.com/office/drawing/2014/main" id="{99F56C8D-3D45-67D6-B47D-4F01D94AF7DE}"/>
                  </a:ext>
                </a:extLst>
              </p:cNvPr>
              <p:cNvSpPr/>
              <p:nvPr/>
            </p:nvSpPr>
            <p:spPr>
              <a:xfrm>
                <a:off x="1525900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6" name="Полилиния 565">
                <a:extLst>
                  <a:ext uri="{FF2B5EF4-FFF2-40B4-BE49-F238E27FC236}">
                    <a16:creationId xmlns:a16="http://schemas.microsoft.com/office/drawing/2014/main" id="{E98F0844-3702-4508-97C8-0F0E282BA93B}"/>
                  </a:ext>
                </a:extLst>
              </p:cNvPr>
              <p:cNvSpPr/>
              <p:nvPr/>
            </p:nvSpPr>
            <p:spPr>
              <a:xfrm>
                <a:off x="1617074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7" name="Полилиния 566">
                <a:extLst>
                  <a:ext uri="{FF2B5EF4-FFF2-40B4-BE49-F238E27FC236}">
                    <a16:creationId xmlns:a16="http://schemas.microsoft.com/office/drawing/2014/main" id="{8888468B-FB18-E709-3113-582EAC28062D}"/>
                  </a:ext>
                </a:extLst>
              </p:cNvPr>
              <p:cNvSpPr/>
              <p:nvPr/>
            </p:nvSpPr>
            <p:spPr>
              <a:xfrm>
                <a:off x="1708249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8" name="Полилиния 567">
                <a:extLst>
                  <a:ext uri="{FF2B5EF4-FFF2-40B4-BE49-F238E27FC236}">
                    <a16:creationId xmlns:a16="http://schemas.microsoft.com/office/drawing/2014/main" id="{7D97C3D8-FD57-8286-B30E-60925CD1A858}"/>
                  </a:ext>
                </a:extLst>
              </p:cNvPr>
              <p:cNvSpPr/>
              <p:nvPr/>
            </p:nvSpPr>
            <p:spPr>
              <a:xfrm rot="-5400000">
                <a:off x="1890597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9" name="Полилиния 568">
                <a:extLst>
                  <a:ext uri="{FF2B5EF4-FFF2-40B4-BE49-F238E27FC236}">
                    <a16:creationId xmlns:a16="http://schemas.microsoft.com/office/drawing/2014/main" id="{3B4C4EC6-554B-8C47-D8C6-B0B9E2CE4D15}"/>
                  </a:ext>
                </a:extLst>
              </p:cNvPr>
              <p:cNvSpPr/>
              <p:nvPr/>
            </p:nvSpPr>
            <p:spPr>
              <a:xfrm rot="-5400000">
                <a:off x="2072946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0" name="Полилиния 569">
                <a:extLst>
                  <a:ext uri="{FF2B5EF4-FFF2-40B4-BE49-F238E27FC236}">
                    <a16:creationId xmlns:a16="http://schemas.microsoft.com/office/drawing/2014/main" id="{00F5A0F3-90B8-DA90-7723-164D29260FCE}"/>
                  </a:ext>
                </a:extLst>
              </p:cNvPr>
              <p:cNvSpPr/>
              <p:nvPr/>
            </p:nvSpPr>
            <p:spPr>
              <a:xfrm rot="5400000">
                <a:off x="2164120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1" name="Полилиния 570">
                <a:extLst>
                  <a:ext uri="{FF2B5EF4-FFF2-40B4-BE49-F238E27FC236}">
                    <a16:creationId xmlns:a16="http://schemas.microsoft.com/office/drawing/2014/main" id="{399921CF-D6D2-8C46-480A-85B0792D1B7F}"/>
                  </a:ext>
                </a:extLst>
              </p:cNvPr>
              <p:cNvSpPr/>
              <p:nvPr/>
            </p:nvSpPr>
            <p:spPr>
              <a:xfrm rot="-5400000">
                <a:off x="2346469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2" name="Полилиния 571">
                <a:extLst>
                  <a:ext uri="{FF2B5EF4-FFF2-40B4-BE49-F238E27FC236}">
                    <a16:creationId xmlns:a16="http://schemas.microsoft.com/office/drawing/2014/main" id="{C394C146-28F4-1939-F50D-AC1BC0859425}"/>
                  </a:ext>
                </a:extLst>
              </p:cNvPr>
              <p:cNvSpPr/>
              <p:nvPr/>
            </p:nvSpPr>
            <p:spPr>
              <a:xfrm>
                <a:off x="2619992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3" name="Полилиния 572">
                <a:extLst>
                  <a:ext uri="{FF2B5EF4-FFF2-40B4-BE49-F238E27FC236}">
                    <a16:creationId xmlns:a16="http://schemas.microsoft.com/office/drawing/2014/main" id="{11D04D70-86AE-ABC9-C1BF-1DC960F03CA4}"/>
                  </a:ext>
                </a:extLst>
              </p:cNvPr>
              <p:cNvSpPr/>
              <p:nvPr/>
            </p:nvSpPr>
            <p:spPr>
              <a:xfrm rot="-5400000">
                <a:off x="2984689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4" name="Полилиния 573">
                <a:extLst>
                  <a:ext uri="{FF2B5EF4-FFF2-40B4-BE49-F238E27FC236}">
                    <a16:creationId xmlns:a16="http://schemas.microsoft.com/office/drawing/2014/main" id="{A43C22D6-81F4-3368-46AF-A0285606107E}"/>
                  </a:ext>
                </a:extLst>
              </p:cNvPr>
              <p:cNvSpPr/>
              <p:nvPr/>
            </p:nvSpPr>
            <p:spPr>
              <a:xfrm>
                <a:off x="3075863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5" name="Полилиния 574">
                <a:extLst>
                  <a:ext uri="{FF2B5EF4-FFF2-40B4-BE49-F238E27FC236}">
                    <a16:creationId xmlns:a16="http://schemas.microsoft.com/office/drawing/2014/main" id="{E7F3C6D9-E083-A244-148A-91CEEDEF8A0A}"/>
                  </a:ext>
                </a:extLst>
              </p:cNvPr>
              <p:cNvSpPr/>
              <p:nvPr/>
            </p:nvSpPr>
            <p:spPr>
              <a:xfrm>
                <a:off x="3167038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7" name="Полилиния 146">
                <a:extLst>
                  <a:ext uri="{FF2B5EF4-FFF2-40B4-BE49-F238E27FC236}">
                    <a16:creationId xmlns:a16="http://schemas.microsoft.com/office/drawing/2014/main" id="{7E0DAB9D-EA2E-015E-D5A9-FAEDB137B577}"/>
                  </a:ext>
                </a:extLst>
              </p:cNvPr>
              <p:cNvSpPr/>
              <p:nvPr/>
            </p:nvSpPr>
            <p:spPr>
              <a:xfrm>
                <a:off x="3258212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8" name="Полилиния 147">
                <a:extLst>
                  <a:ext uri="{FF2B5EF4-FFF2-40B4-BE49-F238E27FC236}">
                    <a16:creationId xmlns:a16="http://schemas.microsoft.com/office/drawing/2014/main" id="{36F54EDB-E6EF-1351-0A4B-EED4F62729FE}"/>
                  </a:ext>
                </a:extLst>
              </p:cNvPr>
              <p:cNvSpPr/>
              <p:nvPr/>
            </p:nvSpPr>
            <p:spPr>
              <a:xfrm rot="5400000">
                <a:off x="3349386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9" name="Полилиния 148">
                <a:extLst>
                  <a:ext uri="{FF2B5EF4-FFF2-40B4-BE49-F238E27FC236}">
                    <a16:creationId xmlns:a16="http://schemas.microsoft.com/office/drawing/2014/main" id="{72D60927-AAEB-3BC0-66D0-5854BDEBB362}"/>
                  </a:ext>
                </a:extLst>
              </p:cNvPr>
              <p:cNvSpPr/>
              <p:nvPr/>
            </p:nvSpPr>
            <p:spPr>
              <a:xfrm rot="5400000">
                <a:off x="1525900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0" name="Полилиния 149">
                <a:extLst>
                  <a:ext uri="{FF2B5EF4-FFF2-40B4-BE49-F238E27FC236}">
                    <a16:creationId xmlns:a16="http://schemas.microsoft.com/office/drawing/2014/main" id="{ABBFC66B-C29F-6873-9AF8-D25B80321736}"/>
                  </a:ext>
                </a:extLst>
              </p:cNvPr>
              <p:cNvSpPr/>
              <p:nvPr/>
            </p:nvSpPr>
            <p:spPr>
              <a:xfrm>
                <a:off x="1708249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1" name="Полилиния 150">
                <a:extLst>
                  <a:ext uri="{FF2B5EF4-FFF2-40B4-BE49-F238E27FC236}">
                    <a16:creationId xmlns:a16="http://schemas.microsoft.com/office/drawing/2014/main" id="{14F768A8-96CC-102A-405B-71F987D9C6DD}"/>
                  </a:ext>
                </a:extLst>
              </p:cNvPr>
              <p:cNvSpPr/>
              <p:nvPr/>
            </p:nvSpPr>
            <p:spPr>
              <a:xfrm>
                <a:off x="1799423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2" name="Полилиния 151">
                <a:extLst>
                  <a:ext uri="{FF2B5EF4-FFF2-40B4-BE49-F238E27FC236}">
                    <a16:creationId xmlns:a16="http://schemas.microsoft.com/office/drawing/2014/main" id="{787E8C07-614E-4E0B-9459-7E4481329938}"/>
                  </a:ext>
                </a:extLst>
              </p:cNvPr>
              <p:cNvSpPr/>
              <p:nvPr/>
            </p:nvSpPr>
            <p:spPr>
              <a:xfrm>
                <a:off x="1890597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3" name="Полилиния 152">
                <a:extLst>
                  <a:ext uri="{FF2B5EF4-FFF2-40B4-BE49-F238E27FC236}">
                    <a16:creationId xmlns:a16="http://schemas.microsoft.com/office/drawing/2014/main" id="{D41A526C-FA46-7554-77A7-624DFBCAA33B}"/>
                  </a:ext>
                </a:extLst>
              </p:cNvPr>
              <p:cNvSpPr/>
              <p:nvPr/>
            </p:nvSpPr>
            <p:spPr>
              <a:xfrm rot="-5400000">
                <a:off x="2255295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4" name="Полилиния 153">
                <a:extLst>
                  <a:ext uri="{FF2B5EF4-FFF2-40B4-BE49-F238E27FC236}">
                    <a16:creationId xmlns:a16="http://schemas.microsoft.com/office/drawing/2014/main" id="{36D6779A-E9BD-5215-16ED-8585617CD2DD}"/>
                  </a:ext>
                </a:extLst>
              </p:cNvPr>
              <p:cNvSpPr/>
              <p:nvPr/>
            </p:nvSpPr>
            <p:spPr>
              <a:xfrm rot="5400000">
                <a:off x="2346469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5" name="Полилиния 154">
                <a:extLst>
                  <a:ext uri="{FF2B5EF4-FFF2-40B4-BE49-F238E27FC236}">
                    <a16:creationId xmlns:a16="http://schemas.microsoft.com/office/drawing/2014/main" id="{462320E0-E504-9B5B-DB48-6298907E35D7}"/>
                  </a:ext>
                </a:extLst>
              </p:cNvPr>
              <p:cNvSpPr/>
              <p:nvPr/>
            </p:nvSpPr>
            <p:spPr>
              <a:xfrm rot="-5400000">
                <a:off x="2528817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6" name="Полилиния 155">
                <a:extLst>
                  <a:ext uri="{FF2B5EF4-FFF2-40B4-BE49-F238E27FC236}">
                    <a16:creationId xmlns:a16="http://schemas.microsoft.com/office/drawing/2014/main" id="{A17F4CA9-4246-B4E5-E2B7-38FAE13809DA}"/>
                  </a:ext>
                </a:extLst>
              </p:cNvPr>
              <p:cNvSpPr/>
              <p:nvPr/>
            </p:nvSpPr>
            <p:spPr>
              <a:xfrm>
                <a:off x="2619992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4" name="Полилиния 163">
                <a:extLst>
                  <a:ext uri="{FF2B5EF4-FFF2-40B4-BE49-F238E27FC236}">
                    <a16:creationId xmlns:a16="http://schemas.microsoft.com/office/drawing/2014/main" id="{39DCB21D-2FD1-D285-58A3-C234602F0A88}"/>
                  </a:ext>
                </a:extLst>
              </p:cNvPr>
              <p:cNvSpPr/>
              <p:nvPr/>
            </p:nvSpPr>
            <p:spPr>
              <a:xfrm rot="5400000">
                <a:off x="2711166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7" name="Полилиния 166">
                <a:extLst>
                  <a:ext uri="{FF2B5EF4-FFF2-40B4-BE49-F238E27FC236}">
                    <a16:creationId xmlns:a16="http://schemas.microsoft.com/office/drawing/2014/main" id="{D42E2B58-03D6-9BB3-34F2-44D0B790C2B5}"/>
                  </a:ext>
                </a:extLst>
              </p:cNvPr>
              <p:cNvSpPr/>
              <p:nvPr/>
            </p:nvSpPr>
            <p:spPr>
              <a:xfrm>
                <a:off x="2984689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8" name="Полилиния 167">
                <a:extLst>
                  <a:ext uri="{FF2B5EF4-FFF2-40B4-BE49-F238E27FC236}">
                    <a16:creationId xmlns:a16="http://schemas.microsoft.com/office/drawing/2014/main" id="{96D0392B-74F5-9F1F-AE2F-B0399821C616}"/>
                  </a:ext>
                </a:extLst>
              </p:cNvPr>
              <p:cNvSpPr/>
              <p:nvPr/>
            </p:nvSpPr>
            <p:spPr>
              <a:xfrm>
                <a:off x="3167038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9" name="Полилиния 168">
                <a:extLst>
                  <a:ext uri="{FF2B5EF4-FFF2-40B4-BE49-F238E27FC236}">
                    <a16:creationId xmlns:a16="http://schemas.microsoft.com/office/drawing/2014/main" id="{A05745C5-1635-E610-9A4F-381A9F6C27CB}"/>
                  </a:ext>
                </a:extLst>
              </p:cNvPr>
              <p:cNvSpPr/>
              <p:nvPr/>
            </p:nvSpPr>
            <p:spPr>
              <a:xfrm rot="-5400000">
                <a:off x="3440561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0" name="Полилиния 169">
                <a:extLst>
                  <a:ext uri="{FF2B5EF4-FFF2-40B4-BE49-F238E27FC236}">
                    <a16:creationId xmlns:a16="http://schemas.microsoft.com/office/drawing/2014/main" id="{093117FE-E4E7-D5B2-0A87-99D77409D955}"/>
                  </a:ext>
                </a:extLst>
              </p:cNvPr>
              <p:cNvSpPr/>
              <p:nvPr/>
            </p:nvSpPr>
            <p:spPr>
              <a:xfrm rot="-5400000">
                <a:off x="1343551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" name="Полилиния 173">
                <a:extLst>
                  <a:ext uri="{FF2B5EF4-FFF2-40B4-BE49-F238E27FC236}">
                    <a16:creationId xmlns:a16="http://schemas.microsoft.com/office/drawing/2014/main" id="{B3889024-965E-82AF-3340-9CABACCED555}"/>
                  </a:ext>
                </a:extLst>
              </p:cNvPr>
              <p:cNvSpPr/>
              <p:nvPr/>
            </p:nvSpPr>
            <p:spPr>
              <a:xfrm>
                <a:off x="1434726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" name="Полилиния 174">
                <a:extLst>
                  <a:ext uri="{FF2B5EF4-FFF2-40B4-BE49-F238E27FC236}">
                    <a16:creationId xmlns:a16="http://schemas.microsoft.com/office/drawing/2014/main" id="{9723718B-D8FB-EF55-EC3A-E1A7F6595B17}"/>
                  </a:ext>
                </a:extLst>
              </p:cNvPr>
              <p:cNvSpPr/>
              <p:nvPr/>
            </p:nvSpPr>
            <p:spPr>
              <a:xfrm rot="5400000">
                <a:off x="1617074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6" name="Полилиния 175">
                <a:extLst>
                  <a:ext uri="{FF2B5EF4-FFF2-40B4-BE49-F238E27FC236}">
                    <a16:creationId xmlns:a16="http://schemas.microsoft.com/office/drawing/2014/main" id="{16595DFB-1617-E84D-7EA6-57B92F1C38A8}"/>
                  </a:ext>
                </a:extLst>
              </p:cNvPr>
              <p:cNvSpPr/>
              <p:nvPr/>
            </p:nvSpPr>
            <p:spPr>
              <a:xfrm>
                <a:off x="1890597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7" name="Полилиния 176">
                <a:extLst>
                  <a:ext uri="{FF2B5EF4-FFF2-40B4-BE49-F238E27FC236}">
                    <a16:creationId xmlns:a16="http://schemas.microsoft.com/office/drawing/2014/main" id="{B70BE479-7DE1-8BEC-7598-81734F01CB7D}"/>
                  </a:ext>
                </a:extLst>
              </p:cNvPr>
              <p:cNvSpPr/>
              <p:nvPr/>
            </p:nvSpPr>
            <p:spPr>
              <a:xfrm>
                <a:off x="1981772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8" name="Полилиния 177">
                <a:extLst>
                  <a:ext uri="{FF2B5EF4-FFF2-40B4-BE49-F238E27FC236}">
                    <a16:creationId xmlns:a16="http://schemas.microsoft.com/office/drawing/2014/main" id="{9C2885A1-A313-C48B-CEBC-E3F09A42B18A}"/>
                  </a:ext>
                </a:extLst>
              </p:cNvPr>
              <p:cNvSpPr/>
              <p:nvPr/>
            </p:nvSpPr>
            <p:spPr>
              <a:xfrm rot="5400000">
                <a:off x="2072946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9" name="Полилиния 178">
                <a:extLst>
                  <a:ext uri="{FF2B5EF4-FFF2-40B4-BE49-F238E27FC236}">
                    <a16:creationId xmlns:a16="http://schemas.microsoft.com/office/drawing/2014/main" id="{B558C94C-CE24-39E2-E657-0B704D32267B}"/>
                  </a:ext>
                </a:extLst>
              </p:cNvPr>
              <p:cNvSpPr/>
              <p:nvPr/>
            </p:nvSpPr>
            <p:spPr>
              <a:xfrm>
                <a:off x="2528817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0" name="Полилиния 179">
                <a:extLst>
                  <a:ext uri="{FF2B5EF4-FFF2-40B4-BE49-F238E27FC236}">
                    <a16:creationId xmlns:a16="http://schemas.microsoft.com/office/drawing/2014/main" id="{C2CB67B9-D53B-83B2-1993-FEEDDFC3D279}"/>
                  </a:ext>
                </a:extLst>
              </p:cNvPr>
              <p:cNvSpPr/>
              <p:nvPr/>
            </p:nvSpPr>
            <p:spPr>
              <a:xfrm rot="5400000">
                <a:off x="2619992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1" name="Полилиния 180">
                <a:extLst>
                  <a:ext uri="{FF2B5EF4-FFF2-40B4-BE49-F238E27FC236}">
                    <a16:creationId xmlns:a16="http://schemas.microsoft.com/office/drawing/2014/main" id="{5312558B-6442-EC73-61C0-3C8BAED5FEEF}"/>
                  </a:ext>
                </a:extLst>
              </p:cNvPr>
              <p:cNvSpPr/>
              <p:nvPr/>
            </p:nvSpPr>
            <p:spPr>
              <a:xfrm>
                <a:off x="2984689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2" name="Полилиния 181">
                <a:extLst>
                  <a:ext uri="{FF2B5EF4-FFF2-40B4-BE49-F238E27FC236}">
                    <a16:creationId xmlns:a16="http://schemas.microsoft.com/office/drawing/2014/main" id="{FAE9E020-2363-64BD-9586-C52F61C1EB0E}"/>
                  </a:ext>
                </a:extLst>
              </p:cNvPr>
              <p:cNvSpPr/>
              <p:nvPr/>
            </p:nvSpPr>
            <p:spPr>
              <a:xfrm>
                <a:off x="3167038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3" name="Полилиния 182">
                <a:extLst>
                  <a:ext uri="{FF2B5EF4-FFF2-40B4-BE49-F238E27FC236}">
                    <a16:creationId xmlns:a16="http://schemas.microsoft.com/office/drawing/2014/main" id="{E8F1D5F9-A88B-E66D-4377-0F478E6678AA}"/>
                  </a:ext>
                </a:extLst>
              </p:cNvPr>
              <p:cNvSpPr/>
              <p:nvPr/>
            </p:nvSpPr>
            <p:spPr>
              <a:xfrm>
                <a:off x="3258212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4" name="Полилиния 183">
                <a:extLst>
                  <a:ext uri="{FF2B5EF4-FFF2-40B4-BE49-F238E27FC236}">
                    <a16:creationId xmlns:a16="http://schemas.microsoft.com/office/drawing/2014/main" id="{88634B60-A65C-0B6F-29A0-B3C1A4C36F6C}"/>
                  </a:ext>
                </a:extLst>
              </p:cNvPr>
              <p:cNvSpPr/>
              <p:nvPr/>
            </p:nvSpPr>
            <p:spPr>
              <a:xfrm>
                <a:off x="3349386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5" name="Полилиния 184">
                <a:extLst>
                  <a:ext uri="{FF2B5EF4-FFF2-40B4-BE49-F238E27FC236}">
                    <a16:creationId xmlns:a16="http://schemas.microsoft.com/office/drawing/2014/main" id="{FF482774-336B-3A46-F0C5-4B0E5A893807}"/>
                  </a:ext>
                </a:extLst>
              </p:cNvPr>
              <p:cNvSpPr/>
              <p:nvPr/>
            </p:nvSpPr>
            <p:spPr>
              <a:xfrm>
                <a:off x="3440561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6" name="Полилиния 185">
                <a:extLst>
                  <a:ext uri="{FF2B5EF4-FFF2-40B4-BE49-F238E27FC236}">
                    <a16:creationId xmlns:a16="http://schemas.microsoft.com/office/drawing/2014/main" id="{387FE2BE-1D24-597C-2F0C-149EA10D44BB}"/>
                  </a:ext>
                </a:extLst>
              </p:cNvPr>
              <p:cNvSpPr/>
              <p:nvPr/>
            </p:nvSpPr>
            <p:spPr>
              <a:xfrm rot="-5400000">
                <a:off x="1252377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7" name="Полилиния 186">
                <a:extLst>
                  <a:ext uri="{FF2B5EF4-FFF2-40B4-BE49-F238E27FC236}">
                    <a16:creationId xmlns:a16="http://schemas.microsoft.com/office/drawing/2014/main" id="{F9E2CBD0-AB04-2412-9853-93658AD5CAF9}"/>
                  </a:ext>
                </a:extLst>
              </p:cNvPr>
              <p:cNvSpPr/>
              <p:nvPr/>
            </p:nvSpPr>
            <p:spPr>
              <a:xfrm>
                <a:off x="1343551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8" name="Полилиния 187">
                <a:extLst>
                  <a:ext uri="{FF2B5EF4-FFF2-40B4-BE49-F238E27FC236}">
                    <a16:creationId xmlns:a16="http://schemas.microsoft.com/office/drawing/2014/main" id="{230E2373-14C2-706D-5014-9418D8E244AF}"/>
                  </a:ext>
                </a:extLst>
              </p:cNvPr>
              <p:cNvSpPr/>
              <p:nvPr/>
            </p:nvSpPr>
            <p:spPr>
              <a:xfrm>
                <a:off x="1434726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9" name="Полилиния 188">
                <a:extLst>
                  <a:ext uri="{FF2B5EF4-FFF2-40B4-BE49-F238E27FC236}">
                    <a16:creationId xmlns:a16="http://schemas.microsoft.com/office/drawing/2014/main" id="{232846EF-BC58-0584-C3B4-42E409C71E4D}"/>
                  </a:ext>
                </a:extLst>
              </p:cNvPr>
              <p:cNvSpPr/>
              <p:nvPr/>
            </p:nvSpPr>
            <p:spPr>
              <a:xfrm rot="5400000">
                <a:off x="1799423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0" name="Полилиния 189">
                <a:extLst>
                  <a:ext uri="{FF2B5EF4-FFF2-40B4-BE49-F238E27FC236}">
                    <a16:creationId xmlns:a16="http://schemas.microsoft.com/office/drawing/2014/main" id="{78506934-A9A9-4156-2E9D-6073831B30B7}"/>
                  </a:ext>
                </a:extLst>
              </p:cNvPr>
              <p:cNvSpPr/>
              <p:nvPr/>
            </p:nvSpPr>
            <p:spPr>
              <a:xfrm rot="5400000">
                <a:off x="1981772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1" name="Полилиния 190">
                <a:extLst>
                  <a:ext uri="{FF2B5EF4-FFF2-40B4-BE49-F238E27FC236}">
                    <a16:creationId xmlns:a16="http://schemas.microsoft.com/office/drawing/2014/main" id="{3F682C9B-1AF5-0E20-6A28-490A67C83576}"/>
                  </a:ext>
                </a:extLst>
              </p:cNvPr>
              <p:cNvSpPr/>
              <p:nvPr/>
            </p:nvSpPr>
            <p:spPr>
              <a:xfrm rot="5400000">
                <a:off x="2255295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6" name="Полилиния 255">
                <a:extLst>
                  <a:ext uri="{FF2B5EF4-FFF2-40B4-BE49-F238E27FC236}">
                    <a16:creationId xmlns:a16="http://schemas.microsoft.com/office/drawing/2014/main" id="{79BB68B0-03E6-0B1E-2A92-1A7F07FF501E}"/>
                  </a:ext>
                </a:extLst>
              </p:cNvPr>
              <p:cNvSpPr/>
              <p:nvPr/>
            </p:nvSpPr>
            <p:spPr>
              <a:xfrm rot="-5400000">
                <a:off x="2437643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7" name="Полилиния 256">
                <a:extLst>
                  <a:ext uri="{FF2B5EF4-FFF2-40B4-BE49-F238E27FC236}">
                    <a16:creationId xmlns:a16="http://schemas.microsoft.com/office/drawing/2014/main" id="{A3DE9623-BF60-7C60-4907-FC81B72C34D1}"/>
                  </a:ext>
                </a:extLst>
              </p:cNvPr>
              <p:cNvSpPr/>
              <p:nvPr/>
            </p:nvSpPr>
            <p:spPr>
              <a:xfrm>
                <a:off x="2528817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8" name="Полилиния 257">
                <a:extLst>
                  <a:ext uri="{FF2B5EF4-FFF2-40B4-BE49-F238E27FC236}">
                    <a16:creationId xmlns:a16="http://schemas.microsoft.com/office/drawing/2014/main" id="{3F18B81B-D852-69DC-F923-5748CE4689C3}"/>
                  </a:ext>
                </a:extLst>
              </p:cNvPr>
              <p:cNvSpPr/>
              <p:nvPr/>
            </p:nvSpPr>
            <p:spPr>
              <a:xfrm rot="5400000">
                <a:off x="2711166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9" name="Полилиния 258">
                <a:extLst>
                  <a:ext uri="{FF2B5EF4-FFF2-40B4-BE49-F238E27FC236}">
                    <a16:creationId xmlns:a16="http://schemas.microsoft.com/office/drawing/2014/main" id="{2349BE27-7F43-1877-E8C2-501B7240870F}"/>
                  </a:ext>
                </a:extLst>
              </p:cNvPr>
              <p:cNvSpPr/>
              <p:nvPr/>
            </p:nvSpPr>
            <p:spPr>
              <a:xfrm rot="-5400000">
                <a:off x="2893515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0" name="Полилиния 259">
                <a:extLst>
                  <a:ext uri="{FF2B5EF4-FFF2-40B4-BE49-F238E27FC236}">
                    <a16:creationId xmlns:a16="http://schemas.microsoft.com/office/drawing/2014/main" id="{DD90032F-BC16-F7A8-61F9-267CFCD8B74F}"/>
                  </a:ext>
                </a:extLst>
              </p:cNvPr>
              <p:cNvSpPr/>
              <p:nvPr/>
            </p:nvSpPr>
            <p:spPr>
              <a:xfrm rot="5400000">
                <a:off x="2984689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1" name="Полилиния 260">
                <a:extLst>
                  <a:ext uri="{FF2B5EF4-FFF2-40B4-BE49-F238E27FC236}">
                    <a16:creationId xmlns:a16="http://schemas.microsoft.com/office/drawing/2014/main" id="{6F2C8028-962F-0727-074F-1AF6D76939A9}"/>
                  </a:ext>
                </a:extLst>
              </p:cNvPr>
              <p:cNvSpPr/>
              <p:nvPr/>
            </p:nvSpPr>
            <p:spPr>
              <a:xfrm rot="5400000">
                <a:off x="3440561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2" name="Полилиния 261">
                <a:extLst>
                  <a:ext uri="{FF2B5EF4-FFF2-40B4-BE49-F238E27FC236}">
                    <a16:creationId xmlns:a16="http://schemas.microsoft.com/office/drawing/2014/main" id="{0F5C4E11-F8F6-3A85-546E-4C4AFA6CCC3F}"/>
                  </a:ext>
                </a:extLst>
              </p:cNvPr>
              <p:cNvSpPr/>
              <p:nvPr/>
            </p:nvSpPr>
            <p:spPr>
              <a:xfrm>
                <a:off x="1252377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3" name="Полилиния 262">
                <a:extLst>
                  <a:ext uri="{FF2B5EF4-FFF2-40B4-BE49-F238E27FC236}">
                    <a16:creationId xmlns:a16="http://schemas.microsoft.com/office/drawing/2014/main" id="{10FAE3B6-7B18-B27D-3202-18531F0B6381}"/>
                  </a:ext>
                </a:extLst>
              </p:cNvPr>
              <p:cNvSpPr/>
              <p:nvPr/>
            </p:nvSpPr>
            <p:spPr>
              <a:xfrm>
                <a:off x="1343551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4" name="Полилиния 263">
                <a:extLst>
                  <a:ext uri="{FF2B5EF4-FFF2-40B4-BE49-F238E27FC236}">
                    <a16:creationId xmlns:a16="http://schemas.microsoft.com/office/drawing/2014/main" id="{A45A0C42-0AF4-799B-FC47-705A4FDD87FA}"/>
                  </a:ext>
                </a:extLst>
              </p:cNvPr>
              <p:cNvSpPr/>
              <p:nvPr/>
            </p:nvSpPr>
            <p:spPr>
              <a:xfrm>
                <a:off x="1434726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5" name="Полилиния 264">
                <a:extLst>
                  <a:ext uri="{FF2B5EF4-FFF2-40B4-BE49-F238E27FC236}">
                    <a16:creationId xmlns:a16="http://schemas.microsoft.com/office/drawing/2014/main" id="{7403FE8E-4B0D-B2C7-B231-CB8307AD4A25}"/>
                  </a:ext>
                </a:extLst>
              </p:cNvPr>
              <p:cNvSpPr/>
              <p:nvPr/>
            </p:nvSpPr>
            <p:spPr>
              <a:xfrm rot="5400000">
                <a:off x="1708249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6" name="Полилиния 265">
                <a:extLst>
                  <a:ext uri="{FF2B5EF4-FFF2-40B4-BE49-F238E27FC236}">
                    <a16:creationId xmlns:a16="http://schemas.microsoft.com/office/drawing/2014/main" id="{A3B63825-B1A3-E88E-4477-4691249DD4D6}"/>
                  </a:ext>
                </a:extLst>
              </p:cNvPr>
              <p:cNvSpPr/>
              <p:nvPr/>
            </p:nvSpPr>
            <p:spPr>
              <a:xfrm rot="5400000">
                <a:off x="1890597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7" name="Полилиния 266">
                <a:extLst>
                  <a:ext uri="{FF2B5EF4-FFF2-40B4-BE49-F238E27FC236}">
                    <a16:creationId xmlns:a16="http://schemas.microsoft.com/office/drawing/2014/main" id="{4105559F-EF95-D4ED-9A2C-A3A90CAD8A0E}"/>
                  </a:ext>
                </a:extLst>
              </p:cNvPr>
              <p:cNvSpPr/>
              <p:nvPr/>
            </p:nvSpPr>
            <p:spPr>
              <a:xfrm rot="5400000">
                <a:off x="2072946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8" name="Полилиния 267">
                <a:extLst>
                  <a:ext uri="{FF2B5EF4-FFF2-40B4-BE49-F238E27FC236}">
                    <a16:creationId xmlns:a16="http://schemas.microsoft.com/office/drawing/2014/main" id="{E386DA14-976B-048C-BD82-67ABD2CCA2F0}"/>
                  </a:ext>
                </a:extLst>
              </p:cNvPr>
              <p:cNvSpPr/>
              <p:nvPr/>
            </p:nvSpPr>
            <p:spPr>
              <a:xfrm rot="-5400000">
                <a:off x="2346469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9" name="Полилиния 268">
                <a:extLst>
                  <a:ext uri="{FF2B5EF4-FFF2-40B4-BE49-F238E27FC236}">
                    <a16:creationId xmlns:a16="http://schemas.microsoft.com/office/drawing/2014/main" id="{3D34C9DD-AD90-858C-7CDF-4087271FBB03}"/>
                  </a:ext>
                </a:extLst>
              </p:cNvPr>
              <p:cNvSpPr/>
              <p:nvPr/>
            </p:nvSpPr>
            <p:spPr>
              <a:xfrm>
                <a:off x="2437643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0" name="Полилиния 269">
                <a:extLst>
                  <a:ext uri="{FF2B5EF4-FFF2-40B4-BE49-F238E27FC236}">
                    <a16:creationId xmlns:a16="http://schemas.microsoft.com/office/drawing/2014/main" id="{D8DB8824-04F7-50C1-75FE-FE3BC426733E}"/>
                  </a:ext>
                </a:extLst>
              </p:cNvPr>
              <p:cNvSpPr/>
              <p:nvPr/>
            </p:nvSpPr>
            <p:spPr>
              <a:xfrm>
                <a:off x="2528817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1" name="Полилиния 270">
                <a:extLst>
                  <a:ext uri="{FF2B5EF4-FFF2-40B4-BE49-F238E27FC236}">
                    <a16:creationId xmlns:a16="http://schemas.microsoft.com/office/drawing/2014/main" id="{AD7BE972-BAE4-A311-86BA-D968B352D018}"/>
                  </a:ext>
                </a:extLst>
              </p:cNvPr>
              <p:cNvSpPr/>
              <p:nvPr/>
            </p:nvSpPr>
            <p:spPr>
              <a:xfrm>
                <a:off x="2619992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2" name="Полилиния 271">
                <a:extLst>
                  <a:ext uri="{FF2B5EF4-FFF2-40B4-BE49-F238E27FC236}">
                    <a16:creationId xmlns:a16="http://schemas.microsoft.com/office/drawing/2014/main" id="{C6815BE9-C73F-911B-603A-E85A22E06634}"/>
                  </a:ext>
                </a:extLst>
              </p:cNvPr>
              <p:cNvSpPr/>
              <p:nvPr/>
            </p:nvSpPr>
            <p:spPr>
              <a:xfrm rot="-5400000">
                <a:off x="3075863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3" name="Полилиния 272">
                <a:extLst>
                  <a:ext uri="{FF2B5EF4-FFF2-40B4-BE49-F238E27FC236}">
                    <a16:creationId xmlns:a16="http://schemas.microsoft.com/office/drawing/2014/main" id="{4EFC9D8D-E390-3DC1-6902-7754A5A468CE}"/>
                  </a:ext>
                </a:extLst>
              </p:cNvPr>
              <p:cNvSpPr/>
              <p:nvPr/>
            </p:nvSpPr>
            <p:spPr>
              <a:xfrm rot="-5400000">
                <a:off x="3349386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4" name="Полилиния 273">
                <a:extLst>
                  <a:ext uri="{FF2B5EF4-FFF2-40B4-BE49-F238E27FC236}">
                    <a16:creationId xmlns:a16="http://schemas.microsoft.com/office/drawing/2014/main" id="{4899B5A0-20B7-DDF4-A293-F62110F6C548}"/>
                  </a:ext>
                </a:extLst>
              </p:cNvPr>
              <p:cNvSpPr/>
              <p:nvPr/>
            </p:nvSpPr>
            <p:spPr>
              <a:xfrm>
                <a:off x="1252377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5" name="Полилиния 274">
                <a:extLst>
                  <a:ext uri="{FF2B5EF4-FFF2-40B4-BE49-F238E27FC236}">
                    <a16:creationId xmlns:a16="http://schemas.microsoft.com/office/drawing/2014/main" id="{70D2B118-4878-1A19-CA92-B07FA4C21B46}"/>
                  </a:ext>
                </a:extLst>
              </p:cNvPr>
              <p:cNvSpPr/>
              <p:nvPr/>
            </p:nvSpPr>
            <p:spPr>
              <a:xfrm>
                <a:off x="1343551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6" name="Полилиния 275">
                <a:extLst>
                  <a:ext uri="{FF2B5EF4-FFF2-40B4-BE49-F238E27FC236}">
                    <a16:creationId xmlns:a16="http://schemas.microsoft.com/office/drawing/2014/main" id="{CC662736-801B-40F5-E511-0953A45AC0FA}"/>
                  </a:ext>
                </a:extLst>
              </p:cNvPr>
              <p:cNvSpPr/>
              <p:nvPr/>
            </p:nvSpPr>
            <p:spPr>
              <a:xfrm>
                <a:off x="1434726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7" name="Полилиния 276">
                <a:extLst>
                  <a:ext uri="{FF2B5EF4-FFF2-40B4-BE49-F238E27FC236}">
                    <a16:creationId xmlns:a16="http://schemas.microsoft.com/office/drawing/2014/main" id="{EBD480C1-235A-71BE-854A-6081EE9552E6}"/>
                  </a:ext>
                </a:extLst>
              </p:cNvPr>
              <p:cNvSpPr/>
              <p:nvPr/>
            </p:nvSpPr>
            <p:spPr>
              <a:xfrm rot="5400000">
                <a:off x="1617074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8" name="Полилиния 277">
                <a:extLst>
                  <a:ext uri="{FF2B5EF4-FFF2-40B4-BE49-F238E27FC236}">
                    <a16:creationId xmlns:a16="http://schemas.microsoft.com/office/drawing/2014/main" id="{CF701731-F683-A326-E3C4-62F6E61C160D}"/>
                  </a:ext>
                </a:extLst>
              </p:cNvPr>
              <p:cNvSpPr/>
              <p:nvPr/>
            </p:nvSpPr>
            <p:spPr>
              <a:xfrm rot="5400000">
                <a:off x="1799423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9" name="Полилиния 278">
                <a:extLst>
                  <a:ext uri="{FF2B5EF4-FFF2-40B4-BE49-F238E27FC236}">
                    <a16:creationId xmlns:a16="http://schemas.microsoft.com/office/drawing/2014/main" id="{EDAB0C51-6955-CFD3-EB60-27A921D22D1D}"/>
                  </a:ext>
                </a:extLst>
              </p:cNvPr>
              <p:cNvSpPr/>
              <p:nvPr/>
            </p:nvSpPr>
            <p:spPr>
              <a:xfrm rot="-5400000">
                <a:off x="2164120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0" name="Полилиния 279">
                <a:extLst>
                  <a:ext uri="{FF2B5EF4-FFF2-40B4-BE49-F238E27FC236}">
                    <a16:creationId xmlns:a16="http://schemas.microsoft.com/office/drawing/2014/main" id="{47B90B1F-302A-1851-4FC9-C6CBE2C95657}"/>
                  </a:ext>
                </a:extLst>
              </p:cNvPr>
              <p:cNvSpPr/>
              <p:nvPr/>
            </p:nvSpPr>
            <p:spPr>
              <a:xfrm rot="5400000">
                <a:off x="2346469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1" name="Полилиния 280">
                <a:extLst>
                  <a:ext uri="{FF2B5EF4-FFF2-40B4-BE49-F238E27FC236}">
                    <a16:creationId xmlns:a16="http://schemas.microsoft.com/office/drawing/2014/main" id="{E71DD606-6131-D811-5A76-89760770CD40}"/>
                  </a:ext>
                </a:extLst>
              </p:cNvPr>
              <p:cNvSpPr/>
              <p:nvPr/>
            </p:nvSpPr>
            <p:spPr>
              <a:xfrm>
                <a:off x="2528817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2" name="Полилиния 281">
                <a:extLst>
                  <a:ext uri="{FF2B5EF4-FFF2-40B4-BE49-F238E27FC236}">
                    <a16:creationId xmlns:a16="http://schemas.microsoft.com/office/drawing/2014/main" id="{45E10C80-F202-6B87-A750-28AD0801D2C4}"/>
                  </a:ext>
                </a:extLst>
              </p:cNvPr>
              <p:cNvSpPr/>
              <p:nvPr/>
            </p:nvSpPr>
            <p:spPr>
              <a:xfrm rot="5400000">
                <a:off x="2619992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3" name="Полилиния 282">
                <a:extLst>
                  <a:ext uri="{FF2B5EF4-FFF2-40B4-BE49-F238E27FC236}">
                    <a16:creationId xmlns:a16="http://schemas.microsoft.com/office/drawing/2014/main" id="{DBD8C609-A3BC-DEEE-FD12-054824350406}"/>
                  </a:ext>
                </a:extLst>
              </p:cNvPr>
              <p:cNvSpPr/>
              <p:nvPr/>
            </p:nvSpPr>
            <p:spPr>
              <a:xfrm rot="-5400000">
                <a:off x="2802340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4" name="Полилиния 283">
                <a:extLst>
                  <a:ext uri="{FF2B5EF4-FFF2-40B4-BE49-F238E27FC236}">
                    <a16:creationId xmlns:a16="http://schemas.microsoft.com/office/drawing/2014/main" id="{40768603-0E9B-C1D9-7B43-855DF1DB3E0A}"/>
                  </a:ext>
                </a:extLst>
              </p:cNvPr>
              <p:cNvSpPr/>
              <p:nvPr/>
            </p:nvSpPr>
            <p:spPr>
              <a:xfrm>
                <a:off x="3075863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5" name="Полилиния 284">
                <a:extLst>
                  <a:ext uri="{FF2B5EF4-FFF2-40B4-BE49-F238E27FC236}">
                    <a16:creationId xmlns:a16="http://schemas.microsoft.com/office/drawing/2014/main" id="{454E339F-0B39-A1FA-68CC-88BBDDFA1086}"/>
                  </a:ext>
                </a:extLst>
              </p:cNvPr>
              <p:cNvSpPr/>
              <p:nvPr/>
            </p:nvSpPr>
            <p:spPr>
              <a:xfrm>
                <a:off x="3167038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6" name="Полилиния 575">
                <a:extLst>
                  <a:ext uri="{FF2B5EF4-FFF2-40B4-BE49-F238E27FC236}">
                    <a16:creationId xmlns:a16="http://schemas.microsoft.com/office/drawing/2014/main" id="{C6F1896A-E082-CFC1-F5DB-F3E7705596A6}"/>
                  </a:ext>
                </a:extLst>
              </p:cNvPr>
              <p:cNvSpPr/>
              <p:nvPr/>
            </p:nvSpPr>
            <p:spPr>
              <a:xfrm>
                <a:off x="3258212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7" name="Полилиния 576">
                <a:extLst>
                  <a:ext uri="{FF2B5EF4-FFF2-40B4-BE49-F238E27FC236}">
                    <a16:creationId xmlns:a16="http://schemas.microsoft.com/office/drawing/2014/main" id="{B8A54B96-EAAF-E7F4-5B69-80209083EB60}"/>
                  </a:ext>
                </a:extLst>
              </p:cNvPr>
              <p:cNvSpPr/>
              <p:nvPr/>
            </p:nvSpPr>
            <p:spPr>
              <a:xfrm>
                <a:off x="3349386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8" name="Полилиния 577">
                <a:extLst>
                  <a:ext uri="{FF2B5EF4-FFF2-40B4-BE49-F238E27FC236}">
                    <a16:creationId xmlns:a16="http://schemas.microsoft.com/office/drawing/2014/main" id="{0A5387AC-E55F-DD1E-7D48-1E8F1E330ECD}"/>
                  </a:ext>
                </a:extLst>
              </p:cNvPr>
              <p:cNvSpPr/>
              <p:nvPr/>
            </p:nvSpPr>
            <p:spPr>
              <a:xfrm>
                <a:off x="3440561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9" name="Полилиния 578">
                <a:extLst>
                  <a:ext uri="{FF2B5EF4-FFF2-40B4-BE49-F238E27FC236}">
                    <a16:creationId xmlns:a16="http://schemas.microsoft.com/office/drawing/2014/main" id="{5C6C199E-975A-9427-2477-D2C4959F939C}"/>
                  </a:ext>
                </a:extLst>
              </p:cNvPr>
              <p:cNvSpPr/>
              <p:nvPr/>
            </p:nvSpPr>
            <p:spPr>
              <a:xfrm>
                <a:off x="1252377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0" name="Полилиния 579">
                <a:extLst>
                  <a:ext uri="{FF2B5EF4-FFF2-40B4-BE49-F238E27FC236}">
                    <a16:creationId xmlns:a16="http://schemas.microsoft.com/office/drawing/2014/main" id="{9E9283D0-8C19-88FF-4A5D-2CBB48D6A773}"/>
                  </a:ext>
                </a:extLst>
              </p:cNvPr>
              <p:cNvSpPr/>
              <p:nvPr/>
            </p:nvSpPr>
            <p:spPr>
              <a:xfrm>
                <a:off x="1434726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1" name="Полилиния 580">
                <a:extLst>
                  <a:ext uri="{FF2B5EF4-FFF2-40B4-BE49-F238E27FC236}">
                    <a16:creationId xmlns:a16="http://schemas.microsoft.com/office/drawing/2014/main" id="{33AA1729-1B23-D42B-8614-758F2EC157F3}"/>
                  </a:ext>
                </a:extLst>
              </p:cNvPr>
              <p:cNvSpPr/>
              <p:nvPr/>
            </p:nvSpPr>
            <p:spPr>
              <a:xfrm rot="5400000">
                <a:off x="1525900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2" name="Полилиния 581">
                <a:extLst>
                  <a:ext uri="{FF2B5EF4-FFF2-40B4-BE49-F238E27FC236}">
                    <a16:creationId xmlns:a16="http://schemas.microsoft.com/office/drawing/2014/main" id="{09BC58FF-54A0-C122-DED0-8F5985E9A21B}"/>
                  </a:ext>
                </a:extLst>
              </p:cNvPr>
              <p:cNvSpPr/>
              <p:nvPr/>
            </p:nvSpPr>
            <p:spPr>
              <a:xfrm rot="5400000">
                <a:off x="2164120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3" name="Полилиния 582">
                <a:extLst>
                  <a:ext uri="{FF2B5EF4-FFF2-40B4-BE49-F238E27FC236}">
                    <a16:creationId xmlns:a16="http://schemas.microsoft.com/office/drawing/2014/main" id="{B4BCB8AC-DFB0-1233-EEE5-380CEDB9CCAD}"/>
                  </a:ext>
                </a:extLst>
              </p:cNvPr>
              <p:cNvSpPr/>
              <p:nvPr/>
            </p:nvSpPr>
            <p:spPr>
              <a:xfrm rot="-5400000">
                <a:off x="2437643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4" name="Полилиния 583">
                <a:extLst>
                  <a:ext uri="{FF2B5EF4-FFF2-40B4-BE49-F238E27FC236}">
                    <a16:creationId xmlns:a16="http://schemas.microsoft.com/office/drawing/2014/main" id="{8F3E7CCF-6054-D3AE-A771-E35F662BD5FD}"/>
                  </a:ext>
                </a:extLst>
              </p:cNvPr>
              <p:cNvSpPr/>
              <p:nvPr/>
            </p:nvSpPr>
            <p:spPr>
              <a:xfrm>
                <a:off x="2802340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5" name="Полилиния 584">
                <a:extLst>
                  <a:ext uri="{FF2B5EF4-FFF2-40B4-BE49-F238E27FC236}">
                    <a16:creationId xmlns:a16="http://schemas.microsoft.com/office/drawing/2014/main" id="{7F512A28-7264-9D30-A6A4-FBB00AE7E157}"/>
                  </a:ext>
                </a:extLst>
              </p:cNvPr>
              <p:cNvSpPr/>
              <p:nvPr/>
            </p:nvSpPr>
            <p:spPr>
              <a:xfrm rot="-5400000">
                <a:off x="2984689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6" name="Полилиния 585">
                <a:extLst>
                  <a:ext uri="{FF2B5EF4-FFF2-40B4-BE49-F238E27FC236}">
                    <a16:creationId xmlns:a16="http://schemas.microsoft.com/office/drawing/2014/main" id="{C08BE2EF-3769-EA6A-9762-FF7894FEE8A4}"/>
                  </a:ext>
                </a:extLst>
              </p:cNvPr>
              <p:cNvSpPr/>
              <p:nvPr/>
            </p:nvSpPr>
            <p:spPr>
              <a:xfrm>
                <a:off x="3167038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7" name="Полилиния 586">
                <a:extLst>
                  <a:ext uri="{FF2B5EF4-FFF2-40B4-BE49-F238E27FC236}">
                    <a16:creationId xmlns:a16="http://schemas.microsoft.com/office/drawing/2014/main" id="{108B1C76-53B2-040B-E4B3-568A19909418}"/>
                  </a:ext>
                </a:extLst>
              </p:cNvPr>
              <p:cNvSpPr/>
              <p:nvPr/>
            </p:nvSpPr>
            <p:spPr>
              <a:xfrm>
                <a:off x="3258212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8" name="Полилиния 587">
                <a:extLst>
                  <a:ext uri="{FF2B5EF4-FFF2-40B4-BE49-F238E27FC236}">
                    <a16:creationId xmlns:a16="http://schemas.microsoft.com/office/drawing/2014/main" id="{2F86FF51-49A6-487A-D5EC-FE0B424E470E}"/>
                  </a:ext>
                </a:extLst>
              </p:cNvPr>
              <p:cNvSpPr/>
              <p:nvPr/>
            </p:nvSpPr>
            <p:spPr>
              <a:xfrm rot="5400000">
                <a:off x="3440561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9" name="Полилиния 588">
                <a:extLst>
                  <a:ext uri="{FF2B5EF4-FFF2-40B4-BE49-F238E27FC236}">
                    <a16:creationId xmlns:a16="http://schemas.microsoft.com/office/drawing/2014/main" id="{018FF969-1C4C-A8AB-F598-7C176C92FB81}"/>
                  </a:ext>
                </a:extLst>
              </p:cNvPr>
              <p:cNvSpPr/>
              <p:nvPr/>
            </p:nvSpPr>
            <p:spPr>
              <a:xfrm rot="5400000">
                <a:off x="1252377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0" name="Полилиния 589">
                <a:extLst>
                  <a:ext uri="{FF2B5EF4-FFF2-40B4-BE49-F238E27FC236}">
                    <a16:creationId xmlns:a16="http://schemas.microsoft.com/office/drawing/2014/main" id="{16D35D2A-F83B-E2E9-F119-4987924B7E0E}"/>
                  </a:ext>
                </a:extLst>
              </p:cNvPr>
              <p:cNvSpPr/>
              <p:nvPr/>
            </p:nvSpPr>
            <p:spPr>
              <a:xfrm rot="-5400000">
                <a:off x="1617074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1" name="Полилиния 590">
                <a:extLst>
                  <a:ext uri="{FF2B5EF4-FFF2-40B4-BE49-F238E27FC236}">
                    <a16:creationId xmlns:a16="http://schemas.microsoft.com/office/drawing/2014/main" id="{2EF24670-C05A-DF3E-2C56-BDD59511914E}"/>
                  </a:ext>
                </a:extLst>
              </p:cNvPr>
              <p:cNvSpPr/>
              <p:nvPr/>
            </p:nvSpPr>
            <p:spPr>
              <a:xfrm>
                <a:off x="1708249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2" name="Полилиния 591">
                <a:extLst>
                  <a:ext uri="{FF2B5EF4-FFF2-40B4-BE49-F238E27FC236}">
                    <a16:creationId xmlns:a16="http://schemas.microsoft.com/office/drawing/2014/main" id="{A449D5B3-1F7E-E394-841E-2A4FF914352A}"/>
                  </a:ext>
                </a:extLst>
              </p:cNvPr>
              <p:cNvSpPr/>
              <p:nvPr/>
            </p:nvSpPr>
            <p:spPr>
              <a:xfrm rot="5400000">
                <a:off x="1799423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3" name="Полилиния 592">
                <a:extLst>
                  <a:ext uri="{FF2B5EF4-FFF2-40B4-BE49-F238E27FC236}">
                    <a16:creationId xmlns:a16="http://schemas.microsoft.com/office/drawing/2014/main" id="{A120152B-5F01-5B7C-9090-CD5E5DFFDF3E}"/>
                  </a:ext>
                </a:extLst>
              </p:cNvPr>
              <p:cNvSpPr/>
              <p:nvPr/>
            </p:nvSpPr>
            <p:spPr>
              <a:xfrm rot="5400000">
                <a:off x="2072946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4" name="Полилиния 593">
                <a:extLst>
                  <a:ext uri="{FF2B5EF4-FFF2-40B4-BE49-F238E27FC236}">
                    <a16:creationId xmlns:a16="http://schemas.microsoft.com/office/drawing/2014/main" id="{2E754330-FFBB-4CE5-D2E0-CFB9D584E8E2}"/>
                  </a:ext>
                </a:extLst>
              </p:cNvPr>
              <p:cNvSpPr/>
              <p:nvPr/>
            </p:nvSpPr>
            <p:spPr>
              <a:xfrm rot="-5400000">
                <a:off x="2255295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5" name="Полилиния 594">
                <a:extLst>
                  <a:ext uri="{FF2B5EF4-FFF2-40B4-BE49-F238E27FC236}">
                    <a16:creationId xmlns:a16="http://schemas.microsoft.com/office/drawing/2014/main" id="{51FDC126-5A8A-72A4-12CF-65F1169AFF8D}"/>
                  </a:ext>
                </a:extLst>
              </p:cNvPr>
              <p:cNvSpPr/>
              <p:nvPr/>
            </p:nvSpPr>
            <p:spPr>
              <a:xfrm>
                <a:off x="2437643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6" name="Полилиния 595">
                <a:extLst>
                  <a:ext uri="{FF2B5EF4-FFF2-40B4-BE49-F238E27FC236}">
                    <a16:creationId xmlns:a16="http://schemas.microsoft.com/office/drawing/2014/main" id="{224EC321-E53E-229D-D4F4-05860B0599F9}"/>
                  </a:ext>
                </a:extLst>
              </p:cNvPr>
              <p:cNvSpPr/>
              <p:nvPr/>
            </p:nvSpPr>
            <p:spPr>
              <a:xfrm>
                <a:off x="2528817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7" name="Полилиния 596">
                <a:extLst>
                  <a:ext uri="{FF2B5EF4-FFF2-40B4-BE49-F238E27FC236}">
                    <a16:creationId xmlns:a16="http://schemas.microsoft.com/office/drawing/2014/main" id="{BA89FD9D-0EA7-43A8-9CEC-2D9944988377}"/>
                  </a:ext>
                </a:extLst>
              </p:cNvPr>
              <p:cNvSpPr/>
              <p:nvPr/>
            </p:nvSpPr>
            <p:spPr>
              <a:xfrm>
                <a:off x="2619992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8" name="Полилиния 597">
                <a:extLst>
                  <a:ext uri="{FF2B5EF4-FFF2-40B4-BE49-F238E27FC236}">
                    <a16:creationId xmlns:a16="http://schemas.microsoft.com/office/drawing/2014/main" id="{4C7D89CB-A400-931B-86F6-4D744887A868}"/>
                  </a:ext>
                </a:extLst>
              </p:cNvPr>
              <p:cNvSpPr/>
              <p:nvPr/>
            </p:nvSpPr>
            <p:spPr>
              <a:xfrm>
                <a:off x="2711166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9" name="Полилиния 598">
                <a:extLst>
                  <a:ext uri="{FF2B5EF4-FFF2-40B4-BE49-F238E27FC236}">
                    <a16:creationId xmlns:a16="http://schemas.microsoft.com/office/drawing/2014/main" id="{B07C43BC-95A3-8406-0E50-57B249AFFADB}"/>
                  </a:ext>
                </a:extLst>
              </p:cNvPr>
              <p:cNvSpPr/>
              <p:nvPr/>
            </p:nvSpPr>
            <p:spPr>
              <a:xfrm>
                <a:off x="2802340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0" name="Полилиния 599">
                <a:extLst>
                  <a:ext uri="{FF2B5EF4-FFF2-40B4-BE49-F238E27FC236}">
                    <a16:creationId xmlns:a16="http://schemas.microsoft.com/office/drawing/2014/main" id="{492811B9-5B67-ED4F-6F32-0F5B0F15EEAE}"/>
                  </a:ext>
                </a:extLst>
              </p:cNvPr>
              <p:cNvSpPr/>
              <p:nvPr/>
            </p:nvSpPr>
            <p:spPr>
              <a:xfrm>
                <a:off x="2893515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1" name="Полилиния 600">
                <a:extLst>
                  <a:ext uri="{FF2B5EF4-FFF2-40B4-BE49-F238E27FC236}">
                    <a16:creationId xmlns:a16="http://schemas.microsoft.com/office/drawing/2014/main" id="{B8A731DB-D69C-8B18-E5F7-2BD548DEE4F5}"/>
                  </a:ext>
                </a:extLst>
              </p:cNvPr>
              <p:cNvSpPr/>
              <p:nvPr/>
            </p:nvSpPr>
            <p:spPr>
              <a:xfrm>
                <a:off x="2984689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2" name="Полилиния 601">
                <a:extLst>
                  <a:ext uri="{FF2B5EF4-FFF2-40B4-BE49-F238E27FC236}">
                    <a16:creationId xmlns:a16="http://schemas.microsoft.com/office/drawing/2014/main" id="{997DFE82-BEDF-DBBA-5CAB-576F6A6EEBC1}"/>
                  </a:ext>
                </a:extLst>
              </p:cNvPr>
              <p:cNvSpPr/>
              <p:nvPr/>
            </p:nvSpPr>
            <p:spPr>
              <a:xfrm>
                <a:off x="3075863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3" name="Полилиния 602">
                <a:extLst>
                  <a:ext uri="{FF2B5EF4-FFF2-40B4-BE49-F238E27FC236}">
                    <a16:creationId xmlns:a16="http://schemas.microsoft.com/office/drawing/2014/main" id="{7577DBD9-E9E1-1D09-8B3E-5C05571DEC16}"/>
                  </a:ext>
                </a:extLst>
              </p:cNvPr>
              <p:cNvSpPr/>
              <p:nvPr/>
            </p:nvSpPr>
            <p:spPr>
              <a:xfrm>
                <a:off x="3258212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4" name="Полилиния 603">
                <a:extLst>
                  <a:ext uri="{FF2B5EF4-FFF2-40B4-BE49-F238E27FC236}">
                    <a16:creationId xmlns:a16="http://schemas.microsoft.com/office/drawing/2014/main" id="{1A131FCA-E2EB-BFDB-C55E-A2FA1AD36E36}"/>
                  </a:ext>
                </a:extLst>
              </p:cNvPr>
              <p:cNvSpPr/>
              <p:nvPr/>
            </p:nvSpPr>
            <p:spPr>
              <a:xfrm>
                <a:off x="3349386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5" name="Полилиния 604">
                <a:extLst>
                  <a:ext uri="{FF2B5EF4-FFF2-40B4-BE49-F238E27FC236}">
                    <a16:creationId xmlns:a16="http://schemas.microsoft.com/office/drawing/2014/main" id="{A068E94D-F875-315A-2FAB-D737882448A3}"/>
                  </a:ext>
                </a:extLst>
              </p:cNvPr>
              <p:cNvSpPr/>
              <p:nvPr/>
            </p:nvSpPr>
            <p:spPr>
              <a:xfrm rot="5400000">
                <a:off x="1981772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6" name="Полилиния 605">
                <a:extLst>
                  <a:ext uri="{FF2B5EF4-FFF2-40B4-BE49-F238E27FC236}">
                    <a16:creationId xmlns:a16="http://schemas.microsoft.com/office/drawing/2014/main" id="{AA685598-531E-F609-57DC-84243C0ADFC9}"/>
                  </a:ext>
                </a:extLst>
              </p:cNvPr>
              <p:cNvSpPr/>
              <p:nvPr/>
            </p:nvSpPr>
            <p:spPr>
              <a:xfrm>
                <a:off x="2255295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7" name="Полилиния 606">
                <a:extLst>
                  <a:ext uri="{FF2B5EF4-FFF2-40B4-BE49-F238E27FC236}">
                    <a16:creationId xmlns:a16="http://schemas.microsoft.com/office/drawing/2014/main" id="{A284F5E0-69FD-1D49-F0A6-BA345D46243C}"/>
                  </a:ext>
                </a:extLst>
              </p:cNvPr>
              <p:cNvSpPr/>
              <p:nvPr/>
            </p:nvSpPr>
            <p:spPr>
              <a:xfrm rot="5400000">
                <a:off x="2346469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8" name="Полилиния 607">
                <a:extLst>
                  <a:ext uri="{FF2B5EF4-FFF2-40B4-BE49-F238E27FC236}">
                    <a16:creationId xmlns:a16="http://schemas.microsoft.com/office/drawing/2014/main" id="{E8FFC998-501D-3476-125D-C5369C4E58E3}"/>
                  </a:ext>
                </a:extLst>
              </p:cNvPr>
              <p:cNvSpPr/>
              <p:nvPr/>
            </p:nvSpPr>
            <p:spPr>
              <a:xfrm>
                <a:off x="2619992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9" name="Полилиния 608">
                <a:extLst>
                  <a:ext uri="{FF2B5EF4-FFF2-40B4-BE49-F238E27FC236}">
                    <a16:creationId xmlns:a16="http://schemas.microsoft.com/office/drawing/2014/main" id="{934E8736-8BF3-5EBF-1EED-C6CBF67F4B45}"/>
                  </a:ext>
                </a:extLst>
              </p:cNvPr>
              <p:cNvSpPr/>
              <p:nvPr/>
            </p:nvSpPr>
            <p:spPr>
              <a:xfrm>
                <a:off x="2711166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0" name="Полилиния 609">
                <a:extLst>
                  <a:ext uri="{FF2B5EF4-FFF2-40B4-BE49-F238E27FC236}">
                    <a16:creationId xmlns:a16="http://schemas.microsoft.com/office/drawing/2014/main" id="{3C124A0D-E151-C0AC-97E4-BD38902F67E3}"/>
                  </a:ext>
                </a:extLst>
              </p:cNvPr>
              <p:cNvSpPr/>
              <p:nvPr/>
            </p:nvSpPr>
            <p:spPr>
              <a:xfrm>
                <a:off x="3075863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1" name="Полилиния 610">
                <a:extLst>
                  <a:ext uri="{FF2B5EF4-FFF2-40B4-BE49-F238E27FC236}">
                    <a16:creationId xmlns:a16="http://schemas.microsoft.com/office/drawing/2014/main" id="{617C2E33-7AF1-D7C9-6D9D-F470BC8EB52A}"/>
                  </a:ext>
                </a:extLst>
              </p:cNvPr>
              <p:cNvSpPr/>
              <p:nvPr/>
            </p:nvSpPr>
            <p:spPr>
              <a:xfrm>
                <a:off x="3258212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2" name="Полилиния 611">
                <a:extLst>
                  <a:ext uri="{FF2B5EF4-FFF2-40B4-BE49-F238E27FC236}">
                    <a16:creationId xmlns:a16="http://schemas.microsoft.com/office/drawing/2014/main" id="{7DF208A4-6320-110A-893D-50FA3526783C}"/>
                  </a:ext>
                </a:extLst>
              </p:cNvPr>
              <p:cNvSpPr/>
              <p:nvPr/>
            </p:nvSpPr>
            <p:spPr>
              <a:xfrm rot="5400000">
                <a:off x="3349386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3" name="Полилиния 612">
                <a:extLst>
                  <a:ext uri="{FF2B5EF4-FFF2-40B4-BE49-F238E27FC236}">
                    <a16:creationId xmlns:a16="http://schemas.microsoft.com/office/drawing/2014/main" id="{428CB89D-6E9F-36A3-DA95-20B01DFB6D7C}"/>
                  </a:ext>
                </a:extLst>
              </p:cNvPr>
              <p:cNvSpPr/>
              <p:nvPr/>
            </p:nvSpPr>
            <p:spPr>
              <a:xfrm>
                <a:off x="2255295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4" name="Полилиния 613">
                <a:extLst>
                  <a:ext uri="{FF2B5EF4-FFF2-40B4-BE49-F238E27FC236}">
                    <a16:creationId xmlns:a16="http://schemas.microsoft.com/office/drawing/2014/main" id="{D53A25F1-EB92-79D9-A41A-1B702E32FBCB}"/>
                  </a:ext>
                </a:extLst>
              </p:cNvPr>
              <p:cNvSpPr/>
              <p:nvPr/>
            </p:nvSpPr>
            <p:spPr>
              <a:xfrm rot="5400000">
                <a:off x="2437643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5" name="Полилиния 614">
                <a:extLst>
                  <a:ext uri="{FF2B5EF4-FFF2-40B4-BE49-F238E27FC236}">
                    <a16:creationId xmlns:a16="http://schemas.microsoft.com/office/drawing/2014/main" id="{527845F1-22E6-69E7-2317-563CACF5DF98}"/>
                  </a:ext>
                </a:extLst>
              </p:cNvPr>
              <p:cNvSpPr/>
              <p:nvPr/>
            </p:nvSpPr>
            <p:spPr>
              <a:xfrm>
                <a:off x="2711166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6" name="Полилиния 615">
                <a:extLst>
                  <a:ext uri="{FF2B5EF4-FFF2-40B4-BE49-F238E27FC236}">
                    <a16:creationId xmlns:a16="http://schemas.microsoft.com/office/drawing/2014/main" id="{E1DE6CDB-AFB1-E81D-2ABE-510FD438A6AC}"/>
                  </a:ext>
                </a:extLst>
              </p:cNvPr>
              <p:cNvSpPr/>
              <p:nvPr/>
            </p:nvSpPr>
            <p:spPr>
              <a:xfrm rot="5400000">
                <a:off x="2893515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7" name="Полилиния 616">
                <a:extLst>
                  <a:ext uri="{FF2B5EF4-FFF2-40B4-BE49-F238E27FC236}">
                    <a16:creationId xmlns:a16="http://schemas.microsoft.com/office/drawing/2014/main" id="{7D43CD45-28E1-D1AB-4004-A4EF324E5EE6}"/>
                  </a:ext>
                </a:extLst>
              </p:cNvPr>
              <p:cNvSpPr/>
              <p:nvPr/>
            </p:nvSpPr>
            <p:spPr>
              <a:xfrm>
                <a:off x="3075863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8" name="Полилиния 617">
                <a:extLst>
                  <a:ext uri="{FF2B5EF4-FFF2-40B4-BE49-F238E27FC236}">
                    <a16:creationId xmlns:a16="http://schemas.microsoft.com/office/drawing/2014/main" id="{7B0138DE-DEDE-57B2-27F3-A82CAC522893}"/>
                  </a:ext>
                </a:extLst>
              </p:cNvPr>
              <p:cNvSpPr/>
              <p:nvPr/>
            </p:nvSpPr>
            <p:spPr>
              <a:xfrm rot="-5400000">
                <a:off x="3440561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9" name="Полилиния 618">
                <a:extLst>
                  <a:ext uri="{FF2B5EF4-FFF2-40B4-BE49-F238E27FC236}">
                    <a16:creationId xmlns:a16="http://schemas.microsoft.com/office/drawing/2014/main" id="{693179CC-0A08-ABA4-24A8-2A327E63C36D}"/>
                  </a:ext>
                </a:extLst>
              </p:cNvPr>
              <p:cNvSpPr/>
              <p:nvPr/>
            </p:nvSpPr>
            <p:spPr>
              <a:xfrm rot="-5400000">
                <a:off x="1981772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0" name="Полилиния 619">
                <a:extLst>
                  <a:ext uri="{FF2B5EF4-FFF2-40B4-BE49-F238E27FC236}">
                    <a16:creationId xmlns:a16="http://schemas.microsoft.com/office/drawing/2014/main" id="{5DB24E8E-C14B-5AC6-FA90-8830C7DE1787}"/>
                  </a:ext>
                </a:extLst>
              </p:cNvPr>
              <p:cNvSpPr/>
              <p:nvPr/>
            </p:nvSpPr>
            <p:spPr>
              <a:xfrm>
                <a:off x="2255295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1" name="Полилиния 620">
                <a:extLst>
                  <a:ext uri="{FF2B5EF4-FFF2-40B4-BE49-F238E27FC236}">
                    <a16:creationId xmlns:a16="http://schemas.microsoft.com/office/drawing/2014/main" id="{CF0AD0AB-C6E9-FBAC-714E-422E9432B77A}"/>
                  </a:ext>
                </a:extLst>
              </p:cNvPr>
              <p:cNvSpPr/>
              <p:nvPr/>
            </p:nvSpPr>
            <p:spPr>
              <a:xfrm rot="-5400000">
                <a:off x="2619992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2" name="Полилиния 621">
                <a:extLst>
                  <a:ext uri="{FF2B5EF4-FFF2-40B4-BE49-F238E27FC236}">
                    <a16:creationId xmlns:a16="http://schemas.microsoft.com/office/drawing/2014/main" id="{62E6A032-832B-89DD-BF94-6D9BD99C21CC}"/>
                  </a:ext>
                </a:extLst>
              </p:cNvPr>
              <p:cNvSpPr/>
              <p:nvPr/>
            </p:nvSpPr>
            <p:spPr>
              <a:xfrm>
                <a:off x="2711166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3" name="Полилиния 622">
                <a:extLst>
                  <a:ext uri="{FF2B5EF4-FFF2-40B4-BE49-F238E27FC236}">
                    <a16:creationId xmlns:a16="http://schemas.microsoft.com/office/drawing/2014/main" id="{BE418688-B825-AFD3-F427-CF7EEC07D374}"/>
                  </a:ext>
                </a:extLst>
              </p:cNvPr>
              <p:cNvSpPr/>
              <p:nvPr/>
            </p:nvSpPr>
            <p:spPr>
              <a:xfrm>
                <a:off x="3075863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4" name="Полилиния 623">
                <a:extLst>
                  <a:ext uri="{FF2B5EF4-FFF2-40B4-BE49-F238E27FC236}">
                    <a16:creationId xmlns:a16="http://schemas.microsoft.com/office/drawing/2014/main" id="{E40CB120-5ED1-849D-6912-40CD4F5C7614}"/>
                  </a:ext>
                </a:extLst>
              </p:cNvPr>
              <p:cNvSpPr/>
              <p:nvPr/>
            </p:nvSpPr>
            <p:spPr>
              <a:xfrm>
                <a:off x="3440561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5" name="Полилиния 624">
                <a:extLst>
                  <a:ext uri="{FF2B5EF4-FFF2-40B4-BE49-F238E27FC236}">
                    <a16:creationId xmlns:a16="http://schemas.microsoft.com/office/drawing/2014/main" id="{BBF348C5-943B-B502-2AB9-C9A97E92F69B}"/>
                  </a:ext>
                </a:extLst>
              </p:cNvPr>
              <p:cNvSpPr/>
              <p:nvPr/>
            </p:nvSpPr>
            <p:spPr>
              <a:xfrm>
                <a:off x="1981772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6" name="Полилиния 625">
                <a:extLst>
                  <a:ext uri="{FF2B5EF4-FFF2-40B4-BE49-F238E27FC236}">
                    <a16:creationId xmlns:a16="http://schemas.microsoft.com/office/drawing/2014/main" id="{8759A7A3-C967-9791-B0EF-1A424F51FBAC}"/>
                  </a:ext>
                </a:extLst>
              </p:cNvPr>
              <p:cNvSpPr/>
              <p:nvPr/>
            </p:nvSpPr>
            <p:spPr>
              <a:xfrm rot="-5400000">
                <a:off x="2164120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7" name="Полилиния 626">
                <a:extLst>
                  <a:ext uri="{FF2B5EF4-FFF2-40B4-BE49-F238E27FC236}">
                    <a16:creationId xmlns:a16="http://schemas.microsoft.com/office/drawing/2014/main" id="{5A090106-2637-C7A5-2EC6-C98BA78F528C}"/>
                  </a:ext>
                </a:extLst>
              </p:cNvPr>
              <p:cNvSpPr/>
              <p:nvPr/>
            </p:nvSpPr>
            <p:spPr>
              <a:xfrm>
                <a:off x="2255295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8" name="Полилиния 627">
                <a:extLst>
                  <a:ext uri="{FF2B5EF4-FFF2-40B4-BE49-F238E27FC236}">
                    <a16:creationId xmlns:a16="http://schemas.microsoft.com/office/drawing/2014/main" id="{13D06378-B4A4-98B2-02F4-2940B8A53237}"/>
                  </a:ext>
                </a:extLst>
              </p:cNvPr>
              <p:cNvSpPr/>
              <p:nvPr/>
            </p:nvSpPr>
            <p:spPr>
              <a:xfrm>
                <a:off x="2346469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9" name="Полилиния 628">
                <a:extLst>
                  <a:ext uri="{FF2B5EF4-FFF2-40B4-BE49-F238E27FC236}">
                    <a16:creationId xmlns:a16="http://schemas.microsoft.com/office/drawing/2014/main" id="{BC8D83A6-1B1A-B565-9F6D-D46A38050748}"/>
                  </a:ext>
                </a:extLst>
              </p:cNvPr>
              <p:cNvSpPr/>
              <p:nvPr/>
            </p:nvSpPr>
            <p:spPr>
              <a:xfrm>
                <a:off x="2437643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0" name="Полилиния 629">
                <a:extLst>
                  <a:ext uri="{FF2B5EF4-FFF2-40B4-BE49-F238E27FC236}">
                    <a16:creationId xmlns:a16="http://schemas.microsoft.com/office/drawing/2014/main" id="{CD96EC05-5675-6CF6-9D51-29F1BCE1100F}"/>
                  </a:ext>
                </a:extLst>
              </p:cNvPr>
              <p:cNvSpPr/>
              <p:nvPr/>
            </p:nvSpPr>
            <p:spPr>
              <a:xfrm>
                <a:off x="2528817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1" name="Полилиния 630">
                <a:extLst>
                  <a:ext uri="{FF2B5EF4-FFF2-40B4-BE49-F238E27FC236}">
                    <a16:creationId xmlns:a16="http://schemas.microsoft.com/office/drawing/2014/main" id="{70A5FA20-3671-73DB-DA3C-3220D801D996}"/>
                  </a:ext>
                </a:extLst>
              </p:cNvPr>
              <p:cNvSpPr/>
              <p:nvPr/>
            </p:nvSpPr>
            <p:spPr>
              <a:xfrm>
                <a:off x="2619992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2" name="Полилиния 631">
                <a:extLst>
                  <a:ext uri="{FF2B5EF4-FFF2-40B4-BE49-F238E27FC236}">
                    <a16:creationId xmlns:a16="http://schemas.microsoft.com/office/drawing/2014/main" id="{8E3D80AC-8AAA-3518-21AF-A2149E06FEA6}"/>
                  </a:ext>
                </a:extLst>
              </p:cNvPr>
              <p:cNvSpPr/>
              <p:nvPr/>
            </p:nvSpPr>
            <p:spPr>
              <a:xfrm>
                <a:off x="2711166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3" name="Полилиния 632">
                <a:extLst>
                  <a:ext uri="{FF2B5EF4-FFF2-40B4-BE49-F238E27FC236}">
                    <a16:creationId xmlns:a16="http://schemas.microsoft.com/office/drawing/2014/main" id="{00D3D10B-1E6A-A365-870F-1DC900CDC76B}"/>
                  </a:ext>
                </a:extLst>
              </p:cNvPr>
              <p:cNvSpPr/>
              <p:nvPr/>
            </p:nvSpPr>
            <p:spPr>
              <a:xfrm>
                <a:off x="2802340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4" name="Полилиния 633">
                <a:extLst>
                  <a:ext uri="{FF2B5EF4-FFF2-40B4-BE49-F238E27FC236}">
                    <a16:creationId xmlns:a16="http://schemas.microsoft.com/office/drawing/2014/main" id="{5C5869DD-DF35-5169-79CD-431E2D06FC10}"/>
                  </a:ext>
                </a:extLst>
              </p:cNvPr>
              <p:cNvSpPr/>
              <p:nvPr/>
            </p:nvSpPr>
            <p:spPr>
              <a:xfrm>
                <a:off x="2893515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5" name="Полилиния 634">
                <a:extLst>
                  <a:ext uri="{FF2B5EF4-FFF2-40B4-BE49-F238E27FC236}">
                    <a16:creationId xmlns:a16="http://schemas.microsoft.com/office/drawing/2014/main" id="{4E4FDDE1-C20A-948E-6C04-AF68C213B123}"/>
                  </a:ext>
                </a:extLst>
              </p:cNvPr>
              <p:cNvSpPr/>
              <p:nvPr/>
            </p:nvSpPr>
            <p:spPr>
              <a:xfrm>
                <a:off x="2984689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6" name="Полилиния 635">
                <a:extLst>
                  <a:ext uri="{FF2B5EF4-FFF2-40B4-BE49-F238E27FC236}">
                    <a16:creationId xmlns:a16="http://schemas.microsoft.com/office/drawing/2014/main" id="{3C414494-324C-C5E1-D2DA-5764832AAB9D}"/>
                  </a:ext>
                </a:extLst>
              </p:cNvPr>
              <p:cNvSpPr/>
              <p:nvPr/>
            </p:nvSpPr>
            <p:spPr>
              <a:xfrm rot="5400000">
                <a:off x="3075863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7" name="Полилиния 636">
                <a:extLst>
                  <a:ext uri="{FF2B5EF4-FFF2-40B4-BE49-F238E27FC236}">
                    <a16:creationId xmlns:a16="http://schemas.microsoft.com/office/drawing/2014/main" id="{F326B7BB-1A8F-C852-34C1-C5974A8BD1E1}"/>
                  </a:ext>
                </a:extLst>
              </p:cNvPr>
              <p:cNvSpPr/>
              <p:nvPr/>
            </p:nvSpPr>
            <p:spPr>
              <a:xfrm rot="-5400000">
                <a:off x="3349386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8" name="Полилиния 637">
                <a:extLst>
                  <a:ext uri="{FF2B5EF4-FFF2-40B4-BE49-F238E27FC236}">
                    <a16:creationId xmlns:a16="http://schemas.microsoft.com/office/drawing/2014/main" id="{37BC42F6-7957-C7CD-ADB9-A4945A6EC92E}"/>
                  </a:ext>
                </a:extLst>
              </p:cNvPr>
              <p:cNvSpPr/>
              <p:nvPr/>
            </p:nvSpPr>
            <p:spPr>
              <a:xfrm>
                <a:off x="3440561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9" name="Полилиния 638">
                <a:extLst>
                  <a:ext uri="{FF2B5EF4-FFF2-40B4-BE49-F238E27FC236}">
                    <a16:creationId xmlns:a16="http://schemas.microsoft.com/office/drawing/2014/main" id="{113922C7-DC61-DC79-7AC0-C0022FA94251}"/>
                  </a:ext>
                </a:extLst>
              </p:cNvPr>
              <p:cNvSpPr/>
              <p:nvPr/>
            </p:nvSpPr>
            <p:spPr>
              <a:xfrm>
                <a:off x="1981772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0" name="Полилиния 639">
                <a:extLst>
                  <a:ext uri="{FF2B5EF4-FFF2-40B4-BE49-F238E27FC236}">
                    <a16:creationId xmlns:a16="http://schemas.microsoft.com/office/drawing/2014/main" id="{E4E905FD-5D20-A691-E8C2-9F3166528CBA}"/>
                  </a:ext>
                </a:extLst>
              </p:cNvPr>
              <p:cNvSpPr/>
              <p:nvPr/>
            </p:nvSpPr>
            <p:spPr>
              <a:xfrm>
                <a:off x="2072946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1" name="Полилиния 640">
                <a:extLst>
                  <a:ext uri="{FF2B5EF4-FFF2-40B4-BE49-F238E27FC236}">
                    <a16:creationId xmlns:a16="http://schemas.microsoft.com/office/drawing/2014/main" id="{F35D1AE9-EE30-2203-DE9F-81F28AA9DC5F}"/>
                  </a:ext>
                </a:extLst>
              </p:cNvPr>
              <p:cNvSpPr/>
              <p:nvPr/>
            </p:nvSpPr>
            <p:spPr>
              <a:xfrm>
                <a:off x="2528817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2" name="Полилиния 641">
                <a:extLst>
                  <a:ext uri="{FF2B5EF4-FFF2-40B4-BE49-F238E27FC236}">
                    <a16:creationId xmlns:a16="http://schemas.microsoft.com/office/drawing/2014/main" id="{61E49A49-C316-3F53-FF35-90264ACAEA02}"/>
                  </a:ext>
                </a:extLst>
              </p:cNvPr>
              <p:cNvSpPr/>
              <p:nvPr/>
            </p:nvSpPr>
            <p:spPr>
              <a:xfrm>
                <a:off x="2619992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3" name="Полилиния 642">
                <a:extLst>
                  <a:ext uri="{FF2B5EF4-FFF2-40B4-BE49-F238E27FC236}">
                    <a16:creationId xmlns:a16="http://schemas.microsoft.com/office/drawing/2014/main" id="{147F83C9-3B8D-A639-1E85-47D599F87146}"/>
                  </a:ext>
                </a:extLst>
              </p:cNvPr>
              <p:cNvSpPr/>
              <p:nvPr/>
            </p:nvSpPr>
            <p:spPr>
              <a:xfrm rot="5400000">
                <a:off x="2893515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4" name="Полилиния 643">
                <a:extLst>
                  <a:ext uri="{FF2B5EF4-FFF2-40B4-BE49-F238E27FC236}">
                    <a16:creationId xmlns:a16="http://schemas.microsoft.com/office/drawing/2014/main" id="{AAA34003-3CBD-FBF8-2CAF-11D27DA460DC}"/>
                  </a:ext>
                </a:extLst>
              </p:cNvPr>
              <p:cNvSpPr/>
              <p:nvPr/>
            </p:nvSpPr>
            <p:spPr>
              <a:xfrm>
                <a:off x="3349386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5" name="Полилиния 644">
                <a:extLst>
                  <a:ext uri="{FF2B5EF4-FFF2-40B4-BE49-F238E27FC236}">
                    <a16:creationId xmlns:a16="http://schemas.microsoft.com/office/drawing/2014/main" id="{B39D5F99-BCF4-5D29-7CFD-35054889F67C}"/>
                  </a:ext>
                </a:extLst>
              </p:cNvPr>
              <p:cNvSpPr/>
              <p:nvPr/>
            </p:nvSpPr>
            <p:spPr>
              <a:xfrm>
                <a:off x="3440561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6" name="Полилиния 645">
                <a:extLst>
                  <a:ext uri="{FF2B5EF4-FFF2-40B4-BE49-F238E27FC236}">
                    <a16:creationId xmlns:a16="http://schemas.microsoft.com/office/drawing/2014/main" id="{54813447-F3E5-A09F-65D5-0D614AA7151C}"/>
                  </a:ext>
                </a:extLst>
              </p:cNvPr>
              <p:cNvSpPr/>
              <p:nvPr/>
            </p:nvSpPr>
            <p:spPr>
              <a:xfrm>
                <a:off x="2072946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7" name="Полилиния 646">
                <a:extLst>
                  <a:ext uri="{FF2B5EF4-FFF2-40B4-BE49-F238E27FC236}">
                    <a16:creationId xmlns:a16="http://schemas.microsoft.com/office/drawing/2014/main" id="{F5FF6FC8-6EE3-7606-130D-E5B22C7E0E08}"/>
                  </a:ext>
                </a:extLst>
              </p:cNvPr>
              <p:cNvSpPr/>
              <p:nvPr/>
            </p:nvSpPr>
            <p:spPr>
              <a:xfrm>
                <a:off x="2164120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8" name="Полилиния 647">
                <a:extLst>
                  <a:ext uri="{FF2B5EF4-FFF2-40B4-BE49-F238E27FC236}">
                    <a16:creationId xmlns:a16="http://schemas.microsoft.com/office/drawing/2014/main" id="{84FE85C0-EB37-B64C-E519-113DE9CFBA94}"/>
                  </a:ext>
                </a:extLst>
              </p:cNvPr>
              <p:cNvSpPr/>
              <p:nvPr/>
            </p:nvSpPr>
            <p:spPr>
              <a:xfrm>
                <a:off x="2255295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9" name="Полилиния 648">
                <a:extLst>
                  <a:ext uri="{FF2B5EF4-FFF2-40B4-BE49-F238E27FC236}">
                    <a16:creationId xmlns:a16="http://schemas.microsoft.com/office/drawing/2014/main" id="{A7D81550-2929-9B58-BB64-8532336F4A34}"/>
                  </a:ext>
                </a:extLst>
              </p:cNvPr>
              <p:cNvSpPr/>
              <p:nvPr/>
            </p:nvSpPr>
            <p:spPr>
              <a:xfrm>
                <a:off x="2346469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0" name="Полилиния 649">
                <a:extLst>
                  <a:ext uri="{FF2B5EF4-FFF2-40B4-BE49-F238E27FC236}">
                    <a16:creationId xmlns:a16="http://schemas.microsoft.com/office/drawing/2014/main" id="{4C10E0EB-F8BF-CB50-283F-7D0DD4FAEBA9}"/>
                  </a:ext>
                </a:extLst>
              </p:cNvPr>
              <p:cNvSpPr/>
              <p:nvPr/>
            </p:nvSpPr>
            <p:spPr>
              <a:xfrm>
                <a:off x="2437643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1" name="Полилиния 650">
                <a:extLst>
                  <a:ext uri="{FF2B5EF4-FFF2-40B4-BE49-F238E27FC236}">
                    <a16:creationId xmlns:a16="http://schemas.microsoft.com/office/drawing/2014/main" id="{215AD733-A5CE-BFCC-8B0A-091D7DCEE36F}"/>
                  </a:ext>
                </a:extLst>
              </p:cNvPr>
              <p:cNvSpPr/>
              <p:nvPr/>
            </p:nvSpPr>
            <p:spPr>
              <a:xfrm>
                <a:off x="2528817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2" name="Полилиния 651">
                <a:extLst>
                  <a:ext uri="{FF2B5EF4-FFF2-40B4-BE49-F238E27FC236}">
                    <a16:creationId xmlns:a16="http://schemas.microsoft.com/office/drawing/2014/main" id="{57BE6BC5-10E5-66F4-22E9-3EDC6B8D48DF}"/>
                  </a:ext>
                </a:extLst>
              </p:cNvPr>
              <p:cNvSpPr/>
              <p:nvPr/>
            </p:nvSpPr>
            <p:spPr>
              <a:xfrm>
                <a:off x="2619992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3" name="Полилиния 652">
                <a:extLst>
                  <a:ext uri="{FF2B5EF4-FFF2-40B4-BE49-F238E27FC236}">
                    <a16:creationId xmlns:a16="http://schemas.microsoft.com/office/drawing/2014/main" id="{00A89583-C6BD-FFFB-66E5-26BAB5E1E841}"/>
                  </a:ext>
                </a:extLst>
              </p:cNvPr>
              <p:cNvSpPr/>
              <p:nvPr/>
            </p:nvSpPr>
            <p:spPr>
              <a:xfrm rot="5400000">
                <a:off x="2802340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4" name="Полилиния 653">
                <a:extLst>
                  <a:ext uri="{FF2B5EF4-FFF2-40B4-BE49-F238E27FC236}">
                    <a16:creationId xmlns:a16="http://schemas.microsoft.com/office/drawing/2014/main" id="{C6B86E98-7498-D15A-37F8-418D760ECF20}"/>
                  </a:ext>
                </a:extLst>
              </p:cNvPr>
              <p:cNvSpPr/>
              <p:nvPr/>
            </p:nvSpPr>
            <p:spPr>
              <a:xfrm rot="-5400000">
                <a:off x="3075863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5" name="Полилиния 654">
                <a:extLst>
                  <a:ext uri="{FF2B5EF4-FFF2-40B4-BE49-F238E27FC236}">
                    <a16:creationId xmlns:a16="http://schemas.microsoft.com/office/drawing/2014/main" id="{3B1E3D30-6BB7-3C1C-A115-8B62C3B5445C}"/>
                  </a:ext>
                </a:extLst>
              </p:cNvPr>
              <p:cNvSpPr/>
              <p:nvPr/>
            </p:nvSpPr>
            <p:spPr>
              <a:xfrm>
                <a:off x="3167038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6" name="Полилиния 655">
                <a:extLst>
                  <a:ext uri="{FF2B5EF4-FFF2-40B4-BE49-F238E27FC236}">
                    <a16:creationId xmlns:a16="http://schemas.microsoft.com/office/drawing/2014/main" id="{40D72431-9099-DA95-3539-34ACC3A980EE}"/>
                  </a:ext>
                </a:extLst>
              </p:cNvPr>
              <p:cNvSpPr/>
              <p:nvPr/>
            </p:nvSpPr>
            <p:spPr>
              <a:xfrm>
                <a:off x="3258212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7" name="Полилиния 656">
                <a:extLst>
                  <a:ext uri="{FF2B5EF4-FFF2-40B4-BE49-F238E27FC236}">
                    <a16:creationId xmlns:a16="http://schemas.microsoft.com/office/drawing/2014/main" id="{45401983-C9F0-64CB-CFFF-1DACF226A990}"/>
                  </a:ext>
                </a:extLst>
              </p:cNvPr>
              <p:cNvSpPr/>
              <p:nvPr/>
            </p:nvSpPr>
            <p:spPr>
              <a:xfrm>
                <a:off x="3349386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8" name="Полилиния 657">
                <a:extLst>
                  <a:ext uri="{FF2B5EF4-FFF2-40B4-BE49-F238E27FC236}">
                    <a16:creationId xmlns:a16="http://schemas.microsoft.com/office/drawing/2014/main" id="{AFF9CBD2-0ADE-CE2A-77C2-C3EF5DE1927E}"/>
                  </a:ext>
                </a:extLst>
              </p:cNvPr>
              <p:cNvSpPr/>
              <p:nvPr/>
            </p:nvSpPr>
            <p:spPr>
              <a:xfrm>
                <a:off x="3440561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9" name="Полилиния 658">
                <a:extLst>
                  <a:ext uri="{FF2B5EF4-FFF2-40B4-BE49-F238E27FC236}">
                    <a16:creationId xmlns:a16="http://schemas.microsoft.com/office/drawing/2014/main" id="{FDDA336B-6037-1657-E086-FFB7D7EDF1AD}"/>
                  </a:ext>
                </a:extLst>
              </p:cNvPr>
              <p:cNvSpPr/>
              <p:nvPr/>
            </p:nvSpPr>
            <p:spPr>
              <a:xfrm rot="5400000">
                <a:off x="1981772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0" name="Полилиния 659">
                <a:extLst>
                  <a:ext uri="{FF2B5EF4-FFF2-40B4-BE49-F238E27FC236}">
                    <a16:creationId xmlns:a16="http://schemas.microsoft.com/office/drawing/2014/main" id="{E5935C14-1725-AA0F-48AF-CEE659B0C612}"/>
                  </a:ext>
                </a:extLst>
              </p:cNvPr>
              <p:cNvSpPr/>
              <p:nvPr/>
            </p:nvSpPr>
            <p:spPr>
              <a:xfrm>
                <a:off x="2164120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1" name="Полилиния 660">
                <a:extLst>
                  <a:ext uri="{FF2B5EF4-FFF2-40B4-BE49-F238E27FC236}">
                    <a16:creationId xmlns:a16="http://schemas.microsoft.com/office/drawing/2014/main" id="{D360EFBA-C5C6-12CF-4D43-B496B102EDBD}"/>
                  </a:ext>
                </a:extLst>
              </p:cNvPr>
              <p:cNvSpPr/>
              <p:nvPr/>
            </p:nvSpPr>
            <p:spPr>
              <a:xfrm>
                <a:off x="2255295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2" name="Полилиния 661">
                <a:extLst>
                  <a:ext uri="{FF2B5EF4-FFF2-40B4-BE49-F238E27FC236}">
                    <a16:creationId xmlns:a16="http://schemas.microsoft.com/office/drawing/2014/main" id="{D6E089AA-000B-55A3-9A92-95C949BA0588}"/>
                  </a:ext>
                </a:extLst>
              </p:cNvPr>
              <p:cNvSpPr/>
              <p:nvPr/>
            </p:nvSpPr>
            <p:spPr>
              <a:xfrm>
                <a:off x="2437643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3" name="Полилиния 662">
                <a:extLst>
                  <a:ext uri="{FF2B5EF4-FFF2-40B4-BE49-F238E27FC236}">
                    <a16:creationId xmlns:a16="http://schemas.microsoft.com/office/drawing/2014/main" id="{8D7ED1EC-A99C-D82E-1702-6A6164D138C9}"/>
                  </a:ext>
                </a:extLst>
              </p:cNvPr>
              <p:cNvSpPr/>
              <p:nvPr/>
            </p:nvSpPr>
            <p:spPr>
              <a:xfrm rot="5400000">
                <a:off x="2619992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4" name="Полилиния 663">
                <a:extLst>
                  <a:ext uri="{FF2B5EF4-FFF2-40B4-BE49-F238E27FC236}">
                    <a16:creationId xmlns:a16="http://schemas.microsoft.com/office/drawing/2014/main" id="{C7597AF0-3B63-0C41-E336-E7AB6EEAD0A1}"/>
                  </a:ext>
                </a:extLst>
              </p:cNvPr>
              <p:cNvSpPr/>
              <p:nvPr/>
            </p:nvSpPr>
            <p:spPr>
              <a:xfrm rot="-5400000">
                <a:off x="2984689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5" name="Полилиния 664">
                <a:extLst>
                  <a:ext uri="{FF2B5EF4-FFF2-40B4-BE49-F238E27FC236}">
                    <a16:creationId xmlns:a16="http://schemas.microsoft.com/office/drawing/2014/main" id="{7FC3A854-2EEF-F566-0A07-3EE2DAF9BCFE}"/>
                  </a:ext>
                </a:extLst>
              </p:cNvPr>
              <p:cNvSpPr/>
              <p:nvPr/>
            </p:nvSpPr>
            <p:spPr>
              <a:xfrm rot="5400000">
                <a:off x="3075863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6" name="Полилиния 665">
                <a:extLst>
                  <a:ext uri="{FF2B5EF4-FFF2-40B4-BE49-F238E27FC236}">
                    <a16:creationId xmlns:a16="http://schemas.microsoft.com/office/drawing/2014/main" id="{BBE191A2-6A7E-E98F-99C6-D586A8485D2E}"/>
                  </a:ext>
                </a:extLst>
              </p:cNvPr>
              <p:cNvSpPr/>
              <p:nvPr/>
            </p:nvSpPr>
            <p:spPr>
              <a:xfrm>
                <a:off x="3258212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7" name="Полилиния 666">
                <a:extLst>
                  <a:ext uri="{FF2B5EF4-FFF2-40B4-BE49-F238E27FC236}">
                    <a16:creationId xmlns:a16="http://schemas.microsoft.com/office/drawing/2014/main" id="{33BC770F-26C1-487A-B798-7621C77B992A}"/>
                  </a:ext>
                </a:extLst>
              </p:cNvPr>
              <p:cNvSpPr/>
              <p:nvPr/>
            </p:nvSpPr>
            <p:spPr>
              <a:xfrm>
                <a:off x="3349386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8" name="Полилиния 667">
                <a:extLst>
                  <a:ext uri="{FF2B5EF4-FFF2-40B4-BE49-F238E27FC236}">
                    <a16:creationId xmlns:a16="http://schemas.microsoft.com/office/drawing/2014/main" id="{43FC07E0-A7D9-7E35-095D-F58673A58B11}"/>
                  </a:ext>
                </a:extLst>
              </p:cNvPr>
              <p:cNvSpPr/>
              <p:nvPr/>
            </p:nvSpPr>
            <p:spPr>
              <a:xfrm>
                <a:off x="3440561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9" name="Полилиния 668">
                <a:extLst>
                  <a:ext uri="{FF2B5EF4-FFF2-40B4-BE49-F238E27FC236}">
                    <a16:creationId xmlns:a16="http://schemas.microsoft.com/office/drawing/2014/main" id="{9395CE77-FAB7-D88B-7043-E2BD4F3F558C}"/>
                  </a:ext>
                </a:extLst>
              </p:cNvPr>
              <p:cNvSpPr/>
              <p:nvPr/>
            </p:nvSpPr>
            <p:spPr>
              <a:xfrm rot="-5400000">
                <a:off x="2072946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0" name="Полилиния 669">
                <a:extLst>
                  <a:ext uri="{FF2B5EF4-FFF2-40B4-BE49-F238E27FC236}">
                    <a16:creationId xmlns:a16="http://schemas.microsoft.com/office/drawing/2014/main" id="{E9615322-6F04-67BC-BAC2-6053C3D49FD1}"/>
                  </a:ext>
                </a:extLst>
              </p:cNvPr>
              <p:cNvSpPr/>
              <p:nvPr/>
            </p:nvSpPr>
            <p:spPr>
              <a:xfrm>
                <a:off x="2164120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1" name="Полилиния 670">
                <a:extLst>
                  <a:ext uri="{FF2B5EF4-FFF2-40B4-BE49-F238E27FC236}">
                    <a16:creationId xmlns:a16="http://schemas.microsoft.com/office/drawing/2014/main" id="{00F09A4C-38EB-6459-DBC0-04D13DF20DEB}"/>
                  </a:ext>
                </a:extLst>
              </p:cNvPr>
              <p:cNvSpPr/>
              <p:nvPr/>
            </p:nvSpPr>
            <p:spPr>
              <a:xfrm rot="5400000">
                <a:off x="2255295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2" name="Полилиния 671">
                <a:extLst>
                  <a:ext uri="{FF2B5EF4-FFF2-40B4-BE49-F238E27FC236}">
                    <a16:creationId xmlns:a16="http://schemas.microsoft.com/office/drawing/2014/main" id="{A9D722C6-E1B1-40F5-C3C1-38F583593EC9}"/>
                  </a:ext>
                </a:extLst>
              </p:cNvPr>
              <p:cNvSpPr/>
              <p:nvPr/>
            </p:nvSpPr>
            <p:spPr>
              <a:xfrm>
                <a:off x="2437643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3" name="Полилиния 672">
                <a:extLst>
                  <a:ext uri="{FF2B5EF4-FFF2-40B4-BE49-F238E27FC236}">
                    <a16:creationId xmlns:a16="http://schemas.microsoft.com/office/drawing/2014/main" id="{07739B5D-46E9-4CEB-6785-56DDDCAF48EA}"/>
                  </a:ext>
                </a:extLst>
              </p:cNvPr>
              <p:cNvSpPr/>
              <p:nvPr/>
            </p:nvSpPr>
            <p:spPr>
              <a:xfrm rot="5400000">
                <a:off x="2528817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4" name="Полилиния 673">
                <a:extLst>
                  <a:ext uri="{FF2B5EF4-FFF2-40B4-BE49-F238E27FC236}">
                    <a16:creationId xmlns:a16="http://schemas.microsoft.com/office/drawing/2014/main" id="{760B009C-B08F-E7A1-9AB9-3A56BEC802FF}"/>
                  </a:ext>
                </a:extLst>
              </p:cNvPr>
              <p:cNvSpPr/>
              <p:nvPr/>
            </p:nvSpPr>
            <p:spPr>
              <a:xfrm rot="-5400000">
                <a:off x="2711166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5" name="Полилиния 674">
                <a:extLst>
                  <a:ext uri="{FF2B5EF4-FFF2-40B4-BE49-F238E27FC236}">
                    <a16:creationId xmlns:a16="http://schemas.microsoft.com/office/drawing/2014/main" id="{A4E85BBA-1BBE-62F6-C1C3-F480E0BEC3BD}"/>
                  </a:ext>
                </a:extLst>
              </p:cNvPr>
              <p:cNvSpPr/>
              <p:nvPr/>
            </p:nvSpPr>
            <p:spPr>
              <a:xfrm rot="5400000">
                <a:off x="2802340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6" name="Полилиния 675">
                <a:extLst>
                  <a:ext uri="{FF2B5EF4-FFF2-40B4-BE49-F238E27FC236}">
                    <a16:creationId xmlns:a16="http://schemas.microsoft.com/office/drawing/2014/main" id="{1A940831-5D30-D09F-8124-AC3111872E0A}"/>
                  </a:ext>
                </a:extLst>
              </p:cNvPr>
              <p:cNvSpPr/>
              <p:nvPr/>
            </p:nvSpPr>
            <p:spPr>
              <a:xfrm rot="5400000">
                <a:off x="3167038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7" name="Полилиния 676">
                <a:extLst>
                  <a:ext uri="{FF2B5EF4-FFF2-40B4-BE49-F238E27FC236}">
                    <a16:creationId xmlns:a16="http://schemas.microsoft.com/office/drawing/2014/main" id="{65ABA976-F5DE-E038-89B9-80B43EB2D49D}"/>
                  </a:ext>
                </a:extLst>
              </p:cNvPr>
              <p:cNvSpPr/>
              <p:nvPr/>
            </p:nvSpPr>
            <p:spPr>
              <a:xfrm rot="5400000">
                <a:off x="3440561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24810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1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3000" fill="hold"/>
                                        <p:tgtEl>
                                          <p:spTgt spid="2"/>
                                        </p:tgtEl>
                                      </p:cBhvr>
                                      <p:by x="300000" y="30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000" fill="hold"/>
                                        <p:tgtEl>
                                          <p:spTgt spid="2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8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4000" fill="hold"/>
                                        <p:tgtEl>
                                          <p:spTgt spid="29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8" dur="1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" dur="2500" fill="hold"/>
                                        <p:tgtEl>
                                          <p:spTgt spid="3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2" dur="1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3000" fill="hold"/>
                                        <p:tgtEl>
                                          <p:spTgt spid="61"/>
                                        </p:tgtEl>
                                      </p:cBhvr>
                                      <p:by x="300000" y="30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6" dur="5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2000" fill="hold"/>
                                        <p:tgtEl>
                                          <p:spTgt spid="68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30" dur="8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4000" fill="hold"/>
                                        <p:tgtEl>
                                          <p:spTgt spid="76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34" dur="12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6" dur="2500" fill="hold"/>
                                        <p:tgtEl>
                                          <p:spTgt spid="8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8" dur="10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9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0" dur="3000" fill="hold"/>
                                        <p:tgtEl>
                                          <p:spTgt spid="90"/>
                                        </p:tgtEl>
                                      </p:cBhvr>
                                      <p:by x="300000" y="300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2" dur="5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3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4" dur="2000" fill="hold"/>
                                        <p:tgtEl>
                                          <p:spTgt spid="9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6" dur="8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7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8" dur="4000" fill="hold"/>
                                        <p:tgtEl>
                                          <p:spTgt spid="104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0" dur="12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1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2" dur="2500" fill="hold"/>
                                        <p:tgtEl>
                                          <p:spTgt spid="1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54" dur="10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5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6" dur="3000" fill="hold"/>
                                        <p:tgtEl>
                                          <p:spTgt spid="118"/>
                                        </p:tgtEl>
                                      </p:cBhvr>
                                      <p:by x="300000" y="300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58" dur="5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0" dur="2000" fill="hold"/>
                                        <p:tgtEl>
                                          <p:spTgt spid="125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2" dur="8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3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4" dur="4000" fill="hold"/>
                                        <p:tgtEl>
                                          <p:spTgt spid="132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6" dur="12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7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8" dur="2500" fill="hold"/>
                                        <p:tgtEl>
                                          <p:spTgt spid="13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53B8E41-42E0-7E42-881A-F133F990B9FF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D6060DB4-0F01-0B4C-9220-FA022056DB40}"/>
              </a:ext>
            </a:extLst>
          </p:cNvPr>
          <p:cNvSpPr/>
          <p:nvPr/>
        </p:nvSpPr>
        <p:spPr>
          <a:xfrm>
            <a:off x="1384596" y="131497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6FC6CD61-C8E2-1840-B545-18445EFDEB81}"/>
              </a:ext>
            </a:extLst>
          </p:cNvPr>
          <p:cNvSpPr/>
          <p:nvPr/>
        </p:nvSpPr>
        <p:spPr>
          <a:xfrm>
            <a:off x="-703394" y="-56200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C71B5425-872C-DD41-8B9E-F1798F09F6E7}"/>
              </a:ext>
            </a:extLst>
          </p:cNvPr>
          <p:cNvSpPr/>
          <p:nvPr/>
        </p:nvSpPr>
        <p:spPr>
          <a:xfrm>
            <a:off x="4660581" y="132408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310D618A-B4B7-034E-B73A-C121C1C0BE50}"/>
              </a:ext>
            </a:extLst>
          </p:cNvPr>
          <p:cNvSpPr/>
          <p:nvPr/>
        </p:nvSpPr>
        <p:spPr>
          <a:xfrm>
            <a:off x="5792288" y="-53818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6C40936F-D36D-FA48-A8C3-7BA561AC4874}"/>
              </a:ext>
            </a:extLst>
          </p:cNvPr>
          <p:cNvSpPr/>
          <p:nvPr/>
        </p:nvSpPr>
        <p:spPr>
          <a:xfrm>
            <a:off x="11099977" y="1309990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613DA252-4CF3-C744-9A08-DADA0FE63D2A}"/>
              </a:ext>
            </a:extLst>
          </p:cNvPr>
          <p:cNvSpPr/>
          <p:nvPr/>
        </p:nvSpPr>
        <p:spPr>
          <a:xfrm>
            <a:off x="9011986" y="-566982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FFECE060-9699-E144-AC26-9BF9717D9003}"/>
              </a:ext>
            </a:extLst>
          </p:cNvPr>
          <p:cNvSpPr/>
          <p:nvPr/>
        </p:nvSpPr>
        <p:spPr>
          <a:xfrm>
            <a:off x="-975099" y="381462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488C54A6-E50D-284F-A23A-3C1FE397932D}"/>
              </a:ext>
            </a:extLst>
          </p:cNvPr>
          <p:cNvSpPr/>
          <p:nvPr/>
        </p:nvSpPr>
        <p:spPr>
          <a:xfrm>
            <a:off x="-1563397" y="1596492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15DD9C33-2ACE-9249-93D1-504E86586B24}"/>
              </a:ext>
            </a:extLst>
          </p:cNvPr>
          <p:cNvSpPr/>
          <p:nvPr/>
        </p:nvSpPr>
        <p:spPr>
          <a:xfrm>
            <a:off x="2572591" y="-55288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02BC4B67-72BC-394B-839C-35E53E97C3A2}"/>
              </a:ext>
            </a:extLst>
          </p:cNvPr>
          <p:cNvSpPr/>
          <p:nvPr/>
        </p:nvSpPr>
        <p:spPr>
          <a:xfrm>
            <a:off x="7880279" y="1338788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88B7C0BF-4578-AE42-A26E-E310C95FFA6A}"/>
              </a:ext>
            </a:extLst>
          </p:cNvPr>
          <p:cNvSpPr/>
          <p:nvPr/>
        </p:nvSpPr>
        <p:spPr>
          <a:xfrm>
            <a:off x="2088030" y="412992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0A138D62-A848-C647-A10B-CDD14293FDFF}"/>
              </a:ext>
            </a:extLst>
          </p:cNvPr>
          <p:cNvSpPr/>
          <p:nvPr/>
        </p:nvSpPr>
        <p:spPr>
          <a:xfrm>
            <a:off x="4443032" y="79009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67C7B3F4-4796-364E-9F51-78443E67CFAD}"/>
              </a:ext>
            </a:extLst>
          </p:cNvPr>
          <p:cNvSpPr/>
          <p:nvPr/>
        </p:nvSpPr>
        <p:spPr>
          <a:xfrm>
            <a:off x="9968269" y="597781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43" name="Rectangle: Rounded Corners 70">
            <a:extLst>
              <a:ext uri="{FF2B5EF4-FFF2-40B4-BE49-F238E27FC236}">
                <a16:creationId xmlns:a16="http://schemas.microsoft.com/office/drawing/2014/main" id="{3EA50D41-584A-AB41-019B-90B2427FC47E}"/>
              </a:ext>
            </a:extLst>
          </p:cNvPr>
          <p:cNvSpPr/>
          <p:nvPr/>
        </p:nvSpPr>
        <p:spPr>
          <a:xfrm rot="10800000">
            <a:off x="507863" y="-2299003"/>
            <a:ext cx="5997183" cy="1136385"/>
          </a:xfrm>
          <a:prstGeom prst="roundRect">
            <a:avLst>
              <a:gd name="adj" fmla="val 27611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40729235-7706-2346-D3D2-53D6C5A037AE}"/>
              </a:ext>
            </a:extLst>
          </p:cNvPr>
          <p:cNvSpPr/>
          <p:nvPr/>
        </p:nvSpPr>
        <p:spPr>
          <a:xfrm rot="5400000">
            <a:off x="1335478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2FC23343-0242-E0C1-E61E-DFDF8EDBB4F2}"/>
              </a:ext>
            </a:extLst>
          </p:cNvPr>
          <p:cNvSpPr/>
          <p:nvPr/>
        </p:nvSpPr>
        <p:spPr>
          <a:xfrm rot="5400000">
            <a:off x="1780257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DAB044F4-9FCA-369D-6353-52C096264D70}"/>
              </a:ext>
            </a:extLst>
          </p:cNvPr>
          <p:cNvSpPr/>
          <p:nvPr/>
        </p:nvSpPr>
        <p:spPr>
          <a:xfrm rot="5400000">
            <a:off x="2225036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E1C04F78-2BA0-25C8-8050-7C7F7D5A923B}"/>
              </a:ext>
            </a:extLst>
          </p:cNvPr>
          <p:cNvSpPr/>
          <p:nvPr/>
        </p:nvSpPr>
        <p:spPr>
          <a:xfrm rot="5400000">
            <a:off x="2669815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58CD7D83-B22D-2F38-BC61-41322E552EC9}"/>
              </a:ext>
            </a:extLst>
          </p:cNvPr>
          <p:cNvSpPr/>
          <p:nvPr/>
        </p:nvSpPr>
        <p:spPr>
          <a:xfrm rot="5400000">
            <a:off x="3114594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>
            <a:extLst>
              <a:ext uri="{FF2B5EF4-FFF2-40B4-BE49-F238E27FC236}">
                <a16:creationId xmlns:a16="http://schemas.microsoft.com/office/drawing/2014/main" id="{0E18D4F0-71C6-171D-E1A8-1E2266FE0C91}"/>
              </a:ext>
            </a:extLst>
          </p:cNvPr>
          <p:cNvSpPr/>
          <p:nvPr/>
        </p:nvSpPr>
        <p:spPr>
          <a:xfrm rot="5400000">
            <a:off x="3559373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Скругленный прямоугольник 49">
            <a:extLst>
              <a:ext uri="{FF2B5EF4-FFF2-40B4-BE49-F238E27FC236}">
                <a16:creationId xmlns:a16="http://schemas.microsoft.com/office/drawing/2014/main" id="{12709B9D-CF4E-7906-4FC4-0F3C5305B56F}"/>
              </a:ext>
            </a:extLst>
          </p:cNvPr>
          <p:cNvSpPr/>
          <p:nvPr/>
        </p:nvSpPr>
        <p:spPr>
          <a:xfrm rot="5400000">
            <a:off x="4004152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Скругленный прямоугольник 50">
            <a:extLst>
              <a:ext uri="{FF2B5EF4-FFF2-40B4-BE49-F238E27FC236}">
                <a16:creationId xmlns:a16="http://schemas.microsoft.com/office/drawing/2014/main" id="{3A5392D6-ACBB-F9FC-D049-3630473521B5}"/>
              </a:ext>
            </a:extLst>
          </p:cNvPr>
          <p:cNvSpPr/>
          <p:nvPr/>
        </p:nvSpPr>
        <p:spPr>
          <a:xfrm rot="5400000">
            <a:off x="5338493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кругленный прямоугольник 51">
            <a:extLst>
              <a:ext uri="{FF2B5EF4-FFF2-40B4-BE49-F238E27FC236}">
                <a16:creationId xmlns:a16="http://schemas.microsoft.com/office/drawing/2014/main" id="{11D12723-F0FD-22A8-99BF-DC5808532D2F}"/>
              </a:ext>
            </a:extLst>
          </p:cNvPr>
          <p:cNvSpPr/>
          <p:nvPr/>
        </p:nvSpPr>
        <p:spPr>
          <a:xfrm rot="5400000">
            <a:off x="4893710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кругленный прямоугольник 52">
            <a:extLst>
              <a:ext uri="{FF2B5EF4-FFF2-40B4-BE49-F238E27FC236}">
                <a16:creationId xmlns:a16="http://schemas.microsoft.com/office/drawing/2014/main" id="{0ABB5716-93DA-86EF-FE2E-33EEAC68C99B}"/>
              </a:ext>
            </a:extLst>
          </p:cNvPr>
          <p:cNvSpPr/>
          <p:nvPr/>
        </p:nvSpPr>
        <p:spPr>
          <a:xfrm rot="5400000">
            <a:off x="4448931" y="-2091010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5AD49C4-4A9F-8232-D2BF-8971273A9022}"/>
              </a:ext>
            </a:extLst>
          </p:cNvPr>
          <p:cNvSpPr txBox="1"/>
          <p:nvPr/>
        </p:nvSpPr>
        <p:spPr>
          <a:xfrm>
            <a:off x="1289469" y="-1730811"/>
            <a:ext cx="5188527" cy="385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" panose="020B0305040102020103" pitchFamily="34" charset="0"/>
                <a:cs typeface="Times New Roman" panose="02020603050405020304" pitchFamily="18" charset="0"/>
              </a:rPr>
              <a:t>Азбука качественного визуала</a:t>
            </a:r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7706585C-5D0A-8A38-630E-243E838BCD48}"/>
              </a:ext>
            </a:extLst>
          </p:cNvPr>
          <p:cNvCxnSpPr/>
          <p:nvPr/>
        </p:nvCxnSpPr>
        <p:spPr>
          <a:xfrm>
            <a:off x="9492630" y="13969207"/>
            <a:ext cx="1" cy="618004"/>
          </a:xfrm>
          <a:prstGeom prst="line">
            <a:avLst/>
          </a:prstGeom>
          <a:ln w="19050">
            <a:solidFill>
              <a:srgbClr val="C0DC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G_9317.MP4">
            <a:hlinkClick r:id="" action="ppaction://media"/>
            <a:extLst>
              <a:ext uri="{FF2B5EF4-FFF2-40B4-BE49-F238E27FC236}">
                <a16:creationId xmlns:a16="http://schemas.microsoft.com/office/drawing/2014/main" id="{A3778202-2839-ECA3-31A5-423079ED99F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3670851" y="0"/>
            <a:ext cx="8572500" cy="6858000"/>
          </a:xfrm>
          <a:prstGeom prst="rect">
            <a:avLst/>
          </a:prstGeom>
        </p:spPr>
      </p:pic>
      <p:grpSp>
        <p:nvGrpSpPr>
          <p:cNvPr id="55" name="Группа 54">
            <a:extLst>
              <a:ext uri="{FF2B5EF4-FFF2-40B4-BE49-F238E27FC236}">
                <a16:creationId xmlns:a16="http://schemas.microsoft.com/office/drawing/2014/main" id="{72EAC817-8909-9A4B-9CE8-BE5433CB9F10}"/>
              </a:ext>
            </a:extLst>
          </p:cNvPr>
          <p:cNvGrpSpPr/>
          <p:nvPr/>
        </p:nvGrpSpPr>
        <p:grpSpPr>
          <a:xfrm>
            <a:off x="0" y="2414567"/>
            <a:ext cx="3647486" cy="2028866"/>
            <a:chOff x="0" y="1784739"/>
            <a:chExt cx="3647486" cy="2028866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53788A5A-AAB6-6A52-08DE-9BF7A6BD8E4A}"/>
                </a:ext>
              </a:extLst>
            </p:cNvPr>
            <p:cNvSpPr txBox="1"/>
            <p:nvPr/>
          </p:nvSpPr>
          <p:spPr>
            <a:xfrm>
              <a:off x="0" y="1784739"/>
              <a:ext cx="3647486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4800" b="1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path path="circle">
                      <a:fillToRect l="100000" b="100000"/>
                    </a:path>
                  </a:gradFill>
                  <a:latin typeface="Unbounded SemiBold" panose="020B0305040102020103" pitchFamily="34" charset="0"/>
                </a:rPr>
                <a:t>ТЕНЧАТ </a:t>
              </a:r>
              <a:endParaRPr lang="ru-RU" sz="2800" b="1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path path="circle">
                    <a:fillToRect l="100000" b="100000"/>
                  </a:path>
                </a:gradFill>
                <a:latin typeface="Unbounded SemiBold" panose="020B0305040102020103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661FC1A-50C6-BEDC-BB61-C36051BBD81F}"/>
                </a:ext>
              </a:extLst>
            </p:cNvPr>
            <p:cNvSpPr txBox="1"/>
            <p:nvPr/>
          </p:nvSpPr>
          <p:spPr>
            <a:xfrm>
              <a:off x="0" y="2284981"/>
              <a:ext cx="3647486" cy="152862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2800"/>
                </a:lnSpc>
              </a:pPr>
              <a:br>
                <a:rPr lang="ru-RU" sz="2400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path path="circle">
                      <a:fillToRect l="100000" b="100000"/>
                    </a:path>
                  </a:gradFill>
                  <a:latin typeface="Unbounded" panose="020B0305040102020103" pitchFamily="34" charset="0"/>
                </a:rPr>
              </a:br>
              <a:r>
                <a:rPr lang="ru-RU" sz="2400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path path="circle">
                      <a:fillToRect l="100000" b="100000"/>
                    </a:path>
                  </a:gradFill>
                  <a:latin typeface="Unbounded" panose="020B0305040102020103" pitchFamily="34" charset="0"/>
                </a:rPr>
                <a:t>— инновация </a:t>
              </a:r>
              <a:br>
                <a:rPr lang="ru-RU" sz="2400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path path="circle">
                      <a:fillToRect l="100000" b="100000"/>
                    </a:path>
                  </a:gradFill>
                  <a:latin typeface="Unbounded" panose="020B0305040102020103" pitchFamily="34" charset="0"/>
                </a:rPr>
              </a:br>
              <a:r>
                <a:rPr lang="ru-RU" sz="2400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path path="circle">
                      <a:fillToRect l="100000" b="100000"/>
                    </a:path>
                  </a:gradFill>
                  <a:latin typeface="Unbounded" panose="020B0305040102020103" pitchFamily="34" charset="0"/>
                </a:rPr>
                <a:t>от российских разработчиков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2946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rism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933" fill="hold"/>
                                        <p:tgtEl>
                                          <p:spTgt spid="2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3000" fill="hold"/>
                                        <p:tgtEl>
                                          <p:spTgt spid="1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8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5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8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3000" fill="hold"/>
                                        <p:tgtEl>
                                          <p:spTgt spid="2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0" dur="8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5000" fill="hold"/>
                                        <p:tgtEl>
                                          <p:spTgt spid="2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4" dur="8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6" dur="3000" fill="hold"/>
                                        <p:tgtEl>
                                          <p:spTgt spid="2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8" dur="8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2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2" dur="8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4" dur="5000" fill="hold"/>
                                        <p:tgtEl>
                                          <p:spTgt spid="3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6" dur="3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8" dur="5000" fill="hold"/>
                                        <p:tgtEl>
                                          <p:spTgt spid="3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0" dur="8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2" dur="2000" fill="hold"/>
                                        <p:tgtEl>
                                          <p:spTgt spid="3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4" dur="5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6" dur="2000" fill="hold"/>
                                        <p:tgtEl>
                                          <p:spTgt spid="3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8" dur="8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0" dur="3000" fill="hold"/>
                                        <p:tgtEl>
                                          <p:spTgt spid="2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2" dur="5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4" dur="3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6" dur="8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8" dur="5000" fill="hold"/>
                                        <p:tgtEl>
                                          <p:spTgt spid="2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59" repeatCount="indefinite" fill="hold" display="0">
                  <p:stCondLst>
                    <p:cond delay="indefinite"/>
                  </p:stCondLst>
                </p:cTn>
                <p:tgtEl>
                  <p:spTgt spid="21"/>
                </p:tgtEl>
              </p:cMediaNode>
            </p:video>
            <p:seq concurrent="1" nextAc="seek">
              <p:cTn id="60" restart="whenNotActive" fill="hold" evtFilter="cancelBubble" nodeType="interactiveSeq">
                <p:stCondLst>
                  <p:cond evt="onClick" delay="0">
                    <p:tgtEl>
                      <p:spTgt spid="2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61" fill="hold">
                      <p:stCondLst>
                        <p:cond delay="0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4" dur="1" fill="hold"/>
                                        <p:tgtEl>
                                          <p:spTgt spid="2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1"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15" grpId="0" animBg="1"/>
      <p:bldP spid="15" grpId="1" animBg="1"/>
      <p:bldP spid="26" grpId="0" animBg="1"/>
      <p:bldP spid="26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6" grpId="0" animBg="1"/>
      <p:bldP spid="36" grpId="1" animBg="1"/>
      <p:bldP spid="27" grpId="0" animBg="1"/>
      <p:bldP spid="27" grpId="1" animBg="1"/>
      <p:bldP spid="28" grpId="0" animBg="1"/>
      <p:bldP spid="28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4" grpId="1" animBg="1"/>
    </p:bld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7D52CEA-D691-210B-03B7-53E7F9226188}"/>
              </a:ext>
            </a:extLst>
          </p:cNvPr>
          <p:cNvSpPr txBox="1"/>
          <p:nvPr/>
        </p:nvSpPr>
        <p:spPr>
          <a:xfrm>
            <a:off x="701032" y="695984"/>
            <a:ext cx="9667656" cy="2367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4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ТЕНЧАТ </a:t>
            </a:r>
            <a:br>
              <a:rPr lang="ru-RU" sz="44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</a:br>
            <a:r>
              <a:rPr lang="ru-RU" sz="44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— ЭТО ПРО </a:t>
            </a:r>
            <a:br>
              <a:rPr lang="ru-RU" sz="44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</a:br>
            <a:r>
              <a:rPr lang="ru-RU" sz="4400" b="1" dirty="0">
                <a:latin typeface="Unbounded SemiBold" panose="020B0305040102020103" pitchFamily="34" charset="0"/>
                <a:cs typeface="Times New Roman" panose="02020603050405020304" pitchFamily="18" charset="0"/>
              </a:rPr>
              <a:t>НЕТВОРК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612C03-8DFE-CF8C-6D72-02835ABC9555}"/>
              </a:ext>
            </a:extLst>
          </p:cNvPr>
          <p:cNvSpPr txBox="1"/>
          <p:nvPr/>
        </p:nvSpPr>
        <p:spPr>
          <a:xfrm>
            <a:off x="701032" y="3265516"/>
            <a:ext cx="5569139" cy="25894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3600" dirty="0">
                <a:latin typeface="Unbounded" panose="020B0305040102020103" pitchFamily="34" charset="0"/>
                <a:cs typeface="Times New Roman" panose="02020603050405020304" pitchFamily="18" charset="0"/>
              </a:rPr>
              <a:t>А только через коммуникацию </a:t>
            </a:r>
            <a:br>
              <a:rPr lang="ru-RU" sz="3600" dirty="0"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3600" dirty="0">
                <a:latin typeface="Unbounded" panose="020B0305040102020103" pitchFamily="34" charset="0"/>
                <a:cs typeface="Times New Roman" panose="02020603050405020304" pitchFamily="18" charset="0"/>
              </a:rPr>
              <a:t>можно достичь результатов</a:t>
            </a:r>
          </a:p>
        </p:txBody>
      </p:sp>
      <p:sp>
        <p:nvSpPr>
          <p:cNvPr id="11" name="!!10">
            <a:extLst>
              <a:ext uri="{FF2B5EF4-FFF2-40B4-BE49-F238E27FC236}">
                <a16:creationId xmlns:a16="http://schemas.microsoft.com/office/drawing/2014/main" id="{F3BD0B12-A60F-F7AB-F143-061AF7CC9AA7}"/>
              </a:ext>
            </a:extLst>
          </p:cNvPr>
          <p:cNvSpPr/>
          <p:nvPr/>
        </p:nvSpPr>
        <p:spPr>
          <a:xfrm rot="1680802">
            <a:off x="8313029" y="-3003343"/>
            <a:ext cx="7012404" cy="13579363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72520F0F-ACD6-880C-DCEA-983612C5C021}"/>
              </a:ext>
            </a:extLst>
          </p:cNvPr>
          <p:cNvGrpSpPr/>
          <p:nvPr/>
        </p:nvGrpSpPr>
        <p:grpSpPr>
          <a:xfrm>
            <a:off x="5417457" y="408713"/>
            <a:ext cx="5964838" cy="11529974"/>
            <a:chOff x="5417457" y="408713"/>
            <a:chExt cx="5964838" cy="11529974"/>
          </a:xfrm>
        </p:grpSpPr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2B1CA8D4-5B72-862E-FFF2-25080D8AE8D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926802" y="673425"/>
              <a:ext cx="5059794" cy="10977182"/>
            </a:xfrm>
            <a:prstGeom prst="roundRect">
              <a:avLst>
                <a:gd name="adj" fmla="val 14659"/>
              </a:avLst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A02FC1F-49D3-7A6F-3762-358B0631B9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53" t="10794" r="16367" b="9841"/>
            <a:stretch/>
          </p:blipFill>
          <p:spPr>
            <a:xfrm>
              <a:off x="5417457" y="408713"/>
              <a:ext cx="5964838" cy="11529974"/>
            </a:xfrm>
            <a:prstGeom prst="rect">
              <a:avLst/>
            </a:prstGeom>
          </p:spPr>
        </p:pic>
      </p:grp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CDCFA67-0BE7-BF62-9FA6-9A2DA85487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9023" y="8294458"/>
            <a:ext cx="3709200" cy="4258277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224BD3D-BE55-85F4-40A7-7AB836B49F5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50641" y="16525918"/>
            <a:ext cx="3702336" cy="4258277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2EF6F238-FF4B-4B4E-F15F-1B7B7BC687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93607" y="12414491"/>
            <a:ext cx="3811649" cy="4258277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sp>
        <p:nvSpPr>
          <p:cNvPr id="19" name="Полилиния 18">
            <a:extLst>
              <a:ext uri="{FF2B5EF4-FFF2-40B4-BE49-F238E27FC236}">
                <a16:creationId xmlns:a16="http://schemas.microsoft.com/office/drawing/2014/main" id="{0BDD5D26-0E9C-EFDC-CE99-645833172EEA}"/>
              </a:ext>
            </a:extLst>
          </p:cNvPr>
          <p:cNvSpPr/>
          <p:nvPr/>
        </p:nvSpPr>
        <p:spPr>
          <a:xfrm>
            <a:off x="239022" y="8260964"/>
            <a:ext cx="3682879" cy="4258277"/>
          </a:xfrm>
          <a:custGeom>
            <a:avLst/>
            <a:gdLst>
              <a:gd name="connsiteX0" fmla="*/ 3420091 w 3682879"/>
              <a:gd name="connsiteY0" fmla="*/ 3574688 h 4258277"/>
              <a:gd name="connsiteX1" fmla="*/ 3197701 w 3682879"/>
              <a:gd name="connsiteY1" fmla="*/ 3797078 h 4258277"/>
              <a:gd name="connsiteX2" fmla="*/ 3420091 w 3682879"/>
              <a:gd name="connsiteY2" fmla="*/ 4019468 h 4258277"/>
              <a:gd name="connsiteX3" fmla="*/ 3642481 w 3682879"/>
              <a:gd name="connsiteY3" fmla="*/ 3797078 h 4258277"/>
              <a:gd name="connsiteX4" fmla="*/ 3420091 w 3682879"/>
              <a:gd name="connsiteY4" fmla="*/ 3574688 h 4258277"/>
              <a:gd name="connsiteX5" fmla="*/ 227344 w 3682879"/>
              <a:gd name="connsiteY5" fmla="*/ 0 h 4258277"/>
              <a:gd name="connsiteX6" fmla="*/ 3455535 w 3682879"/>
              <a:gd name="connsiteY6" fmla="*/ 0 h 4258277"/>
              <a:gd name="connsiteX7" fmla="*/ 3682879 w 3682879"/>
              <a:gd name="connsiteY7" fmla="*/ 227344 h 4258277"/>
              <a:gd name="connsiteX8" fmla="*/ 3682879 w 3682879"/>
              <a:gd name="connsiteY8" fmla="*/ 4030933 h 4258277"/>
              <a:gd name="connsiteX9" fmla="*/ 3455535 w 3682879"/>
              <a:gd name="connsiteY9" fmla="*/ 4258277 h 4258277"/>
              <a:gd name="connsiteX10" fmla="*/ 227344 w 3682879"/>
              <a:gd name="connsiteY10" fmla="*/ 4258277 h 4258277"/>
              <a:gd name="connsiteX11" fmla="*/ 0 w 3682879"/>
              <a:gd name="connsiteY11" fmla="*/ 4030933 h 4258277"/>
              <a:gd name="connsiteX12" fmla="*/ 0 w 3682879"/>
              <a:gd name="connsiteY12" fmla="*/ 227344 h 4258277"/>
              <a:gd name="connsiteX13" fmla="*/ 227344 w 3682879"/>
              <a:gd name="connsiteY13" fmla="*/ 0 h 4258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682879" h="4258277">
                <a:moveTo>
                  <a:pt x="3420091" y="3574688"/>
                </a:moveTo>
                <a:cubicBezTo>
                  <a:pt x="3297268" y="3574688"/>
                  <a:pt x="3197701" y="3674255"/>
                  <a:pt x="3197701" y="3797078"/>
                </a:cubicBezTo>
                <a:cubicBezTo>
                  <a:pt x="3197701" y="3919901"/>
                  <a:pt x="3297268" y="4019468"/>
                  <a:pt x="3420091" y="4019468"/>
                </a:cubicBezTo>
                <a:cubicBezTo>
                  <a:pt x="3542914" y="4019468"/>
                  <a:pt x="3642481" y="3919901"/>
                  <a:pt x="3642481" y="3797078"/>
                </a:cubicBezTo>
                <a:cubicBezTo>
                  <a:pt x="3642481" y="3674255"/>
                  <a:pt x="3542914" y="3574688"/>
                  <a:pt x="3420091" y="3574688"/>
                </a:cubicBezTo>
                <a:close/>
                <a:moveTo>
                  <a:pt x="227344" y="0"/>
                </a:moveTo>
                <a:lnTo>
                  <a:pt x="3455535" y="0"/>
                </a:lnTo>
                <a:cubicBezTo>
                  <a:pt x="3581094" y="0"/>
                  <a:pt x="3682879" y="101785"/>
                  <a:pt x="3682879" y="227344"/>
                </a:cubicBezTo>
                <a:lnTo>
                  <a:pt x="3682879" y="4030933"/>
                </a:lnTo>
                <a:cubicBezTo>
                  <a:pt x="3682879" y="4156492"/>
                  <a:pt x="3581094" y="4258277"/>
                  <a:pt x="3455535" y="4258277"/>
                </a:cubicBezTo>
                <a:lnTo>
                  <a:pt x="227344" y="4258277"/>
                </a:lnTo>
                <a:cubicBezTo>
                  <a:pt x="101785" y="4258277"/>
                  <a:pt x="0" y="4156492"/>
                  <a:pt x="0" y="4030933"/>
                </a:cubicBezTo>
                <a:lnTo>
                  <a:pt x="0" y="227344"/>
                </a:lnTo>
                <a:cubicBezTo>
                  <a:pt x="0" y="101785"/>
                  <a:pt x="101785" y="0"/>
                  <a:pt x="227344" y="0"/>
                </a:cubicBezTo>
                <a:close/>
              </a:path>
            </a:pathLst>
          </a:custGeom>
          <a:solidFill>
            <a:srgbClr val="620CFD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0" name="Полилиния 19">
            <a:extLst>
              <a:ext uri="{FF2B5EF4-FFF2-40B4-BE49-F238E27FC236}">
                <a16:creationId xmlns:a16="http://schemas.microsoft.com/office/drawing/2014/main" id="{E6A649C3-642B-C8C2-C008-23EA5507E001}"/>
              </a:ext>
            </a:extLst>
          </p:cNvPr>
          <p:cNvSpPr/>
          <p:nvPr/>
        </p:nvSpPr>
        <p:spPr>
          <a:xfrm>
            <a:off x="4193607" y="12466725"/>
            <a:ext cx="3811649" cy="4281319"/>
          </a:xfrm>
          <a:custGeom>
            <a:avLst/>
            <a:gdLst>
              <a:gd name="connsiteX0" fmla="*/ 235293 w 3811649"/>
              <a:gd name="connsiteY0" fmla="*/ 0 h 4281319"/>
              <a:gd name="connsiteX1" fmla="*/ 3576356 w 3811649"/>
              <a:gd name="connsiteY1" fmla="*/ 0 h 4281319"/>
              <a:gd name="connsiteX2" fmla="*/ 3811649 w 3811649"/>
              <a:gd name="connsiteY2" fmla="*/ 235293 h 4281319"/>
              <a:gd name="connsiteX3" fmla="*/ 3811649 w 3811649"/>
              <a:gd name="connsiteY3" fmla="*/ 4046026 h 4281319"/>
              <a:gd name="connsiteX4" fmla="*/ 3742734 w 3811649"/>
              <a:gd name="connsiteY4" fmla="*/ 4212404 h 4281319"/>
              <a:gd name="connsiteX5" fmla="*/ 3697594 w 3811649"/>
              <a:gd name="connsiteY5" fmla="*/ 4242838 h 4281319"/>
              <a:gd name="connsiteX6" fmla="*/ 3707454 w 3811649"/>
              <a:gd name="connsiteY6" fmla="*/ 4224672 h 4281319"/>
              <a:gd name="connsiteX7" fmla="*/ 3726128 w 3811649"/>
              <a:gd name="connsiteY7" fmla="*/ 4132175 h 4281319"/>
              <a:gd name="connsiteX8" fmla="*/ 3488497 w 3811649"/>
              <a:gd name="connsiteY8" fmla="*/ 3894544 h 4281319"/>
              <a:gd name="connsiteX9" fmla="*/ 3250866 w 3811649"/>
              <a:gd name="connsiteY9" fmla="*/ 4132175 h 4281319"/>
              <a:gd name="connsiteX10" fmla="*/ 3291450 w 3811649"/>
              <a:gd name="connsiteY10" fmla="*/ 4265037 h 4281319"/>
              <a:gd name="connsiteX11" fmla="*/ 3304884 w 3811649"/>
              <a:gd name="connsiteY11" fmla="*/ 4281319 h 4281319"/>
              <a:gd name="connsiteX12" fmla="*/ 235293 w 3811649"/>
              <a:gd name="connsiteY12" fmla="*/ 4281319 h 4281319"/>
              <a:gd name="connsiteX13" fmla="*/ 0 w 3811649"/>
              <a:gd name="connsiteY13" fmla="*/ 4046026 h 4281319"/>
              <a:gd name="connsiteX14" fmla="*/ 0 w 3811649"/>
              <a:gd name="connsiteY14" fmla="*/ 235293 h 4281319"/>
              <a:gd name="connsiteX15" fmla="*/ 235293 w 3811649"/>
              <a:gd name="connsiteY15" fmla="*/ 0 h 4281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811649" h="4281319">
                <a:moveTo>
                  <a:pt x="235293" y="0"/>
                </a:moveTo>
                <a:lnTo>
                  <a:pt x="3576356" y="0"/>
                </a:lnTo>
                <a:cubicBezTo>
                  <a:pt x="3706305" y="0"/>
                  <a:pt x="3811649" y="105344"/>
                  <a:pt x="3811649" y="235293"/>
                </a:cubicBezTo>
                <a:lnTo>
                  <a:pt x="3811649" y="4046026"/>
                </a:lnTo>
                <a:cubicBezTo>
                  <a:pt x="3811649" y="4111001"/>
                  <a:pt x="3785313" y="4169824"/>
                  <a:pt x="3742734" y="4212404"/>
                </a:cubicBezTo>
                <a:lnTo>
                  <a:pt x="3697594" y="4242838"/>
                </a:lnTo>
                <a:lnTo>
                  <a:pt x="3707454" y="4224672"/>
                </a:lnTo>
                <a:cubicBezTo>
                  <a:pt x="3719479" y="4196242"/>
                  <a:pt x="3726128" y="4164985"/>
                  <a:pt x="3726128" y="4132175"/>
                </a:cubicBezTo>
                <a:cubicBezTo>
                  <a:pt x="3726128" y="4000935"/>
                  <a:pt x="3619737" y="3894544"/>
                  <a:pt x="3488497" y="3894544"/>
                </a:cubicBezTo>
                <a:cubicBezTo>
                  <a:pt x="3357257" y="3894544"/>
                  <a:pt x="3250866" y="4000935"/>
                  <a:pt x="3250866" y="4132175"/>
                </a:cubicBezTo>
                <a:cubicBezTo>
                  <a:pt x="3250866" y="4181390"/>
                  <a:pt x="3265827" y="4227111"/>
                  <a:pt x="3291450" y="4265037"/>
                </a:cubicBezTo>
                <a:lnTo>
                  <a:pt x="3304884" y="4281319"/>
                </a:lnTo>
                <a:lnTo>
                  <a:pt x="235293" y="4281319"/>
                </a:lnTo>
                <a:cubicBezTo>
                  <a:pt x="105344" y="4281319"/>
                  <a:pt x="0" y="4175975"/>
                  <a:pt x="0" y="4046026"/>
                </a:cubicBezTo>
                <a:lnTo>
                  <a:pt x="0" y="235293"/>
                </a:lnTo>
                <a:cubicBezTo>
                  <a:pt x="0" y="105344"/>
                  <a:pt x="105344" y="0"/>
                  <a:pt x="235293" y="0"/>
                </a:cubicBezTo>
                <a:close/>
              </a:path>
            </a:pathLst>
          </a:custGeom>
          <a:solidFill>
            <a:srgbClr val="620CFD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1" name="Полилиния 20">
            <a:extLst>
              <a:ext uri="{FF2B5EF4-FFF2-40B4-BE49-F238E27FC236}">
                <a16:creationId xmlns:a16="http://schemas.microsoft.com/office/drawing/2014/main" id="{BF9CE037-2966-99ED-75F9-1E4B65425684}"/>
              </a:ext>
            </a:extLst>
          </p:cNvPr>
          <p:cNvSpPr/>
          <p:nvPr/>
        </p:nvSpPr>
        <p:spPr>
          <a:xfrm>
            <a:off x="8250640" y="16567333"/>
            <a:ext cx="3702337" cy="4281319"/>
          </a:xfrm>
          <a:custGeom>
            <a:avLst/>
            <a:gdLst>
              <a:gd name="connsiteX0" fmla="*/ 228545 w 3702337"/>
              <a:gd name="connsiteY0" fmla="*/ 0 h 4281319"/>
              <a:gd name="connsiteX1" fmla="*/ 3473792 w 3702337"/>
              <a:gd name="connsiteY1" fmla="*/ 0 h 4281319"/>
              <a:gd name="connsiteX2" fmla="*/ 3702337 w 3702337"/>
              <a:gd name="connsiteY2" fmla="*/ 228545 h 4281319"/>
              <a:gd name="connsiteX3" fmla="*/ 3702337 w 3702337"/>
              <a:gd name="connsiteY3" fmla="*/ 4052774 h 4281319"/>
              <a:gd name="connsiteX4" fmla="*/ 3635398 w 3702337"/>
              <a:gd name="connsiteY4" fmla="*/ 4214380 h 4281319"/>
              <a:gd name="connsiteX5" fmla="*/ 3589723 w 3702337"/>
              <a:gd name="connsiteY5" fmla="*/ 4245175 h 4281319"/>
              <a:gd name="connsiteX6" fmla="*/ 3592579 w 3702337"/>
              <a:gd name="connsiteY6" fmla="*/ 4239913 h 4281319"/>
              <a:gd name="connsiteX7" fmla="*/ 3611253 w 3702337"/>
              <a:gd name="connsiteY7" fmla="*/ 4147416 h 4281319"/>
              <a:gd name="connsiteX8" fmla="*/ 3373622 w 3702337"/>
              <a:gd name="connsiteY8" fmla="*/ 3909785 h 4281319"/>
              <a:gd name="connsiteX9" fmla="*/ 3135991 w 3702337"/>
              <a:gd name="connsiteY9" fmla="*/ 4147416 h 4281319"/>
              <a:gd name="connsiteX10" fmla="*/ 3176575 w 3702337"/>
              <a:gd name="connsiteY10" fmla="*/ 4280278 h 4281319"/>
              <a:gd name="connsiteX11" fmla="*/ 3177434 w 3702337"/>
              <a:gd name="connsiteY11" fmla="*/ 4281319 h 4281319"/>
              <a:gd name="connsiteX12" fmla="*/ 228545 w 3702337"/>
              <a:gd name="connsiteY12" fmla="*/ 4281319 h 4281319"/>
              <a:gd name="connsiteX13" fmla="*/ 0 w 3702337"/>
              <a:gd name="connsiteY13" fmla="*/ 4052774 h 4281319"/>
              <a:gd name="connsiteX14" fmla="*/ 0 w 3702337"/>
              <a:gd name="connsiteY14" fmla="*/ 228545 h 4281319"/>
              <a:gd name="connsiteX15" fmla="*/ 228545 w 3702337"/>
              <a:gd name="connsiteY15" fmla="*/ 0 h 4281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702337" h="4281319">
                <a:moveTo>
                  <a:pt x="228545" y="0"/>
                </a:moveTo>
                <a:lnTo>
                  <a:pt x="3473792" y="0"/>
                </a:lnTo>
                <a:cubicBezTo>
                  <a:pt x="3600014" y="0"/>
                  <a:pt x="3702337" y="102323"/>
                  <a:pt x="3702337" y="228545"/>
                </a:cubicBezTo>
                <a:lnTo>
                  <a:pt x="3702337" y="4052774"/>
                </a:lnTo>
                <a:cubicBezTo>
                  <a:pt x="3702337" y="4115885"/>
                  <a:pt x="3676756" y="4173021"/>
                  <a:pt x="3635398" y="4214380"/>
                </a:cubicBezTo>
                <a:lnTo>
                  <a:pt x="3589723" y="4245175"/>
                </a:lnTo>
                <a:lnTo>
                  <a:pt x="3592579" y="4239913"/>
                </a:lnTo>
                <a:cubicBezTo>
                  <a:pt x="3604604" y="4211483"/>
                  <a:pt x="3611253" y="4180226"/>
                  <a:pt x="3611253" y="4147416"/>
                </a:cubicBezTo>
                <a:cubicBezTo>
                  <a:pt x="3611253" y="4016176"/>
                  <a:pt x="3504862" y="3909785"/>
                  <a:pt x="3373622" y="3909785"/>
                </a:cubicBezTo>
                <a:cubicBezTo>
                  <a:pt x="3242382" y="3909785"/>
                  <a:pt x="3135991" y="4016176"/>
                  <a:pt x="3135991" y="4147416"/>
                </a:cubicBezTo>
                <a:cubicBezTo>
                  <a:pt x="3135991" y="4196631"/>
                  <a:pt x="3150952" y="4242352"/>
                  <a:pt x="3176575" y="4280278"/>
                </a:cubicBezTo>
                <a:lnTo>
                  <a:pt x="3177434" y="4281319"/>
                </a:lnTo>
                <a:lnTo>
                  <a:pt x="228545" y="4281319"/>
                </a:lnTo>
                <a:cubicBezTo>
                  <a:pt x="102323" y="4281319"/>
                  <a:pt x="0" y="4178996"/>
                  <a:pt x="0" y="4052774"/>
                </a:cubicBezTo>
                <a:lnTo>
                  <a:pt x="0" y="228545"/>
                </a:lnTo>
                <a:cubicBezTo>
                  <a:pt x="0" y="102323"/>
                  <a:pt x="102323" y="0"/>
                  <a:pt x="228545" y="0"/>
                </a:cubicBezTo>
                <a:close/>
              </a:path>
            </a:pathLst>
          </a:custGeom>
          <a:solidFill>
            <a:srgbClr val="620CFD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310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!!10">
            <a:extLst>
              <a:ext uri="{FF2B5EF4-FFF2-40B4-BE49-F238E27FC236}">
                <a16:creationId xmlns:a16="http://schemas.microsoft.com/office/drawing/2014/main" id="{E53B8E41-42E0-7E42-881A-F133F990B9FF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D6060DB4-0F01-0B4C-9220-FA022056DB40}"/>
              </a:ext>
            </a:extLst>
          </p:cNvPr>
          <p:cNvSpPr/>
          <p:nvPr/>
        </p:nvSpPr>
        <p:spPr>
          <a:xfrm>
            <a:off x="1384596" y="131497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6FC6CD61-C8E2-1840-B545-18445EFDEB81}"/>
              </a:ext>
            </a:extLst>
          </p:cNvPr>
          <p:cNvSpPr/>
          <p:nvPr/>
        </p:nvSpPr>
        <p:spPr>
          <a:xfrm>
            <a:off x="-703394" y="-56200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C71B5425-872C-DD41-8B9E-F1798F09F6E7}"/>
              </a:ext>
            </a:extLst>
          </p:cNvPr>
          <p:cNvSpPr/>
          <p:nvPr/>
        </p:nvSpPr>
        <p:spPr>
          <a:xfrm>
            <a:off x="4660581" y="132408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310D618A-B4B7-034E-B73A-C121C1C0BE50}"/>
              </a:ext>
            </a:extLst>
          </p:cNvPr>
          <p:cNvSpPr/>
          <p:nvPr/>
        </p:nvSpPr>
        <p:spPr>
          <a:xfrm>
            <a:off x="5792288" y="-53818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6C40936F-D36D-FA48-A8C3-7BA561AC4874}"/>
              </a:ext>
            </a:extLst>
          </p:cNvPr>
          <p:cNvSpPr/>
          <p:nvPr/>
        </p:nvSpPr>
        <p:spPr>
          <a:xfrm>
            <a:off x="11099977" y="1309990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613DA252-4CF3-C744-9A08-DADA0FE63D2A}"/>
              </a:ext>
            </a:extLst>
          </p:cNvPr>
          <p:cNvSpPr/>
          <p:nvPr/>
        </p:nvSpPr>
        <p:spPr>
          <a:xfrm>
            <a:off x="9011986" y="-566982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FFECE060-9699-E144-AC26-9BF9717D9003}"/>
              </a:ext>
            </a:extLst>
          </p:cNvPr>
          <p:cNvSpPr/>
          <p:nvPr/>
        </p:nvSpPr>
        <p:spPr>
          <a:xfrm>
            <a:off x="-975099" y="381462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488C54A6-E50D-284F-A23A-3C1FE397932D}"/>
              </a:ext>
            </a:extLst>
          </p:cNvPr>
          <p:cNvSpPr/>
          <p:nvPr/>
        </p:nvSpPr>
        <p:spPr>
          <a:xfrm>
            <a:off x="-1563397" y="1596492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15DD9C33-2ACE-9249-93D1-504E86586B24}"/>
              </a:ext>
            </a:extLst>
          </p:cNvPr>
          <p:cNvSpPr/>
          <p:nvPr/>
        </p:nvSpPr>
        <p:spPr>
          <a:xfrm>
            <a:off x="2572591" y="-55288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02BC4B67-72BC-394B-839C-35E53E97C3A2}"/>
              </a:ext>
            </a:extLst>
          </p:cNvPr>
          <p:cNvSpPr/>
          <p:nvPr/>
        </p:nvSpPr>
        <p:spPr>
          <a:xfrm>
            <a:off x="7880279" y="1338788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88B7C0BF-4578-AE42-A26E-E310C95FFA6A}"/>
              </a:ext>
            </a:extLst>
          </p:cNvPr>
          <p:cNvSpPr/>
          <p:nvPr/>
        </p:nvSpPr>
        <p:spPr>
          <a:xfrm>
            <a:off x="2088030" y="412992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0A138D62-A848-C647-A10B-CDD14293FDFF}"/>
              </a:ext>
            </a:extLst>
          </p:cNvPr>
          <p:cNvSpPr/>
          <p:nvPr/>
        </p:nvSpPr>
        <p:spPr>
          <a:xfrm>
            <a:off x="4443032" y="79009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67C7B3F4-4796-364E-9F51-78443E67CFAD}"/>
              </a:ext>
            </a:extLst>
          </p:cNvPr>
          <p:cNvSpPr/>
          <p:nvPr/>
        </p:nvSpPr>
        <p:spPr>
          <a:xfrm>
            <a:off x="9968269" y="597781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B89AB418-25DE-E327-3380-7F729284034C}"/>
              </a:ext>
            </a:extLst>
          </p:cNvPr>
          <p:cNvGrpSpPr/>
          <p:nvPr/>
        </p:nvGrpSpPr>
        <p:grpSpPr>
          <a:xfrm>
            <a:off x="5004650" y="601082"/>
            <a:ext cx="2182701" cy="278215"/>
            <a:chOff x="623888" y="601082"/>
            <a:chExt cx="2182701" cy="278215"/>
          </a:xfrm>
        </p:grpSpPr>
        <p:grpSp>
          <p:nvGrpSpPr>
            <p:cNvPr id="40" name="Группа 39">
              <a:extLst>
                <a:ext uri="{FF2B5EF4-FFF2-40B4-BE49-F238E27FC236}">
                  <a16:creationId xmlns:a16="http://schemas.microsoft.com/office/drawing/2014/main" id="{A8DFA698-38E6-03BB-332C-E1CF55AA2EA3}"/>
                </a:ext>
              </a:extLst>
            </p:cNvPr>
            <p:cNvGrpSpPr/>
            <p:nvPr/>
          </p:nvGrpSpPr>
          <p:grpSpPr>
            <a:xfrm>
              <a:off x="623888" y="601082"/>
              <a:ext cx="537898" cy="278215"/>
              <a:chOff x="1155842" y="601082"/>
              <a:chExt cx="537898" cy="278215"/>
            </a:xfrm>
            <a:solidFill>
              <a:schemeClr val="bg1"/>
            </a:solidFill>
          </p:grpSpPr>
          <p:sp>
            <p:nvSpPr>
              <p:cNvPr id="8" name="Полилиния 7">
                <a:extLst>
                  <a:ext uri="{FF2B5EF4-FFF2-40B4-BE49-F238E27FC236}">
                    <a16:creationId xmlns:a16="http://schemas.microsoft.com/office/drawing/2014/main" id="{5A60490B-4325-0161-B20C-B88B12AE90BB}"/>
                  </a:ext>
                </a:extLst>
              </p:cNvPr>
              <p:cNvSpPr/>
              <p:nvPr/>
            </p:nvSpPr>
            <p:spPr>
              <a:xfrm>
                <a:off x="1155842" y="601082"/>
                <a:ext cx="537898" cy="278215"/>
              </a:xfrm>
              <a:custGeom>
                <a:avLst/>
                <a:gdLst>
                  <a:gd name="connsiteX0" fmla="*/ 1188061 w 1215135"/>
                  <a:gd name="connsiteY0" fmla="*/ 3870 h 628500"/>
                  <a:gd name="connsiteX1" fmla="*/ 1188061 w 1215135"/>
                  <a:gd name="connsiteY1" fmla="*/ 3870 h 628500"/>
                  <a:gd name="connsiteX2" fmla="*/ 1129041 w 1215135"/>
                  <a:gd name="connsiteY2" fmla="*/ 25384 h 628500"/>
                  <a:gd name="connsiteX3" fmla="*/ 920947 w 1215135"/>
                  <a:gd name="connsiteY3" fmla="*/ 439097 h 628500"/>
                  <a:gd name="connsiteX4" fmla="*/ 845458 w 1215135"/>
                  <a:gd name="connsiteY4" fmla="*/ 516585 h 628500"/>
                  <a:gd name="connsiteX5" fmla="*/ 738841 w 1215135"/>
                  <a:gd name="connsiteY5" fmla="*/ 473462 h 628500"/>
                  <a:gd name="connsiteX6" fmla="*/ 562541 w 1215135"/>
                  <a:gd name="connsiteY6" fmla="*/ 119435 h 628500"/>
                  <a:gd name="connsiteX7" fmla="*/ 384528 w 1215135"/>
                  <a:gd name="connsiteY7" fmla="*/ 348 h 628500"/>
                  <a:gd name="connsiteX8" fmla="*/ 219652 w 1215135"/>
                  <a:gd name="connsiteY8" fmla="*/ 136570 h 628500"/>
                  <a:gd name="connsiteX9" fmla="*/ 6037 w 1215135"/>
                  <a:gd name="connsiteY9" fmla="*/ 560564 h 628500"/>
                  <a:gd name="connsiteX10" fmla="*/ 27075 w 1215135"/>
                  <a:gd name="connsiteY10" fmla="*/ 624630 h 628500"/>
                  <a:gd name="connsiteX11" fmla="*/ 86095 w 1215135"/>
                  <a:gd name="connsiteY11" fmla="*/ 603116 h 628500"/>
                  <a:gd name="connsiteX12" fmla="*/ 294189 w 1215135"/>
                  <a:gd name="connsiteY12" fmla="*/ 189403 h 628500"/>
                  <a:gd name="connsiteX13" fmla="*/ 369678 w 1215135"/>
                  <a:gd name="connsiteY13" fmla="*/ 111915 h 628500"/>
                  <a:gd name="connsiteX14" fmla="*/ 476295 w 1215135"/>
                  <a:gd name="connsiteY14" fmla="*/ 155038 h 628500"/>
                  <a:gd name="connsiteX15" fmla="*/ 652785 w 1215135"/>
                  <a:gd name="connsiteY15" fmla="*/ 509826 h 628500"/>
                  <a:gd name="connsiteX16" fmla="*/ 817947 w 1215135"/>
                  <a:gd name="connsiteY16" fmla="*/ 628438 h 628500"/>
                  <a:gd name="connsiteX17" fmla="*/ 830607 w 1215135"/>
                  <a:gd name="connsiteY17" fmla="*/ 628152 h 628500"/>
                  <a:gd name="connsiteX18" fmla="*/ 995484 w 1215135"/>
                  <a:gd name="connsiteY18" fmla="*/ 491930 h 628500"/>
                  <a:gd name="connsiteX19" fmla="*/ 1209099 w 1215135"/>
                  <a:gd name="connsiteY19" fmla="*/ 67936 h 628500"/>
                  <a:gd name="connsiteX20" fmla="*/ 1188061 w 1215135"/>
                  <a:gd name="connsiteY20" fmla="*/ 3870 h 628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15135" h="628500">
                    <a:moveTo>
                      <a:pt x="1188061" y="3870"/>
                    </a:moveTo>
                    <a:lnTo>
                      <a:pt x="1188061" y="3870"/>
                    </a:lnTo>
                    <a:cubicBezTo>
                      <a:pt x="1165786" y="-5935"/>
                      <a:pt x="1139798" y="3489"/>
                      <a:pt x="1129041" y="25384"/>
                    </a:cubicBezTo>
                    <a:cubicBezTo>
                      <a:pt x="1073733" y="138189"/>
                      <a:pt x="963498" y="349329"/>
                      <a:pt x="920947" y="439097"/>
                    </a:cubicBezTo>
                    <a:cubicBezTo>
                      <a:pt x="902765" y="477460"/>
                      <a:pt x="878776" y="506113"/>
                      <a:pt x="845458" y="516585"/>
                    </a:cubicBezTo>
                    <a:cubicBezTo>
                      <a:pt x="804239" y="529531"/>
                      <a:pt x="766542" y="517727"/>
                      <a:pt x="738841" y="473462"/>
                    </a:cubicBezTo>
                    <a:cubicBezTo>
                      <a:pt x="715899" y="436717"/>
                      <a:pt x="562541" y="119435"/>
                      <a:pt x="562541" y="119435"/>
                    </a:cubicBezTo>
                    <a:cubicBezTo>
                      <a:pt x="519609" y="39473"/>
                      <a:pt x="460398" y="-4126"/>
                      <a:pt x="384528" y="348"/>
                    </a:cubicBezTo>
                    <a:cubicBezTo>
                      <a:pt x="311324" y="4536"/>
                      <a:pt x="258492" y="56988"/>
                      <a:pt x="219652" y="136570"/>
                    </a:cubicBezTo>
                    <a:cubicBezTo>
                      <a:pt x="173103" y="231955"/>
                      <a:pt x="31168" y="516870"/>
                      <a:pt x="6037" y="560564"/>
                    </a:cubicBezTo>
                    <a:cubicBezTo>
                      <a:pt x="-7385" y="583887"/>
                      <a:pt x="2420" y="613778"/>
                      <a:pt x="27075" y="624630"/>
                    </a:cubicBezTo>
                    <a:cubicBezTo>
                      <a:pt x="49350" y="634435"/>
                      <a:pt x="75338" y="625011"/>
                      <a:pt x="86095" y="603116"/>
                    </a:cubicBezTo>
                    <a:cubicBezTo>
                      <a:pt x="141403" y="490311"/>
                      <a:pt x="251638" y="279171"/>
                      <a:pt x="294189" y="189403"/>
                    </a:cubicBezTo>
                    <a:cubicBezTo>
                      <a:pt x="312371" y="151040"/>
                      <a:pt x="336360" y="122387"/>
                      <a:pt x="369678" y="111915"/>
                    </a:cubicBezTo>
                    <a:cubicBezTo>
                      <a:pt x="410897" y="98969"/>
                      <a:pt x="448594" y="110773"/>
                      <a:pt x="476295" y="155038"/>
                    </a:cubicBezTo>
                    <a:cubicBezTo>
                      <a:pt x="499237" y="191783"/>
                      <a:pt x="651072" y="506685"/>
                      <a:pt x="652785" y="509826"/>
                    </a:cubicBezTo>
                    <a:cubicBezTo>
                      <a:pt x="694290" y="594549"/>
                      <a:pt x="758546" y="628723"/>
                      <a:pt x="817947" y="628438"/>
                    </a:cubicBezTo>
                    <a:cubicBezTo>
                      <a:pt x="822135" y="628533"/>
                      <a:pt x="826324" y="628438"/>
                      <a:pt x="830607" y="628152"/>
                    </a:cubicBezTo>
                    <a:cubicBezTo>
                      <a:pt x="903812" y="623964"/>
                      <a:pt x="956645" y="571512"/>
                      <a:pt x="995484" y="491930"/>
                    </a:cubicBezTo>
                    <a:cubicBezTo>
                      <a:pt x="1042033" y="396545"/>
                      <a:pt x="1183968" y="111630"/>
                      <a:pt x="1209099" y="67936"/>
                    </a:cubicBezTo>
                    <a:cubicBezTo>
                      <a:pt x="1222521" y="44613"/>
                      <a:pt x="1212716" y="14817"/>
                      <a:pt x="1188061" y="3870"/>
                    </a:cubicBezTo>
                    <a:close/>
                  </a:path>
                </a:pathLst>
              </a:custGeom>
              <a:grpFill/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" name="Полилиния 8">
                <a:extLst>
                  <a:ext uri="{FF2B5EF4-FFF2-40B4-BE49-F238E27FC236}">
                    <a16:creationId xmlns:a16="http://schemas.microsoft.com/office/drawing/2014/main" id="{2F391B36-BE1D-E8D4-256B-A74A3155DB3E}"/>
                  </a:ext>
                </a:extLst>
              </p:cNvPr>
              <p:cNvSpPr/>
              <p:nvPr/>
            </p:nvSpPr>
            <p:spPr>
              <a:xfrm>
                <a:off x="1292081" y="777505"/>
                <a:ext cx="74320" cy="39189"/>
              </a:xfrm>
              <a:custGeom>
                <a:avLst/>
                <a:gdLst>
                  <a:gd name="connsiteX0" fmla="*/ 83993 w 167891"/>
                  <a:gd name="connsiteY0" fmla="*/ 88530 h 88530"/>
                  <a:gd name="connsiteX1" fmla="*/ 166146 w 167891"/>
                  <a:gd name="connsiteY1" fmla="*/ 33128 h 88530"/>
                  <a:gd name="connsiteX2" fmla="*/ 143490 w 167891"/>
                  <a:gd name="connsiteY2" fmla="*/ 0 h 88530"/>
                  <a:gd name="connsiteX3" fmla="*/ 24402 w 167891"/>
                  <a:gd name="connsiteY3" fmla="*/ 0 h 88530"/>
                  <a:gd name="connsiteX4" fmla="*/ 1746 w 167891"/>
                  <a:gd name="connsiteY4" fmla="*/ 33128 h 88530"/>
                  <a:gd name="connsiteX5" fmla="*/ 83993 w 167891"/>
                  <a:gd name="connsiteY5" fmla="*/ 88530 h 88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7891" h="88530">
                    <a:moveTo>
                      <a:pt x="83993" y="88530"/>
                    </a:moveTo>
                    <a:cubicBezTo>
                      <a:pt x="121214" y="88530"/>
                      <a:pt x="153104" y="65589"/>
                      <a:pt x="166146" y="33128"/>
                    </a:cubicBezTo>
                    <a:cubicBezTo>
                      <a:pt x="172524" y="17230"/>
                      <a:pt x="160625" y="0"/>
                      <a:pt x="143490" y="0"/>
                    </a:cubicBezTo>
                    <a:lnTo>
                      <a:pt x="24402" y="0"/>
                    </a:lnTo>
                    <a:cubicBezTo>
                      <a:pt x="7267" y="0"/>
                      <a:pt x="-4632" y="17325"/>
                      <a:pt x="1746" y="33128"/>
                    </a:cubicBezTo>
                    <a:cubicBezTo>
                      <a:pt x="14978" y="65589"/>
                      <a:pt x="46773" y="88530"/>
                      <a:pt x="83993" y="88530"/>
                    </a:cubicBezTo>
                    <a:close/>
                  </a:path>
                </a:pathLst>
              </a:custGeom>
              <a:grpFill/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0" name="Рисунок 3">
              <a:extLst>
                <a:ext uri="{FF2B5EF4-FFF2-40B4-BE49-F238E27FC236}">
                  <a16:creationId xmlns:a16="http://schemas.microsoft.com/office/drawing/2014/main" id="{3161A2EE-E4FE-9EFF-E54E-BBFE2738AE74}"/>
                </a:ext>
              </a:extLst>
            </p:cNvPr>
            <p:cNvGrpSpPr/>
            <p:nvPr/>
          </p:nvGrpSpPr>
          <p:grpSpPr>
            <a:xfrm>
              <a:off x="1295028" y="672430"/>
              <a:ext cx="1511561" cy="135519"/>
              <a:chOff x="4388406" y="3732954"/>
              <a:chExt cx="3414679" cy="306143"/>
            </a:xfrm>
            <a:solidFill>
              <a:srgbClr val="FFFFFF"/>
            </a:solidFill>
          </p:grpSpPr>
          <p:sp>
            <p:nvSpPr>
              <p:cNvPr id="11" name="Полилиния 10">
                <a:extLst>
                  <a:ext uri="{FF2B5EF4-FFF2-40B4-BE49-F238E27FC236}">
                    <a16:creationId xmlns:a16="http://schemas.microsoft.com/office/drawing/2014/main" id="{D5317DD2-416D-CAF5-6A74-2DC83FBED045}"/>
                  </a:ext>
                </a:extLst>
              </p:cNvPr>
              <p:cNvSpPr/>
              <p:nvPr/>
            </p:nvSpPr>
            <p:spPr>
              <a:xfrm>
                <a:off x="4388406" y="3733716"/>
                <a:ext cx="288049" cy="304335"/>
              </a:xfrm>
              <a:custGeom>
                <a:avLst/>
                <a:gdLst>
                  <a:gd name="connsiteX0" fmla="*/ 279778 w 288049"/>
                  <a:gd name="connsiteY0" fmla="*/ 4664 h 304335"/>
                  <a:gd name="connsiteX1" fmla="*/ 264357 w 288049"/>
                  <a:gd name="connsiteY1" fmla="*/ 0 h 304335"/>
                  <a:gd name="connsiteX2" fmla="*/ 246651 w 288049"/>
                  <a:gd name="connsiteY2" fmla="*/ 5236 h 304335"/>
                  <a:gd name="connsiteX3" fmla="*/ 235703 w 288049"/>
                  <a:gd name="connsiteY3" fmla="*/ 20657 h 304335"/>
                  <a:gd name="connsiteX4" fmla="*/ 145174 w 288049"/>
                  <a:gd name="connsiteY4" fmla="*/ 231702 h 304335"/>
                  <a:gd name="connsiteX5" fmla="*/ 54264 w 288049"/>
                  <a:gd name="connsiteY5" fmla="*/ 21038 h 304335"/>
                  <a:gd name="connsiteX6" fmla="*/ 43887 w 288049"/>
                  <a:gd name="connsiteY6" fmla="*/ 5236 h 304335"/>
                  <a:gd name="connsiteX7" fmla="*/ 25515 w 288049"/>
                  <a:gd name="connsiteY7" fmla="*/ 0 h 304335"/>
                  <a:gd name="connsiteX8" fmla="*/ 9522 w 288049"/>
                  <a:gd name="connsiteY8" fmla="*/ 4664 h 304335"/>
                  <a:gd name="connsiteX9" fmla="*/ 669 w 288049"/>
                  <a:gd name="connsiteY9" fmla="*/ 17325 h 304335"/>
                  <a:gd name="connsiteX10" fmla="*/ 3240 w 288049"/>
                  <a:gd name="connsiteY10" fmla="*/ 35888 h 304335"/>
                  <a:gd name="connsiteX11" fmla="*/ 113379 w 288049"/>
                  <a:gd name="connsiteY11" fmla="*/ 283297 h 304335"/>
                  <a:gd name="connsiteX12" fmla="*/ 125373 w 288049"/>
                  <a:gd name="connsiteY12" fmla="*/ 299099 h 304335"/>
                  <a:gd name="connsiteX13" fmla="*/ 144127 w 288049"/>
                  <a:gd name="connsiteY13" fmla="*/ 304335 h 304335"/>
                  <a:gd name="connsiteX14" fmla="*/ 162880 w 288049"/>
                  <a:gd name="connsiteY14" fmla="*/ 299099 h 304335"/>
                  <a:gd name="connsiteX15" fmla="*/ 174494 w 288049"/>
                  <a:gd name="connsiteY15" fmla="*/ 283297 h 304335"/>
                  <a:gd name="connsiteX16" fmla="*/ 284633 w 288049"/>
                  <a:gd name="connsiteY16" fmla="*/ 35888 h 304335"/>
                  <a:gd name="connsiteX17" fmla="*/ 287584 w 288049"/>
                  <a:gd name="connsiteY17" fmla="*/ 17325 h 304335"/>
                  <a:gd name="connsiteX18" fmla="*/ 279778 w 288049"/>
                  <a:gd name="connsiteY18" fmla="*/ 4664 h 30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8049" h="304335">
                    <a:moveTo>
                      <a:pt x="279778" y="4664"/>
                    </a:moveTo>
                    <a:cubicBezTo>
                      <a:pt x="275685" y="1523"/>
                      <a:pt x="270544" y="0"/>
                      <a:pt x="264357" y="0"/>
                    </a:cubicBezTo>
                    <a:cubicBezTo>
                      <a:pt x="256741" y="0"/>
                      <a:pt x="250839" y="1713"/>
                      <a:pt x="246651" y="5236"/>
                    </a:cubicBezTo>
                    <a:cubicBezTo>
                      <a:pt x="242462" y="8758"/>
                      <a:pt x="238750" y="13898"/>
                      <a:pt x="235703" y="20657"/>
                    </a:cubicBezTo>
                    <a:lnTo>
                      <a:pt x="145174" y="231702"/>
                    </a:lnTo>
                    <a:lnTo>
                      <a:pt x="54264" y="21038"/>
                    </a:lnTo>
                    <a:cubicBezTo>
                      <a:pt x="51408" y="13994"/>
                      <a:pt x="47981" y="8758"/>
                      <a:pt x="43887" y="5236"/>
                    </a:cubicBezTo>
                    <a:cubicBezTo>
                      <a:pt x="39794" y="1713"/>
                      <a:pt x="33702" y="0"/>
                      <a:pt x="25515" y="0"/>
                    </a:cubicBezTo>
                    <a:cubicBezTo>
                      <a:pt x="19327" y="0"/>
                      <a:pt x="13996" y="1523"/>
                      <a:pt x="9522" y="4664"/>
                    </a:cubicBezTo>
                    <a:cubicBezTo>
                      <a:pt x="5048" y="7806"/>
                      <a:pt x="2097" y="11994"/>
                      <a:pt x="669" y="17325"/>
                    </a:cubicBezTo>
                    <a:cubicBezTo>
                      <a:pt x="-759" y="22656"/>
                      <a:pt x="98" y="28844"/>
                      <a:pt x="3240" y="35888"/>
                    </a:cubicBezTo>
                    <a:lnTo>
                      <a:pt x="113379" y="283297"/>
                    </a:lnTo>
                    <a:cubicBezTo>
                      <a:pt x="116520" y="290342"/>
                      <a:pt x="120519" y="295577"/>
                      <a:pt x="125373" y="299099"/>
                    </a:cubicBezTo>
                    <a:cubicBezTo>
                      <a:pt x="130324" y="302622"/>
                      <a:pt x="136606" y="304335"/>
                      <a:pt x="144127" y="304335"/>
                    </a:cubicBezTo>
                    <a:cubicBezTo>
                      <a:pt x="152028" y="304335"/>
                      <a:pt x="158311" y="302622"/>
                      <a:pt x="162880" y="299099"/>
                    </a:cubicBezTo>
                    <a:cubicBezTo>
                      <a:pt x="167544" y="295577"/>
                      <a:pt x="171352" y="290342"/>
                      <a:pt x="174494" y="283297"/>
                    </a:cubicBezTo>
                    <a:lnTo>
                      <a:pt x="284633" y="35888"/>
                    </a:lnTo>
                    <a:cubicBezTo>
                      <a:pt x="287775" y="28844"/>
                      <a:pt x="288726" y="22656"/>
                      <a:pt x="287584" y="17325"/>
                    </a:cubicBezTo>
                    <a:cubicBezTo>
                      <a:pt x="286442" y="11994"/>
                      <a:pt x="283776" y="7806"/>
                      <a:pt x="279778" y="466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" name="Полилиния 11">
                <a:extLst>
                  <a:ext uri="{FF2B5EF4-FFF2-40B4-BE49-F238E27FC236}">
                    <a16:creationId xmlns:a16="http://schemas.microsoft.com/office/drawing/2014/main" id="{D86E0946-D873-603A-EEED-A8AC44B862AC}"/>
                  </a:ext>
                </a:extLst>
              </p:cNvPr>
              <p:cNvSpPr/>
              <p:nvPr/>
            </p:nvSpPr>
            <p:spPr>
              <a:xfrm>
                <a:off x="4715210" y="3735905"/>
                <a:ext cx="200002" cy="298909"/>
              </a:xfrm>
              <a:custGeom>
                <a:avLst/>
                <a:gdLst>
                  <a:gd name="connsiteX0" fmla="*/ 176490 w 200002"/>
                  <a:gd name="connsiteY0" fmla="*/ 252835 h 298909"/>
                  <a:gd name="connsiteX1" fmla="*/ 54070 w 200002"/>
                  <a:gd name="connsiteY1" fmla="*/ 252835 h 298909"/>
                  <a:gd name="connsiteX2" fmla="*/ 54070 w 200002"/>
                  <a:gd name="connsiteY2" fmla="*/ 27416 h 298909"/>
                  <a:gd name="connsiteX3" fmla="*/ 47121 w 200002"/>
                  <a:gd name="connsiteY3" fmla="*/ 6949 h 298909"/>
                  <a:gd name="connsiteX4" fmla="*/ 27035 w 200002"/>
                  <a:gd name="connsiteY4" fmla="*/ 0 h 298909"/>
                  <a:gd name="connsiteX5" fmla="*/ 6949 w 200002"/>
                  <a:gd name="connsiteY5" fmla="*/ 6949 h 298909"/>
                  <a:gd name="connsiteX6" fmla="*/ 0 w 200002"/>
                  <a:gd name="connsiteY6" fmla="*/ 27416 h 298909"/>
                  <a:gd name="connsiteX7" fmla="*/ 0 w 200002"/>
                  <a:gd name="connsiteY7" fmla="*/ 271017 h 298909"/>
                  <a:gd name="connsiteX8" fmla="*/ 7140 w 200002"/>
                  <a:gd name="connsiteY8" fmla="*/ 291484 h 298909"/>
                  <a:gd name="connsiteX9" fmla="*/ 27416 w 200002"/>
                  <a:gd name="connsiteY9" fmla="*/ 298909 h 298909"/>
                  <a:gd name="connsiteX10" fmla="*/ 176394 w 200002"/>
                  <a:gd name="connsiteY10" fmla="*/ 298909 h 298909"/>
                  <a:gd name="connsiteX11" fmla="*/ 193910 w 200002"/>
                  <a:gd name="connsiteY11" fmla="*/ 292817 h 298909"/>
                  <a:gd name="connsiteX12" fmla="*/ 200003 w 200002"/>
                  <a:gd name="connsiteY12" fmla="*/ 275682 h 298909"/>
                  <a:gd name="connsiteX13" fmla="*/ 193910 w 200002"/>
                  <a:gd name="connsiteY13" fmla="*/ 258833 h 298909"/>
                  <a:gd name="connsiteX14" fmla="*/ 176490 w 200002"/>
                  <a:gd name="connsiteY14" fmla="*/ 252835 h 29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0002" h="298909">
                    <a:moveTo>
                      <a:pt x="176490" y="252835"/>
                    </a:moveTo>
                    <a:lnTo>
                      <a:pt x="54070" y="252835"/>
                    </a:lnTo>
                    <a:lnTo>
                      <a:pt x="54070" y="27416"/>
                    </a:lnTo>
                    <a:cubicBezTo>
                      <a:pt x="54070" y="18373"/>
                      <a:pt x="51786" y="11614"/>
                      <a:pt x="47121" y="6949"/>
                    </a:cubicBezTo>
                    <a:cubicBezTo>
                      <a:pt x="42457" y="2285"/>
                      <a:pt x="35793" y="0"/>
                      <a:pt x="27035" y="0"/>
                    </a:cubicBezTo>
                    <a:cubicBezTo>
                      <a:pt x="18277" y="0"/>
                      <a:pt x="11614" y="2285"/>
                      <a:pt x="6949" y="6949"/>
                    </a:cubicBezTo>
                    <a:cubicBezTo>
                      <a:pt x="2285" y="11614"/>
                      <a:pt x="0" y="18373"/>
                      <a:pt x="0" y="27416"/>
                    </a:cubicBezTo>
                    <a:lnTo>
                      <a:pt x="0" y="271017"/>
                    </a:lnTo>
                    <a:cubicBezTo>
                      <a:pt x="0" y="279775"/>
                      <a:pt x="2380" y="286534"/>
                      <a:pt x="7140" y="291484"/>
                    </a:cubicBezTo>
                    <a:cubicBezTo>
                      <a:pt x="11899" y="296434"/>
                      <a:pt x="18658" y="298909"/>
                      <a:pt x="27416" y="298909"/>
                    </a:cubicBezTo>
                    <a:lnTo>
                      <a:pt x="176394" y="298909"/>
                    </a:lnTo>
                    <a:cubicBezTo>
                      <a:pt x="184010" y="298909"/>
                      <a:pt x="189817" y="296910"/>
                      <a:pt x="193910" y="292817"/>
                    </a:cubicBezTo>
                    <a:cubicBezTo>
                      <a:pt x="198004" y="288724"/>
                      <a:pt x="200003" y="283012"/>
                      <a:pt x="200003" y="275682"/>
                    </a:cubicBezTo>
                    <a:cubicBezTo>
                      <a:pt x="200003" y="268352"/>
                      <a:pt x="197908" y="262736"/>
                      <a:pt x="193910" y="258833"/>
                    </a:cubicBezTo>
                    <a:cubicBezTo>
                      <a:pt x="189912" y="254739"/>
                      <a:pt x="184105" y="252835"/>
                      <a:pt x="176490" y="25283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" name="Полилиния 12">
                <a:extLst>
                  <a:ext uri="{FF2B5EF4-FFF2-40B4-BE49-F238E27FC236}">
                    <a16:creationId xmlns:a16="http://schemas.microsoft.com/office/drawing/2014/main" id="{C10C4818-7638-E966-E7FD-3627A9462C5C}"/>
                  </a:ext>
                </a:extLst>
              </p:cNvPr>
              <p:cNvSpPr/>
              <p:nvPr/>
            </p:nvSpPr>
            <p:spPr>
              <a:xfrm>
                <a:off x="4925096" y="3733811"/>
                <a:ext cx="292253" cy="304335"/>
              </a:xfrm>
              <a:custGeom>
                <a:avLst/>
                <a:gdLst>
                  <a:gd name="connsiteX0" fmla="*/ 176793 w 292253"/>
                  <a:gd name="connsiteY0" fmla="*/ 22752 h 304335"/>
                  <a:gd name="connsiteX1" fmla="*/ 163466 w 292253"/>
                  <a:gd name="connsiteY1" fmla="*/ 5236 h 304335"/>
                  <a:gd name="connsiteX2" fmla="*/ 145950 w 292253"/>
                  <a:gd name="connsiteY2" fmla="*/ 0 h 304335"/>
                  <a:gd name="connsiteX3" fmla="*/ 128053 w 292253"/>
                  <a:gd name="connsiteY3" fmla="*/ 5236 h 304335"/>
                  <a:gd name="connsiteX4" fmla="*/ 114726 w 292253"/>
                  <a:gd name="connsiteY4" fmla="*/ 22752 h 304335"/>
                  <a:gd name="connsiteX5" fmla="*/ 3254 w 292253"/>
                  <a:gd name="connsiteY5" fmla="*/ 269685 h 304335"/>
                  <a:gd name="connsiteX6" fmla="*/ 303 w 292253"/>
                  <a:gd name="connsiteY6" fmla="*/ 287200 h 304335"/>
                  <a:gd name="connsiteX7" fmla="*/ 7728 w 292253"/>
                  <a:gd name="connsiteY7" fmla="*/ 299671 h 304335"/>
                  <a:gd name="connsiteX8" fmla="*/ 24006 w 292253"/>
                  <a:gd name="connsiteY8" fmla="*/ 304335 h 304335"/>
                  <a:gd name="connsiteX9" fmla="*/ 40856 w 292253"/>
                  <a:gd name="connsiteY9" fmla="*/ 298814 h 304335"/>
                  <a:gd name="connsiteX10" fmla="*/ 52279 w 292253"/>
                  <a:gd name="connsiteY10" fmla="*/ 281108 h 304335"/>
                  <a:gd name="connsiteX11" fmla="*/ 73031 w 292253"/>
                  <a:gd name="connsiteY11" fmla="*/ 232178 h 304335"/>
                  <a:gd name="connsiteX12" fmla="*/ 218202 w 292253"/>
                  <a:gd name="connsiteY12" fmla="*/ 232178 h 304335"/>
                  <a:gd name="connsiteX13" fmla="*/ 239240 w 292253"/>
                  <a:gd name="connsiteY13" fmla="*/ 281108 h 304335"/>
                  <a:gd name="connsiteX14" fmla="*/ 250854 w 292253"/>
                  <a:gd name="connsiteY14" fmla="*/ 298624 h 304335"/>
                  <a:gd name="connsiteX15" fmla="*/ 269226 w 292253"/>
                  <a:gd name="connsiteY15" fmla="*/ 304335 h 304335"/>
                  <a:gd name="connsiteX16" fmla="*/ 284838 w 292253"/>
                  <a:gd name="connsiteY16" fmla="*/ 299861 h 304335"/>
                  <a:gd name="connsiteX17" fmla="*/ 291978 w 292253"/>
                  <a:gd name="connsiteY17" fmla="*/ 287391 h 304335"/>
                  <a:gd name="connsiteX18" fmla="*/ 288646 w 292253"/>
                  <a:gd name="connsiteY18" fmla="*/ 269685 h 304335"/>
                  <a:gd name="connsiteX19" fmla="*/ 176793 w 292253"/>
                  <a:gd name="connsiteY19" fmla="*/ 22752 h 304335"/>
                  <a:gd name="connsiteX20" fmla="*/ 145093 w 292253"/>
                  <a:gd name="connsiteY20" fmla="*/ 61971 h 304335"/>
                  <a:gd name="connsiteX21" fmla="*/ 145950 w 292253"/>
                  <a:gd name="connsiteY21" fmla="*/ 61971 h 304335"/>
                  <a:gd name="connsiteX22" fmla="*/ 199735 w 292253"/>
                  <a:gd name="connsiteY22" fmla="*/ 189055 h 304335"/>
                  <a:gd name="connsiteX23" fmla="*/ 91689 w 292253"/>
                  <a:gd name="connsiteY23" fmla="*/ 189055 h 304335"/>
                  <a:gd name="connsiteX24" fmla="*/ 145093 w 292253"/>
                  <a:gd name="connsiteY24" fmla="*/ 61971 h 30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92253" h="304335">
                    <a:moveTo>
                      <a:pt x="176793" y="22752"/>
                    </a:moveTo>
                    <a:cubicBezTo>
                      <a:pt x="173175" y="14565"/>
                      <a:pt x="168701" y="8758"/>
                      <a:pt x="163466" y="5236"/>
                    </a:cubicBezTo>
                    <a:cubicBezTo>
                      <a:pt x="158230" y="1714"/>
                      <a:pt x="152423" y="0"/>
                      <a:pt x="145950" y="0"/>
                    </a:cubicBezTo>
                    <a:cubicBezTo>
                      <a:pt x="139191" y="0"/>
                      <a:pt x="133194" y="1714"/>
                      <a:pt x="128053" y="5236"/>
                    </a:cubicBezTo>
                    <a:cubicBezTo>
                      <a:pt x="122818" y="8758"/>
                      <a:pt x="118439" y="14565"/>
                      <a:pt x="114726" y="22752"/>
                    </a:cubicBezTo>
                    <a:lnTo>
                      <a:pt x="3254" y="269685"/>
                    </a:lnTo>
                    <a:cubicBezTo>
                      <a:pt x="398" y="276158"/>
                      <a:pt x="-554" y="281965"/>
                      <a:pt x="303" y="287200"/>
                    </a:cubicBezTo>
                    <a:cubicBezTo>
                      <a:pt x="1160" y="292436"/>
                      <a:pt x="3635" y="296530"/>
                      <a:pt x="7728" y="299671"/>
                    </a:cubicBezTo>
                    <a:cubicBezTo>
                      <a:pt x="11822" y="302812"/>
                      <a:pt x="17248" y="304335"/>
                      <a:pt x="24006" y="304335"/>
                    </a:cubicBezTo>
                    <a:cubicBezTo>
                      <a:pt x="31336" y="304335"/>
                      <a:pt x="36953" y="302527"/>
                      <a:pt x="40856" y="298814"/>
                    </a:cubicBezTo>
                    <a:cubicBezTo>
                      <a:pt x="44759" y="295197"/>
                      <a:pt x="48567" y="289295"/>
                      <a:pt x="52279" y="281108"/>
                    </a:cubicBezTo>
                    <a:lnTo>
                      <a:pt x="73031" y="232178"/>
                    </a:lnTo>
                    <a:lnTo>
                      <a:pt x="218202" y="232178"/>
                    </a:lnTo>
                    <a:lnTo>
                      <a:pt x="239240" y="281108"/>
                    </a:lnTo>
                    <a:cubicBezTo>
                      <a:pt x="242572" y="289009"/>
                      <a:pt x="246475" y="294816"/>
                      <a:pt x="250854" y="298624"/>
                    </a:cubicBezTo>
                    <a:cubicBezTo>
                      <a:pt x="255233" y="302432"/>
                      <a:pt x="261325" y="304335"/>
                      <a:pt x="269226" y="304335"/>
                    </a:cubicBezTo>
                    <a:cubicBezTo>
                      <a:pt x="275699" y="304335"/>
                      <a:pt x="280935" y="302907"/>
                      <a:pt x="284838" y="299861"/>
                    </a:cubicBezTo>
                    <a:cubicBezTo>
                      <a:pt x="288741" y="296910"/>
                      <a:pt x="291121" y="292722"/>
                      <a:pt x="291978" y="287391"/>
                    </a:cubicBezTo>
                    <a:cubicBezTo>
                      <a:pt x="292834" y="282060"/>
                      <a:pt x="291692" y="276158"/>
                      <a:pt x="288646" y="269685"/>
                    </a:cubicBezTo>
                    <a:lnTo>
                      <a:pt x="176793" y="22752"/>
                    </a:lnTo>
                    <a:close/>
                    <a:moveTo>
                      <a:pt x="145093" y="61971"/>
                    </a:moveTo>
                    <a:lnTo>
                      <a:pt x="145950" y="61971"/>
                    </a:lnTo>
                    <a:lnTo>
                      <a:pt x="199735" y="189055"/>
                    </a:lnTo>
                    <a:lnTo>
                      <a:pt x="91689" y="189055"/>
                    </a:lnTo>
                    <a:lnTo>
                      <a:pt x="145093" y="61971"/>
                    </a:ln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" name="Полилиния 13">
                <a:extLst>
                  <a:ext uri="{FF2B5EF4-FFF2-40B4-BE49-F238E27FC236}">
                    <a16:creationId xmlns:a16="http://schemas.microsoft.com/office/drawing/2014/main" id="{1C82B3CC-C076-0AB5-1827-686EDE07B7CC}"/>
                  </a:ext>
                </a:extLst>
              </p:cNvPr>
              <p:cNvSpPr/>
              <p:nvPr/>
            </p:nvSpPr>
            <p:spPr>
              <a:xfrm>
                <a:off x="5260196" y="3737142"/>
                <a:ext cx="266733" cy="297671"/>
              </a:xfrm>
              <a:custGeom>
                <a:avLst/>
                <a:gdLst>
                  <a:gd name="connsiteX0" fmla="*/ 110616 w 266733"/>
                  <a:gd name="connsiteY0" fmla="*/ 0 h 297671"/>
                  <a:gd name="connsiteX1" fmla="*/ 28749 w 266733"/>
                  <a:gd name="connsiteY1" fmla="*/ 0 h 297671"/>
                  <a:gd name="connsiteX2" fmla="*/ 7425 w 266733"/>
                  <a:gd name="connsiteY2" fmla="*/ 7425 h 297671"/>
                  <a:gd name="connsiteX3" fmla="*/ 0 w 266733"/>
                  <a:gd name="connsiteY3" fmla="*/ 28749 h 297671"/>
                  <a:gd name="connsiteX4" fmla="*/ 0 w 266733"/>
                  <a:gd name="connsiteY4" fmla="*/ 268923 h 297671"/>
                  <a:gd name="connsiteX5" fmla="*/ 7425 w 266733"/>
                  <a:gd name="connsiteY5" fmla="*/ 290246 h 297671"/>
                  <a:gd name="connsiteX6" fmla="*/ 28749 w 266733"/>
                  <a:gd name="connsiteY6" fmla="*/ 297672 h 297671"/>
                  <a:gd name="connsiteX7" fmla="*/ 110616 w 266733"/>
                  <a:gd name="connsiteY7" fmla="*/ 297672 h 297671"/>
                  <a:gd name="connsiteX8" fmla="*/ 177061 w 266733"/>
                  <a:gd name="connsiteY8" fmla="*/ 287772 h 297671"/>
                  <a:gd name="connsiteX9" fmla="*/ 225991 w 266733"/>
                  <a:gd name="connsiteY9" fmla="*/ 258833 h 297671"/>
                  <a:gd name="connsiteX10" fmla="*/ 256358 w 266733"/>
                  <a:gd name="connsiteY10" fmla="*/ 212188 h 297671"/>
                  <a:gd name="connsiteX11" fmla="*/ 266734 w 266733"/>
                  <a:gd name="connsiteY11" fmla="*/ 148693 h 297671"/>
                  <a:gd name="connsiteX12" fmla="*/ 225991 w 266733"/>
                  <a:gd name="connsiteY12" fmla="*/ 38554 h 297671"/>
                  <a:gd name="connsiteX13" fmla="*/ 110616 w 266733"/>
                  <a:gd name="connsiteY13" fmla="*/ 0 h 297671"/>
                  <a:gd name="connsiteX14" fmla="*/ 203906 w 266733"/>
                  <a:gd name="connsiteY14" fmla="*/ 194386 h 297671"/>
                  <a:gd name="connsiteX15" fmla="*/ 184676 w 266733"/>
                  <a:gd name="connsiteY15" fmla="*/ 226847 h 297671"/>
                  <a:gd name="connsiteX16" fmla="*/ 152596 w 266733"/>
                  <a:gd name="connsiteY16" fmla="*/ 246267 h 297671"/>
                  <a:gd name="connsiteX17" fmla="*/ 107189 w 266733"/>
                  <a:gd name="connsiteY17" fmla="*/ 252835 h 297671"/>
                  <a:gd name="connsiteX18" fmla="*/ 53975 w 266733"/>
                  <a:gd name="connsiteY18" fmla="*/ 252835 h 297671"/>
                  <a:gd name="connsiteX19" fmla="*/ 53975 w 266733"/>
                  <a:gd name="connsiteY19" fmla="*/ 44741 h 297671"/>
                  <a:gd name="connsiteX20" fmla="*/ 107189 w 266733"/>
                  <a:gd name="connsiteY20" fmla="*/ 44741 h 297671"/>
                  <a:gd name="connsiteX21" fmla="*/ 184486 w 266733"/>
                  <a:gd name="connsiteY21" fmla="*/ 70444 h 297671"/>
                  <a:gd name="connsiteX22" fmla="*/ 210188 w 266733"/>
                  <a:gd name="connsiteY22" fmla="*/ 148503 h 297671"/>
                  <a:gd name="connsiteX23" fmla="*/ 203906 w 266733"/>
                  <a:gd name="connsiteY23" fmla="*/ 194386 h 297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66733" h="297671">
                    <a:moveTo>
                      <a:pt x="110616" y="0"/>
                    </a:moveTo>
                    <a:lnTo>
                      <a:pt x="28749" y="0"/>
                    </a:lnTo>
                    <a:cubicBezTo>
                      <a:pt x="19420" y="0"/>
                      <a:pt x="12375" y="2475"/>
                      <a:pt x="7425" y="7425"/>
                    </a:cubicBezTo>
                    <a:cubicBezTo>
                      <a:pt x="2475" y="12375"/>
                      <a:pt x="0" y="19420"/>
                      <a:pt x="0" y="28749"/>
                    </a:cubicBezTo>
                    <a:lnTo>
                      <a:pt x="0" y="268923"/>
                    </a:lnTo>
                    <a:cubicBezTo>
                      <a:pt x="0" y="278252"/>
                      <a:pt x="2475" y="285296"/>
                      <a:pt x="7425" y="290246"/>
                    </a:cubicBezTo>
                    <a:cubicBezTo>
                      <a:pt x="12375" y="295197"/>
                      <a:pt x="19420" y="297672"/>
                      <a:pt x="28749" y="297672"/>
                    </a:cubicBezTo>
                    <a:lnTo>
                      <a:pt x="110616" y="297672"/>
                    </a:lnTo>
                    <a:cubicBezTo>
                      <a:pt x="135651" y="297672"/>
                      <a:pt x="157832" y="294340"/>
                      <a:pt x="177061" y="287772"/>
                    </a:cubicBezTo>
                    <a:cubicBezTo>
                      <a:pt x="196290" y="281203"/>
                      <a:pt x="212663" y="271493"/>
                      <a:pt x="225991" y="258833"/>
                    </a:cubicBezTo>
                    <a:cubicBezTo>
                      <a:pt x="239318" y="246172"/>
                      <a:pt x="249504" y="230655"/>
                      <a:pt x="256358" y="212188"/>
                    </a:cubicBezTo>
                    <a:cubicBezTo>
                      <a:pt x="263212" y="193720"/>
                      <a:pt x="266734" y="172587"/>
                      <a:pt x="266734" y="148693"/>
                    </a:cubicBezTo>
                    <a:cubicBezTo>
                      <a:pt x="266734" y="100810"/>
                      <a:pt x="253121" y="64161"/>
                      <a:pt x="225991" y="38554"/>
                    </a:cubicBezTo>
                    <a:cubicBezTo>
                      <a:pt x="198860" y="12756"/>
                      <a:pt x="160402" y="0"/>
                      <a:pt x="110616" y="0"/>
                    </a:cubicBezTo>
                    <a:close/>
                    <a:moveTo>
                      <a:pt x="203906" y="194386"/>
                    </a:moveTo>
                    <a:cubicBezTo>
                      <a:pt x="199717" y="207428"/>
                      <a:pt x="193244" y="218280"/>
                      <a:pt x="184676" y="226847"/>
                    </a:cubicBezTo>
                    <a:cubicBezTo>
                      <a:pt x="176109" y="235415"/>
                      <a:pt x="165447" y="241888"/>
                      <a:pt x="152596" y="246267"/>
                    </a:cubicBezTo>
                    <a:cubicBezTo>
                      <a:pt x="139745" y="250646"/>
                      <a:pt x="124704" y="252835"/>
                      <a:pt x="107189" y="252835"/>
                    </a:cubicBezTo>
                    <a:lnTo>
                      <a:pt x="53975" y="252835"/>
                    </a:lnTo>
                    <a:lnTo>
                      <a:pt x="53975" y="44741"/>
                    </a:lnTo>
                    <a:lnTo>
                      <a:pt x="107189" y="44741"/>
                    </a:lnTo>
                    <a:cubicBezTo>
                      <a:pt x="141554" y="44741"/>
                      <a:pt x="167256" y="53309"/>
                      <a:pt x="184486" y="70444"/>
                    </a:cubicBezTo>
                    <a:cubicBezTo>
                      <a:pt x="201621" y="87579"/>
                      <a:pt x="210188" y="113662"/>
                      <a:pt x="210188" y="148503"/>
                    </a:cubicBezTo>
                    <a:cubicBezTo>
                      <a:pt x="210188" y="166018"/>
                      <a:pt x="208094" y="181249"/>
                      <a:pt x="203906" y="19438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" name="Полилиния 15">
                <a:extLst>
                  <a:ext uri="{FF2B5EF4-FFF2-40B4-BE49-F238E27FC236}">
                    <a16:creationId xmlns:a16="http://schemas.microsoft.com/office/drawing/2014/main" id="{FE017B9F-C139-C5E7-684F-4B6A955E91A7}"/>
                  </a:ext>
                </a:extLst>
              </p:cNvPr>
              <p:cNvSpPr/>
              <p:nvPr/>
            </p:nvSpPr>
            <p:spPr>
              <a:xfrm>
                <a:off x="5675224" y="3733811"/>
                <a:ext cx="292253" cy="304335"/>
              </a:xfrm>
              <a:custGeom>
                <a:avLst/>
                <a:gdLst>
                  <a:gd name="connsiteX0" fmla="*/ 176793 w 292253"/>
                  <a:gd name="connsiteY0" fmla="*/ 22752 h 304335"/>
                  <a:gd name="connsiteX1" fmla="*/ 163466 w 292253"/>
                  <a:gd name="connsiteY1" fmla="*/ 5236 h 304335"/>
                  <a:gd name="connsiteX2" fmla="*/ 145950 w 292253"/>
                  <a:gd name="connsiteY2" fmla="*/ 0 h 304335"/>
                  <a:gd name="connsiteX3" fmla="*/ 128053 w 292253"/>
                  <a:gd name="connsiteY3" fmla="*/ 5236 h 304335"/>
                  <a:gd name="connsiteX4" fmla="*/ 114726 w 292253"/>
                  <a:gd name="connsiteY4" fmla="*/ 22752 h 304335"/>
                  <a:gd name="connsiteX5" fmla="*/ 3254 w 292253"/>
                  <a:gd name="connsiteY5" fmla="*/ 269685 h 304335"/>
                  <a:gd name="connsiteX6" fmla="*/ 303 w 292253"/>
                  <a:gd name="connsiteY6" fmla="*/ 287200 h 304335"/>
                  <a:gd name="connsiteX7" fmla="*/ 7728 w 292253"/>
                  <a:gd name="connsiteY7" fmla="*/ 299671 h 304335"/>
                  <a:gd name="connsiteX8" fmla="*/ 24006 w 292253"/>
                  <a:gd name="connsiteY8" fmla="*/ 304335 h 304335"/>
                  <a:gd name="connsiteX9" fmla="*/ 40856 w 292253"/>
                  <a:gd name="connsiteY9" fmla="*/ 298814 h 304335"/>
                  <a:gd name="connsiteX10" fmla="*/ 52279 w 292253"/>
                  <a:gd name="connsiteY10" fmla="*/ 281108 h 304335"/>
                  <a:gd name="connsiteX11" fmla="*/ 73031 w 292253"/>
                  <a:gd name="connsiteY11" fmla="*/ 232178 h 304335"/>
                  <a:gd name="connsiteX12" fmla="*/ 218202 w 292253"/>
                  <a:gd name="connsiteY12" fmla="*/ 232178 h 304335"/>
                  <a:gd name="connsiteX13" fmla="*/ 239240 w 292253"/>
                  <a:gd name="connsiteY13" fmla="*/ 281108 h 304335"/>
                  <a:gd name="connsiteX14" fmla="*/ 250854 w 292253"/>
                  <a:gd name="connsiteY14" fmla="*/ 298624 h 304335"/>
                  <a:gd name="connsiteX15" fmla="*/ 269226 w 292253"/>
                  <a:gd name="connsiteY15" fmla="*/ 304335 h 304335"/>
                  <a:gd name="connsiteX16" fmla="*/ 284838 w 292253"/>
                  <a:gd name="connsiteY16" fmla="*/ 299861 h 304335"/>
                  <a:gd name="connsiteX17" fmla="*/ 291978 w 292253"/>
                  <a:gd name="connsiteY17" fmla="*/ 287391 h 304335"/>
                  <a:gd name="connsiteX18" fmla="*/ 288646 w 292253"/>
                  <a:gd name="connsiteY18" fmla="*/ 269685 h 304335"/>
                  <a:gd name="connsiteX19" fmla="*/ 176793 w 292253"/>
                  <a:gd name="connsiteY19" fmla="*/ 22752 h 304335"/>
                  <a:gd name="connsiteX20" fmla="*/ 145093 w 292253"/>
                  <a:gd name="connsiteY20" fmla="*/ 61971 h 304335"/>
                  <a:gd name="connsiteX21" fmla="*/ 145950 w 292253"/>
                  <a:gd name="connsiteY21" fmla="*/ 61971 h 304335"/>
                  <a:gd name="connsiteX22" fmla="*/ 199735 w 292253"/>
                  <a:gd name="connsiteY22" fmla="*/ 189055 h 304335"/>
                  <a:gd name="connsiteX23" fmla="*/ 91689 w 292253"/>
                  <a:gd name="connsiteY23" fmla="*/ 189055 h 304335"/>
                  <a:gd name="connsiteX24" fmla="*/ 145093 w 292253"/>
                  <a:gd name="connsiteY24" fmla="*/ 61971 h 30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92253" h="304335">
                    <a:moveTo>
                      <a:pt x="176793" y="22752"/>
                    </a:moveTo>
                    <a:cubicBezTo>
                      <a:pt x="173175" y="14565"/>
                      <a:pt x="168701" y="8758"/>
                      <a:pt x="163466" y="5236"/>
                    </a:cubicBezTo>
                    <a:cubicBezTo>
                      <a:pt x="158230" y="1714"/>
                      <a:pt x="152423" y="0"/>
                      <a:pt x="145950" y="0"/>
                    </a:cubicBezTo>
                    <a:cubicBezTo>
                      <a:pt x="139191" y="0"/>
                      <a:pt x="133194" y="1714"/>
                      <a:pt x="128053" y="5236"/>
                    </a:cubicBezTo>
                    <a:cubicBezTo>
                      <a:pt x="122818" y="8758"/>
                      <a:pt x="118439" y="14565"/>
                      <a:pt x="114726" y="22752"/>
                    </a:cubicBezTo>
                    <a:lnTo>
                      <a:pt x="3254" y="269685"/>
                    </a:lnTo>
                    <a:cubicBezTo>
                      <a:pt x="398" y="276158"/>
                      <a:pt x="-554" y="281965"/>
                      <a:pt x="303" y="287200"/>
                    </a:cubicBezTo>
                    <a:cubicBezTo>
                      <a:pt x="1160" y="292436"/>
                      <a:pt x="3635" y="296530"/>
                      <a:pt x="7728" y="299671"/>
                    </a:cubicBezTo>
                    <a:cubicBezTo>
                      <a:pt x="11822" y="302812"/>
                      <a:pt x="17248" y="304335"/>
                      <a:pt x="24006" y="304335"/>
                    </a:cubicBezTo>
                    <a:cubicBezTo>
                      <a:pt x="31336" y="304335"/>
                      <a:pt x="36953" y="302527"/>
                      <a:pt x="40856" y="298814"/>
                    </a:cubicBezTo>
                    <a:cubicBezTo>
                      <a:pt x="44759" y="295197"/>
                      <a:pt x="48566" y="289295"/>
                      <a:pt x="52279" y="281108"/>
                    </a:cubicBezTo>
                    <a:lnTo>
                      <a:pt x="73031" y="232178"/>
                    </a:lnTo>
                    <a:lnTo>
                      <a:pt x="218202" y="232178"/>
                    </a:lnTo>
                    <a:lnTo>
                      <a:pt x="239240" y="281108"/>
                    </a:lnTo>
                    <a:cubicBezTo>
                      <a:pt x="242572" y="289009"/>
                      <a:pt x="246475" y="294816"/>
                      <a:pt x="250854" y="298624"/>
                    </a:cubicBezTo>
                    <a:cubicBezTo>
                      <a:pt x="255233" y="302432"/>
                      <a:pt x="261325" y="304335"/>
                      <a:pt x="269226" y="304335"/>
                    </a:cubicBezTo>
                    <a:cubicBezTo>
                      <a:pt x="275699" y="304335"/>
                      <a:pt x="280935" y="302907"/>
                      <a:pt x="284838" y="299861"/>
                    </a:cubicBezTo>
                    <a:cubicBezTo>
                      <a:pt x="288741" y="296910"/>
                      <a:pt x="291121" y="292722"/>
                      <a:pt x="291978" y="287391"/>
                    </a:cubicBezTo>
                    <a:cubicBezTo>
                      <a:pt x="292834" y="282060"/>
                      <a:pt x="291692" y="276158"/>
                      <a:pt x="288646" y="269685"/>
                    </a:cubicBezTo>
                    <a:lnTo>
                      <a:pt x="176793" y="22752"/>
                    </a:lnTo>
                    <a:close/>
                    <a:moveTo>
                      <a:pt x="145093" y="61971"/>
                    </a:moveTo>
                    <a:lnTo>
                      <a:pt x="145950" y="61971"/>
                    </a:lnTo>
                    <a:lnTo>
                      <a:pt x="199735" y="189055"/>
                    </a:lnTo>
                    <a:lnTo>
                      <a:pt x="91689" y="189055"/>
                    </a:lnTo>
                    <a:lnTo>
                      <a:pt x="145093" y="61971"/>
                    </a:ln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" name="Полилиния 16">
                <a:extLst>
                  <a:ext uri="{FF2B5EF4-FFF2-40B4-BE49-F238E27FC236}">
                    <a16:creationId xmlns:a16="http://schemas.microsoft.com/office/drawing/2014/main" id="{A7EBA4C5-3227-2992-F35A-0F5D61BB83D1}"/>
                  </a:ext>
                </a:extLst>
              </p:cNvPr>
              <p:cNvSpPr/>
              <p:nvPr/>
            </p:nvSpPr>
            <p:spPr>
              <a:xfrm>
                <a:off x="6010230" y="3733716"/>
                <a:ext cx="250740" cy="304525"/>
              </a:xfrm>
              <a:custGeom>
                <a:avLst/>
                <a:gdLst>
                  <a:gd name="connsiteX0" fmla="*/ 225895 w 250740"/>
                  <a:gd name="connsiteY0" fmla="*/ 0 h 304525"/>
                  <a:gd name="connsiteX1" fmla="*/ 207142 w 250740"/>
                  <a:gd name="connsiteY1" fmla="*/ 6759 h 304525"/>
                  <a:gd name="connsiteX2" fmla="*/ 200574 w 250740"/>
                  <a:gd name="connsiteY2" fmla="*/ 25797 h 304525"/>
                  <a:gd name="connsiteX3" fmla="*/ 200574 w 250740"/>
                  <a:gd name="connsiteY3" fmla="*/ 211236 h 304525"/>
                  <a:gd name="connsiteX4" fmla="*/ 49882 w 250740"/>
                  <a:gd name="connsiteY4" fmla="*/ 15707 h 304525"/>
                  <a:gd name="connsiteX5" fmla="*/ 38268 w 250740"/>
                  <a:gd name="connsiteY5" fmla="*/ 3712 h 304525"/>
                  <a:gd name="connsiteX6" fmla="*/ 23704 w 250740"/>
                  <a:gd name="connsiteY6" fmla="*/ 95 h 304525"/>
                  <a:gd name="connsiteX7" fmla="*/ 6568 w 250740"/>
                  <a:gd name="connsiteY7" fmla="*/ 7044 h 304525"/>
                  <a:gd name="connsiteX8" fmla="*/ 0 w 250740"/>
                  <a:gd name="connsiteY8" fmla="*/ 27130 h 304525"/>
                  <a:gd name="connsiteX9" fmla="*/ 0 w 250740"/>
                  <a:gd name="connsiteY9" fmla="*/ 278347 h 304525"/>
                  <a:gd name="connsiteX10" fmla="*/ 6568 w 250740"/>
                  <a:gd name="connsiteY10" fmla="*/ 297767 h 304525"/>
                  <a:gd name="connsiteX11" fmla="*/ 25322 w 250740"/>
                  <a:gd name="connsiteY11" fmla="*/ 304526 h 304525"/>
                  <a:gd name="connsiteX12" fmla="*/ 43885 w 250740"/>
                  <a:gd name="connsiteY12" fmla="*/ 297767 h 304525"/>
                  <a:gd name="connsiteX13" fmla="*/ 50167 w 250740"/>
                  <a:gd name="connsiteY13" fmla="*/ 278347 h 304525"/>
                  <a:gd name="connsiteX14" fmla="*/ 50167 w 250740"/>
                  <a:gd name="connsiteY14" fmla="*/ 92243 h 304525"/>
                  <a:gd name="connsiteX15" fmla="*/ 200859 w 250740"/>
                  <a:gd name="connsiteY15" fmla="*/ 288342 h 304525"/>
                  <a:gd name="connsiteX16" fmla="*/ 213330 w 250740"/>
                  <a:gd name="connsiteY16" fmla="*/ 300623 h 304525"/>
                  <a:gd name="connsiteX17" fmla="*/ 228751 w 250740"/>
                  <a:gd name="connsiteY17" fmla="*/ 304430 h 304525"/>
                  <a:gd name="connsiteX18" fmla="*/ 244839 w 250740"/>
                  <a:gd name="connsiteY18" fmla="*/ 297672 h 304525"/>
                  <a:gd name="connsiteX19" fmla="*/ 250741 w 250740"/>
                  <a:gd name="connsiteY19" fmla="*/ 279109 h 304525"/>
                  <a:gd name="connsiteX20" fmla="*/ 250741 w 250740"/>
                  <a:gd name="connsiteY20" fmla="*/ 25797 h 304525"/>
                  <a:gd name="connsiteX21" fmla="*/ 244363 w 250740"/>
                  <a:gd name="connsiteY21" fmla="*/ 6759 h 304525"/>
                  <a:gd name="connsiteX22" fmla="*/ 225895 w 250740"/>
                  <a:gd name="connsiteY22" fmla="*/ 0 h 304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50740" h="304525">
                    <a:moveTo>
                      <a:pt x="225895" y="0"/>
                    </a:moveTo>
                    <a:cubicBezTo>
                      <a:pt x="217709" y="0"/>
                      <a:pt x="211521" y="2285"/>
                      <a:pt x="207142" y="6759"/>
                    </a:cubicBezTo>
                    <a:cubicBezTo>
                      <a:pt x="202763" y="11233"/>
                      <a:pt x="200574" y="17611"/>
                      <a:pt x="200574" y="25797"/>
                    </a:cubicBezTo>
                    <a:lnTo>
                      <a:pt x="200574" y="211236"/>
                    </a:lnTo>
                    <a:lnTo>
                      <a:pt x="49882" y="15707"/>
                    </a:lnTo>
                    <a:cubicBezTo>
                      <a:pt x="45408" y="10091"/>
                      <a:pt x="41505" y="6092"/>
                      <a:pt x="38268" y="3712"/>
                    </a:cubicBezTo>
                    <a:cubicBezTo>
                      <a:pt x="35032" y="1333"/>
                      <a:pt x="30177" y="95"/>
                      <a:pt x="23704" y="95"/>
                    </a:cubicBezTo>
                    <a:cubicBezTo>
                      <a:pt x="16659" y="95"/>
                      <a:pt x="10948" y="2380"/>
                      <a:pt x="6568" y="7044"/>
                    </a:cubicBezTo>
                    <a:cubicBezTo>
                      <a:pt x="2190" y="11709"/>
                      <a:pt x="0" y="18372"/>
                      <a:pt x="0" y="27130"/>
                    </a:cubicBezTo>
                    <a:lnTo>
                      <a:pt x="0" y="278347"/>
                    </a:lnTo>
                    <a:cubicBezTo>
                      <a:pt x="0" y="286820"/>
                      <a:pt x="2190" y="293293"/>
                      <a:pt x="6568" y="297767"/>
                    </a:cubicBezTo>
                    <a:cubicBezTo>
                      <a:pt x="10948" y="302241"/>
                      <a:pt x="17135" y="304526"/>
                      <a:pt x="25322" y="304526"/>
                    </a:cubicBezTo>
                    <a:cubicBezTo>
                      <a:pt x="33508" y="304526"/>
                      <a:pt x="39696" y="302241"/>
                      <a:pt x="43885" y="297767"/>
                    </a:cubicBezTo>
                    <a:cubicBezTo>
                      <a:pt x="48073" y="293293"/>
                      <a:pt x="50167" y="286820"/>
                      <a:pt x="50167" y="278347"/>
                    </a:cubicBezTo>
                    <a:lnTo>
                      <a:pt x="50167" y="92243"/>
                    </a:lnTo>
                    <a:lnTo>
                      <a:pt x="200859" y="288342"/>
                    </a:lnTo>
                    <a:cubicBezTo>
                      <a:pt x="205334" y="293959"/>
                      <a:pt x="209522" y="298052"/>
                      <a:pt x="213330" y="300623"/>
                    </a:cubicBezTo>
                    <a:cubicBezTo>
                      <a:pt x="217138" y="303193"/>
                      <a:pt x="222278" y="304430"/>
                      <a:pt x="228751" y="304430"/>
                    </a:cubicBezTo>
                    <a:cubicBezTo>
                      <a:pt x="235510" y="304430"/>
                      <a:pt x="240841" y="302146"/>
                      <a:pt x="244839" y="297672"/>
                    </a:cubicBezTo>
                    <a:cubicBezTo>
                      <a:pt x="248742" y="293197"/>
                      <a:pt x="250741" y="287010"/>
                      <a:pt x="250741" y="279109"/>
                    </a:cubicBezTo>
                    <a:lnTo>
                      <a:pt x="250741" y="25797"/>
                    </a:lnTo>
                    <a:cubicBezTo>
                      <a:pt x="250741" y="17611"/>
                      <a:pt x="248647" y="11328"/>
                      <a:pt x="244363" y="6759"/>
                    </a:cubicBezTo>
                    <a:cubicBezTo>
                      <a:pt x="240270" y="2285"/>
                      <a:pt x="234082" y="0"/>
                      <a:pt x="22589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" name="Полилиния 18">
                <a:extLst>
                  <a:ext uri="{FF2B5EF4-FFF2-40B4-BE49-F238E27FC236}">
                    <a16:creationId xmlns:a16="http://schemas.microsoft.com/office/drawing/2014/main" id="{ABED481D-93F3-36B8-D3F6-560BB8145AE9}"/>
                  </a:ext>
                </a:extLst>
              </p:cNvPr>
              <p:cNvSpPr/>
              <p:nvPr/>
            </p:nvSpPr>
            <p:spPr>
              <a:xfrm>
                <a:off x="6292289" y="3737142"/>
                <a:ext cx="265210" cy="301003"/>
              </a:xfrm>
              <a:custGeom>
                <a:avLst/>
                <a:gdLst>
                  <a:gd name="connsiteX0" fmla="*/ 241888 w 265210"/>
                  <a:gd name="connsiteY0" fmla="*/ 0 h 301003"/>
                  <a:gd name="connsiteX1" fmla="*/ 23227 w 265210"/>
                  <a:gd name="connsiteY1" fmla="*/ 0 h 301003"/>
                  <a:gd name="connsiteX2" fmla="*/ 6093 w 265210"/>
                  <a:gd name="connsiteY2" fmla="*/ 5712 h 301003"/>
                  <a:gd name="connsiteX3" fmla="*/ 0 w 265210"/>
                  <a:gd name="connsiteY3" fmla="*/ 22371 h 301003"/>
                  <a:gd name="connsiteX4" fmla="*/ 6093 w 265210"/>
                  <a:gd name="connsiteY4" fmla="*/ 39030 h 301003"/>
                  <a:gd name="connsiteX5" fmla="*/ 23227 w 265210"/>
                  <a:gd name="connsiteY5" fmla="*/ 45122 h 301003"/>
                  <a:gd name="connsiteX6" fmla="*/ 105570 w 265210"/>
                  <a:gd name="connsiteY6" fmla="*/ 45122 h 301003"/>
                  <a:gd name="connsiteX7" fmla="*/ 105570 w 265210"/>
                  <a:gd name="connsiteY7" fmla="*/ 273112 h 301003"/>
                  <a:gd name="connsiteX8" fmla="*/ 112519 w 265210"/>
                  <a:gd name="connsiteY8" fmla="*/ 293578 h 301003"/>
                  <a:gd name="connsiteX9" fmla="*/ 132605 w 265210"/>
                  <a:gd name="connsiteY9" fmla="*/ 301003 h 301003"/>
                  <a:gd name="connsiteX10" fmla="*/ 152882 w 265210"/>
                  <a:gd name="connsiteY10" fmla="*/ 293578 h 301003"/>
                  <a:gd name="connsiteX11" fmla="*/ 159641 w 265210"/>
                  <a:gd name="connsiteY11" fmla="*/ 273112 h 301003"/>
                  <a:gd name="connsiteX12" fmla="*/ 159641 w 265210"/>
                  <a:gd name="connsiteY12" fmla="*/ 45122 h 301003"/>
                  <a:gd name="connsiteX13" fmla="*/ 241983 w 265210"/>
                  <a:gd name="connsiteY13" fmla="*/ 45122 h 301003"/>
                  <a:gd name="connsiteX14" fmla="*/ 259118 w 265210"/>
                  <a:gd name="connsiteY14" fmla="*/ 39030 h 301003"/>
                  <a:gd name="connsiteX15" fmla="*/ 265211 w 265210"/>
                  <a:gd name="connsiteY15" fmla="*/ 22371 h 301003"/>
                  <a:gd name="connsiteX16" fmla="*/ 259118 w 265210"/>
                  <a:gd name="connsiteY16" fmla="*/ 5712 h 301003"/>
                  <a:gd name="connsiteX17" fmla="*/ 241888 w 265210"/>
                  <a:gd name="connsiteY17" fmla="*/ 0 h 301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65210" h="301003">
                    <a:moveTo>
                      <a:pt x="241888" y="0"/>
                    </a:moveTo>
                    <a:lnTo>
                      <a:pt x="23227" y="0"/>
                    </a:lnTo>
                    <a:cubicBezTo>
                      <a:pt x="15898" y="0"/>
                      <a:pt x="10186" y="1904"/>
                      <a:pt x="6093" y="5712"/>
                    </a:cubicBezTo>
                    <a:cubicBezTo>
                      <a:pt x="1999" y="9519"/>
                      <a:pt x="0" y="15041"/>
                      <a:pt x="0" y="22371"/>
                    </a:cubicBezTo>
                    <a:cubicBezTo>
                      <a:pt x="0" y="29415"/>
                      <a:pt x="1999" y="34936"/>
                      <a:pt x="6093" y="39030"/>
                    </a:cubicBezTo>
                    <a:cubicBezTo>
                      <a:pt x="10186" y="43123"/>
                      <a:pt x="15898" y="45122"/>
                      <a:pt x="23227" y="45122"/>
                    </a:cubicBezTo>
                    <a:lnTo>
                      <a:pt x="105570" y="45122"/>
                    </a:lnTo>
                    <a:lnTo>
                      <a:pt x="105570" y="273112"/>
                    </a:lnTo>
                    <a:cubicBezTo>
                      <a:pt x="105570" y="281870"/>
                      <a:pt x="107855" y="288628"/>
                      <a:pt x="112519" y="293578"/>
                    </a:cubicBezTo>
                    <a:cubicBezTo>
                      <a:pt x="117184" y="298529"/>
                      <a:pt x="123847" y="301003"/>
                      <a:pt x="132605" y="301003"/>
                    </a:cubicBezTo>
                    <a:cubicBezTo>
                      <a:pt x="141649" y="301003"/>
                      <a:pt x="148407" y="298529"/>
                      <a:pt x="152882" y="293578"/>
                    </a:cubicBezTo>
                    <a:cubicBezTo>
                      <a:pt x="157356" y="288628"/>
                      <a:pt x="159641" y="281870"/>
                      <a:pt x="159641" y="273112"/>
                    </a:cubicBezTo>
                    <a:lnTo>
                      <a:pt x="159641" y="45122"/>
                    </a:lnTo>
                    <a:lnTo>
                      <a:pt x="241983" y="45122"/>
                    </a:lnTo>
                    <a:cubicBezTo>
                      <a:pt x="249313" y="45122"/>
                      <a:pt x="255025" y="43123"/>
                      <a:pt x="259118" y="39030"/>
                    </a:cubicBezTo>
                    <a:cubicBezTo>
                      <a:pt x="263211" y="34936"/>
                      <a:pt x="265211" y="29415"/>
                      <a:pt x="265211" y="22371"/>
                    </a:cubicBezTo>
                    <a:cubicBezTo>
                      <a:pt x="265211" y="15041"/>
                      <a:pt x="263116" y="9519"/>
                      <a:pt x="259118" y="5712"/>
                    </a:cubicBezTo>
                    <a:cubicBezTo>
                      <a:pt x="254835" y="1904"/>
                      <a:pt x="249123" y="0"/>
                      <a:pt x="2418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" name="Полилиния 19">
                <a:extLst>
                  <a:ext uri="{FF2B5EF4-FFF2-40B4-BE49-F238E27FC236}">
                    <a16:creationId xmlns:a16="http://schemas.microsoft.com/office/drawing/2014/main" id="{0BF81DE4-B694-E375-7460-B52134B4D520}"/>
                  </a:ext>
                </a:extLst>
              </p:cNvPr>
              <p:cNvSpPr/>
              <p:nvPr/>
            </p:nvSpPr>
            <p:spPr>
              <a:xfrm>
                <a:off x="6560356" y="3732954"/>
                <a:ext cx="286248" cy="306143"/>
              </a:xfrm>
              <a:custGeom>
                <a:avLst/>
                <a:gdLst>
                  <a:gd name="connsiteX0" fmla="*/ 218661 w 286248"/>
                  <a:gd name="connsiteY0" fmla="*/ 18753 h 306143"/>
                  <a:gd name="connsiteX1" fmla="*/ 143077 w 286248"/>
                  <a:gd name="connsiteY1" fmla="*/ 0 h 306143"/>
                  <a:gd name="connsiteX2" fmla="*/ 84151 w 286248"/>
                  <a:gd name="connsiteY2" fmla="*/ 10757 h 306143"/>
                  <a:gd name="connsiteX3" fmla="*/ 39030 w 286248"/>
                  <a:gd name="connsiteY3" fmla="*/ 41600 h 306143"/>
                  <a:gd name="connsiteX4" fmla="*/ 10091 w 286248"/>
                  <a:gd name="connsiteY4" fmla="*/ 89768 h 306143"/>
                  <a:gd name="connsiteX5" fmla="*/ 0 w 286248"/>
                  <a:gd name="connsiteY5" fmla="*/ 152882 h 306143"/>
                  <a:gd name="connsiteX6" fmla="*/ 17706 w 286248"/>
                  <a:gd name="connsiteY6" fmla="*/ 233701 h 306143"/>
                  <a:gd name="connsiteX7" fmla="*/ 67778 w 286248"/>
                  <a:gd name="connsiteY7" fmla="*/ 287105 h 306143"/>
                  <a:gd name="connsiteX8" fmla="*/ 143172 w 286248"/>
                  <a:gd name="connsiteY8" fmla="*/ 306144 h 306143"/>
                  <a:gd name="connsiteX9" fmla="*/ 202097 w 286248"/>
                  <a:gd name="connsiteY9" fmla="*/ 295387 h 306143"/>
                  <a:gd name="connsiteX10" fmla="*/ 247219 w 286248"/>
                  <a:gd name="connsiteY10" fmla="*/ 264354 h 306143"/>
                  <a:gd name="connsiteX11" fmla="*/ 276158 w 286248"/>
                  <a:gd name="connsiteY11" fmla="*/ 215805 h 306143"/>
                  <a:gd name="connsiteX12" fmla="*/ 286248 w 286248"/>
                  <a:gd name="connsiteY12" fmla="*/ 152501 h 306143"/>
                  <a:gd name="connsiteX13" fmla="*/ 268542 w 286248"/>
                  <a:gd name="connsiteY13" fmla="*/ 71872 h 306143"/>
                  <a:gd name="connsiteX14" fmla="*/ 218661 w 286248"/>
                  <a:gd name="connsiteY14" fmla="*/ 18753 h 306143"/>
                  <a:gd name="connsiteX15" fmla="*/ 219232 w 286248"/>
                  <a:gd name="connsiteY15" fmla="*/ 210189 h 306143"/>
                  <a:gd name="connsiteX16" fmla="*/ 189722 w 286248"/>
                  <a:gd name="connsiteY16" fmla="*/ 246933 h 306143"/>
                  <a:gd name="connsiteX17" fmla="*/ 143077 w 286248"/>
                  <a:gd name="connsiteY17" fmla="*/ 259594 h 306143"/>
                  <a:gd name="connsiteX18" fmla="*/ 79296 w 286248"/>
                  <a:gd name="connsiteY18" fmla="*/ 231322 h 306143"/>
                  <a:gd name="connsiteX19" fmla="*/ 56545 w 286248"/>
                  <a:gd name="connsiteY19" fmla="*/ 152787 h 306143"/>
                  <a:gd name="connsiteX20" fmla="*/ 66921 w 286248"/>
                  <a:gd name="connsiteY20" fmla="*/ 95194 h 306143"/>
                  <a:gd name="connsiteX21" fmla="*/ 96717 w 286248"/>
                  <a:gd name="connsiteY21" fmla="*/ 58925 h 306143"/>
                  <a:gd name="connsiteX22" fmla="*/ 143172 w 286248"/>
                  <a:gd name="connsiteY22" fmla="*/ 46455 h 306143"/>
                  <a:gd name="connsiteX23" fmla="*/ 207142 w 286248"/>
                  <a:gd name="connsiteY23" fmla="*/ 74346 h 306143"/>
                  <a:gd name="connsiteX24" fmla="*/ 229703 w 286248"/>
                  <a:gd name="connsiteY24" fmla="*/ 152882 h 306143"/>
                  <a:gd name="connsiteX25" fmla="*/ 219232 w 286248"/>
                  <a:gd name="connsiteY25" fmla="*/ 210189 h 306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86248" h="306143">
                    <a:moveTo>
                      <a:pt x="218661" y="18753"/>
                    </a:moveTo>
                    <a:cubicBezTo>
                      <a:pt x="197242" y="6283"/>
                      <a:pt x="172111" y="0"/>
                      <a:pt x="143077" y="0"/>
                    </a:cubicBezTo>
                    <a:cubicBezTo>
                      <a:pt x="121372" y="0"/>
                      <a:pt x="101762" y="3617"/>
                      <a:pt x="84151" y="10757"/>
                    </a:cubicBezTo>
                    <a:cubicBezTo>
                      <a:pt x="66541" y="17897"/>
                      <a:pt x="51500" y="28178"/>
                      <a:pt x="39030" y="41600"/>
                    </a:cubicBezTo>
                    <a:cubicBezTo>
                      <a:pt x="26464" y="54927"/>
                      <a:pt x="16849" y="71015"/>
                      <a:pt x="10091" y="89768"/>
                    </a:cubicBezTo>
                    <a:cubicBezTo>
                      <a:pt x="3332" y="108521"/>
                      <a:pt x="0" y="129559"/>
                      <a:pt x="0" y="152882"/>
                    </a:cubicBezTo>
                    <a:cubicBezTo>
                      <a:pt x="0" y="183820"/>
                      <a:pt x="5902" y="210760"/>
                      <a:pt x="17706" y="233701"/>
                    </a:cubicBezTo>
                    <a:cubicBezTo>
                      <a:pt x="29510" y="256643"/>
                      <a:pt x="46169" y="274444"/>
                      <a:pt x="67778" y="287105"/>
                    </a:cubicBezTo>
                    <a:cubicBezTo>
                      <a:pt x="89387" y="299766"/>
                      <a:pt x="114423" y="306144"/>
                      <a:pt x="143172" y="306144"/>
                    </a:cubicBezTo>
                    <a:cubicBezTo>
                      <a:pt x="164876" y="306144"/>
                      <a:pt x="184486" y="302527"/>
                      <a:pt x="202097" y="295387"/>
                    </a:cubicBezTo>
                    <a:cubicBezTo>
                      <a:pt x="219708" y="288247"/>
                      <a:pt x="234748" y="277871"/>
                      <a:pt x="247219" y="264354"/>
                    </a:cubicBezTo>
                    <a:cubicBezTo>
                      <a:pt x="259689" y="250836"/>
                      <a:pt x="269399" y="234653"/>
                      <a:pt x="276158" y="215805"/>
                    </a:cubicBezTo>
                    <a:cubicBezTo>
                      <a:pt x="282917" y="196956"/>
                      <a:pt x="286248" y="175823"/>
                      <a:pt x="286248" y="152501"/>
                    </a:cubicBezTo>
                    <a:cubicBezTo>
                      <a:pt x="286248" y="121563"/>
                      <a:pt x="280346" y="94623"/>
                      <a:pt x="268542" y="71872"/>
                    </a:cubicBezTo>
                    <a:cubicBezTo>
                      <a:pt x="256738" y="49120"/>
                      <a:pt x="239984" y="31224"/>
                      <a:pt x="218661" y="18753"/>
                    </a:cubicBezTo>
                    <a:close/>
                    <a:moveTo>
                      <a:pt x="219232" y="210189"/>
                    </a:moveTo>
                    <a:cubicBezTo>
                      <a:pt x="212378" y="226276"/>
                      <a:pt x="202478" y="238461"/>
                      <a:pt x="189722" y="246933"/>
                    </a:cubicBezTo>
                    <a:cubicBezTo>
                      <a:pt x="176870" y="255406"/>
                      <a:pt x="161354" y="259594"/>
                      <a:pt x="143077" y="259594"/>
                    </a:cubicBezTo>
                    <a:cubicBezTo>
                      <a:pt x="115756" y="259594"/>
                      <a:pt x="94528" y="250170"/>
                      <a:pt x="79296" y="231322"/>
                    </a:cubicBezTo>
                    <a:cubicBezTo>
                      <a:pt x="64066" y="212473"/>
                      <a:pt x="56545" y="186295"/>
                      <a:pt x="56545" y="152787"/>
                    </a:cubicBezTo>
                    <a:cubicBezTo>
                      <a:pt x="56545" y="130321"/>
                      <a:pt x="59972" y="111092"/>
                      <a:pt x="66921" y="95194"/>
                    </a:cubicBezTo>
                    <a:cubicBezTo>
                      <a:pt x="73775" y="79297"/>
                      <a:pt x="83771" y="67207"/>
                      <a:pt x="96717" y="58925"/>
                    </a:cubicBezTo>
                    <a:cubicBezTo>
                      <a:pt x="109663" y="50643"/>
                      <a:pt x="125180" y="46455"/>
                      <a:pt x="143172" y="46455"/>
                    </a:cubicBezTo>
                    <a:cubicBezTo>
                      <a:pt x="170778" y="46455"/>
                      <a:pt x="192101" y="55784"/>
                      <a:pt x="207142" y="74346"/>
                    </a:cubicBezTo>
                    <a:cubicBezTo>
                      <a:pt x="222183" y="92909"/>
                      <a:pt x="229703" y="119088"/>
                      <a:pt x="229703" y="152882"/>
                    </a:cubicBezTo>
                    <a:cubicBezTo>
                      <a:pt x="229608" y="174967"/>
                      <a:pt x="226181" y="194101"/>
                      <a:pt x="219232" y="21018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" name="Полилиния 24">
                <a:extLst>
                  <a:ext uri="{FF2B5EF4-FFF2-40B4-BE49-F238E27FC236}">
                    <a16:creationId xmlns:a16="http://schemas.microsoft.com/office/drawing/2014/main" id="{33A67B84-0B90-C9A1-984E-BE9F7500EEE3}"/>
                  </a:ext>
                </a:extLst>
              </p:cNvPr>
              <p:cNvSpPr/>
              <p:nvPr/>
            </p:nvSpPr>
            <p:spPr>
              <a:xfrm>
                <a:off x="6901341" y="3733716"/>
                <a:ext cx="250740" cy="304525"/>
              </a:xfrm>
              <a:custGeom>
                <a:avLst/>
                <a:gdLst>
                  <a:gd name="connsiteX0" fmla="*/ 225895 w 250740"/>
                  <a:gd name="connsiteY0" fmla="*/ 0 h 304525"/>
                  <a:gd name="connsiteX1" fmla="*/ 207142 w 250740"/>
                  <a:gd name="connsiteY1" fmla="*/ 6759 h 304525"/>
                  <a:gd name="connsiteX2" fmla="*/ 200574 w 250740"/>
                  <a:gd name="connsiteY2" fmla="*/ 25797 h 304525"/>
                  <a:gd name="connsiteX3" fmla="*/ 200574 w 250740"/>
                  <a:gd name="connsiteY3" fmla="*/ 211236 h 304525"/>
                  <a:gd name="connsiteX4" fmla="*/ 49882 w 250740"/>
                  <a:gd name="connsiteY4" fmla="*/ 15707 h 304525"/>
                  <a:gd name="connsiteX5" fmla="*/ 38268 w 250740"/>
                  <a:gd name="connsiteY5" fmla="*/ 3712 h 304525"/>
                  <a:gd name="connsiteX6" fmla="*/ 23703 w 250740"/>
                  <a:gd name="connsiteY6" fmla="*/ 95 h 304525"/>
                  <a:gd name="connsiteX7" fmla="*/ 6568 w 250740"/>
                  <a:gd name="connsiteY7" fmla="*/ 7044 h 304525"/>
                  <a:gd name="connsiteX8" fmla="*/ 0 w 250740"/>
                  <a:gd name="connsiteY8" fmla="*/ 27130 h 304525"/>
                  <a:gd name="connsiteX9" fmla="*/ 0 w 250740"/>
                  <a:gd name="connsiteY9" fmla="*/ 278347 h 304525"/>
                  <a:gd name="connsiteX10" fmla="*/ 6568 w 250740"/>
                  <a:gd name="connsiteY10" fmla="*/ 297767 h 304525"/>
                  <a:gd name="connsiteX11" fmla="*/ 25322 w 250740"/>
                  <a:gd name="connsiteY11" fmla="*/ 304526 h 304525"/>
                  <a:gd name="connsiteX12" fmla="*/ 43884 w 250740"/>
                  <a:gd name="connsiteY12" fmla="*/ 297767 h 304525"/>
                  <a:gd name="connsiteX13" fmla="*/ 50167 w 250740"/>
                  <a:gd name="connsiteY13" fmla="*/ 278347 h 304525"/>
                  <a:gd name="connsiteX14" fmla="*/ 50167 w 250740"/>
                  <a:gd name="connsiteY14" fmla="*/ 92243 h 304525"/>
                  <a:gd name="connsiteX15" fmla="*/ 200859 w 250740"/>
                  <a:gd name="connsiteY15" fmla="*/ 288342 h 304525"/>
                  <a:gd name="connsiteX16" fmla="*/ 213330 w 250740"/>
                  <a:gd name="connsiteY16" fmla="*/ 300623 h 304525"/>
                  <a:gd name="connsiteX17" fmla="*/ 228751 w 250740"/>
                  <a:gd name="connsiteY17" fmla="*/ 304430 h 304525"/>
                  <a:gd name="connsiteX18" fmla="*/ 244839 w 250740"/>
                  <a:gd name="connsiteY18" fmla="*/ 297672 h 304525"/>
                  <a:gd name="connsiteX19" fmla="*/ 250741 w 250740"/>
                  <a:gd name="connsiteY19" fmla="*/ 279109 h 304525"/>
                  <a:gd name="connsiteX20" fmla="*/ 250741 w 250740"/>
                  <a:gd name="connsiteY20" fmla="*/ 25797 h 304525"/>
                  <a:gd name="connsiteX21" fmla="*/ 244363 w 250740"/>
                  <a:gd name="connsiteY21" fmla="*/ 6759 h 304525"/>
                  <a:gd name="connsiteX22" fmla="*/ 225895 w 250740"/>
                  <a:gd name="connsiteY22" fmla="*/ 0 h 304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50740" h="304525">
                    <a:moveTo>
                      <a:pt x="225895" y="0"/>
                    </a:moveTo>
                    <a:cubicBezTo>
                      <a:pt x="217709" y="0"/>
                      <a:pt x="211521" y="2285"/>
                      <a:pt x="207142" y="6759"/>
                    </a:cubicBezTo>
                    <a:cubicBezTo>
                      <a:pt x="202763" y="11233"/>
                      <a:pt x="200574" y="17611"/>
                      <a:pt x="200574" y="25797"/>
                    </a:cubicBezTo>
                    <a:lnTo>
                      <a:pt x="200574" y="211236"/>
                    </a:lnTo>
                    <a:lnTo>
                      <a:pt x="49882" y="15707"/>
                    </a:lnTo>
                    <a:cubicBezTo>
                      <a:pt x="45407" y="10091"/>
                      <a:pt x="41504" y="6092"/>
                      <a:pt x="38268" y="3712"/>
                    </a:cubicBezTo>
                    <a:cubicBezTo>
                      <a:pt x="35031" y="1333"/>
                      <a:pt x="30176" y="95"/>
                      <a:pt x="23703" y="95"/>
                    </a:cubicBezTo>
                    <a:cubicBezTo>
                      <a:pt x="16659" y="95"/>
                      <a:pt x="10947" y="2380"/>
                      <a:pt x="6568" y="7044"/>
                    </a:cubicBezTo>
                    <a:cubicBezTo>
                      <a:pt x="2189" y="11709"/>
                      <a:pt x="0" y="18372"/>
                      <a:pt x="0" y="27130"/>
                    </a:cubicBezTo>
                    <a:lnTo>
                      <a:pt x="0" y="278347"/>
                    </a:lnTo>
                    <a:cubicBezTo>
                      <a:pt x="0" y="286820"/>
                      <a:pt x="2189" y="293293"/>
                      <a:pt x="6568" y="297767"/>
                    </a:cubicBezTo>
                    <a:cubicBezTo>
                      <a:pt x="10947" y="302241"/>
                      <a:pt x="17135" y="304526"/>
                      <a:pt x="25322" y="304526"/>
                    </a:cubicBezTo>
                    <a:cubicBezTo>
                      <a:pt x="33508" y="304526"/>
                      <a:pt x="39696" y="302241"/>
                      <a:pt x="43884" y="297767"/>
                    </a:cubicBezTo>
                    <a:cubicBezTo>
                      <a:pt x="48073" y="293293"/>
                      <a:pt x="50167" y="286820"/>
                      <a:pt x="50167" y="278347"/>
                    </a:cubicBezTo>
                    <a:lnTo>
                      <a:pt x="50167" y="92243"/>
                    </a:lnTo>
                    <a:lnTo>
                      <a:pt x="200859" y="288342"/>
                    </a:lnTo>
                    <a:cubicBezTo>
                      <a:pt x="205334" y="293959"/>
                      <a:pt x="209522" y="298052"/>
                      <a:pt x="213330" y="300623"/>
                    </a:cubicBezTo>
                    <a:cubicBezTo>
                      <a:pt x="217138" y="303193"/>
                      <a:pt x="222278" y="304430"/>
                      <a:pt x="228751" y="304430"/>
                    </a:cubicBezTo>
                    <a:cubicBezTo>
                      <a:pt x="235510" y="304430"/>
                      <a:pt x="240841" y="302146"/>
                      <a:pt x="244839" y="297672"/>
                    </a:cubicBezTo>
                    <a:cubicBezTo>
                      <a:pt x="248742" y="293197"/>
                      <a:pt x="250741" y="287010"/>
                      <a:pt x="250741" y="279109"/>
                    </a:cubicBezTo>
                    <a:lnTo>
                      <a:pt x="250741" y="25797"/>
                    </a:lnTo>
                    <a:cubicBezTo>
                      <a:pt x="250741" y="17611"/>
                      <a:pt x="248647" y="11328"/>
                      <a:pt x="244363" y="6759"/>
                    </a:cubicBezTo>
                    <a:cubicBezTo>
                      <a:pt x="240270" y="2285"/>
                      <a:pt x="234082" y="0"/>
                      <a:pt x="22589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" name="Полилиния 32">
                <a:extLst>
                  <a:ext uri="{FF2B5EF4-FFF2-40B4-BE49-F238E27FC236}">
                    <a16:creationId xmlns:a16="http://schemas.microsoft.com/office/drawing/2014/main" id="{7A3CB6ED-34ED-940C-E167-41AE91068E0E}"/>
                  </a:ext>
                </a:extLst>
              </p:cNvPr>
              <p:cNvSpPr/>
              <p:nvPr/>
            </p:nvSpPr>
            <p:spPr>
              <a:xfrm>
                <a:off x="7207389" y="3732954"/>
                <a:ext cx="286153" cy="306143"/>
              </a:xfrm>
              <a:custGeom>
                <a:avLst/>
                <a:gdLst>
                  <a:gd name="connsiteX0" fmla="*/ 218661 w 286153"/>
                  <a:gd name="connsiteY0" fmla="*/ 18753 h 306143"/>
                  <a:gd name="connsiteX1" fmla="*/ 143077 w 286153"/>
                  <a:gd name="connsiteY1" fmla="*/ 0 h 306143"/>
                  <a:gd name="connsiteX2" fmla="*/ 84151 w 286153"/>
                  <a:gd name="connsiteY2" fmla="*/ 10757 h 306143"/>
                  <a:gd name="connsiteX3" fmla="*/ 39030 w 286153"/>
                  <a:gd name="connsiteY3" fmla="*/ 41600 h 306143"/>
                  <a:gd name="connsiteX4" fmla="*/ 10091 w 286153"/>
                  <a:gd name="connsiteY4" fmla="*/ 89768 h 306143"/>
                  <a:gd name="connsiteX5" fmla="*/ 0 w 286153"/>
                  <a:gd name="connsiteY5" fmla="*/ 152882 h 306143"/>
                  <a:gd name="connsiteX6" fmla="*/ 17706 w 286153"/>
                  <a:gd name="connsiteY6" fmla="*/ 233701 h 306143"/>
                  <a:gd name="connsiteX7" fmla="*/ 67683 w 286153"/>
                  <a:gd name="connsiteY7" fmla="*/ 287105 h 306143"/>
                  <a:gd name="connsiteX8" fmla="*/ 143077 w 286153"/>
                  <a:gd name="connsiteY8" fmla="*/ 306144 h 306143"/>
                  <a:gd name="connsiteX9" fmla="*/ 202002 w 286153"/>
                  <a:gd name="connsiteY9" fmla="*/ 295387 h 306143"/>
                  <a:gd name="connsiteX10" fmla="*/ 247124 w 286153"/>
                  <a:gd name="connsiteY10" fmla="*/ 264354 h 306143"/>
                  <a:gd name="connsiteX11" fmla="*/ 276063 w 286153"/>
                  <a:gd name="connsiteY11" fmla="*/ 215805 h 306143"/>
                  <a:gd name="connsiteX12" fmla="*/ 286153 w 286153"/>
                  <a:gd name="connsiteY12" fmla="*/ 152501 h 306143"/>
                  <a:gd name="connsiteX13" fmla="*/ 268447 w 286153"/>
                  <a:gd name="connsiteY13" fmla="*/ 71872 h 306143"/>
                  <a:gd name="connsiteX14" fmla="*/ 218661 w 286153"/>
                  <a:gd name="connsiteY14" fmla="*/ 18753 h 306143"/>
                  <a:gd name="connsiteX15" fmla="*/ 219327 w 286153"/>
                  <a:gd name="connsiteY15" fmla="*/ 210189 h 306143"/>
                  <a:gd name="connsiteX16" fmla="*/ 189817 w 286153"/>
                  <a:gd name="connsiteY16" fmla="*/ 246933 h 306143"/>
                  <a:gd name="connsiteX17" fmla="*/ 143172 w 286153"/>
                  <a:gd name="connsiteY17" fmla="*/ 259594 h 306143"/>
                  <a:gd name="connsiteX18" fmla="*/ 79392 w 286153"/>
                  <a:gd name="connsiteY18" fmla="*/ 231322 h 306143"/>
                  <a:gd name="connsiteX19" fmla="*/ 56641 w 286153"/>
                  <a:gd name="connsiteY19" fmla="*/ 152787 h 306143"/>
                  <a:gd name="connsiteX20" fmla="*/ 67017 w 286153"/>
                  <a:gd name="connsiteY20" fmla="*/ 95194 h 306143"/>
                  <a:gd name="connsiteX21" fmla="*/ 96812 w 286153"/>
                  <a:gd name="connsiteY21" fmla="*/ 58925 h 306143"/>
                  <a:gd name="connsiteX22" fmla="*/ 143267 w 286153"/>
                  <a:gd name="connsiteY22" fmla="*/ 46455 h 306143"/>
                  <a:gd name="connsiteX23" fmla="*/ 207237 w 286153"/>
                  <a:gd name="connsiteY23" fmla="*/ 74346 h 306143"/>
                  <a:gd name="connsiteX24" fmla="*/ 229798 w 286153"/>
                  <a:gd name="connsiteY24" fmla="*/ 152882 h 306143"/>
                  <a:gd name="connsiteX25" fmla="*/ 219327 w 286153"/>
                  <a:gd name="connsiteY25" fmla="*/ 210189 h 306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86153" h="306143">
                    <a:moveTo>
                      <a:pt x="218661" y="18753"/>
                    </a:moveTo>
                    <a:cubicBezTo>
                      <a:pt x="197242" y="6283"/>
                      <a:pt x="172111" y="0"/>
                      <a:pt x="143077" y="0"/>
                    </a:cubicBezTo>
                    <a:cubicBezTo>
                      <a:pt x="121372" y="0"/>
                      <a:pt x="101762" y="3617"/>
                      <a:pt x="84151" y="10757"/>
                    </a:cubicBezTo>
                    <a:cubicBezTo>
                      <a:pt x="66541" y="17897"/>
                      <a:pt x="51500" y="28178"/>
                      <a:pt x="39030" y="41600"/>
                    </a:cubicBezTo>
                    <a:cubicBezTo>
                      <a:pt x="26464" y="54927"/>
                      <a:pt x="16849" y="71015"/>
                      <a:pt x="10091" y="89768"/>
                    </a:cubicBezTo>
                    <a:cubicBezTo>
                      <a:pt x="3332" y="108521"/>
                      <a:pt x="0" y="129559"/>
                      <a:pt x="0" y="152882"/>
                    </a:cubicBezTo>
                    <a:cubicBezTo>
                      <a:pt x="0" y="183820"/>
                      <a:pt x="5902" y="210760"/>
                      <a:pt x="17706" y="233701"/>
                    </a:cubicBezTo>
                    <a:cubicBezTo>
                      <a:pt x="29510" y="256643"/>
                      <a:pt x="46169" y="274444"/>
                      <a:pt x="67683" y="287105"/>
                    </a:cubicBezTo>
                    <a:cubicBezTo>
                      <a:pt x="89197" y="299766"/>
                      <a:pt x="114328" y="306144"/>
                      <a:pt x="143077" y="306144"/>
                    </a:cubicBezTo>
                    <a:cubicBezTo>
                      <a:pt x="164781" y="306144"/>
                      <a:pt x="184391" y="302527"/>
                      <a:pt x="202002" y="295387"/>
                    </a:cubicBezTo>
                    <a:cubicBezTo>
                      <a:pt x="219613" y="288247"/>
                      <a:pt x="234653" y="277871"/>
                      <a:pt x="247124" y="264354"/>
                    </a:cubicBezTo>
                    <a:cubicBezTo>
                      <a:pt x="259594" y="250836"/>
                      <a:pt x="269304" y="234653"/>
                      <a:pt x="276063" y="215805"/>
                    </a:cubicBezTo>
                    <a:cubicBezTo>
                      <a:pt x="282821" y="196956"/>
                      <a:pt x="286153" y="175823"/>
                      <a:pt x="286153" y="152501"/>
                    </a:cubicBezTo>
                    <a:cubicBezTo>
                      <a:pt x="286153" y="121563"/>
                      <a:pt x="280251" y="94623"/>
                      <a:pt x="268447" y="71872"/>
                    </a:cubicBezTo>
                    <a:cubicBezTo>
                      <a:pt x="256738" y="48930"/>
                      <a:pt x="240079" y="31224"/>
                      <a:pt x="218661" y="18753"/>
                    </a:cubicBezTo>
                    <a:close/>
                    <a:moveTo>
                      <a:pt x="219327" y="210189"/>
                    </a:moveTo>
                    <a:cubicBezTo>
                      <a:pt x="212473" y="226276"/>
                      <a:pt x="202573" y="238461"/>
                      <a:pt x="189817" y="246933"/>
                    </a:cubicBezTo>
                    <a:cubicBezTo>
                      <a:pt x="176966" y="255406"/>
                      <a:pt x="161449" y="259594"/>
                      <a:pt x="143172" y="259594"/>
                    </a:cubicBezTo>
                    <a:cubicBezTo>
                      <a:pt x="115851" y="259594"/>
                      <a:pt x="94623" y="250170"/>
                      <a:pt x="79392" y="231322"/>
                    </a:cubicBezTo>
                    <a:cubicBezTo>
                      <a:pt x="64161" y="212473"/>
                      <a:pt x="56641" y="186295"/>
                      <a:pt x="56641" y="152787"/>
                    </a:cubicBezTo>
                    <a:cubicBezTo>
                      <a:pt x="56641" y="130321"/>
                      <a:pt x="60067" y="111092"/>
                      <a:pt x="67017" y="95194"/>
                    </a:cubicBezTo>
                    <a:cubicBezTo>
                      <a:pt x="73871" y="79297"/>
                      <a:pt x="83866" y="67207"/>
                      <a:pt x="96812" y="58925"/>
                    </a:cubicBezTo>
                    <a:cubicBezTo>
                      <a:pt x="109759" y="50643"/>
                      <a:pt x="125180" y="46455"/>
                      <a:pt x="143267" y="46455"/>
                    </a:cubicBezTo>
                    <a:cubicBezTo>
                      <a:pt x="170873" y="46455"/>
                      <a:pt x="192197" y="55784"/>
                      <a:pt x="207237" y="74346"/>
                    </a:cubicBezTo>
                    <a:cubicBezTo>
                      <a:pt x="222278" y="92909"/>
                      <a:pt x="229798" y="119088"/>
                      <a:pt x="229798" y="152882"/>
                    </a:cubicBezTo>
                    <a:cubicBezTo>
                      <a:pt x="229703" y="174967"/>
                      <a:pt x="226276" y="194101"/>
                      <a:pt x="219327" y="21018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" name="Полилиния 34">
                <a:extLst>
                  <a:ext uri="{FF2B5EF4-FFF2-40B4-BE49-F238E27FC236}">
                    <a16:creationId xmlns:a16="http://schemas.microsoft.com/office/drawing/2014/main" id="{AECC1CE8-C9B0-EF33-CBFC-069B3953E2F2}"/>
                  </a:ext>
                </a:extLst>
              </p:cNvPr>
              <p:cNvSpPr/>
              <p:nvPr/>
            </p:nvSpPr>
            <p:spPr>
              <a:xfrm>
                <a:off x="7514958" y="3733716"/>
                <a:ext cx="288127" cy="304335"/>
              </a:xfrm>
              <a:custGeom>
                <a:avLst/>
                <a:gdLst>
                  <a:gd name="connsiteX0" fmla="*/ 287679 w 288127"/>
                  <a:gd name="connsiteY0" fmla="*/ 17325 h 304335"/>
                  <a:gd name="connsiteX1" fmla="*/ 279873 w 288127"/>
                  <a:gd name="connsiteY1" fmla="*/ 4664 h 304335"/>
                  <a:gd name="connsiteX2" fmla="*/ 264452 w 288127"/>
                  <a:gd name="connsiteY2" fmla="*/ 0 h 304335"/>
                  <a:gd name="connsiteX3" fmla="*/ 246746 w 288127"/>
                  <a:gd name="connsiteY3" fmla="*/ 5236 h 304335"/>
                  <a:gd name="connsiteX4" fmla="*/ 235798 w 288127"/>
                  <a:gd name="connsiteY4" fmla="*/ 20657 h 304335"/>
                  <a:gd name="connsiteX5" fmla="*/ 145269 w 288127"/>
                  <a:gd name="connsiteY5" fmla="*/ 231702 h 304335"/>
                  <a:gd name="connsiteX6" fmla="*/ 54359 w 288127"/>
                  <a:gd name="connsiteY6" fmla="*/ 21038 h 304335"/>
                  <a:gd name="connsiteX7" fmla="*/ 43982 w 288127"/>
                  <a:gd name="connsiteY7" fmla="*/ 5236 h 304335"/>
                  <a:gd name="connsiteX8" fmla="*/ 25610 w 288127"/>
                  <a:gd name="connsiteY8" fmla="*/ 0 h 304335"/>
                  <a:gd name="connsiteX9" fmla="*/ 9522 w 288127"/>
                  <a:gd name="connsiteY9" fmla="*/ 4664 h 304335"/>
                  <a:gd name="connsiteX10" fmla="*/ 669 w 288127"/>
                  <a:gd name="connsiteY10" fmla="*/ 17325 h 304335"/>
                  <a:gd name="connsiteX11" fmla="*/ 3239 w 288127"/>
                  <a:gd name="connsiteY11" fmla="*/ 35888 h 304335"/>
                  <a:gd name="connsiteX12" fmla="*/ 113379 w 288127"/>
                  <a:gd name="connsiteY12" fmla="*/ 283297 h 304335"/>
                  <a:gd name="connsiteX13" fmla="*/ 125374 w 288127"/>
                  <a:gd name="connsiteY13" fmla="*/ 299099 h 304335"/>
                  <a:gd name="connsiteX14" fmla="*/ 144127 w 288127"/>
                  <a:gd name="connsiteY14" fmla="*/ 304335 h 304335"/>
                  <a:gd name="connsiteX15" fmla="*/ 162880 w 288127"/>
                  <a:gd name="connsiteY15" fmla="*/ 299099 h 304335"/>
                  <a:gd name="connsiteX16" fmla="*/ 174494 w 288127"/>
                  <a:gd name="connsiteY16" fmla="*/ 283297 h 304335"/>
                  <a:gd name="connsiteX17" fmla="*/ 284633 w 288127"/>
                  <a:gd name="connsiteY17" fmla="*/ 35888 h 304335"/>
                  <a:gd name="connsiteX18" fmla="*/ 287679 w 288127"/>
                  <a:gd name="connsiteY18" fmla="*/ 17325 h 30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8127" h="304335">
                    <a:moveTo>
                      <a:pt x="287679" y="17325"/>
                    </a:moveTo>
                    <a:cubicBezTo>
                      <a:pt x="286537" y="11994"/>
                      <a:pt x="283967" y="7806"/>
                      <a:pt x="279873" y="4664"/>
                    </a:cubicBezTo>
                    <a:cubicBezTo>
                      <a:pt x="275780" y="1523"/>
                      <a:pt x="270639" y="0"/>
                      <a:pt x="264452" y="0"/>
                    </a:cubicBezTo>
                    <a:cubicBezTo>
                      <a:pt x="256836" y="0"/>
                      <a:pt x="250934" y="1713"/>
                      <a:pt x="246746" y="5236"/>
                    </a:cubicBezTo>
                    <a:cubicBezTo>
                      <a:pt x="242557" y="8758"/>
                      <a:pt x="238845" y="13898"/>
                      <a:pt x="235798" y="20657"/>
                    </a:cubicBezTo>
                    <a:lnTo>
                      <a:pt x="145269" y="231702"/>
                    </a:lnTo>
                    <a:lnTo>
                      <a:pt x="54359" y="21038"/>
                    </a:lnTo>
                    <a:cubicBezTo>
                      <a:pt x="51503" y="13994"/>
                      <a:pt x="48076" y="8758"/>
                      <a:pt x="43982" y="5236"/>
                    </a:cubicBezTo>
                    <a:cubicBezTo>
                      <a:pt x="39889" y="1713"/>
                      <a:pt x="33797" y="0"/>
                      <a:pt x="25610" y="0"/>
                    </a:cubicBezTo>
                    <a:cubicBezTo>
                      <a:pt x="19423" y="0"/>
                      <a:pt x="14092" y="1523"/>
                      <a:pt x="9522" y="4664"/>
                    </a:cubicBezTo>
                    <a:cubicBezTo>
                      <a:pt x="5048" y="7806"/>
                      <a:pt x="2097" y="11994"/>
                      <a:pt x="669" y="17325"/>
                    </a:cubicBezTo>
                    <a:cubicBezTo>
                      <a:pt x="-759" y="22656"/>
                      <a:pt x="98" y="28844"/>
                      <a:pt x="3239" y="35888"/>
                    </a:cubicBezTo>
                    <a:lnTo>
                      <a:pt x="113379" y="283297"/>
                    </a:lnTo>
                    <a:cubicBezTo>
                      <a:pt x="116520" y="290342"/>
                      <a:pt x="120519" y="295577"/>
                      <a:pt x="125374" y="299099"/>
                    </a:cubicBezTo>
                    <a:cubicBezTo>
                      <a:pt x="130323" y="302622"/>
                      <a:pt x="136606" y="304335"/>
                      <a:pt x="144127" y="304335"/>
                    </a:cubicBezTo>
                    <a:cubicBezTo>
                      <a:pt x="152028" y="304335"/>
                      <a:pt x="158215" y="302622"/>
                      <a:pt x="162880" y="299099"/>
                    </a:cubicBezTo>
                    <a:cubicBezTo>
                      <a:pt x="167544" y="295577"/>
                      <a:pt x="171352" y="290342"/>
                      <a:pt x="174494" y="283297"/>
                    </a:cubicBezTo>
                    <a:lnTo>
                      <a:pt x="284633" y="35888"/>
                    </a:lnTo>
                    <a:cubicBezTo>
                      <a:pt x="287774" y="28844"/>
                      <a:pt x="288821" y="22656"/>
                      <a:pt x="287679" y="173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sp>
        <p:nvSpPr>
          <p:cNvPr id="43" name="Rectangle: Rounded Corners 70">
            <a:extLst>
              <a:ext uri="{FF2B5EF4-FFF2-40B4-BE49-F238E27FC236}">
                <a16:creationId xmlns:a16="http://schemas.microsoft.com/office/drawing/2014/main" id="{3EA50D41-584A-AB41-019B-90B2427FC47E}"/>
              </a:ext>
            </a:extLst>
          </p:cNvPr>
          <p:cNvSpPr/>
          <p:nvPr/>
        </p:nvSpPr>
        <p:spPr>
          <a:xfrm rot="10800000">
            <a:off x="507863" y="-2299003"/>
            <a:ext cx="5997183" cy="1136385"/>
          </a:xfrm>
          <a:prstGeom prst="roundRect">
            <a:avLst>
              <a:gd name="adj" fmla="val 27611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40729235-7706-2346-D3D2-53D6C5A037AE}"/>
              </a:ext>
            </a:extLst>
          </p:cNvPr>
          <p:cNvSpPr/>
          <p:nvPr/>
        </p:nvSpPr>
        <p:spPr>
          <a:xfrm rot="5400000">
            <a:off x="1335478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2FC23343-0242-E0C1-E61E-DFDF8EDBB4F2}"/>
              </a:ext>
            </a:extLst>
          </p:cNvPr>
          <p:cNvSpPr/>
          <p:nvPr/>
        </p:nvSpPr>
        <p:spPr>
          <a:xfrm rot="5400000">
            <a:off x="1780257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DAB044F4-9FCA-369D-6353-52C096264D70}"/>
              </a:ext>
            </a:extLst>
          </p:cNvPr>
          <p:cNvSpPr/>
          <p:nvPr/>
        </p:nvSpPr>
        <p:spPr>
          <a:xfrm rot="5400000">
            <a:off x="2225036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E1C04F78-2BA0-25C8-8050-7C7F7D5A923B}"/>
              </a:ext>
            </a:extLst>
          </p:cNvPr>
          <p:cNvSpPr/>
          <p:nvPr/>
        </p:nvSpPr>
        <p:spPr>
          <a:xfrm rot="5400000">
            <a:off x="2669815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58CD7D83-B22D-2F38-BC61-41322E552EC9}"/>
              </a:ext>
            </a:extLst>
          </p:cNvPr>
          <p:cNvSpPr/>
          <p:nvPr/>
        </p:nvSpPr>
        <p:spPr>
          <a:xfrm rot="5400000">
            <a:off x="3114594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>
            <a:extLst>
              <a:ext uri="{FF2B5EF4-FFF2-40B4-BE49-F238E27FC236}">
                <a16:creationId xmlns:a16="http://schemas.microsoft.com/office/drawing/2014/main" id="{0E18D4F0-71C6-171D-E1A8-1E2266FE0C91}"/>
              </a:ext>
            </a:extLst>
          </p:cNvPr>
          <p:cNvSpPr/>
          <p:nvPr/>
        </p:nvSpPr>
        <p:spPr>
          <a:xfrm rot="5400000">
            <a:off x="3559373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Скругленный прямоугольник 49">
            <a:extLst>
              <a:ext uri="{FF2B5EF4-FFF2-40B4-BE49-F238E27FC236}">
                <a16:creationId xmlns:a16="http://schemas.microsoft.com/office/drawing/2014/main" id="{12709B9D-CF4E-7906-4FC4-0F3C5305B56F}"/>
              </a:ext>
            </a:extLst>
          </p:cNvPr>
          <p:cNvSpPr/>
          <p:nvPr/>
        </p:nvSpPr>
        <p:spPr>
          <a:xfrm rot="5400000">
            <a:off x="4004152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Скругленный прямоугольник 50">
            <a:extLst>
              <a:ext uri="{FF2B5EF4-FFF2-40B4-BE49-F238E27FC236}">
                <a16:creationId xmlns:a16="http://schemas.microsoft.com/office/drawing/2014/main" id="{3A5392D6-ACBB-F9FC-D049-3630473521B5}"/>
              </a:ext>
            </a:extLst>
          </p:cNvPr>
          <p:cNvSpPr/>
          <p:nvPr/>
        </p:nvSpPr>
        <p:spPr>
          <a:xfrm rot="5400000">
            <a:off x="5338493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кругленный прямоугольник 51">
            <a:extLst>
              <a:ext uri="{FF2B5EF4-FFF2-40B4-BE49-F238E27FC236}">
                <a16:creationId xmlns:a16="http://schemas.microsoft.com/office/drawing/2014/main" id="{11D12723-F0FD-22A8-99BF-DC5808532D2F}"/>
              </a:ext>
            </a:extLst>
          </p:cNvPr>
          <p:cNvSpPr/>
          <p:nvPr/>
        </p:nvSpPr>
        <p:spPr>
          <a:xfrm rot="5400000">
            <a:off x="4893710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кругленный прямоугольник 52">
            <a:extLst>
              <a:ext uri="{FF2B5EF4-FFF2-40B4-BE49-F238E27FC236}">
                <a16:creationId xmlns:a16="http://schemas.microsoft.com/office/drawing/2014/main" id="{0ABB5716-93DA-86EF-FE2E-33EEAC68C99B}"/>
              </a:ext>
            </a:extLst>
          </p:cNvPr>
          <p:cNvSpPr/>
          <p:nvPr/>
        </p:nvSpPr>
        <p:spPr>
          <a:xfrm rot="5400000">
            <a:off x="4448931" y="-2091010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5AD49C4-4A9F-8232-D2BF-8971273A9022}"/>
              </a:ext>
            </a:extLst>
          </p:cNvPr>
          <p:cNvSpPr txBox="1"/>
          <p:nvPr/>
        </p:nvSpPr>
        <p:spPr>
          <a:xfrm>
            <a:off x="1289469" y="-1730811"/>
            <a:ext cx="5188527" cy="385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" panose="020B0305040102020103" pitchFamily="34" charset="0"/>
                <a:cs typeface="Times New Roman" panose="02020603050405020304" pitchFamily="18" charset="0"/>
              </a:rPr>
              <a:t>Азбука качественного визуала</a:t>
            </a:r>
          </a:p>
        </p:txBody>
      </p:sp>
      <p:sp useBgFill="1">
        <p:nvSpPr>
          <p:cNvPr id="70" name="Полилиния 69">
            <a:extLst>
              <a:ext uri="{FF2B5EF4-FFF2-40B4-BE49-F238E27FC236}">
                <a16:creationId xmlns:a16="http://schemas.microsoft.com/office/drawing/2014/main" id="{24DE8412-9751-DB1A-8373-40D74883F18E}"/>
              </a:ext>
            </a:extLst>
          </p:cNvPr>
          <p:cNvSpPr/>
          <p:nvPr/>
        </p:nvSpPr>
        <p:spPr>
          <a:xfrm>
            <a:off x="507862" y="-4173817"/>
            <a:ext cx="5997184" cy="3047995"/>
          </a:xfrm>
          <a:custGeom>
            <a:avLst/>
            <a:gdLst>
              <a:gd name="connsiteX0" fmla="*/ 0 w 5997184"/>
              <a:gd name="connsiteY0" fmla="*/ 0 h 3047995"/>
              <a:gd name="connsiteX1" fmla="*/ 5997184 w 5997184"/>
              <a:gd name="connsiteY1" fmla="*/ 0 h 3047995"/>
              <a:gd name="connsiteX2" fmla="*/ 5997184 w 5997184"/>
              <a:gd name="connsiteY2" fmla="*/ 2225376 h 3047995"/>
              <a:gd name="connsiteX3" fmla="*/ 5997184 w 5997184"/>
              <a:gd name="connsiteY3" fmla="*/ 2734227 h 3047995"/>
              <a:gd name="connsiteX4" fmla="*/ 5997184 w 5997184"/>
              <a:gd name="connsiteY4" fmla="*/ 3047995 h 3047995"/>
              <a:gd name="connsiteX5" fmla="*/ 0 w 5997184"/>
              <a:gd name="connsiteY5" fmla="*/ 3047995 h 304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97184" h="3047995">
                <a:moveTo>
                  <a:pt x="0" y="0"/>
                </a:moveTo>
                <a:lnTo>
                  <a:pt x="5997184" y="0"/>
                </a:lnTo>
                <a:lnTo>
                  <a:pt x="5997184" y="2225376"/>
                </a:lnTo>
                <a:lnTo>
                  <a:pt x="5997184" y="2734227"/>
                </a:lnTo>
                <a:lnTo>
                  <a:pt x="5997184" y="3047995"/>
                </a:lnTo>
                <a:lnTo>
                  <a:pt x="0" y="304799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66" name="Овал 65">
            <a:extLst>
              <a:ext uri="{FF2B5EF4-FFF2-40B4-BE49-F238E27FC236}">
                <a16:creationId xmlns:a16="http://schemas.microsoft.com/office/drawing/2014/main" id="{B44618A9-8583-E84A-F65A-4789E1495E84}"/>
              </a:ext>
            </a:extLst>
          </p:cNvPr>
          <p:cNvSpPr/>
          <p:nvPr/>
        </p:nvSpPr>
        <p:spPr>
          <a:xfrm>
            <a:off x="5520584" y="383844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id="{15F787AB-C96E-A100-E1F6-6A6DFC121336}"/>
              </a:ext>
            </a:extLst>
          </p:cNvPr>
          <p:cNvSpPr/>
          <p:nvPr/>
        </p:nvSpPr>
        <p:spPr>
          <a:xfrm>
            <a:off x="8527425" y="4115829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137D4D16-C3D3-BEB9-7BD7-FB677A4320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023" y="1321008"/>
            <a:ext cx="3709200" cy="4258277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5B228D75-5638-C675-D37E-29D197B276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50641" y="1299862"/>
            <a:ext cx="3702336" cy="4258277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B99F7806-AE3D-6FFB-3876-CC49D702D1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3607" y="1299862"/>
            <a:ext cx="3811649" cy="4258277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grpSp>
        <p:nvGrpSpPr>
          <p:cNvPr id="76" name="Группа 75">
            <a:extLst>
              <a:ext uri="{FF2B5EF4-FFF2-40B4-BE49-F238E27FC236}">
                <a16:creationId xmlns:a16="http://schemas.microsoft.com/office/drawing/2014/main" id="{6523BE7A-7CF7-426B-E607-AD17752F4AC2}"/>
              </a:ext>
            </a:extLst>
          </p:cNvPr>
          <p:cNvGrpSpPr/>
          <p:nvPr/>
        </p:nvGrpSpPr>
        <p:grpSpPr>
          <a:xfrm>
            <a:off x="212227" y="7533121"/>
            <a:ext cx="3735993" cy="963847"/>
            <a:chOff x="212227" y="5691598"/>
            <a:chExt cx="3735993" cy="963847"/>
          </a:xfrm>
        </p:grpSpPr>
        <p:sp>
          <p:nvSpPr>
            <p:cNvPr id="77" name="Rectangle: Rounded Corners 70">
              <a:extLst>
                <a:ext uri="{FF2B5EF4-FFF2-40B4-BE49-F238E27FC236}">
                  <a16:creationId xmlns:a16="http://schemas.microsoft.com/office/drawing/2014/main" id="{D24FF86D-1545-AE1A-6360-F9243A6842DA}"/>
                </a:ext>
              </a:extLst>
            </p:cNvPr>
            <p:cNvSpPr/>
            <p:nvPr/>
          </p:nvSpPr>
          <p:spPr>
            <a:xfrm rot="10800000">
              <a:off x="212227" y="5691598"/>
              <a:ext cx="3735993" cy="96384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73093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880121E4-0CBD-77A7-701B-DC10CF7FAFE4}"/>
                </a:ext>
              </a:extLst>
            </p:cNvPr>
            <p:cNvSpPr txBox="1"/>
            <p:nvPr/>
          </p:nvSpPr>
          <p:spPr>
            <a:xfrm>
              <a:off x="854673" y="5850357"/>
              <a:ext cx="24511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3600" b="1" dirty="0">
                  <a:solidFill>
                    <a:srgbClr val="620CFD"/>
                  </a:solidFill>
                  <a:latin typeface="Unbounded ExtraBold" panose="020B0305040102020103" pitchFamily="34" charset="0"/>
                </a:rPr>
                <a:t>64 000</a:t>
              </a:r>
            </a:p>
          </p:txBody>
        </p:sp>
      </p:grpSp>
      <p:grpSp>
        <p:nvGrpSpPr>
          <p:cNvPr id="79" name="Группа 78">
            <a:extLst>
              <a:ext uri="{FF2B5EF4-FFF2-40B4-BE49-F238E27FC236}">
                <a16:creationId xmlns:a16="http://schemas.microsoft.com/office/drawing/2014/main" id="{8AE7BE91-79C6-DF9F-86C3-C006651CBFCC}"/>
              </a:ext>
            </a:extLst>
          </p:cNvPr>
          <p:cNvGrpSpPr/>
          <p:nvPr/>
        </p:nvGrpSpPr>
        <p:grpSpPr>
          <a:xfrm>
            <a:off x="4221287" y="7533121"/>
            <a:ext cx="3735993" cy="963847"/>
            <a:chOff x="212227" y="5691598"/>
            <a:chExt cx="3735993" cy="963847"/>
          </a:xfrm>
        </p:grpSpPr>
        <p:sp>
          <p:nvSpPr>
            <p:cNvPr id="80" name="Rectangle: Rounded Corners 70">
              <a:extLst>
                <a:ext uri="{FF2B5EF4-FFF2-40B4-BE49-F238E27FC236}">
                  <a16:creationId xmlns:a16="http://schemas.microsoft.com/office/drawing/2014/main" id="{30451198-7AC0-D8B9-6B2D-CFC9EAEE9AA5}"/>
                </a:ext>
              </a:extLst>
            </p:cNvPr>
            <p:cNvSpPr/>
            <p:nvPr/>
          </p:nvSpPr>
          <p:spPr>
            <a:xfrm rot="10800000">
              <a:off x="212227" y="5691598"/>
              <a:ext cx="3735993" cy="96384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73093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CBF3B158-162D-D2A2-14D7-8909B069E648}"/>
                </a:ext>
              </a:extLst>
            </p:cNvPr>
            <p:cNvSpPr txBox="1"/>
            <p:nvPr/>
          </p:nvSpPr>
          <p:spPr>
            <a:xfrm>
              <a:off x="613084" y="5850357"/>
              <a:ext cx="293427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3600" b="1" dirty="0">
                  <a:solidFill>
                    <a:srgbClr val="620CFD"/>
                  </a:solidFill>
                  <a:latin typeface="Unbounded ExtraBold" panose="020B0305040102020103" pitchFamily="34" charset="0"/>
                </a:rPr>
                <a:t>106 700</a:t>
              </a:r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B69CC2ED-FFE7-BF00-49B4-40E3B76CF498}"/>
              </a:ext>
            </a:extLst>
          </p:cNvPr>
          <p:cNvGrpSpPr/>
          <p:nvPr/>
        </p:nvGrpSpPr>
        <p:grpSpPr>
          <a:xfrm>
            <a:off x="8233812" y="7533121"/>
            <a:ext cx="3735993" cy="963847"/>
            <a:chOff x="212227" y="5691598"/>
            <a:chExt cx="3735993" cy="963847"/>
          </a:xfrm>
        </p:grpSpPr>
        <p:sp>
          <p:nvSpPr>
            <p:cNvPr id="83" name="Rectangle: Rounded Corners 70">
              <a:extLst>
                <a:ext uri="{FF2B5EF4-FFF2-40B4-BE49-F238E27FC236}">
                  <a16:creationId xmlns:a16="http://schemas.microsoft.com/office/drawing/2014/main" id="{6222BCF8-B0F4-4011-EB63-F1D21D934706}"/>
                </a:ext>
              </a:extLst>
            </p:cNvPr>
            <p:cNvSpPr/>
            <p:nvPr/>
          </p:nvSpPr>
          <p:spPr>
            <a:xfrm rot="10800000">
              <a:off x="212227" y="5691598"/>
              <a:ext cx="3735993" cy="96384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73093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30B49550-07A6-B8C6-2D06-6F401072F9A2}"/>
                </a:ext>
              </a:extLst>
            </p:cNvPr>
            <p:cNvSpPr txBox="1"/>
            <p:nvPr/>
          </p:nvSpPr>
          <p:spPr>
            <a:xfrm>
              <a:off x="613084" y="5850357"/>
              <a:ext cx="293427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3600" b="1" dirty="0">
                  <a:solidFill>
                    <a:srgbClr val="620CFD"/>
                  </a:solidFill>
                  <a:latin typeface="Unbounded ExtraBold" panose="020B0305040102020103" pitchFamily="34" charset="0"/>
                </a:rPr>
                <a:t>75 200</a:t>
              </a:r>
            </a:p>
          </p:txBody>
        </p:sp>
      </p:grpSp>
      <p:sp>
        <p:nvSpPr>
          <p:cNvPr id="98" name="Полилиния 97">
            <a:extLst>
              <a:ext uri="{FF2B5EF4-FFF2-40B4-BE49-F238E27FC236}">
                <a16:creationId xmlns:a16="http://schemas.microsoft.com/office/drawing/2014/main" id="{79F9326B-DC32-6FCD-3D5D-C78FC70747E0}"/>
              </a:ext>
            </a:extLst>
          </p:cNvPr>
          <p:cNvSpPr/>
          <p:nvPr/>
        </p:nvSpPr>
        <p:spPr>
          <a:xfrm>
            <a:off x="239022" y="1321008"/>
            <a:ext cx="3682879" cy="4258277"/>
          </a:xfrm>
          <a:custGeom>
            <a:avLst/>
            <a:gdLst>
              <a:gd name="connsiteX0" fmla="*/ 3420091 w 3682879"/>
              <a:gd name="connsiteY0" fmla="*/ 3574688 h 4258277"/>
              <a:gd name="connsiteX1" fmla="*/ 3197701 w 3682879"/>
              <a:gd name="connsiteY1" fmla="*/ 3797078 h 4258277"/>
              <a:gd name="connsiteX2" fmla="*/ 3420091 w 3682879"/>
              <a:gd name="connsiteY2" fmla="*/ 4019468 h 4258277"/>
              <a:gd name="connsiteX3" fmla="*/ 3642481 w 3682879"/>
              <a:gd name="connsiteY3" fmla="*/ 3797078 h 4258277"/>
              <a:gd name="connsiteX4" fmla="*/ 3420091 w 3682879"/>
              <a:gd name="connsiteY4" fmla="*/ 3574688 h 4258277"/>
              <a:gd name="connsiteX5" fmla="*/ 227344 w 3682879"/>
              <a:gd name="connsiteY5" fmla="*/ 0 h 4258277"/>
              <a:gd name="connsiteX6" fmla="*/ 3455535 w 3682879"/>
              <a:gd name="connsiteY6" fmla="*/ 0 h 4258277"/>
              <a:gd name="connsiteX7" fmla="*/ 3682879 w 3682879"/>
              <a:gd name="connsiteY7" fmla="*/ 227344 h 4258277"/>
              <a:gd name="connsiteX8" fmla="*/ 3682879 w 3682879"/>
              <a:gd name="connsiteY8" fmla="*/ 4030933 h 4258277"/>
              <a:gd name="connsiteX9" fmla="*/ 3455535 w 3682879"/>
              <a:gd name="connsiteY9" fmla="*/ 4258277 h 4258277"/>
              <a:gd name="connsiteX10" fmla="*/ 227344 w 3682879"/>
              <a:gd name="connsiteY10" fmla="*/ 4258277 h 4258277"/>
              <a:gd name="connsiteX11" fmla="*/ 0 w 3682879"/>
              <a:gd name="connsiteY11" fmla="*/ 4030933 h 4258277"/>
              <a:gd name="connsiteX12" fmla="*/ 0 w 3682879"/>
              <a:gd name="connsiteY12" fmla="*/ 227344 h 4258277"/>
              <a:gd name="connsiteX13" fmla="*/ 227344 w 3682879"/>
              <a:gd name="connsiteY13" fmla="*/ 0 h 4258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682879" h="4258277">
                <a:moveTo>
                  <a:pt x="3420091" y="3574688"/>
                </a:moveTo>
                <a:cubicBezTo>
                  <a:pt x="3297268" y="3574688"/>
                  <a:pt x="3197701" y="3674255"/>
                  <a:pt x="3197701" y="3797078"/>
                </a:cubicBezTo>
                <a:cubicBezTo>
                  <a:pt x="3197701" y="3919901"/>
                  <a:pt x="3297268" y="4019468"/>
                  <a:pt x="3420091" y="4019468"/>
                </a:cubicBezTo>
                <a:cubicBezTo>
                  <a:pt x="3542914" y="4019468"/>
                  <a:pt x="3642481" y="3919901"/>
                  <a:pt x="3642481" y="3797078"/>
                </a:cubicBezTo>
                <a:cubicBezTo>
                  <a:pt x="3642481" y="3674255"/>
                  <a:pt x="3542914" y="3574688"/>
                  <a:pt x="3420091" y="3574688"/>
                </a:cubicBezTo>
                <a:close/>
                <a:moveTo>
                  <a:pt x="227344" y="0"/>
                </a:moveTo>
                <a:lnTo>
                  <a:pt x="3455535" y="0"/>
                </a:lnTo>
                <a:cubicBezTo>
                  <a:pt x="3581094" y="0"/>
                  <a:pt x="3682879" y="101785"/>
                  <a:pt x="3682879" y="227344"/>
                </a:cubicBezTo>
                <a:lnTo>
                  <a:pt x="3682879" y="4030933"/>
                </a:lnTo>
                <a:cubicBezTo>
                  <a:pt x="3682879" y="4156492"/>
                  <a:pt x="3581094" y="4258277"/>
                  <a:pt x="3455535" y="4258277"/>
                </a:cubicBezTo>
                <a:lnTo>
                  <a:pt x="227344" y="4258277"/>
                </a:lnTo>
                <a:cubicBezTo>
                  <a:pt x="101785" y="4258277"/>
                  <a:pt x="0" y="4156492"/>
                  <a:pt x="0" y="4030933"/>
                </a:cubicBezTo>
                <a:lnTo>
                  <a:pt x="0" y="227344"/>
                </a:lnTo>
                <a:cubicBezTo>
                  <a:pt x="0" y="101785"/>
                  <a:pt x="101785" y="0"/>
                  <a:pt x="227344" y="0"/>
                </a:cubicBezTo>
                <a:close/>
              </a:path>
            </a:pathLst>
          </a:custGeom>
          <a:solidFill>
            <a:srgbClr val="620CFD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99" name="Полилиния 98">
            <a:extLst>
              <a:ext uri="{FF2B5EF4-FFF2-40B4-BE49-F238E27FC236}">
                <a16:creationId xmlns:a16="http://schemas.microsoft.com/office/drawing/2014/main" id="{692DB472-F079-07FB-4D8E-B538FBD47EBA}"/>
              </a:ext>
            </a:extLst>
          </p:cNvPr>
          <p:cNvSpPr/>
          <p:nvPr/>
        </p:nvSpPr>
        <p:spPr>
          <a:xfrm>
            <a:off x="4193607" y="1297966"/>
            <a:ext cx="3811649" cy="4281319"/>
          </a:xfrm>
          <a:custGeom>
            <a:avLst/>
            <a:gdLst>
              <a:gd name="connsiteX0" fmla="*/ 235293 w 3811649"/>
              <a:gd name="connsiteY0" fmla="*/ 0 h 4281319"/>
              <a:gd name="connsiteX1" fmla="*/ 3576356 w 3811649"/>
              <a:gd name="connsiteY1" fmla="*/ 0 h 4281319"/>
              <a:gd name="connsiteX2" fmla="*/ 3811649 w 3811649"/>
              <a:gd name="connsiteY2" fmla="*/ 235293 h 4281319"/>
              <a:gd name="connsiteX3" fmla="*/ 3811649 w 3811649"/>
              <a:gd name="connsiteY3" fmla="*/ 4046026 h 4281319"/>
              <a:gd name="connsiteX4" fmla="*/ 3742734 w 3811649"/>
              <a:gd name="connsiteY4" fmla="*/ 4212404 h 4281319"/>
              <a:gd name="connsiteX5" fmla="*/ 3697594 w 3811649"/>
              <a:gd name="connsiteY5" fmla="*/ 4242838 h 4281319"/>
              <a:gd name="connsiteX6" fmla="*/ 3707454 w 3811649"/>
              <a:gd name="connsiteY6" fmla="*/ 4224672 h 4281319"/>
              <a:gd name="connsiteX7" fmla="*/ 3726128 w 3811649"/>
              <a:gd name="connsiteY7" fmla="*/ 4132175 h 4281319"/>
              <a:gd name="connsiteX8" fmla="*/ 3488497 w 3811649"/>
              <a:gd name="connsiteY8" fmla="*/ 3894544 h 4281319"/>
              <a:gd name="connsiteX9" fmla="*/ 3250866 w 3811649"/>
              <a:gd name="connsiteY9" fmla="*/ 4132175 h 4281319"/>
              <a:gd name="connsiteX10" fmla="*/ 3291450 w 3811649"/>
              <a:gd name="connsiteY10" fmla="*/ 4265037 h 4281319"/>
              <a:gd name="connsiteX11" fmla="*/ 3304884 w 3811649"/>
              <a:gd name="connsiteY11" fmla="*/ 4281319 h 4281319"/>
              <a:gd name="connsiteX12" fmla="*/ 235293 w 3811649"/>
              <a:gd name="connsiteY12" fmla="*/ 4281319 h 4281319"/>
              <a:gd name="connsiteX13" fmla="*/ 0 w 3811649"/>
              <a:gd name="connsiteY13" fmla="*/ 4046026 h 4281319"/>
              <a:gd name="connsiteX14" fmla="*/ 0 w 3811649"/>
              <a:gd name="connsiteY14" fmla="*/ 235293 h 4281319"/>
              <a:gd name="connsiteX15" fmla="*/ 235293 w 3811649"/>
              <a:gd name="connsiteY15" fmla="*/ 0 h 4281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811649" h="4281319">
                <a:moveTo>
                  <a:pt x="235293" y="0"/>
                </a:moveTo>
                <a:lnTo>
                  <a:pt x="3576356" y="0"/>
                </a:lnTo>
                <a:cubicBezTo>
                  <a:pt x="3706305" y="0"/>
                  <a:pt x="3811649" y="105344"/>
                  <a:pt x="3811649" y="235293"/>
                </a:cubicBezTo>
                <a:lnTo>
                  <a:pt x="3811649" y="4046026"/>
                </a:lnTo>
                <a:cubicBezTo>
                  <a:pt x="3811649" y="4111001"/>
                  <a:pt x="3785313" y="4169824"/>
                  <a:pt x="3742734" y="4212404"/>
                </a:cubicBezTo>
                <a:lnTo>
                  <a:pt x="3697594" y="4242838"/>
                </a:lnTo>
                <a:lnTo>
                  <a:pt x="3707454" y="4224672"/>
                </a:lnTo>
                <a:cubicBezTo>
                  <a:pt x="3719479" y="4196242"/>
                  <a:pt x="3726128" y="4164985"/>
                  <a:pt x="3726128" y="4132175"/>
                </a:cubicBezTo>
                <a:cubicBezTo>
                  <a:pt x="3726128" y="4000935"/>
                  <a:pt x="3619737" y="3894544"/>
                  <a:pt x="3488497" y="3894544"/>
                </a:cubicBezTo>
                <a:cubicBezTo>
                  <a:pt x="3357257" y="3894544"/>
                  <a:pt x="3250866" y="4000935"/>
                  <a:pt x="3250866" y="4132175"/>
                </a:cubicBezTo>
                <a:cubicBezTo>
                  <a:pt x="3250866" y="4181390"/>
                  <a:pt x="3265827" y="4227111"/>
                  <a:pt x="3291450" y="4265037"/>
                </a:cubicBezTo>
                <a:lnTo>
                  <a:pt x="3304884" y="4281319"/>
                </a:lnTo>
                <a:lnTo>
                  <a:pt x="235293" y="4281319"/>
                </a:lnTo>
                <a:cubicBezTo>
                  <a:pt x="105344" y="4281319"/>
                  <a:pt x="0" y="4175975"/>
                  <a:pt x="0" y="4046026"/>
                </a:cubicBezTo>
                <a:lnTo>
                  <a:pt x="0" y="235293"/>
                </a:lnTo>
                <a:cubicBezTo>
                  <a:pt x="0" y="105344"/>
                  <a:pt x="105344" y="0"/>
                  <a:pt x="235293" y="0"/>
                </a:cubicBezTo>
                <a:close/>
              </a:path>
            </a:pathLst>
          </a:custGeom>
          <a:solidFill>
            <a:srgbClr val="620CFD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00" name="Полилиния 99">
            <a:extLst>
              <a:ext uri="{FF2B5EF4-FFF2-40B4-BE49-F238E27FC236}">
                <a16:creationId xmlns:a16="http://schemas.microsoft.com/office/drawing/2014/main" id="{2D70B305-FE7D-5E69-1ED3-312C8E273A8D}"/>
              </a:ext>
            </a:extLst>
          </p:cNvPr>
          <p:cNvSpPr/>
          <p:nvPr/>
        </p:nvSpPr>
        <p:spPr>
          <a:xfrm>
            <a:off x="8250640" y="1297966"/>
            <a:ext cx="3702337" cy="4281319"/>
          </a:xfrm>
          <a:custGeom>
            <a:avLst/>
            <a:gdLst>
              <a:gd name="connsiteX0" fmla="*/ 228545 w 3702337"/>
              <a:gd name="connsiteY0" fmla="*/ 0 h 4281319"/>
              <a:gd name="connsiteX1" fmla="*/ 3473792 w 3702337"/>
              <a:gd name="connsiteY1" fmla="*/ 0 h 4281319"/>
              <a:gd name="connsiteX2" fmla="*/ 3702337 w 3702337"/>
              <a:gd name="connsiteY2" fmla="*/ 228545 h 4281319"/>
              <a:gd name="connsiteX3" fmla="*/ 3702337 w 3702337"/>
              <a:gd name="connsiteY3" fmla="*/ 4052774 h 4281319"/>
              <a:gd name="connsiteX4" fmla="*/ 3635398 w 3702337"/>
              <a:gd name="connsiteY4" fmla="*/ 4214380 h 4281319"/>
              <a:gd name="connsiteX5" fmla="*/ 3589723 w 3702337"/>
              <a:gd name="connsiteY5" fmla="*/ 4245175 h 4281319"/>
              <a:gd name="connsiteX6" fmla="*/ 3592579 w 3702337"/>
              <a:gd name="connsiteY6" fmla="*/ 4239913 h 4281319"/>
              <a:gd name="connsiteX7" fmla="*/ 3611253 w 3702337"/>
              <a:gd name="connsiteY7" fmla="*/ 4147416 h 4281319"/>
              <a:gd name="connsiteX8" fmla="*/ 3373622 w 3702337"/>
              <a:gd name="connsiteY8" fmla="*/ 3909785 h 4281319"/>
              <a:gd name="connsiteX9" fmla="*/ 3135991 w 3702337"/>
              <a:gd name="connsiteY9" fmla="*/ 4147416 h 4281319"/>
              <a:gd name="connsiteX10" fmla="*/ 3176575 w 3702337"/>
              <a:gd name="connsiteY10" fmla="*/ 4280278 h 4281319"/>
              <a:gd name="connsiteX11" fmla="*/ 3177434 w 3702337"/>
              <a:gd name="connsiteY11" fmla="*/ 4281319 h 4281319"/>
              <a:gd name="connsiteX12" fmla="*/ 228545 w 3702337"/>
              <a:gd name="connsiteY12" fmla="*/ 4281319 h 4281319"/>
              <a:gd name="connsiteX13" fmla="*/ 0 w 3702337"/>
              <a:gd name="connsiteY13" fmla="*/ 4052774 h 4281319"/>
              <a:gd name="connsiteX14" fmla="*/ 0 w 3702337"/>
              <a:gd name="connsiteY14" fmla="*/ 228545 h 4281319"/>
              <a:gd name="connsiteX15" fmla="*/ 228545 w 3702337"/>
              <a:gd name="connsiteY15" fmla="*/ 0 h 4281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702337" h="4281319">
                <a:moveTo>
                  <a:pt x="228545" y="0"/>
                </a:moveTo>
                <a:lnTo>
                  <a:pt x="3473792" y="0"/>
                </a:lnTo>
                <a:cubicBezTo>
                  <a:pt x="3600014" y="0"/>
                  <a:pt x="3702337" y="102323"/>
                  <a:pt x="3702337" y="228545"/>
                </a:cubicBezTo>
                <a:lnTo>
                  <a:pt x="3702337" y="4052774"/>
                </a:lnTo>
                <a:cubicBezTo>
                  <a:pt x="3702337" y="4115885"/>
                  <a:pt x="3676756" y="4173021"/>
                  <a:pt x="3635398" y="4214380"/>
                </a:cubicBezTo>
                <a:lnTo>
                  <a:pt x="3589723" y="4245175"/>
                </a:lnTo>
                <a:lnTo>
                  <a:pt x="3592579" y="4239913"/>
                </a:lnTo>
                <a:cubicBezTo>
                  <a:pt x="3604604" y="4211483"/>
                  <a:pt x="3611253" y="4180226"/>
                  <a:pt x="3611253" y="4147416"/>
                </a:cubicBezTo>
                <a:cubicBezTo>
                  <a:pt x="3611253" y="4016176"/>
                  <a:pt x="3504862" y="3909785"/>
                  <a:pt x="3373622" y="3909785"/>
                </a:cubicBezTo>
                <a:cubicBezTo>
                  <a:pt x="3242382" y="3909785"/>
                  <a:pt x="3135991" y="4016176"/>
                  <a:pt x="3135991" y="4147416"/>
                </a:cubicBezTo>
                <a:cubicBezTo>
                  <a:pt x="3135991" y="4196631"/>
                  <a:pt x="3150952" y="4242352"/>
                  <a:pt x="3176575" y="4280278"/>
                </a:cubicBezTo>
                <a:lnTo>
                  <a:pt x="3177434" y="4281319"/>
                </a:lnTo>
                <a:lnTo>
                  <a:pt x="228545" y="4281319"/>
                </a:lnTo>
                <a:cubicBezTo>
                  <a:pt x="102323" y="4281319"/>
                  <a:pt x="0" y="4178996"/>
                  <a:pt x="0" y="4052774"/>
                </a:cubicBezTo>
                <a:lnTo>
                  <a:pt x="0" y="228545"/>
                </a:lnTo>
                <a:cubicBezTo>
                  <a:pt x="0" y="102323"/>
                  <a:pt x="102323" y="0"/>
                  <a:pt x="228545" y="0"/>
                </a:cubicBezTo>
                <a:close/>
              </a:path>
            </a:pathLst>
          </a:custGeom>
          <a:solidFill>
            <a:srgbClr val="620CFD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1548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3000" fill="hold"/>
                                        <p:tgtEl>
                                          <p:spTgt spid="1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8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5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8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2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8" dur="8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" dur="5000" fill="hold"/>
                                        <p:tgtEl>
                                          <p:spTgt spid="2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2" dur="8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3000" fill="hold"/>
                                        <p:tgtEl>
                                          <p:spTgt spid="2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6" dur="8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2000" fill="hold"/>
                                        <p:tgtEl>
                                          <p:spTgt spid="2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0" dur="8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5000" fill="hold"/>
                                        <p:tgtEl>
                                          <p:spTgt spid="3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4" dur="3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6" dur="5000" fill="hold"/>
                                        <p:tgtEl>
                                          <p:spTgt spid="3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8" dur="8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0" dur="2000" fill="hold"/>
                                        <p:tgtEl>
                                          <p:spTgt spid="3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2" dur="5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4" dur="2000" fill="hold"/>
                                        <p:tgtEl>
                                          <p:spTgt spid="3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6" dur="8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8" dur="3000" fill="hold"/>
                                        <p:tgtEl>
                                          <p:spTgt spid="2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0" dur="5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2" dur="3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4" dur="8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6" dur="5000" fill="hold"/>
                                        <p:tgtEl>
                                          <p:spTgt spid="2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8" dur="8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0" dur="5000" fill="hold"/>
                                        <p:tgtEl>
                                          <p:spTgt spid="6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2" dur="8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4" dur="5000" fill="hold"/>
                                        <p:tgtEl>
                                          <p:spTgt spid="6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15" grpId="0" animBg="1"/>
      <p:bldP spid="15" grpId="1" animBg="1"/>
      <p:bldP spid="26" grpId="0" animBg="1"/>
      <p:bldP spid="26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6" grpId="0" animBg="1"/>
      <p:bldP spid="36" grpId="1" animBg="1"/>
      <p:bldP spid="27" grpId="0" animBg="1"/>
      <p:bldP spid="27" grpId="1" animBg="1"/>
      <p:bldP spid="28" grpId="0" animBg="1"/>
      <p:bldP spid="28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4" grpId="1" animBg="1"/>
      <p:bldP spid="66" grpId="0" animBg="1"/>
      <p:bldP spid="66" grpId="1" animBg="1"/>
      <p:bldP spid="67" grpId="0" animBg="1"/>
      <p:bldP spid="67" grpId="1" animBg="1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!!10">
            <a:extLst>
              <a:ext uri="{FF2B5EF4-FFF2-40B4-BE49-F238E27FC236}">
                <a16:creationId xmlns:a16="http://schemas.microsoft.com/office/drawing/2014/main" id="{E53B8E41-42E0-7E42-881A-F133F990B9FF}"/>
              </a:ext>
            </a:extLst>
          </p:cNvPr>
          <p:cNvSpPr/>
          <p:nvPr/>
        </p:nvSpPr>
        <p:spPr>
          <a:xfrm>
            <a:off x="309" y="0"/>
            <a:ext cx="12190589" cy="6857206"/>
          </a:xfrm>
          <a:prstGeom prst="rect">
            <a:avLst/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D6060DB4-0F01-0B4C-9220-FA022056DB40}"/>
              </a:ext>
            </a:extLst>
          </p:cNvPr>
          <p:cNvSpPr/>
          <p:nvPr/>
        </p:nvSpPr>
        <p:spPr>
          <a:xfrm>
            <a:off x="1384596" y="131497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6FC6CD61-C8E2-1840-B545-18445EFDEB81}"/>
              </a:ext>
            </a:extLst>
          </p:cNvPr>
          <p:cNvSpPr/>
          <p:nvPr/>
        </p:nvSpPr>
        <p:spPr>
          <a:xfrm>
            <a:off x="-703394" y="-562001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C71B5425-872C-DD41-8B9E-F1798F09F6E7}"/>
              </a:ext>
            </a:extLst>
          </p:cNvPr>
          <p:cNvSpPr/>
          <p:nvPr/>
        </p:nvSpPr>
        <p:spPr>
          <a:xfrm>
            <a:off x="4660581" y="132408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310D618A-B4B7-034E-B73A-C121C1C0BE50}"/>
              </a:ext>
            </a:extLst>
          </p:cNvPr>
          <p:cNvSpPr/>
          <p:nvPr/>
        </p:nvSpPr>
        <p:spPr>
          <a:xfrm>
            <a:off x="5792288" y="-53818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6C40936F-D36D-FA48-A8C3-7BA561AC4874}"/>
              </a:ext>
            </a:extLst>
          </p:cNvPr>
          <p:cNvSpPr/>
          <p:nvPr/>
        </p:nvSpPr>
        <p:spPr>
          <a:xfrm>
            <a:off x="11099977" y="1309990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613DA252-4CF3-C744-9A08-DADA0FE63D2A}"/>
              </a:ext>
            </a:extLst>
          </p:cNvPr>
          <p:cNvSpPr/>
          <p:nvPr/>
        </p:nvSpPr>
        <p:spPr>
          <a:xfrm>
            <a:off x="9011986" y="-566982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FFECE060-9699-E144-AC26-9BF9717D9003}"/>
              </a:ext>
            </a:extLst>
          </p:cNvPr>
          <p:cNvSpPr/>
          <p:nvPr/>
        </p:nvSpPr>
        <p:spPr>
          <a:xfrm>
            <a:off x="-975099" y="381462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488C54A6-E50D-284F-A23A-3C1FE397932D}"/>
              </a:ext>
            </a:extLst>
          </p:cNvPr>
          <p:cNvSpPr/>
          <p:nvPr/>
        </p:nvSpPr>
        <p:spPr>
          <a:xfrm>
            <a:off x="-1563397" y="1596492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15DD9C33-2ACE-9249-93D1-504E86586B24}"/>
              </a:ext>
            </a:extLst>
          </p:cNvPr>
          <p:cNvSpPr/>
          <p:nvPr/>
        </p:nvSpPr>
        <p:spPr>
          <a:xfrm>
            <a:off x="2572591" y="-55288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02BC4B67-72BC-394B-839C-35E53E97C3A2}"/>
              </a:ext>
            </a:extLst>
          </p:cNvPr>
          <p:cNvSpPr/>
          <p:nvPr/>
        </p:nvSpPr>
        <p:spPr>
          <a:xfrm>
            <a:off x="7880279" y="1338788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88B7C0BF-4578-AE42-A26E-E310C95FFA6A}"/>
              </a:ext>
            </a:extLst>
          </p:cNvPr>
          <p:cNvSpPr/>
          <p:nvPr/>
        </p:nvSpPr>
        <p:spPr>
          <a:xfrm>
            <a:off x="2088030" y="4129927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0A138D62-A848-C647-A10B-CDD14293FDFF}"/>
              </a:ext>
            </a:extLst>
          </p:cNvPr>
          <p:cNvSpPr/>
          <p:nvPr/>
        </p:nvSpPr>
        <p:spPr>
          <a:xfrm>
            <a:off x="4443032" y="79009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67C7B3F4-4796-364E-9F51-78443E67CFAD}"/>
              </a:ext>
            </a:extLst>
          </p:cNvPr>
          <p:cNvSpPr/>
          <p:nvPr/>
        </p:nvSpPr>
        <p:spPr>
          <a:xfrm>
            <a:off x="9968269" y="597781"/>
            <a:ext cx="1209534" cy="1209534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B89AB418-25DE-E327-3380-7F729284034C}"/>
              </a:ext>
            </a:extLst>
          </p:cNvPr>
          <p:cNvGrpSpPr/>
          <p:nvPr/>
        </p:nvGrpSpPr>
        <p:grpSpPr>
          <a:xfrm>
            <a:off x="5004650" y="601082"/>
            <a:ext cx="2182701" cy="278215"/>
            <a:chOff x="623888" y="601082"/>
            <a:chExt cx="2182701" cy="278215"/>
          </a:xfrm>
        </p:grpSpPr>
        <p:grpSp>
          <p:nvGrpSpPr>
            <p:cNvPr id="40" name="Группа 39">
              <a:extLst>
                <a:ext uri="{FF2B5EF4-FFF2-40B4-BE49-F238E27FC236}">
                  <a16:creationId xmlns:a16="http://schemas.microsoft.com/office/drawing/2014/main" id="{A8DFA698-38E6-03BB-332C-E1CF55AA2EA3}"/>
                </a:ext>
              </a:extLst>
            </p:cNvPr>
            <p:cNvGrpSpPr/>
            <p:nvPr/>
          </p:nvGrpSpPr>
          <p:grpSpPr>
            <a:xfrm>
              <a:off x="623888" y="601082"/>
              <a:ext cx="537898" cy="278215"/>
              <a:chOff x="1155842" y="601082"/>
              <a:chExt cx="537898" cy="278215"/>
            </a:xfrm>
            <a:solidFill>
              <a:schemeClr val="bg1"/>
            </a:solidFill>
          </p:grpSpPr>
          <p:sp>
            <p:nvSpPr>
              <p:cNvPr id="8" name="Полилиния 7">
                <a:extLst>
                  <a:ext uri="{FF2B5EF4-FFF2-40B4-BE49-F238E27FC236}">
                    <a16:creationId xmlns:a16="http://schemas.microsoft.com/office/drawing/2014/main" id="{5A60490B-4325-0161-B20C-B88B12AE90BB}"/>
                  </a:ext>
                </a:extLst>
              </p:cNvPr>
              <p:cNvSpPr/>
              <p:nvPr/>
            </p:nvSpPr>
            <p:spPr>
              <a:xfrm>
                <a:off x="1155842" y="601082"/>
                <a:ext cx="537898" cy="278215"/>
              </a:xfrm>
              <a:custGeom>
                <a:avLst/>
                <a:gdLst>
                  <a:gd name="connsiteX0" fmla="*/ 1188061 w 1215135"/>
                  <a:gd name="connsiteY0" fmla="*/ 3870 h 628500"/>
                  <a:gd name="connsiteX1" fmla="*/ 1188061 w 1215135"/>
                  <a:gd name="connsiteY1" fmla="*/ 3870 h 628500"/>
                  <a:gd name="connsiteX2" fmla="*/ 1129041 w 1215135"/>
                  <a:gd name="connsiteY2" fmla="*/ 25384 h 628500"/>
                  <a:gd name="connsiteX3" fmla="*/ 920947 w 1215135"/>
                  <a:gd name="connsiteY3" fmla="*/ 439097 h 628500"/>
                  <a:gd name="connsiteX4" fmla="*/ 845458 w 1215135"/>
                  <a:gd name="connsiteY4" fmla="*/ 516585 h 628500"/>
                  <a:gd name="connsiteX5" fmla="*/ 738841 w 1215135"/>
                  <a:gd name="connsiteY5" fmla="*/ 473462 h 628500"/>
                  <a:gd name="connsiteX6" fmla="*/ 562541 w 1215135"/>
                  <a:gd name="connsiteY6" fmla="*/ 119435 h 628500"/>
                  <a:gd name="connsiteX7" fmla="*/ 384528 w 1215135"/>
                  <a:gd name="connsiteY7" fmla="*/ 348 h 628500"/>
                  <a:gd name="connsiteX8" fmla="*/ 219652 w 1215135"/>
                  <a:gd name="connsiteY8" fmla="*/ 136570 h 628500"/>
                  <a:gd name="connsiteX9" fmla="*/ 6037 w 1215135"/>
                  <a:gd name="connsiteY9" fmla="*/ 560564 h 628500"/>
                  <a:gd name="connsiteX10" fmla="*/ 27075 w 1215135"/>
                  <a:gd name="connsiteY10" fmla="*/ 624630 h 628500"/>
                  <a:gd name="connsiteX11" fmla="*/ 86095 w 1215135"/>
                  <a:gd name="connsiteY11" fmla="*/ 603116 h 628500"/>
                  <a:gd name="connsiteX12" fmla="*/ 294189 w 1215135"/>
                  <a:gd name="connsiteY12" fmla="*/ 189403 h 628500"/>
                  <a:gd name="connsiteX13" fmla="*/ 369678 w 1215135"/>
                  <a:gd name="connsiteY13" fmla="*/ 111915 h 628500"/>
                  <a:gd name="connsiteX14" fmla="*/ 476295 w 1215135"/>
                  <a:gd name="connsiteY14" fmla="*/ 155038 h 628500"/>
                  <a:gd name="connsiteX15" fmla="*/ 652785 w 1215135"/>
                  <a:gd name="connsiteY15" fmla="*/ 509826 h 628500"/>
                  <a:gd name="connsiteX16" fmla="*/ 817947 w 1215135"/>
                  <a:gd name="connsiteY16" fmla="*/ 628438 h 628500"/>
                  <a:gd name="connsiteX17" fmla="*/ 830607 w 1215135"/>
                  <a:gd name="connsiteY17" fmla="*/ 628152 h 628500"/>
                  <a:gd name="connsiteX18" fmla="*/ 995484 w 1215135"/>
                  <a:gd name="connsiteY18" fmla="*/ 491930 h 628500"/>
                  <a:gd name="connsiteX19" fmla="*/ 1209099 w 1215135"/>
                  <a:gd name="connsiteY19" fmla="*/ 67936 h 628500"/>
                  <a:gd name="connsiteX20" fmla="*/ 1188061 w 1215135"/>
                  <a:gd name="connsiteY20" fmla="*/ 3870 h 628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15135" h="628500">
                    <a:moveTo>
                      <a:pt x="1188061" y="3870"/>
                    </a:moveTo>
                    <a:lnTo>
                      <a:pt x="1188061" y="3870"/>
                    </a:lnTo>
                    <a:cubicBezTo>
                      <a:pt x="1165786" y="-5935"/>
                      <a:pt x="1139798" y="3489"/>
                      <a:pt x="1129041" y="25384"/>
                    </a:cubicBezTo>
                    <a:cubicBezTo>
                      <a:pt x="1073733" y="138189"/>
                      <a:pt x="963498" y="349329"/>
                      <a:pt x="920947" y="439097"/>
                    </a:cubicBezTo>
                    <a:cubicBezTo>
                      <a:pt x="902765" y="477460"/>
                      <a:pt x="878776" y="506113"/>
                      <a:pt x="845458" y="516585"/>
                    </a:cubicBezTo>
                    <a:cubicBezTo>
                      <a:pt x="804239" y="529531"/>
                      <a:pt x="766542" y="517727"/>
                      <a:pt x="738841" y="473462"/>
                    </a:cubicBezTo>
                    <a:cubicBezTo>
                      <a:pt x="715899" y="436717"/>
                      <a:pt x="562541" y="119435"/>
                      <a:pt x="562541" y="119435"/>
                    </a:cubicBezTo>
                    <a:cubicBezTo>
                      <a:pt x="519609" y="39473"/>
                      <a:pt x="460398" y="-4126"/>
                      <a:pt x="384528" y="348"/>
                    </a:cubicBezTo>
                    <a:cubicBezTo>
                      <a:pt x="311324" y="4536"/>
                      <a:pt x="258492" y="56988"/>
                      <a:pt x="219652" y="136570"/>
                    </a:cubicBezTo>
                    <a:cubicBezTo>
                      <a:pt x="173103" y="231955"/>
                      <a:pt x="31168" y="516870"/>
                      <a:pt x="6037" y="560564"/>
                    </a:cubicBezTo>
                    <a:cubicBezTo>
                      <a:pt x="-7385" y="583887"/>
                      <a:pt x="2420" y="613778"/>
                      <a:pt x="27075" y="624630"/>
                    </a:cubicBezTo>
                    <a:cubicBezTo>
                      <a:pt x="49350" y="634435"/>
                      <a:pt x="75338" y="625011"/>
                      <a:pt x="86095" y="603116"/>
                    </a:cubicBezTo>
                    <a:cubicBezTo>
                      <a:pt x="141403" y="490311"/>
                      <a:pt x="251638" y="279171"/>
                      <a:pt x="294189" y="189403"/>
                    </a:cubicBezTo>
                    <a:cubicBezTo>
                      <a:pt x="312371" y="151040"/>
                      <a:pt x="336360" y="122387"/>
                      <a:pt x="369678" y="111915"/>
                    </a:cubicBezTo>
                    <a:cubicBezTo>
                      <a:pt x="410897" y="98969"/>
                      <a:pt x="448594" y="110773"/>
                      <a:pt x="476295" y="155038"/>
                    </a:cubicBezTo>
                    <a:cubicBezTo>
                      <a:pt x="499237" y="191783"/>
                      <a:pt x="651072" y="506685"/>
                      <a:pt x="652785" y="509826"/>
                    </a:cubicBezTo>
                    <a:cubicBezTo>
                      <a:pt x="694290" y="594549"/>
                      <a:pt x="758546" y="628723"/>
                      <a:pt x="817947" y="628438"/>
                    </a:cubicBezTo>
                    <a:cubicBezTo>
                      <a:pt x="822135" y="628533"/>
                      <a:pt x="826324" y="628438"/>
                      <a:pt x="830607" y="628152"/>
                    </a:cubicBezTo>
                    <a:cubicBezTo>
                      <a:pt x="903812" y="623964"/>
                      <a:pt x="956645" y="571512"/>
                      <a:pt x="995484" y="491930"/>
                    </a:cubicBezTo>
                    <a:cubicBezTo>
                      <a:pt x="1042033" y="396545"/>
                      <a:pt x="1183968" y="111630"/>
                      <a:pt x="1209099" y="67936"/>
                    </a:cubicBezTo>
                    <a:cubicBezTo>
                      <a:pt x="1222521" y="44613"/>
                      <a:pt x="1212716" y="14817"/>
                      <a:pt x="1188061" y="3870"/>
                    </a:cubicBezTo>
                    <a:close/>
                  </a:path>
                </a:pathLst>
              </a:custGeom>
              <a:grpFill/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" name="Полилиния 8">
                <a:extLst>
                  <a:ext uri="{FF2B5EF4-FFF2-40B4-BE49-F238E27FC236}">
                    <a16:creationId xmlns:a16="http://schemas.microsoft.com/office/drawing/2014/main" id="{2F391B36-BE1D-E8D4-256B-A74A3155DB3E}"/>
                  </a:ext>
                </a:extLst>
              </p:cNvPr>
              <p:cNvSpPr/>
              <p:nvPr/>
            </p:nvSpPr>
            <p:spPr>
              <a:xfrm>
                <a:off x="1292081" y="777505"/>
                <a:ext cx="74320" cy="39189"/>
              </a:xfrm>
              <a:custGeom>
                <a:avLst/>
                <a:gdLst>
                  <a:gd name="connsiteX0" fmla="*/ 83993 w 167891"/>
                  <a:gd name="connsiteY0" fmla="*/ 88530 h 88530"/>
                  <a:gd name="connsiteX1" fmla="*/ 166146 w 167891"/>
                  <a:gd name="connsiteY1" fmla="*/ 33128 h 88530"/>
                  <a:gd name="connsiteX2" fmla="*/ 143490 w 167891"/>
                  <a:gd name="connsiteY2" fmla="*/ 0 h 88530"/>
                  <a:gd name="connsiteX3" fmla="*/ 24402 w 167891"/>
                  <a:gd name="connsiteY3" fmla="*/ 0 h 88530"/>
                  <a:gd name="connsiteX4" fmla="*/ 1746 w 167891"/>
                  <a:gd name="connsiteY4" fmla="*/ 33128 h 88530"/>
                  <a:gd name="connsiteX5" fmla="*/ 83993 w 167891"/>
                  <a:gd name="connsiteY5" fmla="*/ 88530 h 88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7891" h="88530">
                    <a:moveTo>
                      <a:pt x="83993" y="88530"/>
                    </a:moveTo>
                    <a:cubicBezTo>
                      <a:pt x="121214" y="88530"/>
                      <a:pt x="153104" y="65589"/>
                      <a:pt x="166146" y="33128"/>
                    </a:cubicBezTo>
                    <a:cubicBezTo>
                      <a:pt x="172524" y="17230"/>
                      <a:pt x="160625" y="0"/>
                      <a:pt x="143490" y="0"/>
                    </a:cubicBezTo>
                    <a:lnTo>
                      <a:pt x="24402" y="0"/>
                    </a:lnTo>
                    <a:cubicBezTo>
                      <a:pt x="7267" y="0"/>
                      <a:pt x="-4632" y="17325"/>
                      <a:pt x="1746" y="33128"/>
                    </a:cubicBezTo>
                    <a:cubicBezTo>
                      <a:pt x="14978" y="65589"/>
                      <a:pt x="46773" y="88530"/>
                      <a:pt x="83993" y="88530"/>
                    </a:cubicBezTo>
                    <a:close/>
                  </a:path>
                </a:pathLst>
              </a:custGeom>
              <a:grpFill/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0" name="Рисунок 3">
              <a:extLst>
                <a:ext uri="{FF2B5EF4-FFF2-40B4-BE49-F238E27FC236}">
                  <a16:creationId xmlns:a16="http://schemas.microsoft.com/office/drawing/2014/main" id="{3161A2EE-E4FE-9EFF-E54E-BBFE2738AE74}"/>
                </a:ext>
              </a:extLst>
            </p:cNvPr>
            <p:cNvGrpSpPr/>
            <p:nvPr/>
          </p:nvGrpSpPr>
          <p:grpSpPr>
            <a:xfrm>
              <a:off x="1295028" y="672430"/>
              <a:ext cx="1511561" cy="135519"/>
              <a:chOff x="4388406" y="3732954"/>
              <a:chExt cx="3414679" cy="306143"/>
            </a:xfrm>
            <a:solidFill>
              <a:srgbClr val="FFFFFF"/>
            </a:solidFill>
          </p:grpSpPr>
          <p:sp>
            <p:nvSpPr>
              <p:cNvPr id="11" name="Полилиния 10">
                <a:extLst>
                  <a:ext uri="{FF2B5EF4-FFF2-40B4-BE49-F238E27FC236}">
                    <a16:creationId xmlns:a16="http://schemas.microsoft.com/office/drawing/2014/main" id="{D5317DD2-416D-CAF5-6A74-2DC83FBED045}"/>
                  </a:ext>
                </a:extLst>
              </p:cNvPr>
              <p:cNvSpPr/>
              <p:nvPr/>
            </p:nvSpPr>
            <p:spPr>
              <a:xfrm>
                <a:off x="4388406" y="3733716"/>
                <a:ext cx="288049" cy="304335"/>
              </a:xfrm>
              <a:custGeom>
                <a:avLst/>
                <a:gdLst>
                  <a:gd name="connsiteX0" fmla="*/ 279778 w 288049"/>
                  <a:gd name="connsiteY0" fmla="*/ 4664 h 304335"/>
                  <a:gd name="connsiteX1" fmla="*/ 264357 w 288049"/>
                  <a:gd name="connsiteY1" fmla="*/ 0 h 304335"/>
                  <a:gd name="connsiteX2" fmla="*/ 246651 w 288049"/>
                  <a:gd name="connsiteY2" fmla="*/ 5236 h 304335"/>
                  <a:gd name="connsiteX3" fmla="*/ 235703 w 288049"/>
                  <a:gd name="connsiteY3" fmla="*/ 20657 h 304335"/>
                  <a:gd name="connsiteX4" fmla="*/ 145174 w 288049"/>
                  <a:gd name="connsiteY4" fmla="*/ 231702 h 304335"/>
                  <a:gd name="connsiteX5" fmla="*/ 54264 w 288049"/>
                  <a:gd name="connsiteY5" fmla="*/ 21038 h 304335"/>
                  <a:gd name="connsiteX6" fmla="*/ 43887 w 288049"/>
                  <a:gd name="connsiteY6" fmla="*/ 5236 h 304335"/>
                  <a:gd name="connsiteX7" fmla="*/ 25515 w 288049"/>
                  <a:gd name="connsiteY7" fmla="*/ 0 h 304335"/>
                  <a:gd name="connsiteX8" fmla="*/ 9522 w 288049"/>
                  <a:gd name="connsiteY8" fmla="*/ 4664 h 304335"/>
                  <a:gd name="connsiteX9" fmla="*/ 669 w 288049"/>
                  <a:gd name="connsiteY9" fmla="*/ 17325 h 304335"/>
                  <a:gd name="connsiteX10" fmla="*/ 3240 w 288049"/>
                  <a:gd name="connsiteY10" fmla="*/ 35888 h 304335"/>
                  <a:gd name="connsiteX11" fmla="*/ 113379 w 288049"/>
                  <a:gd name="connsiteY11" fmla="*/ 283297 h 304335"/>
                  <a:gd name="connsiteX12" fmla="*/ 125373 w 288049"/>
                  <a:gd name="connsiteY12" fmla="*/ 299099 h 304335"/>
                  <a:gd name="connsiteX13" fmla="*/ 144127 w 288049"/>
                  <a:gd name="connsiteY13" fmla="*/ 304335 h 304335"/>
                  <a:gd name="connsiteX14" fmla="*/ 162880 w 288049"/>
                  <a:gd name="connsiteY14" fmla="*/ 299099 h 304335"/>
                  <a:gd name="connsiteX15" fmla="*/ 174494 w 288049"/>
                  <a:gd name="connsiteY15" fmla="*/ 283297 h 304335"/>
                  <a:gd name="connsiteX16" fmla="*/ 284633 w 288049"/>
                  <a:gd name="connsiteY16" fmla="*/ 35888 h 304335"/>
                  <a:gd name="connsiteX17" fmla="*/ 287584 w 288049"/>
                  <a:gd name="connsiteY17" fmla="*/ 17325 h 304335"/>
                  <a:gd name="connsiteX18" fmla="*/ 279778 w 288049"/>
                  <a:gd name="connsiteY18" fmla="*/ 4664 h 30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8049" h="304335">
                    <a:moveTo>
                      <a:pt x="279778" y="4664"/>
                    </a:moveTo>
                    <a:cubicBezTo>
                      <a:pt x="275685" y="1523"/>
                      <a:pt x="270544" y="0"/>
                      <a:pt x="264357" y="0"/>
                    </a:cubicBezTo>
                    <a:cubicBezTo>
                      <a:pt x="256741" y="0"/>
                      <a:pt x="250839" y="1713"/>
                      <a:pt x="246651" y="5236"/>
                    </a:cubicBezTo>
                    <a:cubicBezTo>
                      <a:pt x="242462" y="8758"/>
                      <a:pt x="238750" y="13898"/>
                      <a:pt x="235703" y="20657"/>
                    </a:cubicBezTo>
                    <a:lnTo>
                      <a:pt x="145174" y="231702"/>
                    </a:lnTo>
                    <a:lnTo>
                      <a:pt x="54264" y="21038"/>
                    </a:lnTo>
                    <a:cubicBezTo>
                      <a:pt x="51408" y="13994"/>
                      <a:pt x="47981" y="8758"/>
                      <a:pt x="43887" y="5236"/>
                    </a:cubicBezTo>
                    <a:cubicBezTo>
                      <a:pt x="39794" y="1713"/>
                      <a:pt x="33702" y="0"/>
                      <a:pt x="25515" y="0"/>
                    </a:cubicBezTo>
                    <a:cubicBezTo>
                      <a:pt x="19327" y="0"/>
                      <a:pt x="13996" y="1523"/>
                      <a:pt x="9522" y="4664"/>
                    </a:cubicBezTo>
                    <a:cubicBezTo>
                      <a:pt x="5048" y="7806"/>
                      <a:pt x="2097" y="11994"/>
                      <a:pt x="669" y="17325"/>
                    </a:cubicBezTo>
                    <a:cubicBezTo>
                      <a:pt x="-759" y="22656"/>
                      <a:pt x="98" y="28844"/>
                      <a:pt x="3240" y="35888"/>
                    </a:cubicBezTo>
                    <a:lnTo>
                      <a:pt x="113379" y="283297"/>
                    </a:lnTo>
                    <a:cubicBezTo>
                      <a:pt x="116520" y="290342"/>
                      <a:pt x="120519" y="295577"/>
                      <a:pt x="125373" y="299099"/>
                    </a:cubicBezTo>
                    <a:cubicBezTo>
                      <a:pt x="130324" y="302622"/>
                      <a:pt x="136606" y="304335"/>
                      <a:pt x="144127" y="304335"/>
                    </a:cubicBezTo>
                    <a:cubicBezTo>
                      <a:pt x="152028" y="304335"/>
                      <a:pt x="158311" y="302622"/>
                      <a:pt x="162880" y="299099"/>
                    </a:cubicBezTo>
                    <a:cubicBezTo>
                      <a:pt x="167544" y="295577"/>
                      <a:pt x="171352" y="290342"/>
                      <a:pt x="174494" y="283297"/>
                    </a:cubicBezTo>
                    <a:lnTo>
                      <a:pt x="284633" y="35888"/>
                    </a:lnTo>
                    <a:cubicBezTo>
                      <a:pt x="287775" y="28844"/>
                      <a:pt x="288726" y="22656"/>
                      <a:pt x="287584" y="17325"/>
                    </a:cubicBezTo>
                    <a:cubicBezTo>
                      <a:pt x="286442" y="11994"/>
                      <a:pt x="283776" y="7806"/>
                      <a:pt x="279778" y="466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" name="Полилиния 11">
                <a:extLst>
                  <a:ext uri="{FF2B5EF4-FFF2-40B4-BE49-F238E27FC236}">
                    <a16:creationId xmlns:a16="http://schemas.microsoft.com/office/drawing/2014/main" id="{D86E0946-D873-603A-EEED-A8AC44B862AC}"/>
                  </a:ext>
                </a:extLst>
              </p:cNvPr>
              <p:cNvSpPr/>
              <p:nvPr/>
            </p:nvSpPr>
            <p:spPr>
              <a:xfrm>
                <a:off x="4715210" y="3735905"/>
                <a:ext cx="200002" cy="298909"/>
              </a:xfrm>
              <a:custGeom>
                <a:avLst/>
                <a:gdLst>
                  <a:gd name="connsiteX0" fmla="*/ 176490 w 200002"/>
                  <a:gd name="connsiteY0" fmla="*/ 252835 h 298909"/>
                  <a:gd name="connsiteX1" fmla="*/ 54070 w 200002"/>
                  <a:gd name="connsiteY1" fmla="*/ 252835 h 298909"/>
                  <a:gd name="connsiteX2" fmla="*/ 54070 w 200002"/>
                  <a:gd name="connsiteY2" fmla="*/ 27416 h 298909"/>
                  <a:gd name="connsiteX3" fmla="*/ 47121 w 200002"/>
                  <a:gd name="connsiteY3" fmla="*/ 6949 h 298909"/>
                  <a:gd name="connsiteX4" fmla="*/ 27035 w 200002"/>
                  <a:gd name="connsiteY4" fmla="*/ 0 h 298909"/>
                  <a:gd name="connsiteX5" fmla="*/ 6949 w 200002"/>
                  <a:gd name="connsiteY5" fmla="*/ 6949 h 298909"/>
                  <a:gd name="connsiteX6" fmla="*/ 0 w 200002"/>
                  <a:gd name="connsiteY6" fmla="*/ 27416 h 298909"/>
                  <a:gd name="connsiteX7" fmla="*/ 0 w 200002"/>
                  <a:gd name="connsiteY7" fmla="*/ 271017 h 298909"/>
                  <a:gd name="connsiteX8" fmla="*/ 7140 w 200002"/>
                  <a:gd name="connsiteY8" fmla="*/ 291484 h 298909"/>
                  <a:gd name="connsiteX9" fmla="*/ 27416 w 200002"/>
                  <a:gd name="connsiteY9" fmla="*/ 298909 h 298909"/>
                  <a:gd name="connsiteX10" fmla="*/ 176394 w 200002"/>
                  <a:gd name="connsiteY10" fmla="*/ 298909 h 298909"/>
                  <a:gd name="connsiteX11" fmla="*/ 193910 w 200002"/>
                  <a:gd name="connsiteY11" fmla="*/ 292817 h 298909"/>
                  <a:gd name="connsiteX12" fmla="*/ 200003 w 200002"/>
                  <a:gd name="connsiteY12" fmla="*/ 275682 h 298909"/>
                  <a:gd name="connsiteX13" fmla="*/ 193910 w 200002"/>
                  <a:gd name="connsiteY13" fmla="*/ 258833 h 298909"/>
                  <a:gd name="connsiteX14" fmla="*/ 176490 w 200002"/>
                  <a:gd name="connsiteY14" fmla="*/ 252835 h 29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0002" h="298909">
                    <a:moveTo>
                      <a:pt x="176490" y="252835"/>
                    </a:moveTo>
                    <a:lnTo>
                      <a:pt x="54070" y="252835"/>
                    </a:lnTo>
                    <a:lnTo>
                      <a:pt x="54070" y="27416"/>
                    </a:lnTo>
                    <a:cubicBezTo>
                      <a:pt x="54070" y="18373"/>
                      <a:pt x="51786" y="11614"/>
                      <a:pt x="47121" y="6949"/>
                    </a:cubicBezTo>
                    <a:cubicBezTo>
                      <a:pt x="42457" y="2285"/>
                      <a:pt x="35793" y="0"/>
                      <a:pt x="27035" y="0"/>
                    </a:cubicBezTo>
                    <a:cubicBezTo>
                      <a:pt x="18277" y="0"/>
                      <a:pt x="11614" y="2285"/>
                      <a:pt x="6949" y="6949"/>
                    </a:cubicBezTo>
                    <a:cubicBezTo>
                      <a:pt x="2285" y="11614"/>
                      <a:pt x="0" y="18373"/>
                      <a:pt x="0" y="27416"/>
                    </a:cubicBezTo>
                    <a:lnTo>
                      <a:pt x="0" y="271017"/>
                    </a:lnTo>
                    <a:cubicBezTo>
                      <a:pt x="0" y="279775"/>
                      <a:pt x="2380" y="286534"/>
                      <a:pt x="7140" y="291484"/>
                    </a:cubicBezTo>
                    <a:cubicBezTo>
                      <a:pt x="11899" y="296434"/>
                      <a:pt x="18658" y="298909"/>
                      <a:pt x="27416" y="298909"/>
                    </a:cubicBezTo>
                    <a:lnTo>
                      <a:pt x="176394" y="298909"/>
                    </a:lnTo>
                    <a:cubicBezTo>
                      <a:pt x="184010" y="298909"/>
                      <a:pt x="189817" y="296910"/>
                      <a:pt x="193910" y="292817"/>
                    </a:cubicBezTo>
                    <a:cubicBezTo>
                      <a:pt x="198004" y="288724"/>
                      <a:pt x="200003" y="283012"/>
                      <a:pt x="200003" y="275682"/>
                    </a:cubicBezTo>
                    <a:cubicBezTo>
                      <a:pt x="200003" y="268352"/>
                      <a:pt x="197908" y="262736"/>
                      <a:pt x="193910" y="258833"/>
                    </a:cubicBezTo>
                    <a:cubicBezTo>
                      <a:pt x="189912" y="254739"/>
                      <a:pt x="184105" y="252835"/>
                      <a:pt x="176490" y="25283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" name="Полилиния 12">
                <a:extLst>
                  <a:ext uri="{FF2B5EF4-FFF2-40B4-BE49-F238E27FC236}">
                    <a16:creationId xmlns:a16="http://schemas.microsoft.com/office/drawing/2014/main" id="{C10C4818-7638-E966-E7FD-3627A9462C5C}"/>
                  </a:ext>
                </a:extLst>
              </p:cNvPr>
              <p:cNvSpPr/>
              <p:nvPr/>
            </p:nvSpPr>
            <p:spPr>
              <a:xfrm>
                <a:off x="4925096" y="3733811"/>
                <a:ext cx="292253" cy="304335"/>
              </a:xfrm>
              <a:custGeom>
                <a:avLst/>
                <a:gdLst>
                  <a:gd name="connsiteX0" fmla="*/ 176793 w 292253"/>
                  <a:gd name="connsiteY0" fmla="*/ 22752 h 304335"/>
                  <a:gd name="connsiteX1" fmla="*/ 163466 w 292253"/>
                  <a:gd name="connsiteY1" fmla="*/ 5236 h 304335"/>
                  <a:gd name="connsiteX2" fmla="*/ 145950 w 292253"/>
                  <a:gd name="connsiteY2" fmla="*/ 0 h 304335"/>
                  <a:gd name="connsiteX3" fmla="*/ 128053 w 292253"/>
                  <a:gd name="connsiteY3" fmla="*/ 5236 h 304335"/>
                  <a:gd name="connsiteX4" fmla="*/ 114726 w 292253"/>
                  <a:gd name="connsiteY4" fmla="*/ 22752 h 304335"/>
                  <a:gd name="connsiteX5" fmla="*/ 3254 w 292253"/>
                  <a:gd name="connsiteY5" fmla="*/ 269685 h 304335"/>
                  <a:gd name="connsiteX6" fmla="*/ 303 w 292253"/>
                  <a:gd name="connsiteY6" fmla="*/ 287200 h 304335"/>
                  <a:gd name="connsiteX7" fmla="*/ 7728 w 292253"/>
                  <a:gd name="connsiteY7" fmla="*/ 299671 h 304335"/>
                  <a:gd name="connsiteX8" fmla="*/ 24006 w 292253"/>
                  <a:gd name="connsiteY8" fmla="*/ 304335 h 304335"/>
                  <a:gd name="connsiteX9" fmla="*/ 40856 w 292253"/>
                  <a:gd name="connsiteY9" fmla="*/ 298814 h 304335"/>
                  <a:gd name="connsiteX10" fmla="*/ 52279 w 292253"/>
                  <a:gd name="connsiteY10" fmla="*/ 281108 h 304335"/>
                  <a:gd name="connsiteX11" fmla="*/ 73031 w 292253"/>
                  <a:gd name="connsiteY11" fmla="*/ 232178 h 304335"/>
                  <a:gd name="connsiteX12" fmla="*/ 218202 w 292253"/>
                  <a:gd name="connsiteY12" fmla="*/ 232178 h 304335"/>
                  <a:gd name="connsiteX13" fmla="*/ 239240 w 292253"/>
                  <a:gd name="connsiteY13" fmla="*/ 281108 h 304335"/>
                  <a:gd name="connsiteX14" fmla="*/ 250854 w 292253"/>
                  <a:gd name="connsiteY14" fmla="*/ 298624 h 304335"/>
                  <a:gd name="connsiteX15" fmla="*/ 269226 w 292253"/>
                  <a:gd name="connsiteY15" fmla="*/ 304335 h 304335"/>
                  <a:gd name="connsiteX16" fmla="*/ 284838 w 292253"/>
                  <a:gd name="connsiteY16" fmla="*/ 299861 h 304335"/>
                  <a:gd name="connsiteX17" fmla="*/ 291978 w 292253"/>
                  <a:gd name="connsiteY17" fmla="*/ 287391 h 304335"/>
                  <a:gd name="connsiteX18" fmla="*/ 288646 w 292253"/>
                  <a:gd name="connsiteY18" fmla="*/ 269685 h 304335"/>
                  <a:gd name="connsiteX19" fmla="*/ 176793 w 292253"/>
                  <a:gd name="connsiteY19" fmla="*/ 22752 h 304335"/>
                  <a:gd name="connsiteX20" fmla="*/ 145093 w 292253"/>
                  <a:gd name="connsiteY20" fmla="*/ 61971 h 304335"/>
                  <a:gd name="connsiteX21" fmla="*/ 145950 w 292253"/>
                  <a:gd name="connsiteY21" fmla="*/ 61971 h 304335"/>
                  <a:gd name="connsiteX22" fmla="*/ 199735 w 292253"/>
                  <a:gd name="connsiteY22" fmla="*/ 189055 h 304335"/>
                  <a:gd name="connsiteX23" fmla="*/ 91689 w 292253"/>
                  <a:gd name="connsiteY23" fmla="*/ 189055 h 304335"/>
                  <a:gd name="connsiteX24" fmla="*/ 145093 w 292253"/>
                  <a:gd name="connsiteY24" fmla="*/ 61971 h 30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92253" h="304335">
                    <a:moveTo>
                      <a:pt x="176793" y="22752"/>
                    </a:moveTo>
                    <a:cubicBezTo>
                      <a:pt x="173175" y="14565"/>
                      <a:pt x="168701" y="8758"/>
                      <a:pt x="163466" y="5236"/>
                    </a:cubicBezTo>
                    <a:cubicBezTo>
                      <a:pt x="158230" y="1714"/>
                      <a:pt x="152423" y="0"/>
                      <a:pt x="145950" y="0"/>
                    </a:cubicBezTo>
                    <a:cubicBezTo>
                      <a:pt x="139191" y="0"/>
                      <a:pt x="133194" y="1714"/>
                      <a:pt x="128053" y="5236"/>
                    </a:cubicBezTo>
                    <a:cubicBezTo>
                      <a:pt x="122818" y="8758"/>
                      <a:pt x="118439" y="14565"/>
                      <a:pt x="114726" y="22752"/>
                    </a:cubicBezTo>
                    <a:lnTo>
                      <a:pt x="3254" y="269685"/>
                    </a:lnTo>
                    <a:cubicBezTo>
                      <a:pt x="398" y="276158"/>
                      <a:pt x="-554" y="281965"/>
                      <a:pt x="303" y="287200"/>
                    </a:cubicBezTo>
                    <a:cubicBezTo>
                      <a:pt x="1160" y="292436"/>
                      <a:pt x="3635" y="296530"/>
                      <a:pt x="7728" y="299671"/>
                    </a:cubicBezTo>
                    <a:cubicBezTo>
                      <a:pt x="11822" y="302812"/>
                      <a:pt x="17248" y="304335"/>
                      <a:pt x="24006" y="304335"/>
                    </a:cubicBezTo>
                    <a:cubicBezTo>
                      <a:pt x="31336" y="304335"/>
                      <a:pt x="36953" y="302527"/>
                      <a:pt x="40856" y="298814"/>
                    </a:cubicBezTo>
                    <a:cubicBezTo>
                      <a:pt x="44759" y="295197"/>
                      <a:pt x="48567" y="289295"/>
                      <a:pt x="52279" y="281108"/>
                    </a:cubicBezTo>
                    <a:lnTo>
                      <a:pt x="73031" y="232178"/>
                    </a:lnTo>
                    <a:lnTo>
                      <a:pt x="218202" y="232178"/>
                    </a:lnTo>
                    <a:lnTo>
                      <a:pt x="239240" y="281108"/>
                    </a:lnTo>
                    <a:cubicBezTo>
                      <a:pt x="242572" y="289009"/>
                      <a:pt x="246475" y="294816"/>
                      <a:pt x="250854" y="298624"/>
                    </a:cubicBezTo>
                    <a:cubicBezTo>
                      <a:pt x="255233" y="302432"/>
                      <a:pt x="261325" y="304335"/>
                      <a:pt x="269226" y="304335"/>
                    </a:cubicBezTo>
                    <a:cubicBezTo>
                      <a:pt x="275699" y="304335"/>
                      <a:pt x="280935" y="302907"/>
                      <a:pt x="284838" y="299861"/>
                    </a:cubicBezTo>
                    <a:cubicBezTo>
                      <a:pt x="288741" y="296910"/>
                      <a:pt x="291121" y="292722"/>
                      <a:pt x="291978" y="287391"/>
                    </a:cubicBezTo>
                    <a:cubicBezTo>
                      <a:pt x="292834" y="282060"/>
                      <a:pt x="291692" y="276158"/>
                      <a:pt x="288646" y="269685"/>
                    </a:cubicBezTo>
                    <a:lnTo>
                      <a:pt x="176793" y="22752"/>
                    </a:lnTo>
                    <a:close/>
                    <a:moveTo>
                      <a:pt x="145093" y="61971"/>
                    </a:moveTo>
                    <a:lnTo>
                      <a:pt x="145950" y="61971"/>
                    </a:lnTo>
                    <a:lnTo>
                      <a:pt x="199735" y="189055"/>
                    </a:lnTo>
                    <a:lnTo>
                      <a:pt x="91689" y="189055"/>
                    </a:lnTo>
                    <a:lnTo>
                      <a:pt x="145093" y="61971"/>
                    </a:ln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" name="Полилиния 13">
                <a:extLst>
                  <a:ext uri="{FF2B5EF4-FFF2-40B4-BE49-F238E27FC236}">
                    <a16:creationId xmlns:a16="http://schemas.microsoft.com/office/drawing/2014/main" id="{1C82B3CC-C076-0AB5-1827-686EDE07B7CC}"/>
                  </a:ext>
                </a:extLst>
              </p:cNvPr>
              <p:cNvSpPr/>
              <p:nvPr/>
            </p:nvSpPr>
            <p:spPr>
              <a:xfrm>
                <a:off x="5260196" y="3737142"/>
                <a:ext cx="266733" cy="297671"/>
              </a:xfrm>
              <a:custGeom>
                <a:avLst/>
                <a:gdLst>
                  <a:gd name="connsiteX0" fmla="*/ 110616 w 266733"/>
                  <a:gd name="connsiteY0" fmla="*/ 0 h 297671"/>
                  <a:gd name="connsiteX1" fmla="*/ 28749 w 266733"/>
                  <a:gd name="connsiteY1" fmla="*/ 0 h 297671"/>
                  <a:gd name="connsiteX2" fmla="*/ 7425 w 266733"/>
                  <a:gd name="connsiteY2" fmla="*/ 7425 h 297671"/>
                  <a:gd name="connsiteX3" fmla="*/ 0 w 266733"/>
                  <a:gd name="connsiteY3" fmla="*/ 28749 h 297671"/>
                  <a:gd name="connsiteX4" fmla="*/ 0 w 266733"/>
                  <a:gd name="connsiteY4" fmla="*/ 268923 h 297671"/>
                  <a:gd name="connsiteX5" fmla="*/ 7425 w 266733"/>
                  <a:gd name="connsiteY5" fmla="*/ 290246 h 297671"/>
                  <a:gd name="connsiteX6" fmla="*/ 28749 w 266733"/>
                  <a:gd name="connsiteY6" fmla="*/ 297672 h 297671"/>
                  <a:gd name="connsiteX7" fmla="*/ 110616 w 266733"/>
                  <a:gd name="connsiteY7" fmla="*/ 297672 h 297671"/>
                  <a:gd name="connsiteX8" fmla="*/ 177061 w 266733"/>
                  <a:gd name="connsiteY8" fmla="*/ 287772 h 297671"/>
                  <a:gd name="connsiteX9" fmla="*/ 225991 w 266733"/>
                  <a:gd name="connsiteY9" fmla="*/ 258833 h 297671"/>
                  <a:gd name="connsiteX10" fmla="*/ 256358 w 266733"/>
                  <a:gd name="connsiteY10" fmla="*/ 212188 h 297671"/>
                  <a:gd name="connsiteX11" fmla="*/ 266734 w 266733"/>
                  <a:gd name="connsiteY11" fmla="*/ 148693 h 297671"/>
                  <a:gd name="connsiteX12" fmla="*/ 225991 w 266733"/>
                  <a:gd name="connsiteY12" fmla="*/ 38554 h 297671"/>
                  <a:gd name="connsiteX13" fmla="*/ 110616 w 266733"/>
                  <a:gd name="connsiteY13" fmla="*/ 0 h 297671"/>
                  <a:gd name="connsiteX14" fmla="*/ 203906 w 266733"/>
                  <a:gd name="connsiteY14" fmla="*/ 194386 h 297671"/>
                  <a:gd name="connsiteX15" fmla="*/ 184676 w 266733"/>
                  <a:gd name="connsiteY15" fmla="*/ 226847 h 297671"/>
                  <a:gd name="connsiteX16" fmla="*/ 152596 w 266733"/>
                  <a:gd name="connsiteY16" fmla="*/ 246267 h 297671"/>
                  <a:gd name="connsiteX17" fmla="*/ 107189 w 266733"/>
                  <a:gd name="connsiteY17" fmla="*/ 252835 h 297671"/>
                  <a:gd name="connsiteX18" fmla="*/ 53975 w 266733"/>
                  <a:gd name="connsiteY18" fmla="*/ 252835 h 297671"/>
                  <a:gd name="connsiteX19" fmla="*/ 53975 w 266733"/>
                  <a:gd name="connsiteY19" fmla="*/ 44741 h 297671"/>
                  <a:gd name="connsiteX20" fmla="*/ 107189 w 266733"/>
                  <a:gd name="connsiteY20" fmla="*/ 44741 h 297671"/>
                  <a:gd name="connsiteX21" fmla="*/ 184486 w 266733"/>
                  <a:gd name="connsiteY21" fmla="*/ 70444 h 297671"/>
                  <a:gd name="connsiteX22" fmla="*/ 210188 w 266733"/>
                  <a:gd name="connsiteY22" fmla="*/ 148503 h 297671"/>
                  <a:gd name="connsiteX23" fmla="*/ 203906 w 266733"/>
                  <a:gd name="connsiteY23" fmla="*/ 194386 h 297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66733" h="297671">
                    <a:moveTo>
                      <a:pt x="110616" y="0"/>
                    </a:moveTo>
                    <a:lnTo>
                      <a:pt x="28749" y="0"/>
                    </a:lnTo>
                    <a:cubicBezTo>
                      <a:pt x="19420" y="0"/>
                      <a:pt x="12375" y="2475"/>
                      <a:pt x="7425" y="7425"/>
                    </a:cubicBezTo>
                    <a:cubicBezTo>
                      <a:pt x="2475" y="12375"/>
                      <a:pt x="0" y="19420"/>
                      <a:pt x="0" y="28749"/>
                    </a:cubicBezTo>
                    <a:lnTo>
                      <a:pt x="0" y="268923"/>
                    </a:lnTo>
                    <a:cubicBezTo>
                      <a:pt x="0" y="278252"/>
                      <a:pt x="2475" y="285296"/>
                      <a:pt x="7425" y="290246"/>
                    </a:cubicBezTo>
                    <a:cubicBezTo>
                      <a:pt x="12375" y="295197"/>
                      <a:pt x="19420" y="297672"/>
                      <a:pt x="28749" y="297672"/>
                    </a:cubicBezTo>
                    <a:lnTo>
                      <a:pt x="110616" y="297672"/>
                    </a:lnTo>
                    <a:cubicBezTo>
                      <a:pt x="135651" y="297672"/>
                      <a:pt x="157832" y="294340"/>
                      <a:pt x="177061" y="287772"/>
                    </a:cubicBezTo>
                    <a:cubicBezTo>
                      <a:pt x="196290" y="281203"/>
                      <a:pt x="212663" y="271493"/>
                      <a:pt x="225991" y="258833"/>
                    </a:cubicBezTo>
                    <a:cubicBezTo>
                      <a:pt x="239318" y="246172"/>
                      <a:pt x="249504" y="230655"/>
                      <a:pt x="256358" y="212188"/>
                    </a:cubicBezTo>
                    <a:cubicBezTo>
                      <a:pt x="263212" y="193720"/>
                      <a:pt x="266734" y="172587"/>
                      <a:pt x="266734" y="148693"/>
                    </a:cubicBezTo>
                    <a:cubicBezTo>
                      <a:pt x="266734" y="100810"/>
                      <a:pt x="253121" y="64161"/>
                      <a:pt x="225991" y="38554"/>
                    </a:cubicBezTo>
                    <a:cubicBezTo>
                      <a:pt x="198860" y="12756"/>
                      <a:pt x="160402" y="0"/>
                      <a:pt x="110616" y="0"/>
                    </a:cubicBezTo>
                    <a:close/>
                    <a:moveTo>
                      <a:pt x="203906" y="194386"/>
                    </a:moveTo>
                    <a:cubicBezTo>
                      <a:pt x="199717" y="207428"/>
                      <a:pt x="193244" y="218280"/>
                      <a:pt x="184676" y="226847"/>
                    </a:cubicBezTo>
                    <a:cubicBezTo>
                      <a:pt x="176109" y="235415"/>
                      <a:pt x="165447" y="241888"/>
                      <a:pt x="152596" y="246267"/>
                    </a:cubicBezTo>
                    <a:cubicBezTo>
                      <a:pt x="139745" y="250646"/>
                      <a:pt x="124704" y="252835"/>
                      <a:pt x="107189" y="252835"/>
                    </a:cubicBezTo>
                    <a:lnTo>
                      <a:pt x="53975" y="252835"/>
                    </a:lnTo>
                    <a:lnTo>
                      <a:pt x="53975" y="44741"/>
                    </a:lnTo>
                    <a:lnTo>
                      <a:pt x="107189" y="44741"/>
                    </a:lnTo>
                    <a:cubicBezTo>
                      <a:pt x="141554" y="44741"/>
                      <a:pt x="167256" y="53309"/>
                      <a:pt x="184486" y="70444"/>
                    </a:cubicBezTo>
                    <a:cubicBezTo>
                      <a:pt x="201621" y="87579"/>
                      <a:pt x="210188" y="113662"/>
                      <a:pt x="210188" y="148503"/>
                    </a:cubicBezTo>
                    <a:cubicBezTo>
                      <a:pt x="210188" y="166018"/>
                      <a:pt x="208094" y="181249"/>
                      <a:pt x="203906" y="19438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" name="Полилиния 15">
                <a:extLst>
                  <a:ext uri="{FF2B5EF4-FFF2-40B4-BE49-F238E27FC236}">
                    <a16:creationId xmlns:a16="http://schemas.microsoft.com/office/drawing/2014/main" id="{FE017B9F-C139-C5E7-684F-4B6A955E91A7}"/>
                  </a:ext>
                </a:extLst>
              </p:cNvPr>
              <p:cNvSpPr/>
              <p:nvPr/>
            </p:nvSpPr>
            <p:spPr>
              <a:xfrm>
                <a:off x="5675224" y="3733811"/>
                <a:ext cx="292253" cy="304335"/>
              </a:xfrm>
              <a:custGeom>
                <a:avLst/>
                <a:gdLst>
                  <a:gd name="connsiteX0" fmla="*/ 176793 w 292253"/>
                  <a:gd name="connsiteY0" fmla="*/ 22752 h 304335"/>
                  <a:gd name="connsiteX1" fmla="*/ 163466 w 292253"/>
                  <a:gd name="connsiteY1" fmla="*/ 5236 h 304335"/>
                  <a:gd name="connsiteX2" fmla="*/ 145950 w 292253"/>
                  <a:gd name="connsiteY2" fmla="*/ 0 h 304335"/>
                  <a:gd name="connsiteX3" fmla="*/ 128053 w 292253"/>
                  <a:gd name="connsiteY3" fmla="*/ 5236 h 304335"/>
                  <a:gd name="connsiteX4" fmla="*/ 114726 w 292253"/>
                  <a:gd name="connsiteY4" fmla="*/ 22752 h 304335"/>
                  <a:gd name="connsiteX5" fmla="*/ 3254 w 292253"/>
                  <a:gd name="connsiteY5" fmla="*/ 269685 h 304335"/>
                  <a:gd name="connsiteX6" fmla="*/ 303 w 292253"/>
                  <a:gd name="connsiteY6" fmla="*/ 287200 h 304335"/>
                  <a:gd name="connsiteX7" fmla="*/ 7728 w 292253"/>
                  <a:gd name="connsiteY7" fmla="*/ 299671 h 304335"/>
                  <a:gd name="connsiteX8" fmla="*/ 24006 w 292253"/>
                  <a:gd name="connsiteY8" fmla="*/ 304335 h 304335"/>
                  <a:gd name="connsiteX9" fmla="*/ 40856 w 292253"/>
                  <a:gd name="connsiteY9" fmla="*/ 298814 h 304335"/>
                  <a:gd name="connsiteX10" fmla="*/ 52279 w 292253"/>
                  <a:gd name="connsiteY10" fmla="*/ 281108 h 304335"/>
                  <a:gd name="connsiteX11" fmla="*/ 73031 w 292253"/>
                  <a:gd name="connsiteY11" fmla="*/ 232178 h 304335"/>
                  <a:gd name="connsiteX12" fmla="*/ 218202 w 292253"/>
                  <a:gd name="connsiteY12" fmla="*/ 232178 h 304335"/>
                  <a:gd name="connsiteX13" fmla="*/ 239240 w 292253"/>
                  <a:gd name="connsiteY13" fmla="*/ 281108 h 304335"/>
                  <a:gd name="connsiteX14" fmla="*/ 250854 w 292253"/>
                  <a:gd name="connsiteY14" fmla="*/ 298624 h 304335"/>
                  <a:gd name="connsiteX15" fmla="*/ 269226 w 292253"/>
                  <a:gd name="connsiteY15" fmla="*/ 304335 h 304335"/>
                  <a:gd name="connsiteX16" fmla="*/ 284838 w 292253"/>
                  <a:gd name="connsiteY16" fmla="*/ 299861 h 304335"/>
                  <a:gd name="connsiteX17" fmla="*/ 291978 w 292253"/>
                  <a:gd name="connsiteY17" fmla="*/ 287391 h 304335"/>
                  <a:gd name="connsiteX18" fmla="*/ 288646 w 292253"/>
                  <a:gd name="connsiteY18" fmla="*/ 269685 h 304335"/>
                  <a:gd name="connsiteX19" fmla="*/ 176793 w 292253"/>
                  <a:gd name="connsiteY19" fmla="*/ 22752 h 304335"/>
                  <a:gd name="connsiteX20" fmla="*/ 145093 w 292253"/>
                  <a:gd name="connsiteY20" fmla="*/ 61971 h 304335"/>
                  <a:gd name="connsiteX21" fmla="*/ 145950 w 292253"/>
                  <a:gd name="connsiteY21" fmla="*/ 61971 h 304335"/>
                  <a:gd name="connsiteX22" fmla="*/ 199735 w 292253"/>
                  <a:gd name="connsiteY22" fmla="*/ 189055 h 304335"/>
                  <a:gd name="connsiteX23" fmla="*/ 91689 w 292253"/>
                  <a:gd name="connsiteY23" fmla="*/ 189055 h 304335"/>
                  <a:gd name="connsiteX24" fmla="*/ 145093 w 292253"/>
                  <a:gd name="connsiteY24" fmla="*/ 61971 h 30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92253" h="304335">
                    <a:moveTo>
                      <a:pt x="176793" y="22752"/>
                    </a:moveTo>
                    <a:cubicBezTo>
                      <a:pt x="173175" y="14565"/>
                      <a:pt x="168701" y="8758"/>
                      <a:pt x="163466" y="5236"/>
                    </a:cubicBezTo>
                    <a:cubicBezTo>
                      <a:pt x="158230" y="1714"/>
                      <a:pt x="152423" y="0"/>
                      <a:pt x="145950" y="0"/>
                    </a:cubicBezTo>
                    <a:cubicBezTo>
                      <a:pt x="139191" y="0"/>
                      <a:pt x="133194" y="1714"/>
                      <a:pt x="128053" y="5236"/>
                    </a:cubicBezTo>
                    <a:cubicBezTo>
                      <a:pt x="122818" y="8758"/>
                      <a:pt x="118439" y="14565"/>
                      <a:pt x="114726" y="22752"/>
                    </a:cubicBezTo>
                    <a:lnTo>
                      <a:pt x="3254" y="269685"/>
                    </a:lnTo>
                    <a:cubicBezTo>
                      <a:pt x="398" y="276158"/>
                      <a:pt x="-554" y="281965"/>
                      <a:pt x="303" y="287200"/>
                    </a:cubicBezTo>
                    <a:cubicBezTo>
                      <a:pt x="1160" y="292436"/>
                      <a:pt x="3635" y="296530"/>
                      <a:pt x="7728" y="299671"/>
                    </a:cubicBezTo>
                    <a:cubicBezTo>
                      <a:pt x="11822" y="302812"/>
                      <a:pt x="17248" y="304335"/>
                      <a:pt x="24006" y="304335"/>
                    </a:cubicBezTo>
                    <a:cubicBezTo>
                      <a:pt x="31336" y="304335"/>
                      <a:pt x="36953" y="302527"/>
                      <a:pt x="40856" y="298814"/>
                    </a:cubicBezTo>
                    <a:cubicBezTo>
                      <a:pt x="44759" y="295197"/>
                      <a:pt x="48566" y="289295"/>
                      <a:pt x="52279" y="281108"/>
                    </a:cubicBezTo>
                    <a:lnTo>
                      <a:pt x="73031" y="232178"/>
                    </a:lnTo>
                    <a:lnTo>
                      <a:pt x="218202" y="232178"/>
                    </a:lnTo>
                    <a:lnTo>
                      <a:pt x="239240" y="281108"/>
                    </a:lnTo>
                    <a:cubicBezTo>
                      <a:pt x="242572" y="289009"/>
                      <a:pt x="246475" y="294816"/>
                      <a:pt x="250854" y="298624"/>
                    </a:cubicBezTo>
                    <a:cubicBezTo>
                      <a:pt x="255233" y="302432"/>
                      <a:pt x="261325" y="304335"/>
                      <a:pt x="269226" y="304335"/>
                    </a:cubicBezTo>
                    <a:cubicBezTo>
                      <a:pt x="275699" y="304335"/>
                      <a:pt x="280935" y="302907"/>
                      <a:pt x="284838" y="299861"/>
                    </a:cubicBezTo>
                    <a:cubicBezTo>
                      <a:pt x="288741" y="296910"/>
                      <a:pt x="291121" y="292722"/>
                      <a:pt x="291978" y="287391"/>
                    </a:cubicBezTo>
                    <a:cubicBezTo>
                      <a:pt x="292834" y="282060"/>
                      <a:pt x="291692" y="276158"/>
                      <a:pt x="288646" y="269685"/>
                    </a:cubicBezTo>
                    <a:lnTo>
                      <a:pt x="176793" y="22752"/>
                    </a:lnTo>
                    <a:close/>
                    <a:moveTo>
                      <a:pt x="145093" y="61971"/>
                    </a:moveTo>
                    <a:lnTo>
                      <a:pt x="145950" y="61971"/>
                    </a:lnTo>
                    <a:lnTo>
                      <a:pt x="199735" y="189055"/>
                    </a:lnTo>
                    <a:lnTo>
                      <a:pt x="91689" y="189055"/>
                    </a:lnTo>
                    <a:lnTo>
                      <a:pt x="145093" y="61971"/>
                    </a:ln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" name="Полилиния 16">
                <a:extLst>
                  <a:ext uri="{FF2B5EF4-FFF2-40B4-BE49-F238E27FC236}">
                    <a16:creationId xmlns:a16="http://schemas.microsoft.com/office/drawing/2014/main" id="{A7EBA4C5-3227-2992-F35A-0F5D61BB83D1}"/>
                  </a:ext>
                </a:extLst>
              </p:cNvPr>
              <p:cNvSpPr/>
              <p:nvPr/>
            </p:nvSpPr>
            <p:spPr>
              <a:xfrm>
                <a:off x="6010230" y="3733716"/>
                <a:ext cx="250740" cy="304525"/>
              </a:xfrm>
              <a:custGeom>
                <a:avLst/>
                <a:gdLst>
                  <a:gd name="connsiteX0" fmla="*/ 225895 w 250740"/>
                  <a:gd name="connsiteY0" fmla="*/ 0 h 304525"/>
                  <a:gd name="connsiteX1" fmla="*/ 207142 w 250740"/>
                  <a:gd name="connsiteY1" fmla="*/ 6759 h 304525"/>
                  <a:gd name="connsiteX2" fmla="*/ 200574 w 250740"/>
                  <a:gd name="connsiteY2" fmla="*/ 25797 h 304525"/>
                  <a:gd name="connsiteX3" fmla="*/ 200574 w 250740"/>
                  <a:gd name="connsiteY3" fmla="*/ 211236 h 304525"/>
                  <a:gd name="connsiteX4" fmla="*/ 49882 w 250740"/>
                  <a:gd name="connsiteY4" fmla="*/ 15707 h 304525"/>
                  <a:gd name="connsiteX5" fmla="*/ 38268 w 250740"/>
                  <a:gd name="connsiteY5" fmla="*/ 3712 h 304525"/>
                  <a:gd name="connsiteX6" fmla="*/ 23704 w 250740"/>
                  <a:gd name="connsiteY6" fmla="*/ 95 h 304525"/>
                  <a:gd name="connsiteX7" fmla="*/ 6568 w 250740"/>
                  <a:gd name="connsiteY7" fmla="*/ 7044 h 304525"/>
                  <a:gd name="connsiteX8" fmla="*/ 0 w 250740"/>
                  <a:gd name="connsiteY8" fmla="*/ 27130 h 304525"/>
                  <a:gd name="connsiteX9" fmla="*/ 0 w 250740"/>
                  <a:gd name="connsiteY9" fmla="*/ 278347 h 304525"/>
                  <a:gd name="connsiteX10" fmla="*/ 6568 w 250740"/>
                  <a:gd name="connsiteY10" fmla="*/ 297767 h 304525"/>
                  <a:gd name="connsiteX11" fmla="*/ 25322 w 250740"/>
                  <a:gd name="connsiteY11" fmla="*/ 304526 h 304525"/>
                  <a:gd name="connsiteX12" fmla="*/ 43885 w 250740"/>
                  <a:gd name="connsiteY12" fmla="*/ 297767 h 304525"/>
                  <a:gd name="connsiteX13" fmla="*/ 50167 w 250740"/>
                  <a:gd name="connsiteY13" fmla="*/ 278347 h 304525"/>
                  <a:gd name="connsiteX14" fmla="*/ 50167 w 250740"/>
                  <a:gd name="connsiteY14" fmla="*/ 92243 h 304525"/>
                  <a:gd name="connsiteX15" fmla="*/ 200859 w 250740"/>
                  <a:gd name="connsiteY15" fmla="*/ 288342 h 304525"/>
                  <a:gd name="connsiteX16" fmla="*/ 213330 w 250740"/>
                  <a:gd name="connsiteY16" fmla="*/ 300623 h 304525"/>
                  <a:gd name="connsiteX17" fmla="*/ 228751 w 250740"/>
                  <a:gd name="connsiteY17" fmla="*/ 304430 h 304525"/>
                  <a:gd name="connsiteX18" fmla="*/ 244839 w 250740"/>
                  <a:gd name="connsiteY18" fmla="*/ 297672 h 304525"/>
                  <a:gd name="connsiteX19" fmla="*/ 250741 w 250740"/>
                  <a:gd name="connsiteY19" fmla="*/ 279109 h 304525"/>
                  <a:gd name="connsiteX20" fmla="*/ 250741 w 250740"/>
                  <a:gd name="connsiteY20" fmla="*/ 25797 h 304525"/>
                  <a:gd name="connsiteX21" fmla="*/ 244363 w 250740"/>
                  <a:gd name="connsiteY21" fmla="*/ 6759 h 304525"/>
                  <a:gd name="connsiteX22" fmla="*/ 225895 w 250740"/>
                  <a:gd name="connsiteY22" fmla="*/ 0 h 304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50740" h="304525">
                    <a:moveTo>
                      <a:pt x="225895" y="0"/>
                    </a:moveTo>
                    <a:cubicBezTo>
                      <a:pt x="217709" y="0"/>
                      <a:pt x="211521" y="2285"/>
                      <a:pt x="207142" y="6759"/>
                    </a:cubicBezTo>
                    <a:cubicBezTo>
                      <a:pt x="202763" y="11233"/>
                      <a:pt x="200574" y="17611"/>
                      <a:pt x="200574" y="25797"/>
                    </a:cubicBezTo>
                    <a:lnTo>
                      <a:pt x="200574" y="211236"/>
                    </a:lnTo>
                    <a:lnTo>
                      <a:pt x="49882" y="15707"/>
                    </a:lnTo>
                    <a:cubicBezTo>
                      <a:pt x="45408" y="10091"/>
                      <a:pt x="41505" y="6092"/>
                      <a:pt x="38268" y="3712"/>
                    </a:cubicBezTo>
                    <a:cubicBezTo>
                      <a:pt x="35032" y="1333"/>
                      <a:pt x="30177" y="95"/>
                      <a:pt x="23704" y="95"/>
                    </a:cubicBezTo>
                    <a:cubicBezTo>
                      <a:pt x="16659" y="95"/>
                      <a:pt x="10948" y="2380"/>
                      <a:pt x="6568" y="7044"/>
                    </a:cubicBezTo>
                    <a:cubicBezTo>
                      <a:pt x="2190" y="11709"/>
                      <a:pt x="0" y="18372"/>
                      <a:pt x="0" y="27130"/>
                    </a:cubicBezTo>
                    <a:lnTo>
                      <a:pt x="0" y="278347"/>
                    </a:lnTo>
                    <a:cubicBezTo>
                      <a:pt x="0" y="286820"/>
                      <a:pt x="2190" y="293293"/>
                      <a:pt x="6568" y="297767"/>
                    </a:cubicBezTo>
                    <a:cubicBezTo>
                      <a:pt x="10948" y="302241"/>
                      <a:pt x="17135" y="304526"/>
                      <a:pt x="25322" y="304526"/>
                    </a:cubicBezTo>
                    <a:cubicBezTo>
                      <a:pt x="33508" y="304526"/>
                      <a:pt x="39696" y="302241"/>
                      <a:pt x="43885" y="297767"/>
                    </a:cubicBezTo>
                    <a:cubicBezTo>
                      <a:pt x="48073" y="293293"/>
                      <a:pt x="50167" y="286820"/>
                      <a:pt x="50167" y="278347"/>
                    </a:cubicBezTo>
                    <a:lnTo>
                      <a:pt x="50167" y="92243"/>
                    </a:lnTo>
                    <a:lnTo>
                      <a:pt x="200859" y="288342"/>
                    </a:lnTo>
                    <a:cubicBezTo>
                      <a:pt x="205334" y="293959"/>
                      <a:pt x="209522" y="298052"/>
                      <a:pt x="213330" y="300623"/>
                    </a:cubicBezTo>
                    <a:cubicBezTo>
                      <a:pt x="217138" y="303193"/>
                      <a:pt x="222278" y="304430"/>
                      <a:pt x="228751" y="304430"/>
                    </a:cubicBezTo>
                    <a:cubicBezTo>
                      <a:pt x="235510" y="304430"/>
                      <a:pt x="240841" y="302146"/>
                      <a:pt x="244839" y="297672"/>
                    </a:cubicBezTo>
                    <a:cubicBezTo>
                      <a:pt x="248742" y="293197"/>
                      <a:pt x="250741" y="287010"/>
                      <a:pt x="250741" y="279109"/>
                    </a:cubicBezTo>
                    <a:lnTo>
                      <a:pt x="250741" y="25797"/>
                    </a:lnTo>
                    <a:cubicBezTo>
                      <a:pt x="250741" y="17611"/>
                      <a:pt x="248647" y="11328"/>
                      <a:pt x="244363" y="6759"/>
                    </a:cubicBezTo>
                    <a:cubicBezTo>
                      <a:pt x="240270" y="2285"/>
                      <a:pt x="234082" y="0"/>
                      <a:pt x="22589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" name="Полилиния 18">
                <a:extLst>
                  <a:ext uri="{FF2B5EF4-FFF2-40B4-BE49-F238E27FC236}">
                    <a16:creationId xmlns:a16="http://schemas.microsoft.com/office/drawing/2014/main" id="{ABED481D-93F3-36B8-D3F6-560BB8145AE9}"/>
                  </a:ext>
                </a:extLst>
              </p:cNvPr>
              <p:cNvSpPr/>
              <p:nvPr/>
            </p:nvSpPr>
            <p:spPr>
              <a:xfrm>
                <a:off x="6292289" y="3737142"/>
                <a:ext cx="265210" cy="301003"/>
              </a:xfrm>
              <a:custGeom>
                <a:avLst/>
                <a:gdLst>
                  <a:gd name="connsiteX0" fmla="*/ 241888 w 265210"/>
                  <a:gd name="connsiteY0" fmla="*/ 0 h 301003"/>
                  <a:gd name="connsiteX1" fmla="*/ 23227 w 265210"/>
                  <a:gd name="connsiteY1" fmla="*/ 0 h 301003"/>
                  <a:gd name="connsiteX2" fmla="*/ 6093 w 265210"/>
                  <a:gd name="connsiteY2" fmla="*/ 5712 h 301003"/>
                  <a:gd name="connsiteX3" fmla="*/ 0 w 265210"/>
                  <a:gd name="connsiteY3" fmla="*/ 22371 h 301003"/>
                  <a:gd name="connsiteX4" fmla="*/ 6093 w 265210"/>
                  <a:gd name="connsiteY4" fmla="*/ 39030 h 301003"/>
                  <a:gd name="connsiteX5" fmla="*/ 23227 w 265210"/>
                  <a:gd name="connsiteY5" fmla="*/ 45122 h 301003"/>
                  <a:gd name="connsiteX6" fmla="*/ 105570 w 265210"/>
                  <a:gd name="connsiteY6" fmla="*/ 45122 h 301003"/>
                  <a:gd name="connsiteX7" fmla="*/ 105570 w 265210"/>
                  <a:gd name="connsiteY7" fmla="*/ 273112 h 301003"/>
                  <a:gd name="connsiteX8" fmla="*/ 112519 w 265210"/>
                  <a:gd name="connsiteY8" fmla="*/ 293578 h 301003"/>
                  <a:gd name="connsiteX9" fmla="*/ 132605 w 265210"/>
                  <a:gd name="connsiteY9" fmla="*/ 301003 h 301003"/>
                  <a:gd name="connsiteX10" fmla="*/ 152882 w 265210"/>
                  <a:gd name="connsiteY10" fmla="*/ 293578 h 301003"/>
                  <a:gd name="connsiteX11" fmla="*/ 159641 w 265210"/>
                  <a:gd name="connsiteY11" fmla="*/ 273112 h 301003"/>
                  <a:gd name="connsiteX12" fmla="*/ 159641 w 265210"/>
                  <a:gd name="connsiteY12" fmla="*/ 45122 h 301003"/>
                  <a:gd name="connsiteX13" fmla="*/ 241983 w 265210"/>
                  <a:gd name="connsiteY13" fmla="*/ 45122 h 301003"/>
                  <a:gd name="connsiteX14" fmla="*/ 259118 w 265210"/>
                  <a:gd name="connsiteY14" fmla="*/ 39030 h 301003"/>
                  <a:gd name="connsiteX15" fmla="*/ 265211 w 265210"/>
                  <a:gd name="connsiteY15" fmla="*/ 22371 h 301003"/>
                  <a:gd name="connsiteX16" fmla="*/ 259118 w 265210"/>
                  <a:gd name="connsiteY16" fmla="*/ 5712 h 301003"/>
                  <a:gd name="connsiteX17" fmla="*/ 241888 w 265210"/>
                  <a:gd name="connsiteY17" fmla="*/ 0 h 301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65210" h="301003">
                    <a:moveTo>
                      <a:pt x="241888" y="0"/>
                    </a:moveTo>
                    <a:lnTo>
                      <a:pt x="23227" y="0"/>
                    </a:lnTo>
                    <a:cubicBezTo>
                      <a:pt x="15898" y="0"/>
                      <a:pt x="10186" y="1904"/>
                      <a:pt x="6093" y="5712"/>
                    </a:cubicBezTo>
                    <a:cubicBezTo>
                      <a:pt x="1999" y="9519"/>
                      <a:pt x="0" y="15041"/>
                      <a:pt x="0" y="22371"/>
                    </a:cubicBezTo>
                    <a:cubicBezTo>
                      <a:pt x="0" y="29415"/>
                      <a:pt x="1999" y="34936"/>
                      <a:pt x="6093" y="39030"/>
                    </a:cubicBezTo>
                    <a:cubicBezTo>
                      <a:pt x="10186" y="43123"/>
                      <a:pt x="15898" y="45122"/>
                      <a:pt x="23227" y="45122"/>
                    </a:cubicBezTo>
                    <a:lnTo>
                      <a:pt x="105570" y="45122"/>
                    </a:lnTo>
                    <a:lnTo>
                      <a:pt x="105570" y="273112"/>
                    </a:lnTo>
                    <a:cubicBezTo>
                      <a:pt x="105570" y="281870"/>
                      <a:pt x="107855" y="288628"/>
                      <a:pt x="112519" y="293578"/>
                    </a:cubicBezTo>
                    <a:cubicBezTo>
                      <a:pt x="117184" y="298529"/>
                      <a:pt x="123847" y="301003"/>
                      <a:pt x="132605" y="301003"/>
                    </a:cubicBezTo>
                    <a:cubicBezTo>
                      <a:pt x="141649" y="301003"/>
                      <a:pt x="148407" y="298529"/>
                      <a:pt x="152882" y="293578"/>
                    </a:cubicBezTo>
                    <a:cubicBezTo>
                      <a:pt x="157356" y="288628"/>
                      <a:pt x="159641" y="281870"/>
                      <a:pt x="159641" y="273112"/>
                    </a:cubicBezTo>
                    <a:lnTo>
                      <a:pt x="159641" y="45122"/>
                    </a:lnTo>
                    <a:lnTo>
                      <a:pt x="241983" y="45122"/>
                    </a:lnTo>
                    <a:cubicBezTo>
                      <a:pt x="249313" y="45122"/>
                      <a:pt x="255025" y="43123"/>
                      <a:pt x="259118" y="39030"/>
                    </a:cubicBezTo>
                    <a:cubicBezTo>
                      <a:pt x="263211" y="34936"/>
                      <a:pt x="265211" y="29415"/>
                      <a:pt x="265211" y="22371"/>
                    </a:cubicBezTo>
                    <a:cubicBezTo>
                      <a:pt x="265211" y="15041"/>
                      <a:pt x="263116" y="9519"/>
                      <a:pt x="259118" y="5712"/>
                    </a:cubicBezTo>
                    <a:cubicBezTo>
                      <a:pt x="254835" y="1904"/>
                      <a:pt x="249123" y="0"/>
                      <a:pt x="2418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" name="Полилиния 19">
                <a:extLst>
                  <a:ext uri="{FF2B5EF4-FFF2-40B4-BE49-F238E27FC236}">
                    <a16:creationId xmlns:a16="http://schemas.microsoft.com/office/drawing/2014/main" id="{0BF81DE4-B694-E375-7460-B52134B4D520}"/>
                  </a:ext>
                </a:extLst>
              </p:cNvPr>
              <p:cNvSpPr/>
              <p:nvPr/>
            </p:nvSpPr>
            <p:spPr>
              <a:xfrm>
                <a:off x="6560356" y="3732954"/>
                <a:ext cx="286248" cy="306143"/>
              </a:xfrm>
              <a:custGeom>
                <a:avLst/>
                <a:gdLst>
                  <a:gd name="connsiteX0" fmla="*/ 218661 w 286248"/>
                  <a:gd name="connsiteY0" fmla="*/ 18753 h 306143"/>
                  <a:gd name="connsiteX1" fmla="*/ 143077 w 286248"/>
                  <a:gd name="connsiteY1" fmla="*/ 0 h 306143"/>
                  <a:gd name="connsiteX2" fmla="*/ 84151 w 286248"/>
                  <a:gd name="connsiteY2" fmla="*/ 10757 h 306143"/>
                  <a:gd name="connsiteX3" fmla="*/ 39030 w 286248"/>
                  <a:gd name="connsiteY3" fmla="*/ 41600 h 306143"/>
                  <a:gd name="connsiteX4" fmla="*/ 10091 w 286248"/>
                  <a:gd name="connsiteY4" fmla="*/ 89768 h 306143"/>
                  <a:gd name="connsiteX5" fmla="*/ 0 w 286248"/>
                  <a:gd name="connsiteY5" fmla="*/ 152882 h 306143"/>
                  <a:gd name="connsiteX6" fmla="*/ 17706 w 286248"/>
                  <a:gd name="connsiteY6" fmla="*/ 233701 h 306143"/>
                  <a:gd name="connsiteX7" fmla="*/ 67778 w 286248"/>
                  <a:gd name="connsiteY7" fmla="*/ 287105 h 306143"/>
                  <a:gd name="connsiteX8" fmla="*/ 143172 w 286248"/>
                  <a:gd name="connsiteY8" fmla="*/ 306144 h 306143"/>
                  <a:gd name="connsiteX9" fmla="*/ 202097 w 286248"/>
                  <a:gd name="connsiteY9" fmla="*/ 295387 h 306143"/>
                  <a:gd name="connsiteX10" fmla="*/ 247219 w 286248"/>
                  <a:gd name="connsiteY10" fmla="*/ 264354 h 306143"/>
                  <a:gd name="connsiteX11" fmla="*/ 276158 w 286248"/>
                  <a:gd name="connsiteY11" fmla="*/ 215805 h 306143"/>
                  <a:gd name="connsiteX12" fmla="*/ 286248 w 286248"/>
                  <a:gd name="connsiteY12" fmla="*/ 152501 h 306143"/>
                  <a:gd name="connsiteX13" fmla="*/ 268542 w 286248"/>
                  <a:gd name="connsiteY13" fmla="*/ 71872 h 306143"/>
                  <a:gd name="connsiteX14" fmla="*/ 218661 w 286248"/>
                  <a:gd name="connsiteY14" fmla="*/ 18753 h 306143"/>
                  <a:gd name="connsiteX15" fmla="*/ 219232 w 286248"/>
                  <a:gd name="connsiteY15" fmla="*/ 210189 h 306143"/>
                  <a:gd name="connsiteX16" fmla="*/ 189722 w 286248"/>
                  <a:gd name="connsiteY16" fmla="*/ 246933 h 306143"/>
                  <a:gd name="connsiteX17" fmla="*/ 143077 w 286248"/>
                  <a:gd name="connsiteY17" fmla="*/ 259594 h 306143"/>
                  <a:gd name="connsiteX18" fmla="*/ 79296 w 286248"/>
                  <a:gd name="connsiteY18" fmla="*/ 231322 h 306143"/>
                  <a:gd name="connsiteX19" fmla="*/ 56545 w 286248"/>
                  <a:gd name="connsiteY19" fmla="*/ 152787 h 306143"/>
                  <a:gd name="connsiteX20" fmla="*/ 66921 w 286248"/>
                  <a:gd name="connsiteY20" fmla="*/ 95194 h 306143"/>
                  <a:gd name="connsiteX21" fmla="*/ 96717 w 286248"/>
                  <a:gd name="connsiteY21" fmla="*/ 58925 h 306143"/>
                  <a:gd name="connsiteX22" fmla="*/ 143172 w 286248"/>
                  <a:gd name="connsiteY22" fmla="*/ 46455 h 306143"/>
                  <a:gd name="connsiteX23" fmla="*/ 207142 w 286248"/>
                  <a:gd name="connsiteY23" fmla="*/ 74346 h 306143"/>
                  <a:gd name="connsiteX24" fmla="*/ 229703 w 286248"/>
                  <a:gd name="connsiteY24" fmla="*/ 152882 h 306143"/>
                  <a:gd name="connsiteX25" fmla="*/ 219232 w 286248"/>
                  <a:gd name="connsiteY25" fmla="*/ 210189 h 306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86248" h="306143">
                    <a:moveTo>
                      <a:pt x="218661" y="18753"/>
                    </a:moveTo>
                    <a:cubicBezTo>
                      <a:pt x="197242" y="6283"/>
                      <a:pt x="172111" y="0"/>
                      <a:pt x="143077" y="0"/>
                    </a:cubicBezTo>
                    <a:cubicBezTo>
                      <a:pt x="121372" y="0"/>
                      <a:pt x="101762" y="3617"/>
                      <a:pt x="84151" y="10757"/>
                    </a:cubicBezTo>
                    <a:cubicBezTo>
                      <a:pt x="66541" y="17897"/>
                      <a:pt x="51500" y="28178"/>
                      <a:pt x="39030" y="41600"/>
                    </a:cubicBezTo>
                    <a:cubicBezTo>
                      <a:pt x="26464" y="54927"/>
                      <a:pt x="16849" y="71015"/>
                      <a:pt x="10091" y="89768"/>
                    </a:cubicBezTo>
                    <a:cubicBezTo>
                      <a:pt x="3332" y="108521"/>
                      <a:pt x="0" y="129559"/>
                      <a:pt x="0" y="152882"/>
                    </a:cubicBezTo>
                    <a:cubicBezTo>
                      <a:pt x="0" y="183820"/>
                      <a:pt x="5902" y="210760"/>
                      <a:pt x="17706" y="233701"/>
                    </a:cubicBezTo>
                    <a:cubicBezTo>
                      <a:pt x="29510" y="256643"/>
                      <a:pt x="46169" y="274444"/>
                      <a:pt x="67778" y="287105"/>
                    </a:cubicBezTo>
                    <a:cubicBezTo>
                      <a:pt x="89387" y="299766"/>
                      <a:pt x="114423" y="306144"/>
                      <a:pt x="143172" y="306144"/>
                    </a:cubicBezTo>
                    <a:cubicBezTo>
                      <a:pt x="164876" y="306144"/>
                      <a:pt x="184486" y="302527"/>
                      <a:pt x="202097" y="295387"/>
                    </a:cubicBezTo>
                    <a:cubicBezTo>
                      <a:pt x="219708" y="288247"/>
                      <a:pt x="234748" y="277871"/>
                      <a:pt x="247219" y="264354"/>
                    </a:cubicBezTo>
                    <a:cubicBezTo>
                      <a:pt x="259689" y="250836"/>
                      <a:pt x="269399" y="234653"/>
                      <a:pt x="276158" y="215805"/>
                    </a:cubicBezTo>
                    <a:cubicBezTo>
                      <a:pt x="282917" y="196956"/>
                      <a:pt x="286248" y="175823"/>
                      <a:pt x="286248" y="152501"/>
                    </a:cubicBezTo>
                    <a:cubicBezTo>
                      <a:pt x="286248" y="121563"/>
                      <a:pt x="280346" y="94623"/>
                      <a:pt x="268542" y="71872"/>
                    </a:cubicBezTo>
                    <a:cubicBezTo>
                      <a:pt x="256738" y="49120"/>
                      <a:pt x="239984" y="31224"/>
                      <a:pt x="218661" y="18753"/>
                    </a:cubicBezTo>
                    <a:close/>
                    <a:moveTo>
                      <a:pt x="219232" y="210189"/>
                    </a:moveTo>
                    <a:cubicBezTo>
                      <a:pt x="212378" y="226276"/>
                      <a:pt x="202478" y="238461"/>
                      <a:pt x="189722" y="246933"/>
                    </a:cubicBezTo>
                    <a:cubicBezTo>
                      <a:pt x="176870" y="255406"/>
                      <a:pt x="161354" y="259594"/>
                      <a:pt x="143077" y="259594"/>
                    </a:cubicBezTo>
                    <a:cubicBezTo>
                      <a:pt x="115756" y="259594"/>
                      <a:pt x="94528" y="250170"/>
                      <a:pt x="79296" y="231322"/>
                    </a:cubicBezTo>
                    <a:cubicBezTo>
                      <a:pt x="64066" y="212473"/>
                      <a:pt x="56545" y="186295"/>
                      <a:pt x="56545" y="152787"/>
                    </a:cubicBezTo>
                    <a:cubicBezTo>
                      <a:pt x="56545" y="130321"/>
                      <a:pt x="59972" y="111092"/>
                      <a:pt x="66921" y="95194"/>
                    </a:cubicBezTo>
                    <a:cubicBezTo>
                      <a:pt x="73775" y="79297"/>
                      <a:pt x="83771" y="67207"/>
                      <a:pt x="96717" y="58925"/>
                    </a:cubicBezTo>
                    <a:cubicBezTo>
                      <a:pt x="109663" y="50643"/>
                      <a:pt x="125180" y="46455"/>
                      <a:pt x="143172" y="46455"/>
                    </a:cubicBezTo>
                    <a:cubicBezTo>
                      <a:pt x="170778" y="46455"/>
                      <a:pt x="192101" y="55784"/>
                      <a:pt x="207142" y="74346"/>
                    </a:cubicBezTo>
                    <a:cubicBezTo>
                      <a:pt x="222183" y="92909"/>
                      <a:pt x="229703" y="119088"/>
                      <a:pt x="229703" y="152882"/>
                    </a:cubicBezTo>
                    <a:cubicBezTo>
                      <a:pt x="229608" y="174967"/>
                      <a:pt x="226181" y="194101"/>
                      <a:pt x="219232" y="21018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" name="Полилиния 24">
                <a:extLst>
                  <a:ext uri="{FF2B5EF4-FFF2-40B4-BE49-F238E27FC236}">
                    <a16:creationId xmlns:a16="http://schemas.microsoft.com/office/drawing/2014/main" id="{33A67B84-0B90-C9A1-984E-BE9F7500EEE3}"/>
                  </a:ext>
                </a:extLst>
              </p:cNvPr>
              <p:cNvSpPr/>
              <p:nvPr/>
            </p:nvSpPr>
            <p:spPr>
              <a:xfrm>
                <a:off x="6901341" y="3733716"/>
                <a:ext cx="250740" cy="304525"/>
              </a:xfrm>
              <a:custGeom>
                <a:avLst/>
                <a:gdLst>
                  <a:gd name="connsiteX0" fmla="*/ 225895 w 250740"/>
                  <a:gd name="connsiteY0" fmla="*/ 0 h 304525"/>
                  <a:gd name="connsiteX1" fmla="*/ 207142 w 250740"/>
                  <a:gd name="connsiteY1" fmla="*/ 6759 h 304525"/>
                  <a:gd name="connsiteX2" fmla="*/ 200574 w 250740"/>
                  <a:gd name="connsiteY2" fmla="*/ 25797 h 304525"/>
                  <a:gd name="connsiteX3" fmla="*/ 200574 w 250740"/>
                  <a:gd name="connsiteY3" fmla="*/ 211236 h 304525"/>
                  <a:gd name="connsiteX4" fmla="*/ 49882 w 250740"/>
                  <a:gd name="connsiteY4" fmla="*/ 15707 h 304525"/>
                  <a:gd name="connsiteX5" fmla="*/ 38268 w 250740"/>
                  <a:gd name="connsiteY5" fmla="*/ 3712 h 304525"/>
                  <a:gd name="connsiteX6" fmla="*/ 23703 w 250740"/>
                  <a:gd name="connsiteY6" fmla="*/ 95 h 304525"/>
                  <a:gd name="connsiteX7" fmla="*/ 6568 w 250740"/>
                  <a:gd name="connsiteY7" fmla="*/ 7044 h 304525"/>
                  <a:gd name="connsiteX8" fmla="*/ 0 w 250740"/>
                  <a:gd name="connsiteY8" fmla="*/ 27130 h 304525"/>
                  <a:gd name="connsiteX9" fmla="*/ 0 w 250740"/>
                  <a:gd name="connsiteY9" fmla="*/ 278347 h 304525"/>
                  <a:gd name="connsiteX10" fmla="*/ 6568 w 250740"/>
                  <a:gd name="connsiteY10" fmla="*/ 297767 h 304525"/>
                  <a:gd name="connsiteX11" fmla="*/ 25322 w 250740"/>
                  <a:gd name="connsiteY11" fmla="*/ 304526 h 304525"/>
                  <a:gd name="connsiteX12" fmla="*/ 43884 w 250740"/>
                  <a:gd name="connsiteY12" fmla="*/ 297767 h 304525"/>
                  <a:gd name="connsiteX13" fmla="*/ 50167 w 250740"/>
                  <a:gd name="connsiteY13" fmla="*/ 278347 h 304525"/>
                  <a:gd name="connsiteX14" fmla="*/ 50167 w 250740"/>
                  <a:gd name="connsiteY14" fmla="*/ 92243 h 304525"/>
                  <a:gd name="connsiteX15" fmla="*/ 200859 w 250740"/>
                  <a:gd name="connsiteY15" fmla="*/ 288342 h 304525"/>
                  <a:gd name="connsiteX16" fmla="*/ 213330 w 250740"/>
                  <a:gd name="connsiteY16" fmla="*/ 300623 h 304525"/>
                  <a:gd name="connsiteX17" fmla="*/ 228751 w 250740"/>
                  <a:gd name="connsiteY17" fmla="*/ 304430 h 304525"/>
                  <a:gd name="connsiteX18" fmla="*/ 244839 w 250740"/>
                  <a:gd name="connsiteY18" fmla="*/ 297672 h 304525"/>
                  <a:gd name="connsiteX19" fmla="*/ 250741 w 250740"/>
                  <a:gd name="connsiteY19" fmla="*/ 279109 h 304525"/>
                  <a:gd name="connsiteX20" fmla="*/ 250741 w 250740"/>
                  <a:gd name="connsiteY20" fmla="*/ 25797 h 304525"/>
                  <a:gd name="connsiteX21" fmla="*/ 244363 w 250740"/>
                  <a:gd name="connsiteY21" fmla="*/ 6759 h 304525"/>
                  <a:gd name="connsiteX22" fmla="*/ 225895 w 250740"/>
                  <a:gd name="connsiteY22" fmla="*/ 0 h 304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50740" h="304525">
                    <a:moveTo>
                      <a:pt x="225895" y="0"/>
                    </a:moveTo>
                    <a:cubicBezTo>
                      <a:pt x="217709" y="0"/>
                      <a:pt x="211521" y="2285"/>
                      <a:pt x="207142" y="6759"/>
                    </a:cubicBezTo>
                    <a:cubicBezTo>
                      <a:pt x="202763" y="11233"/>
                      <a:pt x="200574" y="17611"/>
                      <a:pt x="200574" y="25797"/>
                    </a:cubicBezTo>
                    <a:lnTo>
                      <a:pt x="200574" y="211236"/>
                    </a:lnTo>
                    <a:lnTo>
                      <a:pt x="49882" y="15707"/>
                    </a:lnTo>
                    <a:cubicBezTo>
                      <a:pt x="45407" y="10091"/>
                      <a:pt x="41504" y="6092"/>
                      <a:pt x="38268" y="3712"/>
                    </a:cubicBezTo>
                    <a:cubicBezTo>
                      <a:pt x="35031" y="1333"/>
                      <a:pt x="30176" y="95"/>
                      <a:pt x="23703" y="95"/>
                    </a:cubicBezTo>
                    <a:cubicBezTo>
                      <a:pt x="16659" y="95"/>
                      <a:pt x="10947" y="2380"/>
                      <a:pt x="6568" y="7044"/>
                    </a:cubicBezTo>
                    <a:cubicBezTo>
                      <a:pt x="2189" y="11709"/>
                      <a:pt x="0" y="18372"/>
                      <a:pt x="0" y="27130"/>
                    </a:cubicBezTo>
                    <a:lnTo>
                      <a:pt x="0" y="278347"/>
                    </a:lnTo>
                    <a:cubicBezTo>
                      <a:pt x="0" y="286820"/>
                      <a:pt x="2189" y="293293"/>
                      <a:pt x="6568" y="297767"/>
                    </a:cubicBezTo>
                    <a:cubicBezTo>
                      <a:pt x="10947" y="302241"/>
                      <a:pt x="17135" y="304526"/>
                      <a:pt x="25322" y="304526"/>
                    </a:cubicBezTo>
                    <a:cubicBezTo>
                      <a:pt x="33508" y="304526"/>
                      <a:pt x="39696" y="302241"/>
                      <a:pt x="43884" y="297767"/>
                    </a:cubicBezTo>
                    <a:cubicBezTo>
                      <a:pt x="48073" y="293293"/>
                      <a:pt x="50167" y="286820"/>
                      <a:pt x="50167" y="278347"/>
                    </a:cubicBezTo>
                    <a:lnTo>
                      <a:pt x="50167" y="92243"/>
                    </a:lnTo>
                    <a:lnTo>
                      <a:pt x="200859" y="288342"/>
                    </a:lnTo>
                    <a:cubicBezTo>
                      <a:pt x="205334" y="293959"/>
                      <a:pt x="209522" y="298052"/>
                      <a:pt x="213330" y="300623"/>
                    </a:cubicBezTo>
                    <a:cubicBezTo>
                      <a:pt x="217138" y="303193"/>
                      <a:pt x="222278" y="304430"/>
                      <a:pt x="228751" y="304430"/>
                    </a:cubicBezTo>
                    <a:cubicBezTo>
                      <a:pt x="235510" y="304430"/>
                      <a:pt x="240841" y="302146"/>
                      <a:pt x="244839" y="297672"/>
                    </a:cubicBezTo>
                    <a:cubicBezTo>
                      <a:pt x="248742" y="293197"/>
                      <a:pt x="250741" y="287010"/>
                      <a:pt x="250741" y="279109"/>
                    </a:cubicBezTo>
                    <a:lnTo>
                      <a:pt x="250741" y="25797"/>
                    </a:lnTo>
                    <a:cubicBezTo>
                      <a:pt x="250741" y="17611"/>
                      <a:pt x="248647" y="11328"/>
                      <a:pt x="244363" y="6759"/>
                    </a:cubicBezTo>
                    <a:cubicBezTo>
                      <a:pt x="240270" y="2285"/>
                      <a:pt x="234082" y="0"/>
                      <a:pt x="22589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" name="Полилиния 32">
                <a:extLst>
                  <a:ext uri="{FF2B5EF4-FFF2-40B4-BE49-F238E27FC236}">
                    <a16:creationId xmlns:a16="http://schemas.microsoft.com/office/drawing/2014/main" id="{7A3CB6ED-34ED-940C-E167-41AE91068E0E}"/>
                  </a:ext>
                </a:extLst>
              </p:cNvPr>
              <p:cNvSpPr/>
              <p:nvPr/>
            </p:nvSpPr>
            <p:spPr>
              <a:xfrm>
                <a:off x="7207389" y="3732954"/>
                <a:ext cx="286153" cy="306143"/>
              </a:xfrm>
              <a:custGeom>
                <a:avLst/>
                <a:gdLst>
                  <a:gd name="connsiteX0" fmla="*/ 218661 w 286153"/>
                  <a:gd name="connsiteY0" fmla="*/ 18753 h 306143"/>
                  <a:gd name="connsiteX1" fmla="*/ 143077 w 286153"/>
                  <a:gd name="connsiteY1" fmla="*/ 0 h 306143"/>
                  <a:gd name="connsiteX2" fmla="*/ 84151 w 286153"/>
                  <a:gd name="connsiteY2" fmla="*/ 10757 h 306143"/>
                  <a:gd name="connsiteX3" fmla="*/ 39030 w 286153"/>
                  <a:gd name="connsiteY3" fmla="*/ 41600 h 306143"/>
                  <a:gd name="connsiteX4" fmla="*/ 10091 w 286153"/>
                  <a:gd name="connsiteY4" fmla="*/ 89768 h 306143"/>
                  <a:gd name="connsiteX5" fmla="*/ 0 w 286153"/>
                  <a:gd name="connsiteY5" fmla="*/ 152882 h 306143"/>
                  <a:gd name="connsiteX6" fmla="*/ 17706 w 286153"/>
                  <a:gd name="connsiteY6" fmla="*/ 233701 h 306143"/>
                  <a:gd name="connsiteX7" fmla="*/ 67683 w 286153"/>
                  <a:gd name="connsiteY7" fmla="*/ 287105 h 306143"/>
                  <a:gd name="connsiteX8" fmla="*/ 143077 w 286153"/>
                  <a:gd name="connsiteY8" fmla="*/ 306144 h 306143"/>
                  <a:gd name="connsiteX9" fmla="*/ 202002 w 286153"/>
                  <a:gd name="connsiteY9" fmla="*/ 295387 h 306143"/>
                  <a:gd name="connsiteX10" fmla="*/ 247124 w 286153"/>
                  <a:gd name="connsiteY10" fmla="*/ 264354 h 306143"/>
                  <a:gd name="connsiteX11" fmla="*/ 276063 w 286153"/>
                  <a:gd name="connsiteY11" fmla="*/ 215805 h 306143"/>
                  <a:gd name="connsiteX12" fmla="*/ 286153 w 286153"/>
                  <a:gd name="connsiteY12" fmla="*/ 152501 h 306143"/>
                  <a:gd name="connsiteX13" fmla="*/ 268447 w 286153"/>
                  <a:gd name="connsiteY13" fmla="*/ 71872 h 306143"/>
                  <a:gd name="connsiteX14" fmla="*/ 218661 w 286153"/>
                  <a:gd name="connsiteY14" fmla="*/ 18753 h 306143"/>
                  <a:gd name="connsiteX15" fmla="*/ 219327 w 286153"/>
                  <a:gd name="connsiteY15" fmla="*/ 210189 h 306143"/>
                  <a:gd name="connsiteX16" fmla="*/ 189817 w 286153"/>
                  <a:gd name="connsiteY16" fmla="*/ 246933 h 306143"/>
                  <a:gd name="connsiteX17" fmla="*/ 143172 w 286153"/>
                  <a:gd name="connsiteY17" fmla="*/ 259594 h 306143"/>
                  <a:gd name="connsiteX18" fmla="*/ 79392 w 286153"/>
                  <a:gd name="connsiteY18" fmla="*/ 231322 h 306143"/>
                  <a:gd name="connsiteX19" fmla="*/ 56641 w 286153"/>
                  <a:gd name="connsiteY19" fmla="*/ 152787 h 306143"/>
                  <a:gd name="connsiteX20" fmla="*/ 67017 w 286153"/>
                  <a:gd name="connsiteY20" fmla="*/ 95194 h 306143"/>
                  <a:gd name="connsiteX21" fmla="*/ 96812 w 286153"/>
                  <a:gd name="connsiteY21" fmla="*/ 58925 h 306143"/>
                  <a:gd name="connsiteX22" fmla="*/ 143267 w 286153"/>
                  <a:gd name="connsiteY22" fmla="*/ 46455 h 306143"/>
                  <a:gd name="connsiteX23" fmla="*/ 207237 w 286153"/>
                  <a:gd name="connsiteY23" fmla="*/ 74346 h 306143"/>
                  <a:gd name="connsiteX24" fmla="*/ 229798 w 286153"/>
                  <a:gd name="connsiteY24" fmla="*/ 152882 h 306143"/>
                  <a:gd name="connsiteX25" fmla="*/ 219327 w 286153"/>
                  <a:gd name="connsiteY25" fmla="*/ 210189 h 306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86153" h="306143">
                    <a:moveTo>
                      <a:pt x="218661" y="18753"/>
                    </a:moveTo>
                    <a:cubicBezTo>
                      <a:pt x="197242" y="6283"/>
                      <a:pt x="172111" y="0"/>
                      <a:pt x="143077" y="0"/>
                    </a:cubicBezTo>
                    <a:cubicBezTo>
                      <a:pt x="121372" y="0"/>
                      <a:pt x="101762" y="3617"/>
                      <a:pt x="84151" y="10757"/>
                    </a:cubicBezTo>
                    <a:cubicBezTo>
                      <a:pt x="66541" y="17897"/>
                      <a:pt x="51500" y="28178"/>
                      <a:pt x="39030" y="41600"/>
                    </a:cubicBezTo>
                    <a:cubicBezTo>
                      <a:pt x="26464" y="54927"/>
                      <a:pt x="16849" y="71015"/>
                      <a:pt x="10091" y="89768"/>
                    </a:cubicBezTo>
                    <a:cubicBezTo>
                      <a:pt x="3332" y="108521"/>
                      <a:pt x="0" y="129559"/>
                      <a:pt x="0" y="152882"/>
                    </a:cubicBezTo>
                    <a:cubicBezTo>
                      <a:pt x="0" y="183820"/>
                      <a:pt x="5902" y="210760"/>
                      <a:pt x="17706" y="233701"/>
                    </a:cubicBezTo>
                    <a:cubicBezTo>
                      <a:pt x="29510" y="256643"/>
                      <a:pt x="46169" y="274444"/>
                      <a:pt x="67683" y="287105"/>
                    </a:cubicBezTo>
                    <a:cubicBezTo>
                      <a:pt x="89197" y="299766"/>
                      <a:pt x="114328" y="306144"/>
                      <a:pt x="143077" y="306144"/>
                    </a:cubicBezTo>
                    <a:cubicBezTo>
                      <a:pt x="164781" y="306144"/>
                      <a:pt x="184391" y="302527"/>
                      <a:pt x="202002" y="295387"/>
                    </a:cubicBezTo>
                    <a:cubicBezTo>
                      <a:pt x="219613" y="288247"/>
                      <a:pt x="234653" y="277871"/>
                      <a:pt x="247124" y="264354"/>
                    </a:cubicBezTo>
                    <a:cubicBezTo>
                      <a:pt x="259594" y="250836"/>
                      <a:pt x="269304" y="234653"/>
                      <a:pt x="276063" y="215805"/>
                    </a:cubicBezTo>
                    <a:cubicBezTo>
                      <a:pt x="282821" y="196956"/>
                      <a:pt x="286153" y="175823"/>
                      <a:pt x="286153" y="152501"/>
                    </a:cubicBezTo>
                    <a:cubicBezTo>
                      <a:pt x="286153" y="121563"/>
                      <a:pt x="280251" y="94623"/>
                      <a:pt x="268447" y="71872"/>
                    </a:cubicBezTo>
                    <a:cubicBezTo>
                      <a:pt x="256738" y="48930"/>
                      <a:pt x="240079" y="31224"/>
                      <a:pt x="218661" y="18753"/>
                    </a:cubicBezTo>
                    <a:close/>
                    <a:moveTo>
                      <a:pt x="219327" y="210189"/>
                    </a:moveTo>
                    <a:cubicBezTo>
                      <a:pt x="212473" y="226276"/>
                      <a:pt x="202573" y="238461"/>
                      <a:pt x="189817" y="246933"/>
                    </a:cubicBezTo>
                    <a:cubicBezTo>
                      <a:pt x="176966" y="255406"/>
                      <a:pt x="161449" y="259594"/>
                      <a:pt x="143172" y="259594"/>
                    </a:cubicBezTo>
                    <a:cubicBezTo>
                      <a:pt x="115851" y="259594"/>
                      <a:pt x="94623" y="250170"/>
                      <a:pt x="79392" y="231322"/>
                    </a:cubicBezTo>
                    <a:cubicBezTo>
                      <a:pt x="64161" y="212473"/>
                      <a:pt x="56641" y="186295"/>
                      <a:pt x="56641" y="152787"/>
                    </a:cubicBezTo>
                    <a:cubicBezTo>
                      <a:pt x="56641" y="130321"/>
                      <a:pt x="60067" y="111092"/>
                      <a:pt x="67017" y="95194"/>
                    </a:cubicBezTo>
                    <a:cubicBezTo>
                      <a:pt x="73871" y="79297"/>
                      <a:pt x="83866" y="67207"/>
                      <a:pt x="96812" y="58925"/>
                    </a:cubicBezTo>
                    <a:cubicBezTo>
                      <a:pt x="109759" y="50643"/>
                      <a:pt x="125180" y="46455"/>
                      <a:pt x="143267" y="46455"/>
                    </a:cubicBezTo>
                    <a:cubicBezTo>
                      <a:pt x="170873" y="46455"/>
                      <a:pt x="192197" y="55784"/>
                      <a:pt x="207237" y="74346"/>
                    </a:cubicBezTo>
                    <a:cubicBezTo>
                      <a:pt x="222278" y="92909"/>
                      <a:pt x="229798" y="119088"/>
                      <a:pt x="229798" y="152882"/>
                    </a:cubicBezTo>
                    <a:cubicBezTo>
                      <a:pt x="229703" y="174967"/>
                      <a:pt x="226276" y="194101"/>
                      <a:pt x="219327" y="21018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" name="Полилиния 34">
                <a:extLst>
                  <a:ext uri="{FF2B5EF4-FFF2-40B4-BE49-F238E27FC236}">
                    <a16:creationId xmlns:a16="http://schemas.microsoft.com/office/drawing/2014/main" id="{AECC1CE8-C9B0-EF33-CBFC-069B3953E2F2}"/>
                  </a:ext>
                </a:extLst>
              </p:cNvPr>
              <p:cNvSpPr/>
              <p:nvPr/>
            </p:nvSpPr>
            <p:spPr>
              <a:xfrm>
                <a:off x="7514958" y="3733716"/>
                <a:ext cx="288127" cy="304335"/>
              </a:xfrm>
              <a:custGeom>
                <a:avLst/>
                <a:gdLst>
                  <a:gd name="connsiteX0" fmla="*/ 287679 w 288127"/>
                  <a:gd name="connsiteY0" fmla="*/ 17325 h 304335"/>
                  <a:gd name="connsiteX1" fmla="*/ 279873 w 288127"/>
                  <a:gd name="connsiteY1" fmla="*/ 4664 h 304335"/>
                  <a:gd name="connsiteX2" fmla="*/ 264452 w 288127"/>
                  <a:gd name="connsiteY2" fmla="*/ 0 h 304335"/>
                  <a:gd name="connsiteX3" fmla="*/ 246746 w 288127"/>
                  <a:gd name="connsiteY3" fmla="*/ 5236 h 304335"/>
                  <a:gd name="connsiteX4" fmla="*/ 235798 w 288127"/>
                  <a:gd name="connsiteY4" fmla="*/ 20657 h 304335"/>
                  <a:gd name="connsiteX5" fmla="*/ 145269 w 288127"/>
                  <a:gd name="connsiteY5" fmla="*/ 231702 h 304335"/>
                  <a:gd name="connsiteX6" fmla="*/ 54359 w 288127"/>
                  <a:gd name="connsiteY6" fmla="*/ 21038 h 304335"/>
                  <a:gd name="connsiteX7" fmla="*/ 43982 w 288127"/>
                  <a:gd name="connsiteY7" fmla="*/ 5236 h 304335"/>
                  <a:gd name="connsiteX8" fmla="*/ 25610 w 288127"/>
                  <a:gd name="connsiteY8" fmla="*/ 0 h 304335"/>
                  <a:gd name="connsiteX9" fmla="*/ 9522 w 288127"/>
                  <a:gd name="connsiteY9" fmla="*/ 4664 h 304335"/>
                  <a:gd name="connsiteX10" fmla="*/ 669 w 288127"/>
                  <a:gd name="connsiteY10" fmla="*/ 17325 h 304335"/>
                  <a:gd name="connsiteX11" fmla="*/ 3239 w 288127"/>
                  <a:gd name="connsiteY11" fmla="*/ 35888 h 304335"/>
                  <a:gd name="connsiteX12" fmla="*/ 113379 w 288127"/>
                  <a:gd name="connsiteY12" fmla="*/ 283297 h 304335"/>
                  <a:gd name="connsiteX13" fmla="*/ 125374 w 288127"/>
                  <a:gd name="connsiteY13" fmla="*/ 299099 h 304335"/>
                  <a:gd name="connsiteX14" fmla="*/ 144127 w 288127"/>
                  <a:gd name="connsiteY14" fmla="*/ 304335 h 304335"/>
                  <a:gd name="connsiteX15" fmla="*/ 162880 w 288127"/>
                  <a:gd name="connsiteY15" fmla="*/ 299099 h 304335"/>
                  <a:gd name="connsiteX16" fmla="*/ 174494 w 288127"/>
                  <a:gd name="connsiteY16" fmla="*/ 283297 h 304335"/>
                  <a:gd name="connsiteX17" fmla="*/ 284633 w 288127"/>
                  <a:gd name="connsiteY17" fmla="*/ 35888 h 304335"/>
                  <a:gd name="connsiteX18" fmla="*/ 287679 w 288127"/>
                  <a:gd name="connsiteY18" fmla="*/ 17325 h 30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8127" h="304335">
                    <a:moveTo>
                      <a:pt x="287679" y="17325"/>
                    </a:moveTo>
                    <a:cubicBezTo>
                      <a:pt x="286537" y="11994"/>
                      <a:pt x="283967" y="7806"/>
                      <a:pt x="279873" y="4664"/>
                    </a:cubicBezTo>
                    <a:cubicBezTo>
                      <a:pt x="275780" y="1523"/>
                      <a:pt x="270639" y="0"/>
                      <a:pt x="264452" y="0"/>
                    </a:cubicBezTo>
                    <a:cubicBezTo>
                      <a:pt x="256836" y="0"/>
                      <a:pt x="250934" y="1713"/>
                      <a:pt x="246746" y="5236"/>
                    </a:cubicBezTo>
                    <a:cubicBezTo>
                      <a:pt x="242557" y="8758"/>
                      <a:pt x="238845" y="13898"/>
                      <a:pt x="235798" y="20657"/>
                    </a:cubicBezTo>
                    <a:lnTo>
                      <a:pt x="145269" y="231702"/>
                    </a:lnTo>
                    <a:lnTo>
                      <a:pt x="54359" y="21038"/>
                    </a:lnTo>
                    <a:cubicBezTo>
                      <a:pt x="51503" y="13994"/>
                      <a:pt x="48076" y="8758"/>
                      <a:pt x="43982" y="5236"/>
                    </a:cubicBezTo>
                    <a:cubicBezTo>
                      <a:pt x="39889" y="1713"/>
                      <a:pt x="33797" y="0"/>
                      <a:pt x="25610" y="0"/>
                    </a:cubicBezTo>
                    <a:cubicBezTo>
                      <a:pt x="19423" y="0"/>
                      <a:pt x="14092" y="1523"/>
                      <a:pt x="9522" y="4664"/>
                    </a:cubicBezTo>
                    <a:cubicBezTo>
                      <a:pt x="5048" y="7806"/>
                      <a:pt x="2097" y="11994"/>
                      <a:pt x="669" y="17325"/>
                    </a:cubicBezTo>
                    <a:cubicBezTo>
                      <a:pt x="-759" y="22656"/>
                      <a:pt x="98" y="28844"/>
                      <a:pt x="3239" y="35888"/>
                    </a:cubicBezTo>
                    <a:lnTo>
                      <a:pt x="113379" y="283297"/>
                    </a:lnTo>
                    <a:cubicBezTo>
                      <a:pt x="116520" y="290342"/>
                      <a:pt x="120519" y="295577"/>
                      <a:pt x="125374" y="299099"/>
                    </a:cubicBezTo>
                    <a:cubicBezTo>
                      <a:pt x="130323" y="302622"/>
                      <a:pt x="136606" y="304335"/>
                      <a:pt x="144127" y="304335"/>
                    </a:cubicBezTo>
                    <a:cubicBezTo>
                      <a:pt x="152028" y="304335"/>
                      <a:pt x="158215" y="302622"/>
                      <a:pt x="162880" y="299099"/>
                    </a:cubicBezTo>
                    <a:cubicBezTo>
                      <a:pt x="167544" y="295577"/>
                      <a:pt x="171352" y="290342"/>
                      <a:pt x="174494" y="283297"/>
                    </a:cubicBezTo>
                    <a:lnTo>
                      <a:pt x="284633" y="35888"/>
                    </a:lnTo>
                    <a:cubicBezTo>
                      <a:pt x="287774" y="28844"/>
                      <a:pt x="288821" y="22656"/>
                      <a:pt x="287679" y="173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sp>
        <p:nvSpPr>
          <p:cNvPr id="43" name="Rectangle: Rounded Corners 70">
            <a:extLst>
              <a:ext uri="{FF2B5EF4-FFF2-40B4-BE49-F238E27FC236}">
                <a16:creationId xmlns:a16="http://schemas.microsoft.com/office/drawing/2014/main" id="{3EA50D41-584A-AB41-019B-90B2427FC47E}"/>
              </a:ext>
            </a:extLst>
          </p:cNvPr>
          <p:cNvSpPr/>
          <p:nvPr/>
        </p:nvSpPr>
        <p:spPr>
          <a:xfrm rot="10800000">
            <a:off x="507863" y="-2299003"/>
            <a:ext cx="5997183" cy="1136385"/>
          </a:xfrm>
          <a:prstGeom prst="roundRect">
            <a:avLst>
              <a:gd name="adj" fmla="val 27611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40729235-7706-2346-D3D2-53D6C5A037AE}"/>
              </a:ext>
            </a:extLst>
          </p:cNvPr>
          <p:cNvSpPr/>
          <p:nvPr/>
        </p:nvSpPr>
        <p:spPr>
          <a:xfrm rot="5400000">
            <a:off x="1335478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2FC23343-0242-E0C1-E61E-DFDF8EDBB4F2}"/>
              </a:ext>
            </a:extLst>
          </p:cNvPr>
          <p:cNvSpPr/>
          <p:nvPr/>
        </p:nvSpPr>
        <p:spPr>
          <a:xfrm rot="5400000">
            <a:off x="1780257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DAB044F4-9FCA-369D-6353-52C096264D70}"/>
              </a:ext>
            </a:extLst>
          </p:cNvPr>
          <p:cNvSpPr/>
          <p:nvPr/>
        </p:nvSpPr>
        <p:spPr>
          <a:xfrm rot="5400000">
            <a:off x="2225036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E1C04F78-2BA0-25C8-8050-7C7F7D5A923B}"/>
              </a:ext>
            </a:extLst>
          </p:cNvPr>
          <p:cNvSpPr/>
          <p:nvPr/>
        </p:nvSpPr>
        <p:spPr>
          <a:xfrm rot="5400000">
            <a:off x="2669815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58CD7D83-B22D-2F38-BC61-41322E552EC9}"/>
              </a:ext>
            </a:extLst>
          </p:cNvPr>
          <p:cNvSpPr/>
          <p:nvPr/>
        </p:nvSpPr>
        <p:spPr>
          <a:xfrm rot="5400000">
            <a:off x="3114594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>
            <a:extLst>
              <a:ext uri="{FF2B5EF4-FFF2-40B4-BE49-F238E27FC236}">
                <a16:creationId xmlns:a16="http://schemas.microsoft.com/office/drawing/2014/main" id="{0E18D4F0-71C6-171D-E1A8-1E2266FE0C91}"/>
              </a:ext>
            </a:extLst>
          </p:cNvPr>
          <p:cNvSpPr/>
          <p:nvPr/>
        </p:nvSpPr>
        <p:spPr>
          <a:xfrm rot="5400000">
            <a:off x="3559373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Скругленный прямоугольник 49">
            <a:extLst>
              <a:ext uri="{FF2B5EF4-FFF2-40B4-BE49-F238E27FC236}">
                <a16:creationId xmlns:a16="http://schemas.microsoft.com/office/drawing/2014/main" id="{12709B9D-CF4E-7906-4FC4-0F3C5305B56F}"/>
              </a:ext>
            </a:extLst>
          </p:cNvPr>
          <p:cNvSpPr/>
          <p:nvPr/>
        </p:nvSpPr>
        <p:spPr>
          <a:xfrm rot="5400000">
            <a:off x="4004152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Скругленный прямоугольник 50">
            <a:extLst>
              <a:ext uri="{FF2B5EF4-FFF2-40B4-BE49-F238E27FC236}">
                <a16:creationId xmlns:a16="http://schemas.microsoft.com/office/drawing/2014/main" id="{3A5392D6-ACBB-F9FC-D049-3630473521B5}"/>
              </a:ext>
            </a:extLst>
          </p:cNvPr>
          <p:cNvSpPr/>
          <p:nvPr/>
        </p:nvSpPr>
        <p:spPr>
          <a:xfrm rot="5400000">
            <a:off x="5338493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кругленный прямоугольник 51">
            <a:extLst>
              <a:ext uri="{FF2B5EF4-FFF2-40B4-BE49-F238E27FC236}">
                <a16:creationId xmlns:a16="http://schemas.microsoft.com/office/drawing/2014/main" id="{11D12723-F0FD-22A8-99BF-DC5808532D2F}"/>
              </a:ext>
            </a:extLst>
          </p:cNvPr>
          <p:cNvSpPr/>
          <p:nvPr/>
        </p:nvSpPr>
        <p:spPr>
          <a:xfrm rot="5400000">
            <a:off x="4893710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кругленный прямоугольник 52">
            <a:extLst>
              <a:ext uri="{FF2B5EF4-FFF2-40B4-BE49-F238E27FC236}">
                <a16:creationId xmlns:a16="http://schemas.microsoft.com/office/drawing/2014/main" id="{0ABB5716-93DA-86EF-FE2E-33EEAC68C99B}"/>
              </a:ext>
            </a:extLst>
          </p:cNvPr>
          <p:cNvSpPr/>
          <p:nvPr/>
        </p:nvSpPr>
        <p:spPr>
          <a:xfrm rot="5400000">
            <a:off x="4448931" y="-2091010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5AD49C4-4A9F-8232-D2BF-8971273A9022}"/>
              </a:ext>
            </a:extLst>
          </p:cNvPr>
          <p:cNvSpPr txBox="1"/>
          <p:nvPr/>
        </p:nvSpPr>
        <p:spPr>
          <a:xfrm>
            <a:off x="1289469" y="-1730811"/>
            <a:ext cx="5188527" cy="385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" panose="020B0305040102020103" pitchFamily="34" charset="0"/>
                <a:cs typeface="Times New Roman" panose="02020603050405020304" pitchFamily="18" charset="0"/>
              </a:rPr>
              <a:t>Азбука качественного визуала</a:t>
            </a:r>
          </a:p>
        </p:txBody>
      </p:sp>
      <p:sp>
        <p:nvSpPr>
          <p:cNvPr id="57" name="Овал 56">
            <a:extLst>
              <a:ext uri="{FF2B5EF4-FFF2-40B4-BE49-F238E27FC236}">
                <a16:creationId xmlns:a16="http://schemas.microsoft.com/office/drawing/2014/main" id="{291D6ABD-FB36-2F9A-CE89-4FE61BA38470}"/>
              </a:ext>
            </a:extLst>
          </p:cNvPr>
          <p:cNvSpPr/>
          <p:nvPr/>
        </p:nvSpPr>
        <p:spPr>
          <a:xfrm>
            <a:off x="9320664" y="13625274"/>
            <a:ext cx="343933" cy="343933"/>
          </a:xfrm>
          <a:prstGeom prst="ellipse">
            <a:avLst/>
          </a:prstGeom>
          <a:solidFill>
            <a:srgbClr val="C0D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7706585C-5D0A-8A38-630E-243E838BCD48}"/>
              </a:ext>
            </a:extLst>
          </p:cNvPr>
          <p:cNvCxnSpPr/>
          <p:nvPr/>
        </p:nvCxnSpPr>
        <p:spPr>
          <a:xfrm>
            <a:off x="9492630" y="13969207"/>
            <a:ext cx="1" cy="618004"/>
          </a:xfrm>
          <a:prstGeom prst="line">
            <a:avLst/>
          </a:prstGeom>
          <a:ln w="19050">
            <a:solidFill>
              <a:srgbClr val="C0DC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70" name="Полилиния 69">
            <a:extLst>
              <a:ext uri="{FF2B5EF4-FFF2-40B4-BE49-F238E27FC236}">
                <a16:creationId xmlns:a16="http://schemas.microsoft.com/office/drawing/2014/main" id="{24DE8412-9751-DB1A-8373-40D74883F18E}"/>
              </a:ext>
            </a:extLst>
          </p:cNvPr>
          <p:cNvSpPr/>
          <p:nvPr/>
        </p:nvSpPr>
        <p:spPr>
          <a:xfrm>
            <a:off x="507862" y="-4173817"/>
            <a:ext cx="5997184" cy="3047995"/>
          </a:xfrm>
          <a:custGeom>
            <a:avLst/>
            <a:gdLst>
              <a:gd name="connsiteX0" fmla="*/ 0 w 5997184"/>
              <a:gd name="connsiteY0" fmla="*/ 0 h 3047995"/>
              <a:gd name="connsiteX1" fmla="*/ 5997184 w 5997184"/>
              <a:gd name="connsiteY1" fmla="*/ 0 h 3047995"/>
              <a:gd name="connsiteX2" fmla="*/ 5997184 w 5997184"/>
              <a:gd name="connsiteY2" fmla="*/ 2225376 h 3047995"/>
              <a:gd name="connsiteX3" fmla="*/ 5997184 w 5997184"/>
              <a:gd name="connsiteY3" fmla="*/ 2734227 h 3047995"/>
              <a:gd name="connsiteX4" fmla="*/ 5997184 w 5997184"/>
              <a:gd name="connsiteY4" fmla="*/ 3047995 h 3047995"/>
              <a:gd name="connsiteX5" fmla="*/ 0 w 5997184"/>
              <a:gd name="connsiteY5" fmla="*/ 3047995 h 304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97184" h="3047995">
                <a:moveTo>
                  <a:pt x="0" y="0"/>
                </a:moveTo>
                <a:lnTo>
                  <a:pt x="5997184" y="0"/>
                </a:lnTo>
                <a:lnTo>
                  <a:pt x="5997184" y="2225376"/>
                </a:lnTo>
                <a:lnTo>
                  <a:pt x="5997184" y="2734227"/>
                </a:lnTo>
                <a:lnTo>
                  <a:pt x="5997184" y="3047995"/>
                </a:lnTo>
                <a:lnTo>
                  <a:pt x="0" y="304799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66" name="Овал 65">
            <a:extLst>
              <a:ext uri="{FF2B5EF4-FFF2-40B4-BE49-F238E27FC236}">
                <a16:creationId xmlns:a16="http://schemas.microsoft.com/office/drawing/2014/main" id="{B44618A9-8583-E84A-F65A-4789E1495E84}"/>
              </a:ext>
            </a:extLst>
          </p:cNvPr>
          <p:cNvSpPr/>
          <p:nvPr/>
        </p:nvSpPr>
        <p:spPr>
          <a:xfrm>
            <a:off x="5520584" y="3838444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id="{15F787AB-C96E-A100-E1F6-6A6DFC121336}"/>
              </a:ext>
            </a:extLst>
          </p:cNvPr>
          <p:cNvSpPr/>
          <p:nvPr/>
        </p:nvSpPr>
        <p:spPr>
          <a:xfrm>
            <a:off x="8527425" y="4115829"/>
            <a:ext cx="3743983" cy="3743983"/>
          </a:xfrm>
          <a:prstGeom prst="ellipse">
            <a:avLst/>
          </a:prstGeom>
          <a:gradFill flip="none" rotWithShape="1">
            <a:gsLst>
              <a:gs pos="54000">
                <a:srgbClr val="18A0D0">
                  <a:alpha val="0"/>
                </a:srgbClr>
              </a:gs>
              <a:gs pos="99000">
                <a:srgbClr val="18A0D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137D4D16-C3D3-BEB9-7BD7-FB677A4320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023" y="1321008"/>
            <a:ext cx="3709200" cy="4258277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5B228D75-5638-C675-D37E-29D197B276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50641" y="1299862"/>
            <a:ext cx="3702336" cy="4258277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B99F7806-AE3D-6FFB-3876-CC49D702D1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3607" y="1299862"/>
            <a:ext cx="3811649" cy="4258277"/>
          </a:xfrm>
          <a:prstGeom prst="roundRect">
            <a:avLst>
              <a:gd name="adj" fmla="val 5939"/>
            </a:avLst>
          </a:prstGeom>
          <a:ln>
            <a:solidFill>
              <a:schemeClr val="tx1"/>
            </a:solidFill>
          </a:ln>
        </p:spPr>
      </p:pic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92226AD8-5853-C774-61CA-E538719605F1}"/>
              </a:ext>
            </a:extLst>
          </p:cNvPr>
          <p:cNvGrpSpPr/>
          <p:nvPr/>
        </p:nvGrpSpPr>
        <p:grpSpPr>
          <a:xfrm>
            <a:off x="212227" y="5691598"/>
            <a:ext cx="3735993" cy="963847"/>
            <a:chOff x="212227" y="5691598"/>
            <a:chExt cx="3735993" cy="963847"/>
          </a:xfrm>
        </p:grpSpPr>
        <p:sp>
          <p:nvSpPr>
            <p:cNvPr id="72" name="Rectangle: Rounded Corners 70">
              <a:extLst>
                <a:ext uri="{FF2B5EF4-FFF2-40B4-BE49-F238E27FC236}">
                  <a16:creationId xmlns:a16="http://schemas.microsoft.com/office/drawing/2014/main" id="{553BBD4B-9C86-C3E1-A73F-0C932B152920}"/>
                </a:ext>
              </a:extLst>
            </p:cNvPr>
            <p:cNvSpPr/>
            <p:nvPr/>
          </p:nvSpPr>
          <p:spPr>
            <a:xfrm rot="10800000">
              <a:off x="212227" y="5691598"/>
              <a:ext cx="3735993" cy="96384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73093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3397A4D6-083F-99AE-013E-D833FDC8EF3A}"/>
                </a:ext>
              </a:extLst>
            </p:cNvPr>
            <p:cNvSpPr txBox="1"/>
            <p:nvPr/>
          </p:nvSpPr>
          <p:spPr>
            <a:xfrm>
              <a:off x="854673" y="5850357"/>
              <a:ext cx="24511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3600" b="1" dirty="0">
                  <a:solidFill>
                    <a:srgbClr val="620CFD"/>
                  </a:solidFill>
                  <a:latin typeface="Unbounded ExtraBold" panose="020B0305040102020103" pitchFamily="34" charset="0"/>
                </a:rPr>
                <a:t>64 000</a:t>
              </a:r>
            </a:p>
          </p:txBody>
        </p:sp>
      </p:grp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16AF047C-6C5D-1B20-CD74-49C4E6944040}"/>
              </a:ext>
            </a:extLst>
          </p:cNvPr>
          <p:cNvGrpSpPr/>
          <p:nvPr/>
        </p:nvGrpSpPr>
        <p:grpSpPr>
          <a:xfrm>
            <a:off x="4221287" y="5691598"/>
            <a:ext cx="3735993" cy="963847"/>
            <a:chOff x="212227" y="5691598"/>
            <a:chExt cx="3735993" cy="963847"/>
          </a:xfrm>
        </p:grpSpPr>
        <p:sp>
          <p:nvSpPr>
            <p:cNvPr id="65" name="Rectangle: Rounded Corners 70">
              <a:extLst>
                <a:ext uri="{FF2B5EF4-FFF2-40B4-BE49-F238E27FC236}">
                  <a16:creationId xmlns:a16="http://schemas.microsoft.com/office/drawing/2014/main" id="{298893DD-0CC4-B3BA-5FD0-7AF07DF9A3F5}"/>
                </a:ext>
              </a:extLst>
            </p:cNvPr>
            <p:cNvSpPr/>
            <p:nvPr/>
          </p:nvSpPr>
          <p:spPr>
            <a:xfrm rot="10800000">
              <a:off x="212227" y="5691598"/>
              <a:ext cx="3735993" cy="96384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73093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F0F241F9-7675-765B-7061-AFF06F43E61A}"/>
                </a:ext>
              </a:extLst>
            </p:cNvPr>
            <p:cNvSpPr txBox="1"/>
            <p:nvPr/>
          </p:nvSpPr>
          <p:spPr>
            <a:xfrm>
              <a:off x="613084" y="5850357"/>
              <a:ext cx="293427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3600" b="1" dirty="0">
                  <a:solidFill>
                    <a:srgbClr val="620CFD"/>
                  </a:solidFill>
                  <a:latin typeface="Unbounded ExtraBold" panose="020B0305040102020103" pitchFamily="34" charset="0"/>
                </a:rPr>
                <a:t>106 700</a:t>
              </a:r>
            </a:p>
          </p:txBody>
        </p:sp>
      </p:grp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id="{A7D16E47-88B3-3623-26C7-3B649B6F8F30}"/>
              </a:ext>
            </a:extLst>
          </p:cNvPr>
          <p:cNvGrpSpPr/>
          <p:nvPr/>
        </p:nvGrpSpPr>
        <p:grpSpPr>
          <a:xfrm>
            <a:off x="8233812" y="5691598"/>
            <a:ext cx="3735993" cy="963847"/>
            <a:chOff x="212227" y="5691598"/>
            <a:chExt cx="3735993" cy="963847"/>
          </a:xfrm>
        </p:grpSpPr>
        <p:sp>
          <p:nvSpPr>
            <p:cNvPr id="78" name="Rectangle: Rounded Corners 70">
              <a:extLst>
                <a:ext uri="{FF2B5EF4-FFF2-40B4-BE49-F238E27FC236}">
                  <a16:creationId xmlns:a16="http://schemas.microsoft.com/office/drawing/2014/main" id="{3B4F851C-D00B-B5B6-0655-EF90C567CEC5}"/>
                </a:ext>
              </a:extLst>
            </p:cNvPr>
            <p:cNvSpPr/>
            <p:nvPr/>
          </p:nvSpPr>
          <p:spPr>
            <a:xfrm rot="10800000">
              <a:off x="212227" y="5691598"/>
              <a:ext cx="3735993" cy="96384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73093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6EC9622A-34E1-73E2-EE58-D58F0FB5D684}"/>
                </a:ext>
              </a:extLst>
            </p:cNvPr>
            <p:cNvSpPr txBox="1"/>
            <p:nvPr/>
          </p:nvSpPr>
          <p:spPr>
            <a:xfrm>
              <a:off x="613084" y="5850357"/>
              <a:ext cx="293427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3600" b="1" dirty="0">
                  <a:solidFill>
                    <a:srgbClr val="620CFD"/>
                  </a:solidFill>
                  <a:latin typeface="Unbounded ExtraBold" panose="020B0305040102020103" pitchFamily="34" charset="0"/>
                </a:rPr>
                <a:t>75 200</a:t>
              </a:r>
            </a:p>
          </p:txBody>
        </p:sp>
      </p:grpSp>
      <p:sp>
        <p:nvSpPr>
          <p:cNvPr id="86" name="Полилиния 85">
            <a:extLst>
              <a:ext uri="{FF2B5EF4-FFF2-40B4-BE49-F238E27FC236}">
                <a16:creationId xmlns:a16="http://schemas.microsoft.com/office/drawing/2014/main" id="{9E0903E6-1FCA-58C7-2F85-C5809DBA4ABB}"/>
              </a:ext>
            </a:extLst>
          </p:cNvPr>
          <p:cNvSpPr/>
          <p:nvPr/>
        </p:nvSpPr>
        <p:spPr>
          <a:xfrm>
            <a:off x="239022" y="1321008"/>
            <a:ext cx="3682879" cy="4258277"/>
          </a:xfrm>
          <a:custGeom>
            <a:avLst/>
            <a:gdLst>
              <a:gd name="connsiteX0" fmla="*/ 3420091 w 3682879"/>
              <a:gd name="connsiteY0" fmla="*/ 3574688 h 4258277"/>
              <a:gd name="connsiteX1" fmla="*/ 3197701 w 3682879"/>
              <a:gd name="connsiteY1" fmla="*/ 3797078 h 4258277"/>
              <a:gd name="connsiteX2" fmla="*/ 3420091 w 3682879"/>
              <a:gd name="connsiteY2" fmla="*/ 4019468 h 4258277"/>
              <a:gd name="connsiteX3" fmla="*/ 3642481 w 3682879"/>
              <a:gd name="connsiteY3" fmla="*/ 3797078 h 4258277"/>
              <a:gd name="connsiteX4" fmla="*/ 3420091 w 3682879"/>
              <a:gd name="connsiteY4" fmla="*/ 3574688 h 4258277"/>
              <a:gd name="connsiteX5" fmla="*/ 227344 w 3682879"/>
              <a:gd name="connsiteY5" fmla="*/ 0 h 4258277"/>
              <a:gd name="connsiteX6" fmla="*/ 3455535 w 3682879"/>
              <a:gd name="connsiteY6" fmla="*/ 0 h 4258277"/>
              <a:gd name="connsiteX7" fmla="*/ 3682879 w 3682879"/>
              <a:gd name="connsiteY7" fmla="*/ 227344 h 4258277"/>
              <a:gd name="connsiteX8" fmla="*/ 3682879 w 3682879"/>
              <a:gd name="connsiteY8" fmla="*/ 4030933 h 4258277"/>
              <a:gd name="connsiteX9" fmla="*/ 3455535 w 3682879"/>
              <a:gd name="connsiteY9" fmla="*/ 4258277 h 4258277"/>
              <a:gd name="connsiteX10" fmla="*/ 227344 w 3682879"/>
              <a:gd name="connsiteY10" fmla="*/ 4258277 h 4258277"/>
              <a:gd name="connsiteX11" fmla="*/ 0 w 3682879"/>
              <a:gd name="connsiteY11" fmla="*/ 4030933 h 4258277"/>
              <a:gd name="connsiteX12" fmla="*/ 0 w 3682879"/>
              <a:gd name="connsiteY12" fmla="*/ 227344 h 4258277"/>
              <a:gd name="connsiteX13" fmla="*/ 227344 w 3682879"/>
              <a:gd name="connsiteY13" fmla="*/ 0 h 4258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682879" h="4258277">
                <a:moveTo>
                  <a:pt x="3420091" y="3574688"/>
                </a:moveTo>
                <a:cubicBezTo>
                  <a:pt x="3297268" y="3574688"/>
                  <a:pt x="3197701" y="3674255"/>
                  <a:pt x="3197701" y="3797078"/>
                </a:cubicBezTo>
                <a:cubicBezTo>
                  <a:pt x="3197701" y="3919901"/>
                  <a:pt x="3297268" y="4019468"/>
                  <a:pt x="3420091" y="4019468"/>
                </a:cubicBezTo>
                <a:cubicBezTo>
                  <a:pt x="3542914" y="4019468"/>
                  <a:pt x="3642481" y="3919901"/>
                  <a:pt x="3642481" y="3797078"/>
                </a:cubicBezTo>
                <a:cubicBezTo>
                  <a:pt x="3642481" y="3674255"/>
                  <a:pt x="3542914" y="3574688"/>
                  <a:pt x="3420091" y="3574688"/>
                </a:cubicBezTo>
                <a:close/>
                <a:moveTo>
                  <a:pt x="227344" y="0"/>
                </a:moveTo>
                <a:lnTo>
                  <a:pt x="3455535" y="0"/>
                </a:lnTo>
                <a:cubicBezTo>
                  <a:pt x="3581094" y="0"/>
                  <a:pt x="3682879" y="101785"/>
                  <a:pt x="3682879" y="227344"/>
                </a:cubicBezTo>
                <a:lnTo>
                  <a:pt x="3682879" y="4030933"/>
                </a:lnTo>
                <a:cubicBezTo>
                  <a:pt x="3682879" y="4156492"/>
                  <a:pt x="3581094" y="4258277"/>
                  <a:pt x="3455535" y="4258277"/>
                </a:cubicBezTo>
                <a:lnTo>
                  <a:pt x="227344" y="4258277"/>
                </a:lnTo>
                <a:cubicBezTo>
                  <a:pt x="101785" y="4258277"/>
                  <a:pt x="0" y="4156492"/>
                  <a:pt x="0" y="4030933"/>
                </a:cubicBezTo>
                <a:lnTo>
                  <a:pt x="0" y="227344"/>
                </a:lnTo>
                <a:cubicBezTo>
                  <a:pt x="0" y="101785"/>
                  <a:pt x="101785" y="0"/>
                  <a:pt x="227344" y="0"/>
                </a:cubicBezTo>
                <a:close/>
              </a:path>
            </a:pathLst>
          </a:custGeom>
          <a:solidFill>
            <a:srgbClr val="620CFD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87" name="Полилиния 86">
            <a:extLst>
              <a:ext uri="{FF2B5EF4-FFF2-40B4-BE49-F238E27FC236}">
                <a16:creationId xmlns:a16="http://schemas.microsoft.com/office/drawing/2014/main" id="{F9A01712-9BE5-6523-0350-C03F1839B6D3}"/>
              </a:ext>
            </a:extLst>
          </p:cNvPr>
          <p:cNvSpPr/>
          <p:nvPr/>
        </p:nvSpPr>
        <p:spPr>
          <a:xfrm>
            <a:off x="4193607" y="1297966"/>
            <a:ext cx="3811649" cy="4281319"/>
          </a:xfrm>
          <a:custGeom>
            <a:avLst/>
            <a:gdLst>
              <a:gd name="connsiteX0" fmla="*/ 235293 w 3811649"/>
              <a:gd name="connsiteY0" fmla="*/ 0 h 4281319"/>
              <a:gd name="connsiteX1" fmla="*/ 3576356 w 3811649"/>
              <a:gd name="connsiteY1" fmla="*/ 0 h 4281319"/>
              <a:gd name="connsiteX2" fmla="*/ 3811649 w 3811649"/>
              <a:gd name="connsiteY2" fmla="*/ 235293 h 4281319"/>
              <a:gd name="connsiteX3" fmla="*/ 3811649 w 3811649"/>
              <a:gd name="connsiteY3" fmla="*/ 4046026 h 4281319"/>
              <a:gd name="connsiteX4" fmla="*/ 3742734 w 3811649"/>
              <a:gd name="connsiteY4" fmla="*/ 4212404 h 4281319"/>
              <a:gd name="connsiteX5" fmla="*/ 3697594 w 3811649"/>
              <a:gd name="connsiteY5" fmla="*/ 4242838 h 4281319"/>
              <a:gd name="connsiteX6" fmla="*/ 3707454 w 3811649"/>
              <a:gd name="connsiteY6" fmla="*/ 4224672 h 4281319"/>
              <a:gd name="connsiteX7" fmla="*/ 3726128 w 3811649"/>
              <a:gd name="connsiteY7" fmla="*/ 4132175 h 4281319"/>
              <a:gd name="connsiteX8" fmla="*/ 3488497 w 3811649"/>
              <a:gd name="connsiteY8" fmla="*/ 3894544 h 4281319"/>
              <a:gd name="connsiteX9" fmla="*/ 3250866 w 3811649"/>
              <a:gd name="connsiteY9" fmla="*/ 4132175 h 4281319"/>
              <a:gd name="connsiteX10" fmla="*/ 3291450 w 3811649"/>
              <a:gd name="connsiteY10" fmla="*/ 4265037 h 4281319"/>
              <a:gd name="connsiteX11" fmla="*/ 3304884 w 3811649"/>
              <a:gd name="connsiteY11" fmla="*/ 4281319 h 4281319"/>
              <a:gd name="connsiteX12" fmla="*/ 235293 w 3811649"/>
              <a:gd name="connsiteY12" fmla="*/ 4281319 h 4281319"/>
              <a:gd name="connsiteX13" fmla="*/ 0 w 3811649"/>
              <a:gd name="connsiteY13" fmla="*/ 4046026 h 4281319"/>
              <a:gd name="connsiteX14" fmla="*/ 0 w 3811649"/>
              <a:gd name="connsiteY14" fmla="*/ 235293 h 4281319"/>
              <a:gd name="connsiteX15" fmla="*/ 235293 w 3811649"/>
              <a:gd name="connsiteY15" fmla="*/ 0 h 4281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811649" h="4281319">
                <a:moveTo>
                  <a:pt x="235293" y="0"/>
                </a:moveTo>
                <a:lnTo>
                  <a:pt x="3576356" y="0"/>
                </a:lnTo>
                <a:cubicBezTo>
                  <a:pt x="3706305" y="0"/>
                  <a:pt x="3811649" y="105344"/>
                  <a:pt x="3811649" y="235293"/>
                </a:cubicBezTo>
                <a:lnTo>
                  <a:pt x="3811649" y="4046026"/>
                </a:lnTo>
                <a:cubicBezTo>
                  <a:pt x="3811649" y="4111001"/>
                  <a:pt x="3785313" y="4169824"/>
                  <a:pt x="3742734" y="4212404"/>
                </a:cubicBezTo>
                <a:lnTo>
                  <a:pt x="3697594" y="4242838"/>
                </a:lnTo>
                <a:lnTo>
                  <a:pt x="3707454" y="4224672"/>
                </a:lnTo>
                <a:cubicBezTo>
                  <a:pt x="3719479" y="4196242"/>
                  <a:pt x="3726128" y="4164985"/>
                  <a:pt x="3726128" y="4132175"/>
                </a:cubicBezTo>
                <a:cubicBezTo>
                  <a:pt x="3726128" y="4000935"/>
                  <a:pt x="3619737" y="3894544"/>
                  <a:pt x="3488497" y="3894544"/>
                </a:cubicBezTo>
                <a:cubicBezTo>
                  <a:pt x="3357257" y="3894544"/>
                  <a:pt x="3250866" y="4000935"/>
                  <a:pt x="3250866" y="4132175"/>
                </a:cubicBezTo>
                <a:cubicBezTo>
                  <a:pt x="3250866" y="4181390"/>
                  <a:pt x="3265827" y="4227111"/>
                  <a:pt x="3291450" y="4265037"/>
                </a:cubicBezTo>
                <a:lnTo>
                  <a:pt x="3304884" y="4281319"/>
                </a:lnTo>
                <a:lnTo>
                  <a:pt x="235293" y="4281319"/>
                </a:lnTo>
                <a:cubicBezTo>
                  <a:pt x="105344" y="4281319"/>
                  <a:pt x="0" y="4175975"/>
                  <a:pt x="0" y="4046026"/>
                </a:cubicBezTo>
                <a:lnTo>
                  <a:pt x="0" y="235293"/>
                </a:lnTo>
                <a:cubicBezTo>
                  <a:pt x="0" y="105344"/>
                  <a:pt x="105344" y="0"/>
                  <a:pt x="235293" y="0"/>
                </a:cubicBezTo>
                <a:close/>
              </a:path>
            </a:pathLst>
          </a:custGeom>
          <a:solidFill>
            <a:srgbClr val="620CFD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88" name="Полилиния 87">
            <a:extLst>
              <a:ext uri="{FF2B5EF4-FFF2-40B4-BE49-F238E27FC236}">
                <a16:creationId xmlns:a16="http://schemas.microsoft.com/office/drawing/2014/main" id="{48227388-EB41-9787-43F9-B38BA29176FE}"/>
              </a:ext>
            </a:extLst>
          </p:cNvPr>
          <p:cNvSpPr/>
          <p:nvPr/>
        </p:nvSpPr>
        <p:spPr>
          <a:xfrm>
            <a:off x="8250640" y="1297966"/>
            <a:ext cx="3702337" cy="4281319"/>
          </a:xfrm>
          <a:custGeom>
            <a:avLst/>
            <a:gdLst>
              <a:gd name="connsiteX0" fmla="*/ 228545 w 3702337"/>
              <a:gd name="connsiteY0" fmla="*/ 0 h 4281319"/>
              <a:gd name="connsiteX1" fmla="*/ 3473792 w 3702337"/>
              <a:gd name="connsiteY1" fmla="*/ 0 h 4281319"/>
              <a:gd name="connsiteX2" fmla="*/ 3702337 w 3702337"/>
              <a:gd name="connsiteY2" fmla="*/ 228545 h 4281319"/>
              <a:gd name="connsiteX3" fmla="*/ 3702337 w 3702337"/>
              <a:gd name="connsiteY3" fmla="*/ 4052774 h 4281319"/>
              <a:gd name="connsiteX4" fmla="*/ 3635398 w 3702337"/>
              <a:gd name="connsiteY4" fmla="*/ 4214380 h 4281319"/>
              <a:gd name="connsiteX5" fmla="*/ 3589723 w 3702337"/>
              <a:gd name="connsiteY5" fmla="*/ 4245175 h 4281319"/>
              <a:gd name="connsiteX6" fmla="*/ 3592579 w 3702337"/>
              <a:gd name="connsiteY6" fmla="*/ 4239913 h 4281319"/>
              <a:gd name="connsiteX7" fmla="*/ 3611253 w 3702337"/>
              <a:gd name="connsiteY7" fmla="*/ 4147416 h 4281319"/>
              <a:gd name="connsiteX8" fmla="*/ 3373622 w 3702337"/>
              <a:gd name="connsiteY8" fmla="*/ 3909785 h 4281319"/>
              <a:gd name="connsiteX9" fmla="*/ 3135991 w 3702337"/>
              <a:gd name="connsiteY9" fmla="*/ 4147416 h 4281319"/>
              <a:gd name="connsiteX10" fmla="*/ 3176575 w 3702337"/>
              <a:gd name="connsiteY10" fmla="*/ 4280278 h 4281319"/>
              <a:gd name="connsiteX11" fmla="*/ 3177434 w 3702337"/>
              <a:gd name="connsiteY11" fmla="*/ 4281319 h 4281319"/>
              <a:gd name="connsiteX12" fmla="*/ 228545 w 3702337"/>
              <a:gd name="connsiteY12" fmla="*/ 4281319 h 4281319"/>
              <a:gd name="connsiteX13" fmla="*/ 0 w 3702337"/>
              <a:gd name="connsiteY13" fmla="*/ 4052774 h 4281319"/>
              <a:gd name="connsiteX14" fmla="*/ 0 w 3702337"/>
              <a:gd name="connsiteY14" fmla="*/ 228545 h 4281319"/>
              <a:gd name="connsiteX15" fmla="*/ 228545 w 3702337"/>
              <a:gd name="connsiteY15" fmla="*/ 0 h 4281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702337" h="4281319">
                <a:moveTo>
                  <a:pt x="228545" y="0"/>
                </a:moveTo>
                <a:lnTo>
                  <a:pt x="3473792" y="0"/>
                </a:lnTo>
                <a:cubicBezTo>
                  <a:pt x="3600014" y="0"/>
                  <a:pt x="3702337" y="102323"/>
                  <a:pt x="3702337" y="228545"/>
                </a:cubicBezTo>
                <a:lnTo>
                  <a:pt x="3702337" y="4052774"/>
                </a:lnTo>
                <a:cubicBezTo>
                  <a:pt x="3702337" y="4115885"/>
                  <a:pt x="3676756" y="4173021"/>
                  <a:pt x="3635398" y="4214380"/>
                </a:cubicBezTo>
                <a:lnTo>
                  <a:pt x="3589723" y="4245175"/>
                </a:lnTo>
                <a:lnTo>
                  <a:pt x="3592579" y="4239913"/>
                </a:lnTo>
                <a:cubicBezTo>
                  <a:pt x="3604604" y="4211483"/>
                  <a:pt x="3611253" y="4180226"/>
                  <a:pt x="3611253" y="4147416"/>
                </a:cubicBezTo>
                <a:cubicBezTo>
                  <a:pt x="3611253" y="4016176"/>
                  <a:pt x="3504862" y="3909785"/>
                  <a:pt x="3373622" y="3909785"/>
                </a:cubicBezTo>
                <a:cubicBezTo>
                  <a:pt x="3242382" y="3909785"/>
                  <a:pt x="3135991" y="4016176"/>
                  <a:pt x="3135991" y="4147416"/>
                </a:cubicBezTo>
                <a:cubicBezTo>
                  <a:pt x="3135991" y="4196631"/>
                  <a:pt x="3150952" y="4242352"/>
                  <a:pt x="3176575" y="4280278"/>
                </a:cubicBezTo>
                <a:lnTo>
                  <a:pt x="3177434" y="4281319"/>
                </a:lnTo>
                <a:lnTo>
                  <a:pt x="228545" y="4281319"/>
                </a:lnTo>
                <a:cubicBezTo>
                  <a:pt x="102323" y="4281319"/>
                  <a:pt x="0" y="4178996"/>
                  <a:pt x="0" y="4052774"/>
                </a:cubicBezTo>
                <a:lnTo>
                  <a:pt x="0" y="228545"/>
                </a:lnTo>
                <a:cubicBezTo>
                  <a:pt x="0" y="102323"/>
                  <a:pt x="102323" y="0"/>
                  <a:pt x="228545" y="0"/>
                </a:cubicBezTo>
                <a:close/>
              </a:path>
            </a:pathLst>
          </a:custGeom>
          <a:solidFill>
            <a:srgbClr val="620CFD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34600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3000" fill="hold"/>
                                        <p:tgtEl>
                                          <p:spTgt spid="1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8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5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8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2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8" dur="8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" dur="5000" fill="hold"/>
                                        <p:tgtEl>
                                          <p:spTgt spid="2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2" dur="8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3000" fill="hold"/>
                                        <p:tgtEl>
                                          <p:spTgt spid="2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6" dur="8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2000" fill="hold"/>
                                        <p:tgtEl>
                                          <p:spTgt spid="2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0" dur="8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5000" fill="hold"/>
                                        <p:tgtEl>
                                          <p:spTgt spid="3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4" dur="3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6" dur="5000" fill="hold"/>
                                        <p:tgtEl>
                                          <p:spTgt spid="3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8" dur="8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0" dur="2000" fill="hold"/>
                                        <p:tgtEl>
                                          <p:spTgt spid="3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2" dur="5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4" dur="2000" fill="hold"/>
                                        <p:tgtEl>
                                          <p:spTgt spid="3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6" dur="8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7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8" dur="3000" fill="hold"/>
                                        <p:tgtEl>
                                          <p:spTgt spid="2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0" dur="5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1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2" dur="3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4" dur="8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5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6" dur="5000" fill="hold"/>
                                        <p:tgtEl>
                                          <p:spTgt spid="2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8" dur="8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0" dur="5000" fill="hold"/>
                                        <p:tgtEl>
                                          <p:spTgt spid="6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2" dur="8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3" presetID="6" presetClass="emph" presetSubtype="0" repeatCount="indefinite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4" dur="5000" fill="hold"/>
                                        <p:tgtEl>
                                          <p:spTgt spid="6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15" grpId="0" animBg="1"/>
      <p:bldP spid="15" grpId="1" animBg="1"/>
      <p:bldP spid="26" grpId="0" animBg="1"/>
      <p:bldP spid="26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6" grpId="0" animBg="1"/>
      <p:bldP spid="36" grpId="1" animBg="1"/>
      <p:bldP spid="27" grpId="0" animBg="1"/>
      <p:bldP spid="27" grpId="1" animBg="1"/>
      <p:bldP spid="28" grpId="0" animBg="1"/>
      <p:bldP spid="28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4" grpId="1" animBg="1"/>
      <p:bldP spid="66" grpId="0" animBg="1"/>
      <p:bldP spid="66" grpId="1" animBg="1"/>
      <p:bldP spid="67" grpId="0" animBg="1"/>
      <p:bldP spid="67" grpId="1" animBg="1"/>
    </p:bld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53B8E41-42E0-7E42-881A-F133F990B9FF}"/>
              </a:ext>
            </a:extLst>
          </p:cNvPr>
          <p:cNvSpPr/>
          <p:nvPr/>
        </p:nvSpPr>
        <p:spPr>
          <a:xfrm>
            <a:off x="22024" y="2863"/>
            <a:ext cx="12190589" cy="6857206"/>
          </a:xfrm>
          <a:prstGeom prst="rect">
            <a:avLst/>
          </a:prstGeom>
          <a:gradFill>
            <a:gsLst>
              <a:gs pos="2000">
                <a:srgbClr val="A16DFE"/>
              </a:gs>
              <a:gs pos="38000">
                <a:srgbClr val="620CFD"/>
              </a:gs>
            </a:gsLst>
            <a:path path="circle">
              <a:fillToRect l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8DFA698-38E6-03BB-332C-E1CF55AA2EA3}"/>
              </a:ext>
            </a:extLst>
          </p:cNvPr>
          <p:cNvGrpSpPr/>
          <p:nvPr/>
        </p:nvGrpSpPr>
        <p:grpSpPr>
          <a:xfrm>
            <a:off x="623888" y="601082"/>
            <a:ext cx="537898" cy="278215"/>
            <a:chOff x="1155842" y="601082"/>
            <a:chExt cx="537898" cy="278215"/>
          </a:xfrm>
          <a:solidFill>
            <a:schemeClr val="bg1"/>
          </a:solidFill>
        </p:grpSpPr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5A60490B-4325-0161-B20C-B88B12AE90BB}"/>
                </a:ext>
              </a:extLst>
            </p:cNvPr>
            <p:cNvSpPr/>
            <p:nvPr/>
          </p:nvSpPr>
          <p:spPr>
            <a:xfrm>
              <a:off x="1155842" y="601082"/>
              <a:ext cx="537898" cy="278215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2F391B36-BE1D-E8D4-256B-A74A3155DB3E}"/>
                </a:ext>
              </a:extLst>
            </p:cNvPr>
            <p:cNvSpPr/>
            <p:nvPr/>
          </p:nvSpPr>
          <p:spPr>
            <a:xfrm>
              <a:off x="1292081" y="777505"/>
              <a:ext cx="74320" cy="39189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" name="Рисунок 3">
            <a:extLst>
              <a:ext uri="{FF2B5EF4-FFF2-40B4-BE49-F238E27FC236}">
                <a16:creationId xmlns:a16="http://schemas.microsoft.com/office/drawing/2014/main" id="{3161A2EE-E4FE-9EFF-E54E-BBFE2738AE74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rgbClr val="FFFFFF"/>
          </a:solidFill>
        </p:grpSpPr>
        <p:sp>
          <p:nvSpPr>
            <p:cNvPr id="11" name="Полилиния 10">
              <a:extLst>
                <a:ext uri="{FF2B5EF4-FFF2-40B4-BE49-F238E27FC236}">
                  <a16:creationId xmlns:a16="http://schemas.microsoft.com/office/drawing/2014/main" id="{D5317DD2-416D-CAF5-6A74-2DC83FBED045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id="{D86E0946-D873-603A-EEED-A8AC44B862A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C10C4818-7638-E966-E7FD-3627A9462C5C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id="{1C82B3CC-C076-0AB5-1827-686EDE07B7CC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FE017B9F-C139-C5E7-684F-4B6A955E91A7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 16">
              <a:extLst>
                <a:ext uri="{FF2B5EF4-FFF2-40B4-BE49-F238E27FC236}">
                  <a16:creationId xmlns:a16="http://schemas.microsoft.com/office/drawing/2014/main" id="{A7EBA4C5-3227-2992-F35A-0F5D61BB83D1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ABED481D-93F3-36B8-D3F6-560BB8145AE9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 19">
              <a:extLst>
                <a:ext uri="{FF2B5EF4-FFF2-40B4-BE49-F238E27FC236}">
                  <a16:creationId xmlns:a16="http://schemas.microsoft.com/office/drawing/2014/main" id="{0BF81DE4-B694-E375-7460-B52134B4D520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 24">
              <a:extLst>
                <a:ext uri="{FF2B5EF4-FFF2-40B4-BE49-F238E27FC236}">
                  <a16:creationId xmlns:a16="http://schemas.microsoft.com/office/drawing/2014/main" id="{33A67B84-0B90-C9A1-984E-BE9F7500EEE3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7A3CB6ED-34ED-940C-E167-41AE91068E0E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AECC1CE8-C9B0-EF33-CBFC-069B3953E2F2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solidFill>
              <a:srgbClr val="FFFFFF"/>
            </a:soli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43" name="Rectangle: Rounded Corners 70">
            <a:extLst>
              <a:ext uri="{FF2B5EF4-FFF2-40B4-BE49-F238E27FC236}">
                <a16:creationId xmlns:a16="http://schemas.microsoft.com/office/drawing/2014/main" id="{3EA50D41-584A-AB41-019B-90B2427FC47E}"/>
              </a:ext>
            </a:extLst>
          </p:cNvPr>
          <p:cNvSpPr/>
          <p:nvPr/>
        </p:nvSpPr>
        <p:spPr>
          <a:xfrm rot="10800000">
            <a:off x="507863" y="-2299003"/>
            <a:ext cx="5997183" cy="1136385"/>
          </a:xfrm>
          <a:prstGeom prst="roundRect">
            <a:avLst>
              <a:gd name="adj" fmla="val 27611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40729235-7706-2346-D3D2-53D6C5A037AE}"/>
              </a:ext>
            </a:extLst>
          </p:cNvPr>
          <p:cNvSpPr/>
          <p:nvPr/>
        </p:nvSpPr>
        <p:spPr>
          <a:xfrm rot="5400000">
            <a:off x="1335478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2FC23343-0242-E0C1-E61E-DFDF8EDBB4F2}"/>
              </a:ext>
            </a:extLst>
          </p:cNvPr>
          <p:cNvSpPr/>
          <p:nvPr/>
        </p:nvSpPr>
        <p:spPr>
          <a:xfrm rot="5400000">
            <a:off x="1780257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DAB044F4-9FCA-369D-6353-52C096264D70}"/>
              </a:ext>
            </a:extLst>
          </p:cNvPr>
          <p:cNvSpPr/>
          <p:nvPr/>
        </p:nvSpPr>
        <p:spPr>
          <a:xfrm rot="5400000">
            <a:off x="2225036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E1C04F78-2BA0-25C8-8050-7C7F7D5A923B}"/>
              </a:ext>
            </a:extLst>
          </p:cNvPr>
          <p:cNvSpPr/>
          <p:nvPr/>
        </p:nvSpPr>
        <p:spPr>
          <a:xfrm rot="5400000">
            <a:off x="2669815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58CD7D83-B22D-2F38-BC61-41322E552EC9}"/>
              </a:ext>
            </a:extLst>
          </p:cNvPr>
          <p:cNvSpPr/>
          <p:nvPr/>
        </p:nvSpPr>
        <p:spPr>
          <a:xfrm rot="5400000">
            <a:off x="3114594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>
            <a:extLst>
              <a:ext uri="{FF2B5EF4-FFF2-40B4-BE49-F238E27FC236}">
                <a16:creationId xmlns:a16="http://schemas.microsoft.com/office/drawing/2014/main" id="{0E18D4F0-71C6-171D-E1A8-1E2266FE0C91}"/>
              </a:ext>
            </a:extLst>
          </p:cNvPr>
          <p:cNvSpPr/>
          <p:nvPr/>
        </p:nvSpPr>
        <p:spPr>
          <a:xfrm rot="5400000">
            <a:off x="3559373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Скругленный прямоугольник 49">
            <a:extLst>
              <a:ext uri="{FF2B5EF4-FFF2-40B4-BE49-F238E27FC236}">
                <a16:creationId xmlns:a16="http://schemas.microsoft.com/office/drawing/2014/main" id="{12709B9D-CF4E-7906-4FC4-0F3C5305B56F}"/>
              </a:ext>
            </a:extLst>
          </p:cNvPr>
          <p:cNvSpPr/>
          <p:nvPr/>
        </p:nvSpPr>
        <p:spPr>
          <a:xfrm rot="5400000">
            <a:off x="4004152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Скругленный прямоугольник 50">
            <a:extLst>
              <a:ext uri="{FF2B5EF4-FFF2-40B4-BE49-F238E27FC236}">
                <a16:creationId xmlns:a16="http://schemas.microsoft.com/office/drawing/2014/main" id="{3A5392D6-ACBB-F9FC-D049-3630473521B5}"/>
              </a:ext>
            </a:extLst>
          </p:cNvPr>
          <p:cNvSpPr/>
          <p:nvPr/>
        </p:nvSpPr>
        <p:spPr>
          <a:xfrm rot="5400000">
            <a:off x="5338493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кругленный прямоугольник 51">
            <a:extLst>
              <a:ext uri="{FF2B5EF4-FFF2-40B4-BE49-F238E27FC236}">
                <a16:creationId xmlns:a16="http://schemas.microsoft.com/office/drawing/2014/main" id="{11D12723-F0FD-22A8-99BF-DC5808532D2F}"/>
              </a:ext>
            </a:extLst>
          </p:cNvPr>
          <p:cNvSpPr/>
          <p:nvPr/>
        </p:nvSpPr>
        <p:spPr>
          <a:xfrm rot="5400000">
            <a:off x="4893710" y="-2091012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кругленный прямоугольник 52">
            <a:extLst>
              <a:ext uri="{FF2B5EF4-FFF2-40B4-BE49-F238E27FC236}">
                <a16:creationId xmlns:a16="http://schemas.microsoft.com/office/drawing/2014/main" id="{0ABB5716-93DA-86EF-FE2E-33EEAC68C99B}"/>
              </a:ext>
            </a:extLst>
          </p:cNvPr>
          <p:cNvSpPr/>
          <p:nvPr/>
        </p:nvSpPr>
        <p:spPr>
          <a:xfrm rot="5400000">
            <a:off x="4448931" y="-2091010"/>
            <a:ext cx="332760" cy="32235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5AD49C4-4A9F-8232-D2BF-8971273A9022}"/>
              </a:ext>
            </a:extLst>
          </p:cNvPr>
          <p:cNvSpPr txBox="1"/>
          <p:nvPr/>
        </p:nvSpPr>
        <p:spPr>
          <a:xfrm>
            <a:off x="1289469" y="-1730811"/>
            <a:ext cx="5188527" cy="385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latin typeface="Unbounded" panose="020B0305040102020103" pitchFamily="34" charset="0"/>
                <a:cs typeface="Times New Roman" panose="02020603050405020304" pitchFamily="18" charset="0"/>
              </a:rPr>
              <a:t>Азбука качественного визуала</a:t>
            </a:r>
          </a:p>
        </p:txBody>
      </p:sp>
      <p:sp>
        <p:nvSpPr>
          <p:cNvPr id="57" name="Овал 56">
            <a:extLst>
              <a:ext uri="{FF2B5EF4-FFF2-40B4-BE49-F238E27FC236}">
                <a16:creationId xmlns:a16="http://schemas.microsoft.com/office/drawing/2014/main" id="{291D6ABD-FB36-2F9A-CE89-4FE61BA38470}"/>
              </a:ext>
            </a:extLst>
          </p:cNvPr>
          <p:cNvSpPr/>
          <p:nvPr/>
        </p:nvSpPr>
        <p:spPr>
          <a:xfrm>
            <a:off x="9320664" y="13625274"/>
            <a:ext cx="343933" cy="343933"/>
          </a:xfrm>
          <a:prstGeom prst="ellipse">
            <a:avLst/>
          </a:prstGeom>
          <a:solidFill>
            <a:srgbClr val="C0D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7706585C-5D0A-8A38-630E-243E838BCD48}"/>
              </a:ext>
            </a:extLst>
          </p:cNvPr>
          <p:cNvCxnSpPr/>
          <p:nvPr/>
        </p:nvCxnSpPr>
        <p:spPr>
          <a:xfrm>
            <a:off x="9492630" y="13969207"/>
            <a:ext cx="1" cy="618004"/>
          </a:xfrm>
          <a:prstGeom prst="line">
            <a:avLst/>
          </a:prstGeom>
          <a:ln w="19050">
            <a:solidFill>
              <a:srgbClr val="C0DC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70" name="Полилиния 69">
            <a:extLst>
              <a:ext uri="{FF2B5EF4-FFF2-40B4-BE49-F238E27FC236}">
                <a16:creationId xmlns:a16="http://schemas.microsoft.com/office/drawing/2014/main" id="{24DE8412-9751-DB1A-8373-40D74883F18E}"/>
              </a:ext>
            </a:extLst>
          </p:cNvPr>
          <p:cNvSpPr/>
          <p:nvPr/>
        </p:nvSpPr>
        <p:spPr>
          <a:xfrm>
            <a:off x="507862" y="-4173817"/>
            <a:ext cx="5997184" cy="3047995"/>
          </a:xfrm>
          <a:custGeom>
            <a:avLst/>
            <a:gdLst>
              <a:gd name="connsiteX0" fmla="*/ 0 w 5997184"/>
              <a:gd name="connsiteY0" fmla="*/ 0 h 3047995"/>
              <a:gd name="connsiteX1" fmla="*/ 5997184 w 5997184"/>
              <a:gd name="connsiteY1" fmla="*/ 0 h 3047995"/>
              <a:gd name="connsiteX2" fmla="*/ 5997184 w 5997184"/>
              <a:gd name="connsiteY2" fmla="*/ 2225376 h 3047995"/>
              <a:gd name="connsiteX3" fmla="*/ 5997184 w 5997184"/>
              <a:gd name="connsiteY3" fmla="*/ 2734227 h 3047995"/>
              <a:gd name="connsiteX4" fmla="*/ 5997184 w 5997184"/>
              <a:gd name="connsiteY4" fmla="*/ 3047995 h 3047995"/>
              <a:gd name="connsiteX5" fmla="*/ 0 w 5997184"/>
              <a:gd name="connsiteY5" fmla="*/ 3047995 h 304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97184" h="3047995">
                <a:moveTo>
                  <a:pt x="0" y="0"/>
                </a:moveTo>
                <a:lnTo>
                  <a:pt x="5997184" y="0"/>
                </a:lnTo>
                <a:lnTo>
                  <a:pt x="5997184" y="2225376"/>
                </a:lnTo>
                <a:lnTo>
                  <a:pt x="5997184" y="2734227"/>
                </a:lnTo>
                <a:lnTo>
                  <a:pt x="5997184" y="3047995"/>
                </a:lnTo>
                <a:lnTo>
                  <a:pt x="0" y="304799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A3E9C03-4770-A876-070D-EDBD62741D06}"/>
              </a:ext>
            </a:extLst>
          </p:cNvPr>
          <p:cNvSpPr txBox="1"/>
          <p:nvPr/>
        </p:nvSpPr>
        <p:spPr>
          <a:xfrm>
            <a:off x="509869" y="1055720"/>
            <a:ext cx="9667656" cy="47034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4400" dirty="0">
                <a:solidFill>
                  <a:schemeClr val="bg1"/>
                </a:solidFill>
                <a:latin typeface="Unbounded Blond" panose="020B0305040102020103" pitchFamily="34" charset="0"/>
                <a:cs typeface="Times New Roman" panose="02020603050405020304" pitchFamily="18" charset="0"/>
              </a:rPr>
              <a:t>С ПОМОЩЬЮ ПРЕЗЕНТАЦИЙ</a:t>
            </a:r>
            <a:br>
              <a:rPr lang="ru-RU" sz="4400" dirty="0">
                <a:solidFill>
                  <a:schemeClr val="bg1"/>
                </a:solidFill>
                <a:latin typeface="Unbounded Blond" panose="020B0305040102020103" pitchFamily="34" charset="0"/>
                <a:cs typeface="Times New Roman" panose="02020603050405020304" pitchFamily="18" charset="0"/>
              </a:rPr>
            </a:br>
            <a:r>
              <a:rPr lang="ru-RU" sz="4400" dirty="0">
                <a:solidFill>
                  <a:schemeClr val="bg1"/>
                </a:solidFill>
                <a:latin typeface="Unbounded Blond" panose="020B0305040102020103" pitchFamily="34" charset="0"/>
                <a:cs typeface="Times New Roman" panose="02020603050405020304" pitchFamily="18" charset="0"/>
              </a:rPr>
              <a:t>ДЕЛАЙТЕ КОММУНИКАЦИИ </a:t>
            </a:r>
            <a:br>
              <a:rPr lang="ru-RU" sz="4400" dirty="0">
                <a:solidFill>
                  <a:schemeClr val="bg1"/>
                </a:solidFill>
                <a:latin typeface="Unbounded Blond" panose="020B0305040102020103" pitchFamily="34" charset="0"/>
                <a:cs typeface="Times New Roman" panose="02020603050405020304" pitchFamily="18" charset="0"/>
              </a:rPr>
            </a:br>
            <a:r>
              <a:rPr lang="ru-RU" sz="4400" dirty="0">
                <a:solidFill>
                  <a:schemeClr val="bg1"/>
                </a:solidFill>
                <a:latin typeface="Unbounded Blond" panose="020B0305040102020103" pitchFamily="34" charset="0"/>
                <a:cs typeface="Times New Roman" panose="02020603050405020304" pitchFamily="18" charset="0"/>
              </a:rPr>
              <a:t>ЭФФЕКТИВНЫМИ</a:t>
            </a:r>
            <a:br>
              <a:rPr lang="ru-RU" sz="4400" dirty="0">
                <a:solidFill>
                  <a:schemeClr val="bg1"/>
                </a:solidFill>
                <a:latin typeface="Unbounded Blond" panose="020B0305040102020103" pitchFamily="34" charset="0"/>
                <a:cs typeface="Times New Roman" panose="02020603050405020304" pitchFamily="18" charset="0"/>
              </a:rPr>
            </a:br>
            <a:endParaRPr lang="ru-RU" sz="4400" dirty="0">
              <a:solidFill>
                <a:schemeClr val="bg1"/>
              </a:solidFill>
              <a:latin typeface="Unbounded Blond" panose="020B0305040102020103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2844405B-0D93-D24B-6155-AD8B98625DAB}"/>
              </a:ext>
            </a:extLst>
          </p:cNvPr>
          <p:cNvGrpSpPr/>
          <p:nvPr/>
        </p:nvGrpSpPr>
        <p:grpSpPr>
          <a:xfrm>
            <a:off x="8133754" y="2846456"/>
            <a:ext cx="3603541" cy="3633517"/>
            <a:chOff x="6216130" y="1119383"/>
            <a:chExt cx="11272723" cy="11366496"/>
          </a:xfrm>
        </p:grpSpPr>
        <p:grpSp>
          <p:nvGrpSpPr>
            <p:cNvPr id="175" name="Группа 174">
              <a:extLst>
                <a:ext uri="{FF2B5EF4-FFF2-40B4-BE49-F238E27FC236}">
                  <a16:creationId xmlns:a16="http://schemas.microsoft.com/office/drawing/2014/main" id="{2F72FE94-7CFC-DEC5-CBAD-015348E0F5CE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179" name="Полилиния 178">
                <a:extLst>
                  <a:ext uri="{FF2B5EF4-FFF2-40B4-BE49-F238E27FC236}">
                    <a16:creationId xmlns:a16="http://schemas.microsoft.com/office/drawing/2014/main" id="{51A2408B-95D6-C343-3D03-F8771781CC1A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180" name="Прямая соединительная линия 179">
                <a:extLst>
                  <a:ext uri="{FF2B5EF4-FFF2-40B4-BE49-F238E27FC236}">
                    <a16:creationId xmlns:a16="http://schemas.microsoft.com/office/drawing/2014/main" id="{1E08506D-5C55-493C-7B4B-EE1034706A3E}"/>
                  </a:ext>
                </a:extLst>
              </p:cNvPr>
              <p:cNvCxnSpPr>
                <a:cxnSpLocks/>
                <a:stCxn id="179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6" name="Овал 175">
              <a:extLst>
                <a:ext uri="{FF2B5EF4-FFF2-40B4-BE49-F238E27FC236}">
                  <a16:creationId xmlns:a16="http://schemas.microsoft.com/office/drawing/2014/main" id="{620A38AB-85AC-944B-368A-8CF1AC87796F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77" name="Овал 176">
              <a:extLst>
                <a:ext uri="{FF2B5EF4-FFF2-40B4-BE49-F238E27FC236}">
                  <a16:creationId xmlns:a16="http://schemas.microsoft.com/office/drawing/2014/main" id="{6C15909C-3632-24C2-A4CF-8E2270D143AD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78" name="Овал 177">
              <a:extLst>
                <a:ext uri="{FF2B5EF4-FFF2-40B4-BE49-F238E27FC236}">
                  <a16:creationId xmlns:a16="http://schemas.microsoft.com/office/drawing/2014/main" id="{D0958E8E-6A3A-63D1-247C-E90BA48ED8D8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181" name="Группа 180">
            <a:extLst>
              <a:ext uri="{FF2B5EF4-FFF2-40B4-BE49-F238E27FC236}">
                <a16:creationId xmlns:a16="http://schemas.microsoft.com/office/drawing/2014/main" id="{6363AA7F-C79D-ED70-5243-3C2BB31EFCD0}"/>
              </a:ext>
            </a:extLst>
          </p:cNvPr>
          <p:cNvGrpSpPr/>
          <p:nvPr/>
        </p:nvGrpSpPr>
        <p:grpSpPr>
          <a:xfrm rot="10800000">
            <a:off x="8580741" y="3297160"/>
            <a:ext cx="2709568" cy="2732109"/>
            <a:chOff x="6216130" y="1119383"/>
            <a:chExt cx="11272723" cy="11366496"/>
          </a:xfrm>
        </p:grpSpPr>
        <p:grpSp>
          <p:nvGrpSpPr>
            <p:cNvPr id="182" name="Группа 181">
              <a:extLst>
                <a:ext uri="{FF2B5EF4-FFF2-40B4-BE49-F238E27FC236}">
                  <a16:creationId xmlns:a16="http://schemas.microsoft.com/office/drawing/2014/main" id="{6ED7F80E-A35C-A57D-FF97-66A0FEC4252B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186" name="Полилиния 185">
                <a:extLst>
                  <a:ext uri="{FF2B5EF4-FFF2-40B4-BE49-F238E27FC236}">
                    <a16:creationId xmlns:a16="http://schemas.microsoft.com/office/drawing/2014/main" id="{9CFEE72D-07D5-1B06-203D-8D193F84D4BC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187" name="Прямая соединительная линия 186">
                <a:extLst>
                  <a:ext uri="{FF2B5EF4-FFF2-40B4-BE49-F238E27FC236}">
                    <a16:creationId xmlns:a16="http://schemas.microsoft.com/office/drawing/2014/main" id="{4B2ABB73-1FF0-976C-1B2F-A1FD40A6C9FD}"/>
                  </a:ext>
                </a:extLst>
              </p:cNvPr>
              <p:cNvCxnSpPr>
                <a:cxnSpLocks/>
                <a:stCxn id="186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3" name="Овал 182">
              <a:extLst>
                <a:ext uri="{FF2B5EF4-FFF2-40B4-BE49-F238E27FC236}">
                  <a16:creationId xmlns:a16="http://schemas.microsoft.com/office/drawing/2014/main" id="{8ED87EAA-152A-5B48-A8B1-04FEF613B40E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84" name="Овал 183">
              <a:extLst>
                <a:ext uri="{FF2B5EF4-FFF2-40B4-BE49-F238E27FC236}">
                  <a16:creationId xmlns:a16="http://schemas.microsoft.com/office/drawing/2014/main" id="{7A93BFCE-A81C-7CD5-793C-12AF71EA8712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85" name="Овал 184">
              <a:extLst>
                <a:ext uri="{FF2B5EF4-FFF2-40B4-BE49-F238E27FC236}">
                  <a16:creationId xmlns:a16="http://schemas.microsoft.com/office/drawing/2014/main" id="{DC654206-046D-EBDD-A29F-8DD8D08DD0B4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188" name="Группа 187">
            <a:extLst>
              <a:ext uri="{FF2B5EF4-FFF2-40B4-BE49-F238E27FC236}">
                <a16:creationId xmlns:a16="http://schemas.microsoft.com/office/drawing/2014/main" id="{56FE363C-60DF-7EDE-C5F6-C61A28147DEB}"/>
              </a:ext>
            </a:extLst>
          </p:cNvPr>
          <p:cNvGrpSpPr/>
          <p:nvPr/>
        </p:nvGrpSpPr>
        <p:grpSpPr>
          <a:xfrm>
            <a:off x="7852042" y="2562400"/>
            <a:ext cx="4166964" cy="4201628"/>
            <a:chOff x="6216130" y="1119383"/>
            <a:chExt cx="11272723" cy="11366496"/>
          </a:xfrm>
        </p:grpSpPr>
        <p:grpSp>
          <p:nvGrpSpPr>
            <p:cNvPr id="189" name="Группа 188">
              <a:extLst>
                <a:ext uri="{FF2B5EF4-FFF2-40B4-BE49-F238E27FC236}">
                  <a16:creationId xmlns:a16="http://schemas.microsoft.com/office/drawing/2014/main" id="{BCD0AF64-4B7A-0213-025D-13EEAFCD03AB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193" name="Полилиния 192">
                <a:extLst>
                  <a:ext uri="{FF2B5EF4-FFF2-40B4-BE49-F238E27FC236}">
                    <a16:creationId xmlns:a16="http://schemas.microsoft.com/office/drawing/2014/main" id="{44FC877F-D138-CBB0-6B48-E3987B727B38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194" name="Прямая соединительная линия 193">
                <a:extLst>
                  <a:ext uri="{FF2B5EF4-FFF2-40B4-BE49-F238E27FC236}">
                    <a16:creationId xmlns:a16="http://schemas.microsoft.com/office/drawing/2014/main" id="{84FEA32C-0278-2CD6-A90B-B46D0D27A0D5}"/>
                  </a:ext>
                </a:extLst>
              </p:cNvPr>
              <p:cNvCxnSpPr>
                <a:cxnSpLocks/>
                <a:stCxn id="193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90" name="Овал 189">
              <a:extLst>
                <a:ext uri="{FF2B5EF4-FFF2-40B4-BE49-F238E27FC236}">
                  <a16:creationId xmlns:a16="http://schemas.microsoft.com/office/drawing/2014/main" id="{806B21AE-B6D5-7C4D-E5E6-0F28C2BAA895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91" name="Овал 190">
              <a:extLst>
                <a:ext uri="{FF2B5EF4-FFF2-40B4-BE49-F238E27FC236}">
                  <a16:creationId xmlns:a16="http://schemas.microsoft.com/office/drawing/2014/main" id="{21A972DB-38B8-E241-918B-458604CDA627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92" name="Овал 191">
              <a:extLst>
                <a:ext uri="{FF2B5EF4-FFF2-40B4-BE49-F238E27FC236}">
                  <a16:creationId xmlns:a16="http://schemas.microsoft.com/office/drawing/2014/main" id="{7CAAFF81-96C0-15C2-25F0-0A2DC1C9D095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195" name="Группа 194">
            <a:extLst>
              <a:ext uri="{FF2B5EF4-FFF2-40B4-BE49-F238E27FC236}">
                <a16:creationId xmlns:a16="http://schemas.microsoft.com/office/drawing/2014/main" id="{D774F92F-063B-D956-E101-65BA3CDDDCDD}"/>
              </a:ext>
            </a:extLst>
          </p:cNvPr>
          <p:cNvGrpSpPr/>
          <p:nvPr/>
        </p:nvGrpSpPr>
        <p:grpSpPr>
          <a:xfrm rot="10800000">
            <a:off x="7474066" y="2181280"/>
            <a:ext cx="4922917" cy="4963870"/>
            <a:chOff x="6216130" y="1119383"/>
            <a:chExt cx="11272723" cy="11366496"/>
          </a:xfrm>
        </p:grpSpPr>
        <p:grpSp>
          <p:nvGrpSpPr>
            <p:cNvPr id="196" name="Группа 195">
              <a:extLst>
                <a:ext uri="{FF2B5EF4-FFF2-40B4-BE49-F238E27FC236}">
                  <a16:creationId xmlns:a16="http://schemas.microsoft.com/office/drawing/2014/main" id="{74B6C4AD-BEC4-ADCC-167F-4A203A7E3C57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00" name="Полилиния 199">
                <a:extLst>
                  <a:ext uri="{FF2B5EF4-FFF2-40B4-BE49-F238E27FC236}">
                    <a16:creationId xmlns:a16="http://schemas.microsoft.com/office/drawing/2014/main" id="{C97917EF-B4CD-6F1F-6285-8804BC8DBE57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01" name="Прямая соединительная линия 200">
                <a:extLst>
                  <a:ext uri="{FF2B5EF4-FFF2-40B4-BE49-F238E27FC236}">
                    <a16:creationId xmlns:a16="http://schemas.microsoft.com/office/drawing/2014/main" id="{F93EB145-84C0-0CDF-1A58-6928FEDF12D9}"/>
                  </a:ext>
                </a:extLst>
              </p:cNvPr>
              <p:cNvCxnSpPr>
                <a:cxnSpLocks/>
                <a:stCxn id="200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97" name="Овал 196">
              <a:extLst>
                <a:ext uri="{FF2B5EF4-FFF2-40B4-BE49-F238E27FC236}">
                  <a16:creationId xmlns:a16="http://schemas.microsoft.com/office/drawing/2014/main" id="{BC6870EC-64BE-9463-B930-DBB7142D1EF5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98" name="Овал 197">
              <a:extLst>
                <a:ext uri="{FF2B5EF4-FFF2-40B4-BE49-F238E27FC236}">
                  <a16:creationId xmlns:a16="http://schemas.microsoft.com/office/drawing/2014/main" id="{5EDF5D7B-F4ED-F13F-7321-448CA9C25EBE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199" name="Овал 198">
              <a:extLst>
                <a:ext uri="{FF2B5EF4-FFF2-40B4-BE49-F238E27FC236}">
                  <a16:creationId xmlns:a16="http://schemas.microsoft.com/office/drawing/2014/main" id="{64C0F90D-68E8-7122-F05E-E92845A28098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02" name="Группа 201">
            <a:extLst>
              <a:ext uri="{FF2B5EF4-FFF2-40B4-BE49-F238E27FC236}">
                <a16:creationId xmlns:a16="http://schemas.microsoft.com/office/drawing/2014/main" id="{51661D38-2BFA-BA03-84ED-C7502AEF752C}"/>
              </a:ext>
            </a:extLst>
          </p:cNvPr>
          <p:cNvGrpSpPr/>
          <p:nvPr/>
        </p:nvGrpSpPr>
        <p:grpSpPr>
          <a:xfrm>
            <a:off x="7440069" y="2147000"/>
            <a:ext cx="4990911" cy="5032429"/>
            <a:chOff x="6216130" y="1119383"/>
            <a:chExt cx="11272723" cy="11366496"/>
          </a:xfrm>
        </p:grpSpPr>
        <p:grpSp>
          <p:nvGrpSpPr>
            <p:cNvPr id="203" name="Группа 202">
              <a:extLst>
                <a:ext uri="{FF2B5EF4-FFF2-40B4-BE49-F238E27FC236}">
                  <a16:creationId xmlns:a16="http://schemas.microsoft.com/office/drawing/2014/main" id="{FB60027E-C24D-6BAB-6964-237F9234C693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07" name="Полилиния 206">
                <a:extLst>
                  <a:ext uri="{FF2B5EF4-FFF2-40B4-BE49-F238E27FC236}">
                    <a16:creationId xmlns:a16="http://schemas.microsoft.com/office/drawing/2014/main" id="{15288258-7BAA-8E0A-26BA-E9A904501E21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08" name="Прямая соединительная линия 207">
                <a:extLst>
                  <a:ext uri="{FF2B5EF4-FFF2-40B4-BE49-F238E27FC236}">
                    <a16:creationId xmlns:a16="http://schemas.microsoft.com/office/drawing/2014/main" id="{6A61E2C7-B686-72D0-C8CE-47E0E0796B74}"/>
                  </a:ext>
                </a:extLst>
              </p:cNvPr>
              <p:cNvCxnSpPr>
                <a:cxnSpLocks/>
                <a:stCxn id="207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4" name="Овал 203">
              <a:extLst>
                <a:ext uri="{FF2B5EF4-FFF2-40B4-BE49-F238E27FC236}">
                  <a16:creationId xmlns:a16="http://schemas.microsoft.com/office/drawing/2014/main" id="{E776CAB0-FCBA-E169-7A30-759CB0F54299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05" name="Овал 204">
              <a:extLst>
                <a:ext uri="{FF2B5EF4-FFF2-40B4-BE49-F238E27FC236}">
                  <a16:creationId xmlns:a16="http://schemas.microsoft.com/office/drawing/2014/main" id="{CCFF0B08-4931-BEC5-A630-AC13EADD360D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06" name="Овал 205">
              <a:extLst>
                <a:ext uri="{FF2B5EF4-FFF2-40B4-BE49-F238E27FC236}">
                  <a16:creationId xmlns:a16="http://schemas.microsoft.com/office/drawing/2014/main" id="{6883274F-33F5-627B-C7DF-CED1B8C6BFA9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09" name="Группа 208">
            <a:extLst>
              <a:ext uri="{FF2B5EF4-FFF2-40B4-BE49-F238E27FC236}">
                <a16:creationId xmlns:a16="http://schemas.microsoft.com/office/drawing/2014/main" id="{8428834F-4DEE-0128-365A-99ABC3B41C8E}"/>
              </a:ext>
            </a:extLst>
          </p:cNvPr>
          <p:cNvGrpSpPr/>
          <p:nvPr/>
        </p:nvGrpSpPr>
        <p:grpSpPr>
          <a:xfrm rot="10800000">
            <a:off x="8343248" y="3057692"/>
            <a:ext cx="3184553" cy="3211045"/>
            <a:chOff x="6216130" y="1119383"/>
            <a:chExt cx="11272723" cy="11366496"/>
          </a:xfrm>
        </p:grpSpPr>
        <p:grpSp>
          <p:nvGrpSpPr>
            <p:cNvPr id="210" name="Группа 209">
              <a:extLst>
                <a:ext uri="{FF2B5EF4-FFF2-40B4-BE49-F238E27FC236}">
                  <a16:creationId xmlns:a16="http://schemas.microsoft.com/office/drawing/2014/main" id="{F92C4DCD-E4CD-EE86-3880-E2A053E129E1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14" name="Полилиния 213">
                <a:extLst>
                  <a:ext uri="{FF2B5EF4-FFF2-40B4-BE49-F238E27FC236}">
                    <a16:creationId xmlns:a16="http://schemas.microsoft.com/office/drawing/2014/main" id="{2A0D3E16-FC87-DC1E-9AD4-4EA9D3F7F39C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15" name="Прямая соединительная линия 214">
                <a:extLst>
                  <a:ext uri="{FF2B5EF4-FFF2-40B4-BE49-F238E27FC236}">
                    <a16:creationId xmlns:a16="http://schemas.microsoft.com/office/drawing/2014/main" id="{0683ACFF-78B4-461C-0659-7FED8F0002DB}"/>
                  </a:ext>
                </a:extLst>
              </p:cNvPr>
              <p:cNvCxnSpPr>
                <a:cxnSpLocks/>
                <a:stCxn id="214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Овал 210">
              <a:extLst>
                <a:ext uri="{FF2B5EF4-FFF2-40B4-BE49-F238E27FC236}">
                  <a16:creationId xmlns:a16="http://schemas.microsoft.com/office/drawing/2014/main" id="{CF754C00-761E-38A5-276F-F6C3280BBEE6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12" name="Овал 211">
              <a:extLst>
                <a:ext uri="{FF2B5EF4-FFF2-40B4-BE49-F238E27FC236}">
                  <a16:creationId xmlns:a16="http://schemas.microsoft.com/office/drawing/2014/main" id="{286453A8-EA10-7F80-A402-D5DDFC2750A0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13" name="Овал 212">
              <a:extLst>
                <a:ext uri="{FF2B5EF4-FFF2-40B4-BE49-F238E27FC236}">
                  <a16:creationId xmlns:a16="http://schemas.microsoft.com/office/drawing/2014/main" id="{D6AFB5C9-2FB4-5709-BE76-FAA2AD1311AF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16" name="Группа 215">
            <a:extLst>
              <a:ext uri="{FF2B5EF4-FFF2-40B4-BE49-F238E27FC236}">
                <a16:creationId xmlns:a16="http://schemas.microsoft.com/office/drawing/2014/main" id="{CFD4A4BB-565E-AB26-FF88-499EB1545BCD}"/>
              </a:ext>
            </a:extLst>
          </p:cNvPr>
          <p:cNvGrpSpPr/>
          <p:nvPr/>
        </p:nvGrpSpPr>
        <p:grpSpPr>
          <a:xfrm>
            <a:off x="6661952" y="1362410"/>
            <a:ext cx="6547144" cy="6601608"/>
            <a:chOff x="6216130" y="1119383"/>
            <a:chExt cx="11272723" cy="11366496"/>
          </a:xfrm>
        </p:grpSpPr>
        <p:grpSp>
          <p:nvGrpSpPr>
            <p:cNvPr id="217" name="Группа 216">
              <a:extLst>
                <a:ext uri="{FF2B5EF4-FFF2-40B4-BE49-F238E27FC236}">
                  <a16:creationId xmlns:a16="http://schemas.microsoft.com/office/drawing/2014/main" id="{5E2BCB74-AF48-56EA-8629-157B69E17387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21" name="Полилиния 220">
                <a:extLst>
                  <a:ext uri="{FF2B5EF4-FFF2-40B4-BE49-F238E27FC236}">
                    <a16:creationId xmlns:a16="http://schemas.microsoft.com/office/drawing/2014/main" id="{C08ACCEF-8421-17BA-717A-1A469C6DD805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22" name="Прямая соединительная линия 221">
                <a:extLst>
                  <a:ext uri="{FF2B5EF4-FFF2-40B4-BE49-F238E27FC236}">
                    <a16:creationId xmlns:a16="http://schemas.microsoft.com/office/drawing/2014/main" id="{A039B357-5D6F-3BE9-B9CC-66B6AFDBBE78}"/>
                  </a:ext>
                </a:extLst>
              </p:cNvPr>
              <p:cNvCxnSpPr>
                <a:cxnSpLocks/>
                <a:stCxn id="221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8" name="Овал 217">
              <a:extLst>
                <a:ext uri="{FF2B5EF4-FFF2-40B4-BE49-F238E27FC236}">
                  <a16:creationId xmlns:a16="http://schemas.microsoft.com/office/drawing/2014/main" id="{37ECA658-4B00-1077-802E-77E4D45B9695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19" name="Овал 218">
              <a:extLst>
                <a:ext uri="{FF2B5EF4-FFF2-40B4-BE49-F238E27FC236}">
                  <a16:creationId xmlns:a16="http://schemas.microsoft.com/office/drawing/2014/main" id="{EF6362A2-C93D-4285-15ED-349C3F24D6AA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20" name="Овал 219">
              <a:extLst>
                <a:ext uri="{FF2B5EF4-FFF2-40B4-BE49-F238E27FC236}">
                  <a16:creationId xmlns:a16="http://schemas.microsoft.com/office/drawing/2014/main" id="{E939675F-E137-C4E8-9CD8-420D7A6474EE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23" name="Группа 222">
            <a:extLst>
              <a:ext uri="{FF2B5EF4-FFF2-40B4-BE49-F238E27FC236}">
                <a16:creationId xmlns:a16="http://schemas.microsoft.com/office/drawing/2014/main" id="{914CB187-E658-A8FE-9585-288C95073DFE}"/>
              </a:ext>
            </a:extLst>
          </p:cNvPr>
          <p:cNvGrpSpPr/>
          <p:nvPr/>
        </p:nvGrpSpPr>
        <p:grpSpPr>
          <a:xfrm rot="10800000">
            <a:off x="7852042" y="2562400"/>
            <a:ext cx="4166964" cy="4201629"/>
            <a:chOff x="6216130" y="1119383"/>
            <a:chExt cx="11272723" cy="11366496"/>
          </a:xfrm>
        </p:grpSpPr>
        <p:grpSp>
          <p:nvGrpSpPr>
            <p:cNvPr id="224" name="Группа 223">
              <a:extLst>
                <a:ext uri="{FF2B5EF4-FFF2-40B4-BE49-F238E27FC236}">
                  <a16:creationId xmlns:a16="http://schemas.microsoft.com/office/drawing/2014/main" id="{E561A1A1-AB41-EF1C-D745-6592208070AF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28" name="Полилиния 227">
                <a:extLst>
                  <a:ext uri="{FF2B5EF4-FFF2-40B4-BE49-F238E27FC236}">
                    <a16:creationId xmlns:a16="http://schemas.microsoft.com/office/drawing/2014/main" id="{7AC81052-AE54-D28B-4A1B-BDDAD2846D4F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29" name="Прямая соединительная линия 228">
                <a:extLst>
                  <a:ext uri="{FF2B5EF4-FFF2-40B4-BE49-F238E27FC236}">
                    <a16:creationId xmlns:a16="http://schemas.microsoft.com/office/drawing/2014/main" id="{8E975E96-FAFB-8FB2-089F-BD090674BE34}"/>
                  </a:ext>
                </a:extLst>
              </p:cNvPr>
              <p:cNvCxnSpPr>
                <a:cxnSpLocks/>
                <a:stCxn id="228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Овал 224">
              <a:extLst>
                <a:ext uri="{FF2B5EF4-FFF2-40B4-BE49-F238E27FC236}">
                  <a16:creationId xmlns:a16="http://schemas.microsoft.com/office/drawing/2014/main" id="{06C58591-1A49-0D9B-F6F1-EAAF24C8B36A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26" name="Овал 225">
              <a:extLst>
                <a:ext uri="{FF2B5EF4-FFF2-40B4-BE49-F238E27FC236}">
                  <a16:creationId xmlns:a16="http://schemas.microsoft.com/office/drawing/2014/main" id="{42A45BDF-E3C5-BF56-1207-7232E75BDC8A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27" name="Овал 226">
              <a:extLst>
                <a:ext uri="{FF2B5EF4-FFF2-40B4-BE49-F238E27FC236}">
                  <a16:creationId xmlns:a16="http://schemas.microsoft.com/office/drawing/2014/main" id="{9926EBE4-69A5-151B-90B2-D774388803CE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30" name="Группа 229">
            <a:extLst>
              <a:ext uri="{FF2B5EF4-FFF2-40B4-BE49-F238E27FC236}">
                <a16:creationId xmlns:a16="http://schemas.microsoft.com/office/drawing/2014/main" id="{B573E304-811F-23A2-DA77-7E5665B30601}"/>
              </a:ext>
            </a:extLst>
          </p:cNvPr>
          <p:cNvGrpSpPr/>
          <p:nvPr/>
        </p:nvGrpSpPr>
        <p:grpSpPr>
          <a:xfrm rot="4723074">
            <a:off x="8120073" y="2842103"/>
            <a:ext cx="3603541" cy="3633517"/>
            <a:chOff x="6216130" y="1119383"/>
            <a:chExt cx="11272723" cy="11366496"/>
          </a:xfrm>
        </p:grpSpPr>
        <p:grpSp>
          <p:nvGrpSpPr>
            <p:cNvPr id="231" name="Группа 230">
              <a:extLst>
                <a:ext uri="{FF2B5EF4-FFF2-40B4-BE49-F238E27FC236}">
                  <a16:creationId xmlns:a16="http://schemas.microsoft.com/office/drawing/2014/main" id="{FECC0ECC-0BCA-5DEC-D8A6-2956AEBE99D2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35" name="Полилиния 234">
                <a:extLst>
                  <a:ext uri="{FF2B5EF4-FFF2-40B4-BE49-F238E27FC236}">
                    <a16:creationId xmlns:a16="http://schemas.microsoft.com/office/drawing/2014/main" id="{DF92ACA9-28D5-52E6-911D-D3F348201ED1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36" name="Прямая соединительная линия 235">
                <a:extLst>
                  <a:ext uri="{FF2B5EF4-FFF2-40B4-BE49-F238E27FC236}">
                    <a16:creationId xmlns:a16="http://schemas.microsoft.com/office/drawing/2014/main" id="{D63760D3-CB3E-C0E7-6DC3-C3547D41D4A4}"/>
                  </a:ext>
                </a:extLst>
              </p:cNvPr>
              <p:cNvCxnSpPr>
                <a:cxnSpLocks/>
                <a:stCxn id="235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2" name="Овал 231">
              <a:extLst>
                <a:ext uri="{FF2B5EF4-FFF2-40B4-BE49-F238E27FC236}">
                  <a16:creationId xmlns:a16="http://schemas.microsoft.com/office/drawing/2014/main" id="{CD7B18C0-5471-7D25-1140-86B6CEAE2895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33" name="Овал 232">
              <a:extLst>
                <a:ext uri="{FF2B5EF4-FFF2-40B4-BE49-F238E27FC236}">
                  <a16:creationId xmlns:a16="http://schemas.microsoft.com/office/drawing/2014/main" id="{1D87BBAD-2B80-8677-396D-9EF740B5D854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34" name="Овал 233">
              <a:extLst>
                <a:ext uri="{FF2B5EF4-FFF2-40B4-BE49-F238E27FC236}">
                  <a16:creationId xmlns:a16="http://schemas.microsoft.com/office/drawing/2014/main" id="{01A90992-E68B-24FF-449C-5CC3388F4344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37" name="Группа 236">
            <a:extLst>
              <a:ext uri="{FF2B5EF4-FFF2-40B4-BE49-F238E27FC236}">
                <a16:creationId xmlns:a16="http://schemas.microsoft.com/office/drawing/2014/main" id="{0DF13FFF-CE12-59C9-DF18-24AACDDDEB43}"/>
              </a:ext>
            </a:extLst>
          </p:cNvPr>
          <p:cNvGrpSpPr/>
          <p:nvPr/>
        </p:nvGrpSpPr>
        <p:grpSpPr>
          <a:xfrm rot="15523074">
            <a:off x="8567060" y="3292807"/>
            <a:ext cx="2709568" cy="2732109"/>
            <a:chOff x="6216130" y="1119383"/>
            <a:chExt cx="11272723" cy="11366496"/>
          </a:xfrm>
        </p:grpSpPr>
        <p:grpSp>
          <p:nvGrpSpPr>
            <p:cNvPr id="238" name="Группа 237">
              <a:extLst>
                <a:ext uri="{FF2B5EF4-FFF2-40B4-BE49-F238E27FC236}">
                  <a16:creationId xmlns:a16="http://schemas.microsoft.com/office/drawing/2014/main" id="{C00ECB68-442F-F1C5-268C-5F201DB4E8BC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42" name="Полилиния 241">
                <a:extLst>
                  <a:ext uri="{FF2B5EF4-FFF2-40B4-BE49-F238E27FC236}">
                    <a16:creationId xmlns:a16="http://schemas.microsoft.com/office/drawing/2014/main" id="{56137AE7-8DAD-4DF7-359E-94E2633633E0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43" name="Прямая соединительная линия 242">
                <a:extLst>
                  <a:ext uri="{FF2B5EF4-FFF2-40B4-BE49-F238E27FC236}">
                    <a16:creationId xmlns:a16="http://schemas.microsoft.com/office/drawing/2014/main" id="{CC1AE50B-091E-9FED-E196-E7D8782B57F0}"/>
                  </a:ext>
                </a:extLst>
              </p:cNvPr>
              <p:cNvCxnSpPr>
                <a:cxnSpLocks/>
                <a:stCxn id="242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Овал 238">
              <a:extLst>
                <a:ext uri="{FF2B5EF4-FFF2-40B4-BE49-F238E27FC236}">
                  <a16:creationId xmlns:a16="http://schemas.microsoft.com/office/drawing/2014/main" id="{76A0D41C-22A7-3467-9547-DD71ED79C80F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40" name="Овал 239">
              <a:extLst>
                <a:ext uri="{FF2B5EF4-FFF2-40B4-BE49-F238E27FC236}">
                  <a16:creationId xmlns:a16="http://schemas.microsoft.com/office/drawing/2014/main" id="{D586EDEA-6147-A920-5C0D-5758A4377F43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41" name="Овал 240">
              <a:extLst>
                <a:ext uri="{FF2B5EF4-FFF2-40B4-BE49-F238E27FC236}">
                  <a16:creationId xmlns:a16="http://schemas.microsoft.com/office/drawing/2014/main" id="{711D65A0-A0D3-5414-ED41-A4ECD3E9111A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44" name="Группа 243">
            <a:extLst>
              <a:ext uri="{FF2B5EF4-FFF2-40B4-BE49-F238E27FC236}">
                <a16:creationId xmlns:a16="http://schemas.microsoft.com/office/drawing/2014/main" id="{DD4716B4-A569-D334-4F31-977FB69BC9E4}"/>
              </a:ext>
            </a:extLst>
          </p:cNvPr>
          <p:cNvGrpSpPr/>
          <p:nvPr/>
        </p:nvGrpSpPr>
        <p:grpSpPr>
          <a:xfrm rot="4723074">
            <a:off x="7838361" y="2558047"/>
            <a:ext cx="4166964" cy="4201628"/>
            <a:chOff x="6216130" y="1119383"/>
            <a:chExt cx="11272723" cy="11366496"/>
          </a:xfrm>
        </p:grpSpPr>
        <p:grpSp>
          <p:nvGrpSpPr>
            <p:cNvPr id="245" name="Группа 244">
              <a:extLst>
                <a:ext uri="{FF2B5EF4-FFF2-40B4-BE49-F238E27FC236}">
                  <a16:creationId xmlns:a16="http://schemas.microsoft.com/office/drawing/2014/main" id="{B69640BA-806F-C529-89F6-941695A56EF5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49" name="Полилиния 248">
                <a:extLst>
                  <a:ext uri="{FF2B5EF4-FFF2-40B4-BE49-F238E27FC236}">
                    <a16:creationId xmlns:a16="http://schemas.microsoft.com/office/drawing/2014/main" id="{9828E477-0772-4392-E8E4-53976FCA2782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50" name="Прямая соединительная линия 249">
                <a:extLst>
                  <a:ext uri="{FF2B5EF4-FFF2-40B4-BE49-F238E27FC236}">
                    <a16:creationId xmlns:a16="http://schemas.microsoft.com/office/drawing/2014/main" id="{3DD98930-4177-C6ED-BC6D-20B08CA352E0}"/>
                  </a:ext>
                </a:extLst>
              </p:cNvPr>
              <p:cNvCxnSpPr>
                <a:cxnSpLocks/>
                <a:stCxn id="249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6" name="Овал 245">
              <a:extLst>
                <a:ext uri="{FF2B5EF4-FFF2-40B4-BE49-F238E27FC236}">
                  <a16:creationId xmlns:a16="http://schemas.microsoft.com/office/drawing/2014/main" id="{9E0515C5-CEA6-AFA9-667E-3AC4D5C5BD54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47" name="Овал 246">
              <a:extLst>
                <a:ext uri="{FF2B5EF4-FFF2-40B4-BE49-F238E27FC236}">
                  <a16:creationId xmlns:a16="http://schemas.microsoft.com/office/drawing/2014/main" id="{15851D4D-F65E-4B00-FE4A-FF2C9116849F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48" name="Овал 247">
              <a:extLst>
                <a:ext uri="{FF2B5EF4-FFF2-40B4-BE49-F238E27FC236}">
                  <a16:creationId xmlns:a16="http://schemas.microsoft.com/office/drawing/2014/main" id="{90741936-43AE-FE41-B2A3-A528881B743E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51" name="Группа 250">
            <a:extLst>
              <a:ext uri="{FF2B5EF4-FFF2-40B4-BE49-F238E27FC236}">
                <a16:creationId xmlns:a16="http://schemas.microsoft.com/office/drawing/2014/main" id="{4445995E-0041-BAE9-350C-EE7203A6A88C}"/>
              </a:ext>
            </a:extLst>
          </p:cNvPr>
          <p:cNvGrpSpPr/>
          <p:nvPr/>
        </p:nvGrpSpPr>
        <p:grpSpPr>
          <a:xfrm rot="15523074">
            <a:off x="7471489" y="2180199"/>
            <a:ext cx="4922917" cy="4963870"/>
            <a:chOff x="6216130" y="1119383"/>
            <a:chExt cx="11272723" cy="11366496"/>
          </a:xfrm>
        </p:grpSpPr>
        <p:grpSp>
          <p:nvGrpSpPr>
            <p:cNvPr id="252" name="Группа 251">
              <a:extLst>
                <a:ext uri="{FF2B5EF4-FFF2-40B4-BE49-F238E27FC236}">
                  <a16:creationId xmlns:a16="http://schemas.microsoft.com/office/drawing/2014/main" id="{1E09B77F-02DA-2CED-3036-DC59AB07B1F2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56" name="Полилиния 255">
                <a:extLst>
                  <a:ext uri="{FF2B5EF4-FFF2-40B4-BE49-F238E27FC236}">
                    <a16:creationId xmlns:a16="http://schemas.microsoft.com/office/drawing/2014/main" id="{BF6FA457-6C41-0F29-AB5D-E51026069C11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57" name="Прямая соединительная линия 256">
                <a:extLst>
                  <a:ext uri="{FF2B5EF4-FFF2-40B4-BE49-F238E27FC236}">
                    <a16:creationId xmlns:a16="http://schemas.microsoft.com/office/drawing/2014/main" id="{45621A61-9833-EB6A-6E4B-E70178ED2271}"/>
                  </a:ext>
                </a:extLst>
              </p:cNvPr>
              <p:cNvCxnSpPr>
                <a:cxnSpLocks/>
                <a:stCxn id="256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3" name="Овал 252">
              <a:extLst>
                <a:ext uri="{FF2B5EF4-FFF2-40B4-BE49-F238E27FC236}">
                  <a16:creationId xmlns:a16="http://schemas.microsoft.com/office/drawing/2014/main" id="{D5F5EA49-C2CB-8B20-12B8-331E4E4EDCA3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54" name="Овал 253">
              <a:extLst>
                <a:ext uri="{FF2B5EF4-FFF2-40B4-BE49-F238E27FC236}">
                  <a16:creationId xmlns:a16="http://schemas.microsoft.com/office/drawing/2014/main" id="{9ACB0B25-9440-765E-DFBD-6B9187725885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55" name="Овал 254">
              <a:extLst>
                <a:ext uri="{FF2B5EF4-FFF2-40B4-BE49-F238E27FC236}">
                  <a16:creationId xmlns:a16="http://schemas.microsoft.com/office/drawing/2014/main" id="{80B18FD9-7964-2EEF-914D-42C7737BE2E8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58" name="Группа 257">
            <a:extLst>
              <a:ext uri="{FF2B5EF4-FFF2-40B4-BE49-F238E27FC236}">
                <a16:creationId xmlns:a16="http://schemas.microsoft.com/office/drawing/2014/main" id="{F1C0EE38-E913-5180-0444-9E9556BF6C27}"/>
              </a:ext>
            </a:extLst>
          </p:cNvPr>
          <p:cNvGrpSpPr/>
          <p:nvPr/>
        </p:nvGrpSpPr>
        <p:grpSpPr>
          <a:xfrm rot="4723074">
            <a:off x="7460384" y="2134550"/>
            <a:ext cx="4990911" cy="5032429"/>
            <a:chOff x="6216130" y="1119383"/>
            <a:chExt cx="11272723" cy="11366496"/>
          </a:xfrm>
        </p:grpSpPr>
        <p:grpSp>
          <p:nvGrpSpPr>
            <p:cNvPr id="259" name="Группа 258">
              <a:extLst>
                <a:ext uri="{FF2B5EF4-FFF2-40B4-BE49-F238E27FC236}">
                  <a16:creationId xmlns:a16="http://schemas.microsoft.com/office/drawing/2014/main" id="{289A1AC1-A9A4-27E6-A2E0-3001EE080BBD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63" name="Полилиния 262">
                <a:extLst>
                  <a:ext uri="{FF2B5EF4-FFF2-40B4-BE49-F238E27FC236}">
                    <a16:creationId xmlns:a16="http://schemas.microsoft.com/office/drawing/2014/main" id="{C106C984-A96D-C77B-21BF-2C50154A56D2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>
                    <a:alpha val="1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64" name="Прямая соединительная линия 263">
                <a:extLst>
                  <a:ext uri="{FF2B5EF4-FFF2-40B4-BE49-F238E27FC236}">
                    <a16:creationId xmlns:a16="http://schemas.microsoft.com/office/drawing/2014/main" id="{2A5286F2-D572-29B1-FE85-B548A7CE6FFE}"/>
                  </a:ext>
                </a:extLst>
              </p:cNvPr>
              <p:cNvCxnSpPr>
                <a:cxnSpLocks/>
                <a:stCxn id="263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>
                    <a:alpha val="12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0" name="Овал 259">
              <a:extLst>
                <a:ext uri="{FF2B5EF4-FFF2-40B4-BE49-F238E27FC236}">
                  <a16:creationId xmlns:a16="http://schemas.microsoft.com/office/drawing/2014/main" id="{1A0E0E67-FBA5-B628-8A27-53A2B985805B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61" name="Овал 260">
              <a:extLst>
                <a:ext uri="{FF2B5EF4-FFF2-40B4-BE49-F238E27FC236}">
                  <a16:creationId xmlns:a16="http://schemas.microsoft.com/office/drawing/2014/main" id="{FBB24805-8018-FF95-F38B-35E060739A1C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62" name="Овал 261">
              <a:extLst>
                <a:ext uri="{FF2B5EF4-FFF2-40B4-BE49-F238E27FC236}">
                  <a16:creationId xmlns:a16="http://schemas.microsoft.com/office/drawing/2014/main" id="{03B780D7-7DE7-DF16-8DB5-C9F180E0572A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65" name="Группа 264">
            <a:extLst>
              <a:ext uri="{FF2B5EF4-FFF2-40B4-BE49-F238E27FC236}">
                <a16:creationId xmlns:a16="http://schemas.microsoft.com/office/drawing/2014/main" id="{EDEAA46D-2A7D-B5CF-C0F1-7E043F47B153}"/>
              </a:ext>
            </a:extLst>
          </p:cNvPr>
          <p:cNvGrpSpPr/>
          <p:nvPr/>
        </p:nvGrpSpPr>
        <p:grpSpPr>
          <a:xfrm rot="15523074">
            <a:off x="8329567" y="3053339"/>
            <a:ext cx="3184553" cy="3211045"/>
            <a:chOff x="6216130" y="1119383"/>
            <a:chExt cx="11272723" cy="11366496"/>
          </a:xfrm>
        </p:grpSpPr>
        <p:grpSp>
          <p:nvGrpSpPr>
            <p:cNvPr id="266" name="Группа 265">
              <a:extLst>
                <a:ext uri="{FF2B5EF4-FFF2-40B4-BE49-F238E27FC236}">
                  <a16:creationId xmlns:a16="http://schemas.microsoft.com/office/drawing/2014/main" id="{0C9EA9FC-ECE9-0012-AE54-4CEE68AD1273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70" name="Полилиния 269">
                <a:extLst>
                  <a:ext uri="{FF2B5EF4-FFF2-40B4-BE49-F238E27FC236}">
                    <a16:creationId xmlns:a16="http://schemas.microsoft.com/office/drawing/2014/main" id="{AC7B0BFD-8FBE-5227-7701-E70963D42347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71" name="Прямая соединительная линия 270">
                <a:extLst>
                  <a:ext uri="{FF2B5EF4-FFF2-40B4-BE49-F238E27FC236}">
                    <a16:creationId xmlns:a16="http://schemas.microsoft.com/office/drawing/2014/main" id="{116F9D39-190E-D71E-9B2A-76E52565E21C}"/>
                  </a:ext>
                </a:extLst>
              </p:cNvPr>
              <p:cNvCxnSpPr>
                <a:cxnSpLocks/>
                <a:stCxn id="270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7" name="Овал 266">
              <a:extLst>
                <a:ext uri="{FF2B5EF4-FFF2-40B4-BE49-F238E27FC236}">
                  <a16:creationId xmlns:a16="http://schemas.microsoft.com/office/drawing/2014/main" id="{AA2CB144-906C-2C52-9574-8DEE063EF904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68" name="Овал 267">
              <a:extLst>
                <a:ext uri="{FF2B5EF4-FFF2-40B4-BE49-F238E27FC236}">
                  <a16:creationId xmlns:a16="http://schemas.microsoft.com/office/drawing/2014/main" id="{78A8B120-7028-955B-7862-51C9E4E94D67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69" name="Овал 268">
              <a:extLst>
                <a:ext uri="{FF2B5EF4-FFF2-40B4-BE49-F238E27FC236}">
                  <a16:creationId xmlns:a16="http://schemas.microsoft.com/office/drawing/2014/main" id="{81366E5C-B3EB-25D9-D9D4-07E3D09BE585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72" name="Группа 271">
            <a:extLst>
              <a:ext uri="{FF2B5EF4-FFF2-40B4-BE49-F238E27FC236}">
                <a16:creationId xmlns:a16="http://schemas.microsoft.com/office/drawing/2014/main" id="{C49E29E7-D4AC-4ED8-AF80-A58F9CF94B4C}"/>
              </a:ext>
            </a:extLst>
          </p:cNvPr>
          <p:cNvGrpSpPr/>
          <p:nvPr/>
        </p:nvGrpSpPr>
        <p:grpSpPr>
          <a:xfrm rot="4723074">
            <a:off x="6634591" y="1361330"/>
            <a:ext cx="6547144" cy="6601608"/>
            <a:chOff x="6216130" y="1119383"/>
            <a:chExt cx="11272723" cy="11366496"/>
          </a:xfrm>
        </p:grpSpPr>
        <p:grpSp>
          <p:nvGrpSpPr>
            <p:cNvPr id="273" name="Группа 272">
              <a:extLst>
                <a:ext uri="{FF2B5EF4-FFF2-40B4-BE49-F238E27FC236}">
                  <a16:creationId xmlns:a16="http://schemas.microsoft.com/office/drawing/2014/main" id="{71607230-9751-3A1E-06A3-D3708CBBCA23}"/>
                </a:ext>
              </a:extLst>
            </p:cNvPr>
            <p:cNvGrpSpPr/>
            <p:nvPr/>
          </p:nvGrpSpPr>
          <p:grpSpPr>
            <a:xfrm>
              <a:off x="6432154" y="1476911"/>
              <a:ext cx="10903324" cy="10763765"/>
              <a:chOff x="6741132" y="1525782"/>
              <a:chExt cx="10903324" cy="10763765"/>
            </a:xfrm>
          </p:grpSpPr>
          <p:sp>
            <p:nvSpPr>
              <p:cNvPr id="277" name="Полилиния 276">
                <a:extLst>
                  <a:ext uri="{FF2B5EF4-FFF2-40B4-BE49-F238E27FC236}">
                    <a16:creationId xmlns:a16="http://schemas.microsoft.com/office/drawing/2014/main" id="{9AB944CC-A69A-B5C3-9E96-AE233D725593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>
                    <a:alpha val="48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78" name="Прямая соединительная линия 277">
                <a:extLst>
                  <a:ext uri="{FF2B5EF4-FFF2-40B4-BE49-F238E27FC236}">
                    <a16:creationId xmlns:a16="http://schemas.microsoft.com/office/drawing/2014/main" id="{469D3E9F-8EF1-3CEC-79F4-8DA70DEFC04D}"/>
                  </a:ext>
                </a:extLst>
              </p:cNvPr>
              <p:cNvCxnSpPr>
                <a:cxnSpLocks/>
                <a:stCxn id="277" idx="1"/>
              </p:cNvCxnSpPr>
              <p:nvPr/>
            </p:nvCxnSpPr>
            <p:spPr>
              <a:xfrm flipV="1">
                <a:off x="12192794" y="1525782"/>
                <a:ext cx="0" cy="5312101"/>
              </a:xfrm>
              <a:prstGeom prst="line">
                <a:avLst/>
              </a:prstGeom>
              <a:ln>
                <a:solidFill>
                  <a:schemeClr val="bg1">
                    <a:alpha val="4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4" name="Овал 273">
              <a:extLst>
                <a:ext uri="{FF2B5EF4-FFF2-40B4-BE49-F238E27FC236}">
                  <a16:creationId xmlns:a16="http://schemas.microsoft.com/office/drawing/2014/main" id="{0868C725-03AA-48CB-21E8-31780322E89C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75" name="Овал 274">
              <a:extLst>
                <a:ext uri="{FF2B5EF4-FFF2-40B4-BE49-F238E27FC236}">
                  <a16:creationId xmlns:a16="http://schemas.microsoft.com/office/drawing/2014/main" id="{B9D94A15-FE75-AF24-E44C-1184AA67401D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76" name="Овал 275">
              <a:extLst>
                <a:ext uri="{FF2B5EF4-FFF2-40B4-BE49-F238E27FC236}">
                  <a16:creationId xmlns:a16="http://schemas.microsoft.com/office/drawing/2014/main" id="{276FC8FF-5F65-52EA-06F5-F877AB9F15DF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grpSp>
        <p:nvGrpSpPr>
          <p:cNvPr id="279" name="Группа 278">
            <a:extLst>
              <a:ext uri="{FF2B5EF4-FFF2-40B4-BE49-F238E27FC236}">
                <a16:creationId xmlns:a16="http://schemas.microsoft.com/office/drawing/2014/main" id="{0F4AD77B-B4CF-EF4C-8E7B-1B4B189FBFB3}"/>
              </a:ext>
            </a:extLst>
          </p:cNvPr>
          <p:cNvGrpSpPr/>
          <p:nvPr/>
        </p:nvGrpSpPr>
        <p:grpSpPr>
          <a:xfrm rot="15523074">
            <a:off x="7852230" y="2544916"/>
            <a:ext cx="4166964" cy="4201629"/>
            <a:chOff x="6216130" y="1119383"/>
            <a:chExt cx="11272723" cy="11366496"/>
          </a:xfrm>
        </p:grpSpPr>
        <p:grpSp>
          <p:nvGrpSpPr>
            <p:cNvPr id="280" name="Группа 279">
              <a:extLst>
                <a:ext uri="{FF2B5EF4-FFF2-40B4-BE49-F238E27FC236}">
                  <a16:creationId xmlns:a16="http://schemas.microsoft.com/office/drawing/2014/main" id="{BFCD2A34-F437-D861-3927-F96B273F2539}"/>
                </a:ext>
              </a:extLst>
            </p:cNvPr>
            <p:cNvGrpSpPr/>
            <p:nvPr/>
          </p:nvGrpSpPr>
          <p:grpSpPr>
            <a:xfrm>
              <a:off x="6432154" y="1476912"/>
              <a:ext cx="10903324" cy="10763764"/>
              <a:chOff x="6741132" y="1525783"/>
              <a:chExt cx="10903324" cy="10763764"/>
            </a:xfrm>
          </p:grpSpPr>
          <p:sp>
            <p:nvSpPr>
              <p:cNvPr id="284" name="Полилиния 283">
                <a:extLst>
                  <a:ext uri="{FF2B5EF4-FFF2-40B4-BE49-F238E27FC236}">
                    <a16:creationId xmlns:a16="http://schemas.microsoft.com/office/drawing/2014/main" id="{E54C4F9C-4CBA-CDCD-1009-2C8DE30DCEDA}"/>
                  </a:ext>
                </a:extLst>
              </p:cNvPr>
              <p:cNvSpPr/>
              <p:nvPr/>
            </p:nvSpPr>
            <p:spPr>
              <a:xfrm>
                <a:off x="6741132" y="6837884"/>
                <a:ext cx="10903324" cy="5451663"/>
              </a:xfrm>
              <a:custGeom>
                <a:avLst/>
                <a:gdLst>
                  <a:gd name="connsiteX0" fmla="*/ 5451662 w 10903324"/>
                  <a:gd name="connsiteY0" fmla="*/ 0 h 5451663"/>
                  <a:gd name="connsiteX1" fmla="*/ 10903324 w 10903324"/>
                  <a:gd name="connsiteY1" fmla="*/ 5451663 h 5451663"/>
                  <a:gd name="connsiteX2" fmla="*/ 0 w 10903324"/>
                  <a:gd name="connsiteY2" fmla="*/ 5451663 h 5451663"/>
                  <a:gd name="connsiteX0" fmla="*/ 5451662 w 10903324"/>
                  <a:gd name="connsiteY0" fmla="*/ 0 h 5486400"/>
                  <a:gd name="connsiteX1" fmla="*/ 10903324 w 10903324"/>
                  <a:gd name="connsiteY1" fmla="*/ 5451663 h 5486400"/>
                  <a:gd name="connsiteX2" fmla="*/ 6659976 w 10903324"/>
                  <a:gd name="connsiteY2" fmla="*/ 5486400 h 5486400"/>
                  <a:gd name="connsiteX3" fmla="*/ 0 w 10903324"/>
                  <a:gd name="connsiteY3" fmla="*/ 5451663 h 5486400"/>
                  <a:gd name="connsiteX4" fmla="*/ 5451662 w 10903324"/>
                  <a:gd name="connsiteY4" fmla="*/ 0 h 5486400"/>
                  <a:gd name="connsiteX0" fmla="*/ 5451662 w 10903324"/>
                  <a:gd name="connsiteY0" fmla="*/ 0 h 6792686"/>
                  <a:gd name="connsiteX1" fmla="*/ 10903324 w 10903324"/>
                  <a:gd name="connsiteY1" fmla="*/ 5451663 h 6792686"/>
                  <a:gd name="connsiteX2" fmla="*/ 5908862 w 10903324"/>
                  <a:gd name="connsiteY2" fmla="*/ 6792686 h 6792686"/>
                  <a:gd name="connsiteX3" fmla="*/ 0 w 10903324"/>
                  <a:gd name="connsiteY3" fmla="*/ 5451663 h 6792686"/>
                  <a:gd name="connsiteX4" fmla="*/ 5451662 w 10903324"/>
                  <a:gd name="connsiteY4" fmla="*/ 0 h 6792686"/>
                  <a:gd name="connsiteX0" fmla="*/ 5908862 w 10903324"/>
                  <a:gd name="connsiteY0" fmla="*/ 6792686 h 6884126"/>
                  <a:gd name="connsiteX1" fmla="*/ 0 w 10903324"/>
                  <a:gd name="connsiteY1" fmla="*/ 5451663 h 6884126"/>
                  <a:gd name="connsiteX2" fmla="*/ 5451662 w 10903324"/>
                  <a:gd name="connsiteY2" fmla="*/ 0 h 6884126"/>
                  <a:gd name="connsiteX3" fmla="*/ 10903324 w 10903324"/>
                  <a:gd name="connsiteY3" fmla="*/ 5451663 h 6884126"/>
                  <a:gd name="connsiteX4" fmla="*/ 6000302 w 10903324"/>
                  <a:gd name="connsiteY4" fmla="*/ 6884126 h 6884126"/>
                  <a:gd name="connsiteX0" fmla="*/ 5908862 w 10903324"/>
                  <a:gd name="connsiteY0" fmla="*/ 6792686 h 6792686"/>
                  <a:gd name="connsiteX1" fmla="*/ 0 w 10903324"/>
                  <a:gd name="connsiteY1" fmla="*/ 5451663 h 6792686"/>
                  <a:gd name="connsiteX2" fmla="*/ 5451662 w 10903324"/>
                  <a:gd name="connsiteY2" fmla="*/ 0 h 6792686"/>
                  <a:gd name="connsiteX3" fmla="*/ 10903324 w 10903324"/>
                  <a:gd name="connsiteY3" fmla="*/ 5451663 h 6792686"/>
                  <a:gd name="connsiteX0" fmla="*/ 0 w 10903324"/>
                  <a:gd name="connsiteY0" fmla="*/ 5451663 h 5451663"/>
                  <a:gd name="connsiteX1" fmla="*/ 5451662 w 10903324"/>
                  <a:gd name="connsiteY1" fmla="*/ 0 h 5451663"/>
                  <a:gd name="connsiteX2" fmla="*/ 10903324 w 10903324"/>
                  <a:gd name="connsiteY2" fmla="*/ 5451663 h 5451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3324" h="5451663">
                    <a:moveTo>
                      <a:pt x="0" y="5451663"/>
                    </a:moveTo>
                    <a:lnTo>
                      <a:pt x="5451662" y="0"/>
                    </a:lnTo>
                    <a:lnTo>
                      <a:pt x="10903324" y="5451663"/>
                    </a:lnTo>
                  </a:path>
                </a:pathLst>
              </a:custGeom>
              <a:noFill/>
              <a:ln>
                <a:solidFill>
                  <a:schemeClr val="bg1">
                    <a:alpha val="19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/>
              </a:p>
            </p:txBody>
          </p:sp>
          <p:cxnSp>
            <p:nvCxnSpPr>
              <p:cNvPr id="285" name="Прямая соединительная линия 284">
                <a:extLst>
                  <a:ext uri="{FF2B5EF4-FFF2-40B4-BE49-F238E27FC236}">
                    <a16:creationId xmlns:a16="http://schemas.microsoft.com/office/drawing/2014/main" id="{8B8A6295-A220-EB17-6591-A1D87CAEC691}"/>
                  </a:ext>
                </a:extLst>
              </p:cNvPr>
              <p:cNvCxnSpPr>
                <a:cxnSpLocks/>
                <a:stCxn id="284" idx="1"/>
              </p:cNvCxnSpPr>
              <p:nvPr/>
            </p:nvCxnSpPr>
            <p:spPr>
              <a:xfrm flipV="1">
                <a:off x="12192794" y="1525783"/>
                <a:ext cx="0" cy="5312101"/>
              </a:xfrm>
              <a:prstGeom prst="line">
                <a:avLst/>
              </a:prstGeom>
              <a:ln>
                <a:solidFill>
                  <a:schemeClr val="bg1">
                    <a:alpha val="19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1" name="Овал 280">
              <a:extLst>
                <a:ext uri="{FF2B5EF4-FFF2-40B4-BE49-F238E27FC236}">
                  <a16:creationId xmlns:a16="http://schemas.microsoft.com/office/drawing/2014/main" id="{700F8271-601E-5CBD-73B8-F7ED3BCEF95E}"/>
                </a:ext>
              </a:extLst>
            </p:cNvPr>
            <p:cNvSpPr/>
            <p:nvPr/>
          </p:nvSpPr>
          <p:spPr>
            <a:xfrm>
              <a:off x="11665849" y="1119383"/>
              <a:ext cx="435935" cy="4359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82" name="Овал 281">
              <a:extLst>
                <a:ext uri="{FF2B5EF4-FFF2-40B4-BE49-F238E27FC236}">
                  <a16:creationId xmlns:a16="http://schemas.microsoft.com/office/drawing/2014/main" id="{BF2DC768-2B2A-D38B-4B07-0C84A80AE4CA}"/>
                </a:ext>
              </a:extLst>
            </p:cNvPr>
            <p:cNvSpPr/>
            <p:nvPr/>
          </p:nvSpPr>
          <p:spPr>
            <a:xfrm>
              <a:off x="17182103" y="12087301"/>
              <a:ext cx="306750" cy="3067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  <p:sp>
          <p:nvSpPr>
            <p:cNvPr id="283" name="Овал 282">
              <a:extLst>
                <a:ext uri="{FF2B5EF4-FFF2-40B4-BE49-F238E27FC236}">
                  <a16:creationId xmlns:a16="http://schemas.microsoft.com/office/drawing/2014/main" id="{86D059DE-E793-3979-24CC-B07A6BE72CD5}"/>
                </a:ext>
              </a:extLst>
            </p:cNvPr>
            <p:cNvSpPr/>
            <p:nvPr/>
          </p:nvSpPr>
          <p:spPr>
            <a:xfrm>
              <a:off x="6216130" y="12053831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/>
            </a:p>
          </p:txBody>
        </p:sp>
      </p:grpSp>
      <p:pic>
        <p:nvPicPr>
          <p:cNvPr id="294" name="Рисунок 293">
            <a:extLst>
              <a:ext uri="{FF2B5EF4-FFF2-40B4-BE49-F238E27FC236}">
                <a16:creationId xmlns:a16="http://schemas.microsoft.com/office/drawing/2014/main" id="{9C1AC973-DFA8-47A8-6D77-AECC37EB75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47147">
            <a:off x="8094150" y="9708143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295" name="Рисунок 294">
            <a:extLst>
              <a:ext uri="{FF2B5EF4-FFF2-40B4-BE49-F238E27FC236}">
                <a16:creationId xmlns:a16="http://schemas.microsoft.com/office/drawing/2014/main" id="{CED0915A-DF70-90D4-AFD7-7C76D686FE4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20147147">
            <a:off x="9522900" y="13020424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296" name="Рисунок 295">
            <a:extLst>
              <a:ext uri="{FF2B5EF4-FFF2-40B4-BE49-F238E27FC236}">
                <a16:creationId xmlns:a16="http://schemas.microsoft.com/office/drawing/2014/main" id="{C00716C9-1BBF-47B5-09B3-994D303A118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 rot="20147147">
            <a:off x="2001790" y="-11236508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297" name="Рисунок 296">
            <a:extLst>
              <a:ext uri="{FF2B5EF4-FFF2-40B4-BE49-F238E27FC236}">
                <a16:creationId xmlns:a16="http://schemas.microsoft.com/office/drawing/2014/main" id="{84331DB5-F7F5-96DE-5427-B32BB6D3E17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 rot="20147147">
            <a:off x="3498757" y="-8009075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298" name="Рисунок 297">
            <a:extLst>
              <a:ext uri="{FF2B5EF4-FFF2-40B4-BE49-F238E27FC236}">
                <a16:creationId xmlns:a16="http://schemas.microsoft.com/office/drawing/2014/main" id="{2F872DB8-5B4E-663A-9C2F-8B850F3B63A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 rot="20147147">
            <a:off x="5092500" y="-4753026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299" name="Рисунок 298">
            <a:extLst>
              <a:ext uri="{FF2B5EF4-FFF2-40B4-BE49-F238E27FC236}">
                <a16:creationId xmlns:a16="http://schemas.microsoft.com/office/drawing/2014/main" id="{F372E299-5324-B121-2AC4-10CF45C19A5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 rot="20147147">
            <a:off x="14280015" y="7867950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pic>
        <p:nvPicPr>
          <p:cNvPr id="300" name="Рисунок 299">
            <a:extLst>
              <a:ext uri="{FF2B5EF4-FFF2-40B4-BE49-F238E27FC236}">
                <a16:creationId xmlns:a16="http://schemas.microsoft.com/office/drawing/2014/main" id="{4E1F8623-51F1-B549-D602-D71B38023F6F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 rot="20147147">
            <a:off x="15873758" y="11123999"/>
            <a:ext cx="2622183" cy="3279464"/>
          </a:xfrm>
          <a:prstGeom prst="roundRect">
            <a:avLst>
              <a:gd name="adj" fmla="val 5473"/>
            </a:avLst>
          </a:prstGeom>
          <a:ln>
            <a:solidFill>
              <a:schemeClr val="tx1"/>
            </a:solidFill>
          </a:ln>
        </p:spPr>
      </p:pic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407A248E-935A-7972-C452-DCF388C44216}"/>
              </a:ext>
            </a:extLst>
          </p:cNvPr>
          <p:cNvGrpSpPr/>
          <p:nvPr/>
        </p:nvGrpSpPr>
        <p:grpSpPr>
          <a:xfrm>
            <a:off x="5504873" y="1010247"/>
            <a:ext cx="528860" cy="326730"/>
            <a:chOff x="5504873" y="1010247"/>
            <a:chExt cx="528860" cy="326730"/>
          </a:xfrm>
        </p:grpSpPr>
        <p:sp>
          <p:nvSpPr>
            <p:cNvPr id="15" name="Полилиния 14">
              <a:extLst>
                <a:ext uri="{FF2B5EF4-FFF2-40B4-BE49-F238E27FC236}">
                  <a16:creationId xmlns:a16="http://schemas.microsoft.com/office/drawing/2014/main" id="{0E6A1805-5B42-4966-2BB2-F1FA272B07EA}"/>
                </a:ext>
              </a:extLst>
            </p:cNvPr>
            <p:cNvSpPr/>
            <p:nvPr/>
          </p:nvSpPr>
          <p:spPr>
            <a:xfrm>
              <a:off x="5504873" y="1010247"/>
              <a:ext cx="228997" cy="326730"/>
            </a:xfrm>
            <a:custGeom>
              <a:avLst/>
              <a:gdLst>
                <a:gd name="connsiteX0" fmla="*/ 38167 w 228997"/>
                <a:gd name="connsiteY0" fmla="*/ 0 h 326730"/>
                <a:gd name="connsiteX1" fmla="*/ 190830 w 228997"/>
                <a:gd name="connsiteY1" fmla="*/ 0 h 326730"/>
                <a:gd name="connsiteX2" fmla="*/ 228997 w 228997"/>
                <a:gd name="connsiteY2" fmla="*/ 38167 h 326730"/>
                <a:gd name="connsiteX3" fmla="*/ 228997 w 228997"/>
                <a:gd name="connsiteY3" fmla="*/ 131163 h 326730"/>
                <a:gd name="connsiteX4" fmla="*/ 228997 w 228997"/>
                <a:gd name="connsiteY4" fmla="*/ 210694 h 326730"/>
                <a:gd name="connsiteX5" fmla="*/ 228997 w 228997"/>
                <a:gd name="connsiteY5" fmla="*/ 313958 h 326730"/>
                <a:gd name="connsiteX6" fmla="*/ 216225 w 228997"/>
                <a:gd name="connsiteY6" fmla="*/ 326730 h 326730"/>
                <a:gd name="connsiteX7" fmla="*/ 165137 w 228997"/>
                <a:gd name="connsiteY7" fmla="*/ 326730 h 326730"/>
                <a:gd name="connsiteX8" fmla="*/ 152365 w 228997"/>
                <a:gd name="connsiteY8" fmla="*/ 313958 h 326730"/>
                <a:gd name="connsiteX9" fmla="*/ 152365 w 228997"/>
                <a:gd name="connsiteY9" fmla="*/ 248861 h 326730"/>
                <a:gd name="connsiteX10" fmla="*/ 38167 w 228997"/>
                <a:gd name="connsiteY10" fmla="*/ 248861 h 326730"/>
                <a:gd name="connsiteX11" fmla="*/ 0 w 228997"/>
                <a:gd name="connsiteY11" fmla="*/ 210694 h 326730"/>
                <a:gd name="connsiteX12" fmla="*/ 0 w 228997"/>
                <a:gd name="connsiteY12" fmla="*/ 38167 h 326730"/>
                <a:gd name="connsiteX13" fmla="*/ 38167 w 228997"/>
                <a:gd name="connsiteY13" fmla="*/ 0 h 326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8997" h="326730">
                  <a:moveTo>
                    <a:pt x="38167" y="0"/>
                  </a:moveTo>
                  <a:lnTo>
                    <a:pt x="190830" y="0"/>
                  </a:lnTo>
                  <a:cubicBezTo>
                    <a:pt x="211909" y="0"/>
                    <a:pt x="228997" y="17088"/>
                    <a:pt x="228997" y="38167"/>
                  </a:cubicBezTo>
                  <a:lnTo>
                    <a:pt x="228997" y="131163"/>
                  </a:lnTo>
                  <a:lnTo>
                    <a:pt x="228997" y="210694"/>
                  </a:lnTo>
                  <a:lnTo>
                    <a:pt x="228997" y="313958"/>
                  </a:lnTo>
                  <a:cubicBezTo>
                    <a:pt x="228997" y="321012"/>
                    <a:pt x="223279" y="326730"/>
                    <a:pt x="216225" y="326730"/>
                  </a:cubicBezTo>
                  <a:lnTo>
                    <a:pt x="165137" y="326730"/>
                  </a:lnTo>
                  <a:cubicBezTo>
                    <a:pt x="158083" y="326730"/>
                    <a:pt x="152365" y="321012"/>
                    <a:pt x="152365" y="313958"/>
                  </a:cubicBezTo>
                  <a:lnTo>
                    <a:pt x="152365" y="248861"/>
                  </a:lnTo>
                  <a:lnTo>
                    <a:pt x="38167" y="248861"/>
                  </a:lnTo>
                  <a:cubicBezTo>
                    <a:pt x="17088" y="248861"/>
                    <a:pt x="0" y="231773"/>
                    <a:pt x="0" y="210694"/>
                  </a:cubicBezTo>
                  <a:lnTo>
                    <a:pt x="0" y="38167"/>
                  </a:lnTo>
                  <a:cubicBezTo>
                    <a:pt x="0" y="17088"/>
                    <a:pt x="17088" y="0"/>
                    <a:pt x="38167" y="0"/>
                  </a:cubicBez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39B55B95-E503-42FE-0913-C7FE7FEB7E97}"/>
                </a:ext>
              </a:extLst>
            </p:cNvPr>
            <p:cNvSpPr/>
            <p:nvPr/>
          </p:nvSpPr>
          <p:spPr>
            <a:xfrm>
              <a:off x="5804736" y="1010247"/>
              <a:ext cx="228997" cy="326730"/>
            </a:xfrm>
            <a:custGeom>
              <a:avLst/>
              <a:gdLst>
                <a:gd name="connsiteX0" fmla="*/ 38167 w 228997"/>
                <a:gd name="connsiteY0" fmla="*/ 0 h 326730"/>
                <a:gd name="connsiteX1" fmla="*/ 190830 w 228997"/>
                <a:gd name="connsiteY1" fmla="*/ 0 h 326730"/>
                <a:gd name="connsiteX2" fmla="*/ 228997 w 228997"/>
                <a:gd name="connsiteY2" fmla="*/ 38167 h 326730"/>
                <a:gd name="connsiteX3" fmla="*/ 228997 w 228997"/>
                <a:gd name="connsiteY3" fmla="*/ 131163 h 326730"/>
                <a:gd name="connsiteX4" fmla="*/ 228997 w 228997"/>
                <a:gd name="connsiteY4" fmla="*/ 210694 h 326730"/>
                <a:gd name="connsiteX5" fmla="*/ 228997 w 228997"/>
                <a:gd name="connsiteY5" fmla="*/ 313958 h 326730"/>
                <a:gd name="connsiteX6" fmla="*/ 216225 w 228997"/>
                <a:gd name="connsiteY6" fmla="*/ 326730 h 326730"/>
                <a:gd name="connsiteX7" fmla="*/ 165137 w 228997"/>
                <a:gd name="connsiteY7" fmla="*/ 326730 h 326730"/>
                <a:gd name="connsiteX8" fmla="*/ 152365 w 228997"/>
                <a:gd name="connsiteY8" fmla="*/ 313958 h 326730"/>
                <a:gd name="connsiteX9" fmla="*/ 152365 w 228997"/>
                <a:gd name="connsiteY9" fmla="*/ 248861 h 326730"/>
                <a:gd name="connsiteX10" fmla="*/ 38167 w 228997"/>
                <a:gd name="connsiteY10" fmla="*/ 248861 h 326730"/>
                <a:gd name="connsiteX11" fmla="*/ 0 w 228997"/>
                <a:gd name="connsiteY11" fmla="*/ 210694 h 326730"/>
                <a:gd name="connsiteX12" fmla="*/ 0 w 228997"/>
                <a:gd name="connsiteY12" fmla="*/ 38167 h 326730"/>
                <a:gd name="connsiteX13" fmla="*/ 38167 w 228997"/>
                <a:gd name="connsiteY13" fmla="*/ 0 h 326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8997" h="326730">
                  <a:moveTo>
                    <a:pt x="38167" y="0"/>
                  </a:moveTo>
                  <a:lnTo>
                    <a:pt x="190830" y="0"/>
                  </a:lnTo>
                  <a:cubicBezTo>
                    <a:pt x="211909" y="0"/>
                    <a:pt x="228997" y="17088"/>
                    <a:pt x="228997" y="38167"/>
                  </a:cubicBezTo>
                  <a:lnTo>
                    <a:pt x="228997" y="131163"/>
                  </a:lnTo>
                  <a:lnTo>
                    <a:pt x="228997" y="210694"/>
                  </a:lnTo>
                  <a:lnTo>
                    <a:pt x="228997" y="313958"/>
                  </a:lnTo>
                  <a:cubicBezTo>
                    <a:pt x="228997" y="321012"/>
                    <a:pt x="223279" y="326730"/>
                    <a:pt x="216225" y="326730"/>
                  </a:cubicBezTo>
                  <a:lnTo>
                    <a:pt x="165137" y="326730"/>
                  </a:lnTo>
                  <a:cubicBezTo>
                    <a:pt x="158083" y="326730"/>
                    <a:pt x="152365" y="321012"/>
                    <a:pt x="152365" y="313958"/>
                  </a:cubicBezTo>
                  <a:lnTo>
                    <a:pt x="152365" y="248861"/>
                  </a:lnTo>
                  <a:lnTo>
                    <a:pt x="38167" y="248861"/>
                  </a:lnTo>
                  <a:cubicBezTo>
                    <a:pt x="17088" y="248861"/>
                    <a:pt x="0" y="231773"/>
                    <a:pt x="0" y="210694"/>
                  </a:cubicBezTo>
                  <a:lnTo>
                    <a:pt x="0" y="38167"/>
                  </a:lnTo>
                  <a:cubicBezTo>
                    <a:pt x="0" y="17088"/>
                    <a:pt x="17088" y="0"/>
                    <a:pt x="38167" y="0"/>
                  </a:cubicBez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710950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rism isContent="1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7.40741E-7 L 0.06576 7.40741E-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100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3000" fill="hold"/>
                                        <p:tgtEl>
                                          <p:spTgt spid="174"/>
                                        </p:tgtEl>
                                      </p:cBhvr>
                                      <p:by x="300000" y="30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50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000" fill="hold"/>
                                        <p:tgtEl>
                                          <p:spTgt spid="18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8000" fill="hold"/>
                                        <p:tgtEl>
                                          <p:spTgt spid="18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4000" fill="hold"/>
                                        <p:tgtEl>
                                          <p:spTgt spid="188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0" dur="12000" fill="hold"/>
                                        <p:tgtEl>
                                          <p:spTgt spid="19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2500" fill="hold"/>
                                        <p:tgtEl>
                                          <p:spTgt spid="19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4" dur="10000" fill="hold"/>
                                        <p:tgtEl>
                                          <p:spTgt spid="2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6" dur="3000" fill="hold"/>
                                        <p:tgtEl>
                                          <p:spTgt spid="202"/>
                                        </p:tgtEl>
                                      </p:cBhvr>
                                      <p:by x="300000" y="300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8" dur="5000" fill="hold"/>
                                        <p:tgtEl>
                                          <p:spTgt spid="20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209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32" dur="8000" fill="hold"/>
                                        <p:tgtEl>
                                          <p:spTgt spid="2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3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4" dur="4000" fill="hold"/>
                                        <p:tgtEl>
                                          <p:spTgt spid="216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36" dur="12000" fill="hold"/>
                                        <p:tgtEl>
                                          <p:spTgt spid="2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7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8" dur="2500" fill="hold"/>
                                        <p:tgtEl>
                                          <p:spTgt spid="2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0" dur="10000" fill="hold"/>
                                        <p:tgtEl>
                                          <p:spTgt spid="2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1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2" dur="3000" fill="hold"/>
                                        <p:tgtEl>
                                          <p:spTgt spid="230"/>
                                        </p:tgtEl>
                                      </p:cBhvr>
                                      <p:by x="300000" y="300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4" dur="50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5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6" dur="2000" fill="hold"/>
                                        <p:tgtEl>
                                          <p:spTgt spid="23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8" dur="8000" fill="hold"/>
                                        <p:tgtEl>
                                          <p:spTgt spid="24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9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0" dur="4000" fill="hold"/>
                                        <p:tgtEl>
                                          <p:spTgt spid="244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5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2" dur="1200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3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4" dur="2500" fill="hold"/>
                                        <p:tgtEl>
                                          <p:spTgt spid="25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56" dur="1000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7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8" dur="3000" fill="hold"/>
                                        <p:tgtEl>
                                          <p:spTgt spid="258"/>
                                        </p:tgtEl>
                                      </p:cBhvr>
                                      <p:by x="300000" y="300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0" dur="500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1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2" dur="2000" fill="hold"/>
                                        <p:tgtEl>
                                          <p:spTgt spid="265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63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4" dur="8000" fill="hold"/>
                                        <p:tgtEl>
                                          <p:spTgt spid="27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5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6" dur="4000" fill="hold"/>
                                        <p:tgtEl>
                                          <p:spTgt spid="272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6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8" dur="12000" fill="hold"/>
                                        <p:tgtEl>
                                          <p:spTgt spid="27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9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0" dur="2500" fill="hold"/>
                                        <p:tgtEl>
                                          <p:spTgt spid="27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1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7.40741E-7 L 0.06576 7.40741E-7 " pathEditMode="relative" rAng="0" ptsTypes="AA">
                                      <p:cBhvr>
                                        <p:cTn id="72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4820C330-AFE2-A7B7-C987-08EC320A90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C0DCFD">
                  <a:alpha val="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" name="Oval 131">
            <a:extLst>
              <a:ext uri="{FF2B5EF4-FFF2-40B4-BE49-F238E27FC236}">
                <a16:creationId xmlns:a16="http://schemas.microsoft.com/office/drawing/2014/main" id="{276EEF5D-F78C-B26E-DECD-C77D3F1482D1}"/>
              </a:ext>
            </a:extLst>
          </p:cNvPr>
          <p:cNvSpPr/>
          <p:nvPr/>
        </p:nvSpPr>
        <p:spPr>
          <a:xfrm>
            <a:off x="7084494" y="-1500448"/>
            <a:ext cx="6485696" cy="6485696"/>
          </a:xfrm>
          <a:prstGeom prst="ellipse">
            <a:avLst/>
          </a:prstGeom>
          <a:gradFill flip="none" rotWithShape="1">
            <a:gsLst>
              <a:gs pos="100000">
                <a:srgbClr val="C0DCFD">
                  <a:alpha val="0"/>
                </a:srgbClr>
              </a:gs>
              <a:gs pos="0">
                <a:srgbClr val="620CFD">
                  <a:alpha val="28632"/>
                </a:srgbClr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9" name="Group 73">
            <a:extLst>
              <a:ext uri="{FF2B5EF4-FFF2-40B4-BE49-F238E27FC236}">
                <a16:creationId xmlns:a16="http://schemas.microsoft.com/office/drawing/2014/main" id="{35E67D2F-B7C3-B295-35E6-FC63796E3A00}"/>
              </a:ext>
            </a:extLst>
          </p:cNvPr>
          <p:cNvGrpSpPr/>
          <p:nvPr/>
        </p:nvGrpSpPr>
        <p:grpSpPr>
          <a:xfrm>
            <a:off x="-557464" y="1581949"/>
            <a:ext cx="13464284" cy="9792204"/>
            <a:chOff x="-2" y="0"/>
            <a:chExt cx="6428641" cy="6858000"/>
          </a:xfrm>
        </p:grpSpPr>
        <p:sp>
          <p:nvSpPr>
            <p:cNvPr id="30" name="Rectangle 36">
              <a:extLst>
                <a:ext uri="{FF2B5EF4-FFF2-40B4-BE49-F238E27FC236}">
                  <a16:creationId xmlns:a16="http://schemas.microsoft.com/office/drawing/2014/main" id="{6B639D09-947B-C295-89E5-D3A7FED4C562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C53A0486-4FEC-606C-49B2-3FDFBA486CDC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CB477ED-8E12-B1BF-B8A7-3C0791AD06EE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941091D-EDDA-A164-26A5-C572323EC7A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200F815-13CC-7E6B-07CF-6C3058F6FC6E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128BDE-2C15-EEFD-DC03-849CC99CC0F5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F04D5FF-393F-4F2F-7D30-44C7741775D5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7" name="Rectangle 37">
              <a:extLst>
                <a:ext uri="{FF2B5EF4-FFF2-40B4-BE49-F238E27FC236}">
                  <a16:creationId xmlns:a16="http://schemas.microsoft.com/office/drawing/2014/main" id="{E77182A8-0D9D-1D4B-7DE2-D3C02E6B9837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8" name="Rectangle 48">
              <a:extLst>
                <a:ext uri="{FF2B5EF4-FFF2-40B4-BE49-F238E27FC236}">
                  <a16:creationId xmlns:a16="http://schemas.microsoft.com/office/drawing/2014/main" id="{2D657C40-FF42-B366-A67D-3943F761017E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9" name="Rectangle 49">
              <a:extLst>
                <a:ext uri="{FF2B5EF4-FFF2-40B4-BE49-F238E27FC236}">
                  <a16:creationId xmlns:a16="http://schemas.microsoft.com/office/drawing/2014/main" id="{A4E5D924-F2E5-0073-3EFE-88569B3773E2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8E2067B-2AE3-38F9-43E7-4B95E4B09078}"/>
              </a:ext>
            </a:extLst>
          </p:cNvPr>
          <p:cNvGrpSpPr/>
          <p:nvPr/>
        </p:nvGrpSpPr>
        <p:grpSpPr>
          <a:xfrm flipV="1">
            <a:off x="15303401" y="8547715"/>
            <a:ext cx="1456851" cy="408879"/>
            <a:chOff x="611777" y="2405270"/>
            <a:chExt cx="4857016" cy="1363166"/>
          </a:xfrm>
        </p:grpSpPr>
        <p:sp>
          <p:nvSpPr>
            <p:cNvPr id="5" name="Скругленный прямоугольник 4">
              <a:extLst>
                <a:ext uri="{FF2B5EF4-FFF2-40B4-BE49-F238E27FC236}">
                  <a16:creationId xmlns:a16="http://schemas.microsoft.com/office/drawing/2014/main" id="{A7F4FB1F-7CB9-0392-E88E-05F8570BD35A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1C36F64-CC19-9AA3-6893-F3FE7D967910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На какие презентации делают ставку компании сегодня</a:t>
              </a: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19197928-64DB-9EA7-85E1-312760B10401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9AFEDB3-80B5-9A2A-AD4C-89FC4DCFFA98}"/>
              </a:ext>
            </a:extLst>
          </p:cNvPr>
          <p:cNvGrpSpPr/>
          <p:nvPr/>
        </p:nvGrpSpPr>
        <p:grpSpPr>
          <a:xfrm flipV="1">
            <a:off x="15667789" y="10092497"/>
            <a:ext cx="1456851" cy="408879"/>
            <a:chOff x="611777" y="2405270"/>
            <a:chExt cx="4857016" cy="1363166"/>
          </a:xfrm>
        </p:grpSpPr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04266423-83B6-B053-32BE-FA22D1949E9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92F0A0F-B8D9-CC2B-4135-042748D7E5ED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ый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и современный визуал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Разбираем терминологию</a:t>
              </a: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BF6A9C1A-6EA0-F8AC-74EC-7FD19A995EBC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5F9BCE64-2736-D050-26B1-B81E3AD61828}"/>
              </a:ext>
            </a:extLst>
          </p:cNvPr>
          <p:cNvGrpSpPr/>
          <p:nvPr/>
        </p:nvGrpSpPr>
        <p:grpSpPr>
          <a:xfrm flipV="1">
            <a:off x="15001953" y="11637279"/>
            <a:ext cx="1456851" cy="408879"/>
            <a:chOff x="611777" y="2405270"/>
            <a:chExt cx="4857016" cy="1363166"/>
          </a:xfrm>
        </p:grpSpPr>
        <p:sp>
          <p:nvSpPr>
            <p:cNvPr id="15" name="Скругленный прямоугольник 14">
              <a:extLst>
                <a:ext uri="{FF2B5EF4-FFF2-40B4-BE49-F238E27FC236}">
                  <a16:creationId xmlns:a16="http://schemas.microsoft.com/office/drawing/2014/main" id="{3BA1765F-B5D6-C20A-0972-59DF1A8D3A1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3006BE3-2E8B-0497-3D07-C701AF6EA6A1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Тренды дизайн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 ближайшее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5-летие </a:t>
              </a: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B87F739B-4D12-3F01-E7F6-8B2159450E25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AEDE9B22-2CD9-D79F-D8C3-683B6E11B10D}"/>
              </a:ext>
            </a:extLst>
          </p:cNvPr>
          <p:cNvGrpSpPr/>
          <p:nvPr/>
        </p:nvGrpSpPr>
        <p:grpSpPr>
          <a:xfrm flipV="1">
            <a:off x="20423132" y="8547715"/>
            <a:ext cx="1456851" cy="408879"/>
            <a:chOff x="611777" y="2405270"/>
            <a:chExt cx="4857016" cy="1363166"/>
          </a:xfrm>
        </p:grpSpPr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CF04D4B2-EFA1-1BE0-9334-A3C11FB0404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8DF981C-58D9-6EFC-B35D-28D92119103A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Азбу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ого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изуала</a:t>
              </a: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D9D36EAF-E32C-E2F6-ECE4-F55205B9259B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2A22449B-F3F2-9012-D8EB-6828B988225F}"/>
              </a:ext>
            </a:extLst>
          </p:cNvPr>
          <p:cNvGrpSpPr/>
          <p:nvPr/>
        </p:nvGrpSpPr>
        <p:grpSpPr>
          <a:xfrm flipV="1">
            <a:off x="20787520" y="10092497"/>
            <a:ext cx="1456851" cy="408879"/>
            <a:chOff x="611777" y="2405270"/>
            <a:chExt cx="4857016" cy="1363166"/>
          </a:xfrm>
        </p:grpSpPr>
        <p:sp>
          <p:nvSpPr>
            <p:cNvPr id="23" name="Скругленный прямоугольник 22">
              <a:extLst>
                <a:ext uri="{FF2B5EF4-FFF2-40B4-BE49-F238E27FC236}">
                  <a16:creationId xmlns:a16="http://schemas.microsoft.com/office/drawing/2014/main" id="{F19019FB-484B-063A-C0F1-75F5F3B3CFD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BBBBF49-432E-C74C-DF03-D20345CEDC74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Методи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оформления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слайдов на практике</a:t>
              </a: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D3399DB1-82A0-B6CF-384C-9EA39DF495AD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0AEB9D68-0AAB-CD6D-25A5-FC460F1FFE21}"/>
              </a:ext>
            </a:extLst>
          </p:cNvPr>
          <p:cNvGrpSpPr/>
          <p:nvPr/>
        </p:nvGrpSpPr>
        <p:grpSpPr>
          <a:xfrm flipV="1">
            <a:off x="20121684" y="11637279"/>
            <a:ext cx="1456851" cy="408879"/>
            <a:chOff x="611777" y="2405270"/>
            <a:chExt cx="4857016" cy="1363166"/>
          </a:xfrm>
        </p:grpSpPr>
        <p:sp>
          <p:nvSpPr>
            <p:cNvPr id="27" name="Скругленный прямоугольник 26">
              <a:extLst>
                <a:ext uri="{FF2B5EF4-FFF2-40B4-BE49-F238E27FC236}">
                  <a16:creationId xmlns:a16="http://schemas.microsoft.com/office/drawing/2014/main" id="{2A288FAD-4AD3-DE3D-94C2-865EDD5A7CE3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A8691D3-AEB8-607D-0A93-0F3654F79B76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резентации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+ </a:t>
              </a:r>
              <a:r>
                <a:rPr lang="ru-RU" sz="2000" dirty="0" err="1">
                  <a:latin typeface="Unbounded" panose="020B0305040102020103" pitchFamily="34" charset="0"/>
                  <a:cs typeface="Times New Roman" panose="02020603050405020304" pitchFamily="18" charset="0"/>
                </a:rPr>
                <a:t>ТенЧат</a:t>
              </a: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= результат</a:t>
              </a:r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9C58F58E-156F-0E6B-4B76-D9E0FBDED56F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0B03D86C-0C8C-7285-0A3C-A4E4022B6418}"/>
              </a:ext>
            </a:extLst>
          </p:cNvPr>
          <p:cNvSpPr/>
          <p:nvPr/>
        </p:nvSpPr>
        <p:spPr>
          <a:xfrm>
            <a:off x="612041" y="1504296"/>
            <a:ext cx="4009927" cy="3077061"/>
          </a:xfrm>
          <a:prstGeom prst="roundRect">
            <a:avLst>
              <a:gd name="adj" fmla="val 10818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6FF4A3-D37D-9E42-6CD4-E7F96A3F3ADB}"/>
              </a:ext>
            </a:extLst>
          </p:cNvPr>
          <p:cNvSpPr txBox="1"/>
          <p:nvPr/>
        </p:nvSpPr>
        <p:spPr>
          <a:xfrm>
            <a:off x="936602" y="1945954"/>
            <a:ext cx="3412348" cy="549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1</a:t>
            </a:r>
            <a:endParaRPr lang="ru-RU" sz="2400" b="1" dirty="0">
              <a:solidFill>
                <a:schemeClr val="bg1"/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2FADAEE-DBC1-0E32-C25A-F2B902A696D7}"/>
              </a:ext>
            </a:extLst>
          </p:cNvPr>
          <p:cNvSpPr txBox="1"/>
          <p:nvPr/>
        </p:nvSpPr>
        <p:spPr>
          <a:xfrm>
            <a:off x="894075" y="2560289"/>
            <a:ext cx="3297640" cy="1396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оверенные структуры бизнес-презентаций 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од разные задачи</a:t>
            </a:r>
          </a:p>
        </p:txBody>
      </p:sp>
      <p:sp>
        <p:nvSpPr>
          <p:cNvPr id="41" name="Скругленный прямоугольник 40">
            <a:extLst>
              <a:ext uri="{FF2B5EF4-FFF2-40B4-BE49-F238E27FC236}">
                <a16:creationId xmlns:a16="http://schemas.microsoft.com/office/drawing/2014/main" id="{B2D5F329-37AC-F436-20FB-AD090F27DC43}"/>
              </a:ext>
            </a:extLst>
          </p:cNvPr>
          <p:cNvSpPr/>
          <p:nvPr/>
        </p:nvSpPr>
        <p:spPr>
          <a:xfrm>
            <a:off x="4331457" y="7486218"/>
            <a:ext cx="52098" cy="2475022"/>
          </a:xfrm>
          <a:prstGeom prst="roundRect">
            <a:avLst/>
          </a:prstGeom>
          <a:gradFill>
            <a:gsLst>
              <a:gs pos="100000">
                <a:srgbClr val="C0DCFD">
                  <a:alpha val="4267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E283FF1-84AF-A1B7-E607-51E859AA0778}"/>
              </a:ext>
            </a:extLst>
          </p:cNvPr>
          <p:cNvSpPr txBox="1"/>
          <p:nvPr/>
        </p:nvSpPr>
        <p:spPr>
          <a:xfrm>
            <a:off x="4690120" y="7518099"/>
            <a:ext cx="9667656" cy="549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</a:t>
            </a: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endParaRPr lang="ru-RU" sz="2400" b="1" dirty="0">
              <a:solidFill>
                <a:schemeClr val="bg1"/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612541A-5722-B369-2E78-78EA68D27C80}"/>
              </a:ext>
            </a:extLst>
          </p:cNvPr>
          <p:cNvSpPr txBox="1"/>
          <p:nvPr/>
        </p:nvSpPr>
        <p:spPr>
          <a:xfrm>
            <a:off x="4647592" y="8132434"/>
            <a:ext cx="3952733" cy="14026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Инсайт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«Как эффективно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именять презентации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компании сегодня»</a:t>
            </a:r>
          </a:p>
        </p:txBody>
      </p: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EDDD4352-8812-67E4-EB69-DB284678404F}"/>
              </a:ext>
            </a:extLst>
          </p:cNvPr>
          <p:cNvGrpSpPr/>
          <p:nvPr/>
        </p:nvGrpSpPr>
        <p:grpSpPr>
          <a:xfrm>
            <a:off x="4998594" y="390053"/>
            <a:ext cx="2194812" cy="288805"/>
            <a:chOff x="611777" y="390053"/>
            <a:chExt cx="2194812" cy="288805"/>
          </a:xfrm>
        </p:grpSpPr>
        <p:grpSp>
          <p:nvGrpSpPr>
            <p:cNvPr id="47" name="Группа 46">
              <a:extLst>
                <a:ext uri="{FF2B5EF4-FFF2-40B4-BE49-F238E27FC236}">
                  <a16:creationId xmlns:a16="http://schemas.microsoft.com/office/drawing/2014/main" id="{8985E05E-83A6-D803-7F22-AC6C5A35EF4E}"/>
                </a:ext>
              </a:extLst>
            </p:cNvPr>
            <p:cNvGrpSpPr/>
            <p:nvPr/>
          </p:nvGrpSpPr>
          <p:grpSpPr>
            <a:xfrm>
              <a:off x="611777" y="390053"/>
              <a:ext cx="558372" cy="288805"/>
              <a:chOff x="5488146" y="2818363"/>
              <a:chExt cx="1215135" cy="628500"/>
            </a:xfrm>
          </p:grpSpPr>
          <p:sp>
            <p:nvSpPr>
              <p:cNvPr id="60" name="Полилиния 59">
                <a:extLst>
                  <a:ext uri="{FF2B5EF4-FFF2-40B4-BE49-F238E27FC236}">
                    <a16:creationId xmlns:a16="http://schemas.microsoft.com/office/drawing/2014/main" id="{5B183199-0D61-DAF7-2482-B4E820B87254}"/>
                  </a:ext>
                </a:extLst>
              </p:cNvPr>
              <p:cNvSpPr/>
              <p:nvPr/>
            </p:nvSpPr>
            <p:spPr>
              <a:xfrm>
                <a:off x="5488146" y="2818363"/>
                <a:ext cx="1215135" cy="628500"/>
              </a:xfrm>
              <a:custGeom>
                <a:avLst/>
                <a:gdLst>
                  <a:gd name="connsiteX0" fmla="*/ 1188061 w 1215135"/>
                  <a:gd name="connsiteY0" fmla="*/ 3870 h 628500"/>
                  <a:gd name="connsiteX1" fmla="*/ 1188061 w 1215135"/>
                  <a:gd name="connsiteY1" fmla="*/ 3870 h 628500"/>
                  <a:gd name="connsiteX2" fmla="*/ 1129041 w 1215135"/>
                  <a:gd name="connsiteY2" fmla="*/ 25384 h 628500"/>
                  <a:gd name="connsiteX3" fmla="*/ 920947 w 1215135"/>
                  <a:gd name="connsiteY3" fmla="*/ 439097 h 628500"/>
                  <a:gd name="connsiteX4" fmla="*/ 845458 w 1215135"/>
                  <a:gd name="connsiteY4" fmla="*/ 516585 h 628500"/>
                  <a:gd name="connsiteX5" fmla="*/ 738841 w 1215135"/>
                  <a:gd name="connsiteY5" fmla="*/ 473462 h 628500"/>
                  <a:gd name="connsiteX6" fmla="*/ 562541 w 1215135"/>
                  <a:gd name="connsiteY6" fmla="*/ 119435 h 628500"/>
                  <a:gd name="connsiteX7" fmla="*/ 384528 w 1215135"/>
                  <a:gd name="connsiteY7" fmla="*/ 348 h 628500"/>
                  <a:gd name="connsiteX8" fmla="*/ 219652 w 1215135"/>
                  <a:gd name="connsiteY8" fmla="*/ 136570 h 628500"/>
                  <a:gd name="connsiteX9" fmla="*/ 6037 w 1215135"/>
                  <a:gd name="connsiteY9" fmla="*/ 560564 h 628500"/>
                  <a:gd name="connsiteX10" fmla="*/ 27075 w 1215135"/>
                  <a:gd name="connsiteY10" fmla="*/ 624630 h 628500"/>
                  <a:gd name="connsiteX11" fmla="*/ 86095 w 1215135"/>
                  <a:gd name="connsiteY11" fmla="*/ 603116 h 628500"/>
                  <a:gd name="connsiteX12" fmla="*/ 294189 w 1215135"/>
                  <a:gd name="connsiteY12" fmla="*/ 189403 h 628500"/>
                  <a:gd name="connsiteX13" fmla="*/ 369678 w 1215135"/>
                  <a:gd name="connsiteY13" fmla="*/ 111915 h 628500"/>
                  <a:gd name="connsiteX14" fmla="*/ 476295 w 1215135"/>
                  <a:gd name="connsiteY14" fmla="*/ 155038 h 628500"/>
                  <a:gd name="connsiteX15" fmla="*/ 652785 w 1215135"/>
                  <a:gd name="connsiteY15" fmla="*/ 509826 h 628500"/>
                  <a:gd name="connsiteX16" fmla="*/ 817947 w 1215135"/>
                  <a:gd name="connsiteY16" fmla="*/ 628438 h 628500"/>
                  <a:gd name="connsiteX17" fmla="*/ 830607 w 1215135"/>
                  <a:gd name="connsiteY17" fmla="*/ 628152 h 628500"/>
                  <a:gd name="connsiteX18" fmla="*/ 995484 w 1215135"/>
                  <a:gd name="connsiteY18" fmla="*/ 491930 h 628500"/>
                  <a:gd name="connsiteX19" fmla="*/ 1209099 w 1215135"/>
                  <a:gd name="connsiteY19" fmla="*/ 67936 h 628500"/>
                  <a:gd name="connsiteX20" fmla="*/ 1188061 w 1215135"/>
                  <a:gd name="connsiteY20" fmla="*/ 3870 h 628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15135" h="628500">
                    <a:moveTo>
                      <a:pt x="1188061" y="3870"/>
                    </a:moveTo>
                    <a:lnTo>
                      <a:pt x="1188061" y="3870"/>
                    </a:lnTo>
                    <a:cubicBezTo>
                      <a:pt x="1165786" y="-5935"/>
                      <a:pt x="1139798" y="3489"/>
                      <a:pt x="1129041" y="25384"/>
                    </a:cubicBezTo>
                    <a:cubicBezTo>
                      <a:pt x="1073733" y="138189"/>
                      <a:pt x="963498" y="349329"/>
                      <a:pt x="920947" y="439097"/>
                    </a:cubicBezTo>
                    <a:cubicBezTo>
                      <a:pt x="902765" y="477460"/>
                      <a:pt x="878776" y="506113"/>
                      <a:pt x="845458" y="516585"/>
                    </a:cubicBezTo>
                    <a:cubicBezTo>
                      <a:pt x="804239" y="529531"/>
                      <a:pt x="766542" y="517727"/>
                      <a:pt x="738841" y="473462"/>
                    </a:cubicBezTo>
                    <a:cubicBezTo>
                      <a:pt x="715899" y="436717"/>
                      <a:pt x="562541" y="119435"/>
                      <a:pt x="562541" y="119435"/>
                    </a:cubicBezTo>
                    <a:cubicBezTo>
                      <a:pt x="519609" y="39473"/>
                      <a:pt x="460398" y="-4126"/>
                      <a:pt x="384528" y="348"/>
                    </a:cubicBezTo>
                    <a:cubicBezTo>
                      <a:pt x="311324" y="4536"/>
                      <a:pt x="258492" y="56988"/>
                      <a:pt x="219652" y="136570"/>
                    </a:cubicBezTo>
                    <a:cubicBezTo>
                      <a:pt x="173103" y="231955"/>
                      <a:pt x="31168" y="516870"/>
                      <a:pt x="6037" y="560564"/>
                    </a:cubicBezTo>
                    <a:cubicBezTo>
                      <a:pt x="-7385" y="583887"/>
                      <a:pt x="2420" y="613778"/>
                      <a:pt x="27075" y="624630"/>
                    </a:cubicBezTo>
                    <a:cubicBezTo>
                      <a:pt x="49350" y="634435"/>
                      <a:pt x="75338" y="625011"/>
                      <a:pt x="86095" y="603116"/>
                    </a:cubicBezTo>
                    <a:cubicBezTo>
                      <a:pt x="141403" y="490311"/>
                      <a:pt x="251638" y="279171"/>
                      <a:pt x="294189" y="189403"/>
                    </a:cubicBezTo>
                    <a:cubicBezTo>
                      <a:pt x="312371" y="151040"/>
                      <a:pt x="336360" y="122387"/>
                      <a:pt x="369678" y="111915"/>
                    </a:cubicBezTo>
                    <a:cubicBezTo>
                      <a:pt x="410897" y="98969"/>
                      <a:pt x="448594" y="110773"/>
                      <a:pt x="476295" y="155038"/>
                    </a:cubicBezTo>
                    <a:cubicBezTo>
                      <a:pt x="499237" y="191783"/>
                      <a:pt x="651072" y="506685"/>
                      <a:pt x="652785" y="509826"/>
                    </a:cubicBezTo>
                    <a:cubicBezTo>
                      <a:pt x="694290" y="594549"/>
                      <a:pt x="758546" y="628723"/>
                      <a:pt x="817947" y="628438"/>
                    </a:cubicBezTo>
                    <a:cubicBezTo>
                      <a:pt x="822135" y="628533"/>
                      <a:pt x="826324" y="628438"/>
                      <a:pt x="830607" y="628152"/>
                    </a:cubicBezTo>
                    <a:cubicBezTo>
                      <a:pt x="903812" y="623964"/>
                      <a:pt x="956645" y="571512"/>
                      <a:pt x="995484" y="491930"/>
                    </a:cubicBezTo>
                    <a:cubicBezTo>
                      <a:pt x="1042033" y="396545"/>
                      <a:pt x="1183968" y="111630"/>
                      <a:pt x="1209099" y="67936"/>
                    </a:cubicBezTo>
                    <a:cubicBezTo>
                      <a:pt x="1222521" y="44613"/>
                      <a:pt x="1212716" y="14817"/>
                      <a:pt x="1188061" y="3870"/>
                    </a:cubicBezTo>
                    <a:close/>
                  </a:path>
                </a:pathLst>
              </a:custGeom>
              <a:gradFill>
                <a:gsLst>
                  <a:gs pos="0">
                    <a:srgbClr val="9E00E9"/>
                  </a:gs>
                  <a:gs pos="17530">
                    <a:srgbClr val="9903E9"/>
                  </a:gs>
                  <a:gs pos="37090">
                    <a:srgbClr val="8C0BE9"/>
                  </a:gs>
                  <a:gs pos="57630">
                    <a:srgbClr val="7619E9"/>
                  </a:gs>
                  <a:gs pos="78700">
                    <a:srgbClr val="572CEA"/>
                  </a:gs>
                  <a:gs pos="92070">
                    <a:srgbClr val="3F3BEA"/>
                  </a:gs>
                </a:gsLst>
                <a:lin ang="20401014" scaled="1"/>
              </a:gra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" name="Полилиния 60">
                <a:extLst>
                  <a:ext uri="{FF2B5EF4-FFF2-40B4-BE49-F238E27FC236}">
                    <a16:creationId xmlns:a16="http://schemas.microsoft.com/office/drawing/2014/main" id="{3954750C-BC74-6DD6-FE88-CED7177F722D}"/>
                  </a:ext>
                </a:extLst>
              </p:cNvPr>
              <p:cNvSpPr/>
              <p:nvPr/>
            </p:nvSpPr>
            <p:spPr>
              <a:xfrm>
                <a:off x="5795916" y="3216907"/>
                <a:ext cx="167891" cy="88530"/>
              </a:xfrm>
              <a:custGeom>
                <a:avLst/>
                <a:gdLst>
                  <a:gd name="connsiteX0" fmla="*/ 83993 w 167891"/>
                  <a:gd name="connsiteY0" fmla="*/ 88530 h 88530"/>
                  <a:gd name="connsiteX1" fmla="*/ 166146 w 167891"/>
                  <a:gd name="connsiteY1" fmla="*/ 33128 h 88530"/>
                  <a:gd name="connsiteX2" fmla="*/ 143490 w 167891"/>
                  <a:gd name="connsiteY2" fmla="*/ 0 h 88530"/>
                  <a:gd name="connsiteX3" fmla="*/ 24402 w 167891"/>
                  <a:gd name="connsiteY3" fmla="*/ 0 h 88530"/>
                  <a:gd name="connsiteX4" fmla="*/ 1746 w 167891"/>
                  <a:gd name="connsiteY4" fmla="*/ 33128 h 88530"/>
                  <a:gd name="connsiteX5" fmla="*/ 83993 w 167891"/>
                  <a:gd name="connsiteY5" fmla="*/ 88530 h 88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7891" h="88530">
                    <a:moveTo>
                      <a:pt x="83993" y="88530"/>
                    </a:moveTo>
                    <a:cubicBezTo>
                      <a:pt x="121214" y="88530"/>
                      <a:pt x="153104" y="65589"/>
                      <a:pt x="166146" y="33128"/>
                    </a:cubicBezTo>
                    <a:cubicBezTo>
                      <a:pt x="172524" y="17230"/>
                      <a:pt x="160625" y="0"/>
                      <a:pt x="143490" y="0"/>
                    </a:cubicBezTo>
                    <a:lnTo>
                      <a:pt x="24402" y="0"/>
                    </a:lnTo>
                    <a:cubicBezTo>
                      <a:pt x="7267" y="0"/>
                      <a:pt x="-4632" y="17325"/>
                      <a:pt x="1746" y="33128"/>
                    </a:cubicBezTo>
                    <a:cubicBezTo>
                      <a:pt x="14978" y="65589"/>
                      <a:pt x="46773" y="88530"/>
                      <a:pt x="83993" y="88530"/>
                    </a:cubicBezTo>
                    <a:close/>
                  </a:path>
                </a:pathLst>
              </a:custGeom>
              <a:gradFill>
                <a:gsLst>
                  <a:gs pos="0">
                    <a:srgbClr val="9E00E9"/>
                  </a:gs>
                  <a:gs pos="17530">
                    <a:srgbClr val="9903E9"/>
                  </a:gs>
                  <a:gs pos="37090">
                    <a:srgbClr val="8C0BE9"/>
                  </a:gs>
                  <a:gs pos="57630">
                    <a:srgbClr val="7619E9"/>
                  </a:gs>
                  <a:gs pos="78700">
                    <a:srgbClr val="572CEA"/>
                  </a:gs>
                  <a:gs pos="92070">
                    <a:srgbClr val="3F3BEA"/>
                  </a:gs>
                </a:gsLst>
                <a:lin ang="20097449" scaled="1"/>
              </a:gradFill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48" name="Рисунок 3">
              <a:extLst>
                <a:ext uri="{FF2B5EF4-FFF2-40B4-BE49-F238E27FC236}">
                  <a16:creationId xmlns:a16="http://schemas.microsoft.com/office/drawing/2014/main" id="{C9BFD3DC-E479-DCE7-694F-DE668753D721}"/>
                </a:ext>
              </a:extLst>
            </p:cNvPr>
            <p:cNvGrpSpPr/>
            <p:nvPr/>
          </p:nvGrpSpPr>
          <p:grpSpPr>
            <a:xfrm>
              <a:off x="1295028" y="472227"/>
              <a:ext cx="1511561" cy="135519"/>
              <a:chOff x="4388406" y="3732954"/>
              <a:chExt cx="3414679" cy="306143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49" name="Полилиния 48">
                <a:extLst>
                  <a:ext uri="{FF2B5EF4-FFF2-40B4-BE49-F238E27FC236}">
                    <a16:creationId xmlns:a16="http://schemas.microsoft.com/office/drawing/2014/main" id="{7E9049F4-CEC9-9051-BEAA-98AA8DDED49B}"/>
                  </a:ext>
                </a:extLst>
              </p:cNvPr>
              <p:cNvSpPr/>
              <p:nvPr/>
            </p:nvSpPr>
            <p:spPr>
              <a:xfrm>
                <a:off x="4388406" y="3733716"/>
                <a:ext cx="288049" cy="304335"/>
              </a:xfrm>
              <a:custGeom>
                <a:avLst/>
                <a:gdLst>
                  <a:gd name="connsiteX0" fmla="*/ 279778 w 288049"/>
                  <a:gd name="connsiteY0" fmla="*/ 4664 h 304335"/>
                  <a:gd name="connsiteX1" fmla="*/ 264357 w 288049"/>
                  <a:gd name="connsiteY1" fmla="*/ 0 h 304335"/>
                  <a:gd name="connsiteX2" fmla="*/ 246651 w 288049"/>
                  <a:gd name="connsiteY2" fmla="*/ 5236 h 304335"/>
                  <a:gd name="connsiteX3" fmla="*/ 235703 w 288049"/>
                  <a:gd name="connsiteY3" fmla="*/ 20657 h 304335"/>
                  <a:gd name="connsiteX4" fmla="*/ 145174 w 288049"/>
                  <a:gd name="connsiteY4" fmla="*/ 231702 h 304335"/>
                  <a:gd name="connsiteX5" fmla="*/ 54264 w 288049"/>
                  <a:gd name="connsiteY5" fmla="*/ 21038 h 304335"/>
                  <a:gd name="connsiteX6" fmla="*/ 43887 w 288049"/>
                  <a:gd name="connsiteY6" fmla="*/ 5236 h 304335"/>
                  <a:gd name="connsiteX7" fmla="*/ 25515 w 288049"/>
                  <a:gd name="connsiteY7" fmla="*/ 0 h 304335"/>
                  <a:gd name="connsiteX8" fmla="*/ 9522 w 288049"/>
                  <a:gd name="connsiteY8" fmla="*/ 4664 h 304335"/>
                  <a:gd name="connsiteX9" fmla="*/ 669 w 288049"/>
                  <a:gd name="connsiteY9" fmla="*/ 17325 h 304335"/>
                  <a:gd name="connsiteX10" fmla="*/ 3240 w 288049"/>
                  <a:gd name="connsiteY10" fmla="*/ 35888 h 304335"/>
                  <a:gd name="connsiteX11" fmla="*/ 113379 w 288049"/>
                  <a:gd name="connsiteY11" fmla="*/ 283297 h 304335"/>
                  <a:gd name="connsiteX12" fmla="*/ 125373 w 288049"/>
                  <a:gd name="connsiteY12" fmla="*/ 299099 h 304335"/>
                  <a:gd name="connsiteX13" fmla="*/ 144127 w 288049"/>
                  <a:gd name="connsiteY13" fmla="*/ 304335 h 304335"/>
                  <a:gd name="connsiteX14" fmla="*/ 162880 w 288049"/>
                  <a:gd name="connsiteY14" fmla="*/ 299099 h 304335"/>
                  <a:gd name="connsiteX15" fmla="*/ 174494 w 288049"/>
                  <a:gd name="connsiteY15" fmla="*/ 283297 h 304335"/>
                  <a:gd name="connsiteX16" fmla="*/ 284633 w 288049"/>
                  <a:gd name="connsiteY16" fmla="*/ 35888 h 304335"/>
                  <a:gd name="connsiteX17" fmla="*/ 287584 w 288049"/>
                  <a:gd name="connsiteY17" fmla="*/ 17325 h 304335"/>
                  <a:gd name="connsiteX18" fmla="*/ 279778 w 288049"/>
                  <a:gd name="connsiteY18" fmla="*/ 4664 h 30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8049" h="304335">
                    <a:moveTo>
                      <a:pt x="279778" y="4664"/>
                    </a:moveTo>
                    <a:cubicBezTo>
                      <a:pt x="275685" y="1523"/>
                      <a:pt x="270544" y="0"/>
                      <a:pt x="264357" y="0"/>
                    </a:cubicBezTo>
                    <a:cubicBezTo>
                      <a:pt x="256741" y="0"/>
                      <a:pt x="250839" y="1713"/>
                      <a:pt x="246651" y="5236"/>
                    </a:cubicBezTo>
                    <a:cubicBezTo>
                      <a:pt x="242462" y="8758"/>
                      <a:pt x="238750" y="13898"/>
                      <a:pt x="235703" y="20657"/>
                    </a:cubicBezTo>
                    <a:lnTo>
                      <a:pt x="145174" y="231702"/>
                    </a:lnTo>
                    <a:lnTo>
                      <a:pt x="54264" y="21038"/>
                    </a:lnTo>
                    <a:cubicBezTo>
                      <a:pt x="51408" y="13994"/>
                      <a:pt x="47981" y="8758"/>
                      <a:pt x="43887" y="5236"/>
                    </a:cubicBezTo>
                    <a:cubicBezTo>
                      <a:pt x="39794" y="1713"/>
                      <a:pt x="33702" y="0"/>
                      <a:pt x="25515" y="0"/>
                    </a:cubicBezTo>
                    <a:cubicBezTo>
                      <a:pt x="19327" y="0"/>
                      <a:pt x="13996" y="1523"/>
                      <a:pt x="9522" y="4664"/>
                    </a:cubicBezTo>
                    <a:cubicBezTo>
                      <a:pt x="5048" y="7806"/>
                      <a:pt x="2097" y="11994"/>
                      <a:pt x="669" y="17325"/>
                    </a:cubicBezTo>
                    <a:cubicBezTo>
                      <a:pt x="-759" y="22656"/>
                      <a:pt x="98" y="28844"/>
                      <a:pt x="3240" y="35888"/>
                    </a:cubicBezTo>
                    <a:lnTo>
                      <a:pt x="113379" y="283297"/>
                    </a:lnTo>
                    <a:cubicBezTo>
                      <a:pt x="116520" y="290342"/>
                      <a:pt x="120519" y="295577"/>
                      <a:pt x="125373" y="299099"/>
                    </a:cubicBezTo>
                    <a:cubicBezTo>
                      <a:pt x="130324" y="302622"/>
                      <a:pt x="136606" y="304335"/>
                      <a:pt x="144127" y="304335"/>
                    </a:cubicBezTo>
                    <a:cubicBezTo>
                      <a:pt x="152028" y="304335"/>
                      <a:pt x="158311" y="302622"/>
                      <a:pt x="162880" y="299099"/>
                    </a:cubicBezTo>
                    <a:cubicBezTo>
                      <a:pt x="167544" y="295577"/>
                      <a:pt x="171352" y="290342"/>
                      <a:pt x="174494" y="283297"/>
                    </a:cubicBezTo>
                    <a:lnTo>
                      <a:pt x="284633" y="35888"/>
                    </a:lnTo>
                    <a:cubicBezTo>
                      <a:pt x="287775" y="28844"/>
                      <a:pt x="288726" y="22656"/>
                      <a:pt x="287584" y="17325"/>
                    </a:cubicBezTo>
                    <a:cubicBezTo>
                      <a:pt x="286442" y="11994"/>
                      <a:pt x="283776" y="7806"/>
                      <a:pt x="279778" y="4664"/>
                    </a:cubicBezTo>
                    <a:close/>
                  </a:path>
                </a:pathLst>
              </a:custGeom>
              <a:grpFill/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" name="Полилиния 49">
                <a:extLst>
                  <a:ext uri="{FF2B5EF4-FFF2-40B4-BE49-F238E27FC236}">
                    <a16:creationId xmlns:a16="http://schemas.microsoft.com/office/drawing/2014/main" id="{2164A702-F578-EA45-FF43-622F5F6F35BA}"/>
                  </a:ext>
                </a:extLst>
              </p:cNvPr>
              <p:cNvSpPr/>
              <p:nvPr/>
            </p:nvSpPr>
            <p:spPr>
              <a:xfrm>
                <a:off x="4715210" y="3735905"/>
                <a:ext cx="200002" cy="298909"/>
              </a:xfrm>
              <a:custGeom>
                <a:avLst/>
                <a:gdLst>
                  <a:gd name="connsiteX0" fmla="*/ 176490 w 200002"/>
                  <a:gd name="connsiteY0" fmla="*/ 252835 h 298909"/>
                  <a:gd name="connsiteX1" fmla="*/ 54070 w 200002"/>
                  <a:gd name="connsiteY1" fmla="*/ 252835 h 298909"/>
                  <a:gd name="connsiteX2" fmla="*/ 54070 w 200002"/>
                  <a:gd name="connsiteY2" fmla="*/ 27416 h 298909"/>
                  <a:gd name="connsiteX3" fmla="*/ 47121 w 200002"/>
                  <a:gd name="connsiteY3" fmla="*/ 6949 h 298909"/>
                  <a:gd name="connsiteX4" fmla="*/ 27035 w 200002"/>
                  <a:gd name="connsiteY4" fmla="*/ 0 h 298909"/>
                  <a:gd name="connsiteX5" fmla="*/ 6949 w 200002"/>
                  <a:gd name="connsiteY5" fmla="*/ 6949 h 298909"/>
                  <a:gd name="connsiteX6" fmla="*/ 0 w 200002"/>
                  <a:gd name="connsiteY6" fmla="*/ 27416 h 298909"/>
                  <a:gd name="connsiteX7" fmla="*/ 0 w 200002"/>
                  <a:gd name="connsiteY7" fmla="*/ 271017 h 298909"/>
                  <a:gd name="connsiteX8" fmla="*/ 7140 w 200002"/>
                  <a:gd name="connsiteY8" fmla="*/ 291484 h 298909"/>
                  <a:gd name="connsiteX9" fmla="*/ 27416 w 200002"/>
                  <a:gd name="connsiteY9" fmla="*/ 298909 h 298909"/>
                  <a:gd name="connsiteX10" fmla="*/ 176394 w 200002"/>
                  <a:gd name="connsiteY10" fmla="*/ 298909 h 298909"/>
                  <a:gd name="connsiteX11" fmla="*/ 193910 w 200002"/>
                  <a:gd name="connsiteY11" fmla="*/ 292817 h 298909"/>
                  <a:gd name="connsiteX12" fmla="*/ 200003 w 200002"/>
                  <a:gd name="connsiteY12" fmla="*/ 275682 h 298909"/>
                  <a:gd name="connsiteX13" fmla="*/ 193910 w 200002"/>
                  <a:gd name="connsiteY13" fmla="*/ 258833 h 298909"/>
                  <a:gd name="connsiteX14" fmla="*/ 176490 w 200002"/>
                  <a:gd name="connsiteY14" fmla="*/ 252835 h 29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0002" h="298909">
                    <a:moveTo>
                      <a:pt x="176490" y="252835"/>
                    </a:moveTo>
                    <a:lnTo>
                      <a:pt x="54070" y="252835"/>
                    </a:lnTo>
                    <a:lnTo>
                      <a:pt x="54070" y="27416"/>
                    </a:lnTo>
                    <a:cubicBezTo>
                      <a:pt x="54070" y="18373"/>
                      <a:pt x="51786" y="11614"/>
                      <a:pt x="47121" y="6949"/>
                    </a:cubicBezTo>
                    <a:cubicBezTo>
                      <a:pt x="42457" y="2285"/>
                      <a:pt x="35793" y="0"/>
                      <a:pt x="27035" y="0"/>
                    </a:cubicBezTo>
                    <a:cubicBezTo>
                      <a:pt x="18277" y="0"/>
                      <a:pt x="11614" y="2285"/>
                      <a:pt x="6949" y="6949"/>
                    </a:cubicBezTo>
                    <a:cubicBezTo>
                      <a:pt x="2285" y="11614"/>
                      <a:pt x="0" y="18373"/>
                      <a:pt x="0" y="27416"/>
                    </a:cubicBezTo>
                    <a:lnTo>
                      <a:pt x="0" y="271017"/>
                    </a:lnTo>
                    <a:cubicBezTo>
                      <a:pt x="0" y="279775"/>
                      <a:pt x="2380" y="286534"/>
                      <a:pt x="7140" y="291484"/>
                    </a:cubicBezTo>
                    <a:cubicBezTo>
                      <a:pt x="11899" y="296434"/>
                      <a:pt x="18658" y="298909"/>
                      <a:pt x="27416" y="298909"/>
                    </a:cubicBezTo>
                    <a:lnTo>
                      <a:pt x="176394" y="298909"/>
                    </a:lnTo>
                    <a:cubicBezTo>
                      <a:pt x="184010" y="298909"/>
                      <a:pt x="189817" y="296910"/>
                      <a:pt x="193910" y="292817"/>
                    </a:cubicBezTo>
                    <a:cubicBezTo>
                      <a:pt x="198004" y="288724"/>
                      <a:pt x="200003" y="283012"/>
                      <a:pt x="200003" y="275682"/>
                    </a:cubicBezTo>
                    <a:cubicBezTo>
                      <a:pt x="200003" y="268352"/>
                      <a:pt x="197908" y="262736"/>
                      <a:pt x="193910" y="258833"/>
                    </a:cubicBezTo>
                    <a:cubicBezTo>
                      <a:pt x="189912" y="254739"/>
                      <a:pt x="184105" y="252835"/>
                      <a:pt x="176490" y="252835"/>
                    </a:cubicBezTo>
                    <a:close/>
                  </a:path>
                </a:pathLst>
              </a:custGeom>
              <a:grpFill/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" name="Полилиния 50">
                <a:extLst>
                  <a:ext uri="{FF2B5EF4-FFF2-40B4-BE49-F238E27FC236}">
                    <a16:creationId xmlns:a16="http://schemas.microsoft.com/office/drawing/2014/main" id="{78F63157-23AA-BCF7-5B21-6F177EA359DA}"/>
                  </a:ext>
                </a:extLst>
              </p:cNvPr>
              <p:cNvSpPr/>
              <p:nvPr/>
            </p:nvSpPr>
            <p:spPr>
              <a:xfrm>
                <a:off x="4925096" y="3733811"/>
                <a:ext cx="292253" cy="304335"/>
              </a:xfrm>
              <a:custGeom>
                <a:avLst/>
                <a:gdLst>
                  <a:gd name="connsiteX0" fmla="*/ 176793 w 292253"/>
                  <a:gd name="connsiteY0" fmla="*/ 22752 h 304335"/>
                  <a:gd name="connsiteX1" fmla="*/ 163466 w 292253"/>
                  <a:gd name="connsiteY1" fmla="*/ 5236 h 304335"/>
                  <a:gd name="connsiteX2" fmla="*/ 145950 w 292253"/>
                  <a:gd name="connsiteY2" fmla="*/ 0 h 304335"/>
                  <a:gd name="connsiteX3" fmla="*/ 128053 w 292253"/>
                  <a:gd name="connsiteY3" fmla="*/ 5236 h 304335"/>
                  <a:gd name="connsiteX4" fmla="*/ 114726 w 292253"/>
                  <a:gd name="connsiteY4" fmla="*/ 22752 h 304335"/>
                  <a:gd name="connsiteX5" fmla="*/ 3254 w 292253"/>
                  <a:gd name="connsiteY5" fmla="*/ 269685 h 304335"/>
                  <a:gd name="connsiteX6" fmla="*/ 303 w 292253"/>
                  <a:gd name="connsiteY6" fmla="*/ 287200 h 304335"/>
                  <a:gd name="connsiteX7" fmla="*/ 7728 w 292253"/>
                  <a:gd name="connsiteY7" fmla="*/ 299671 h 304335"/>
                  <a:gd name="connsiteX8" fmla="*/ 24006 w 292253"/>
                  <a:gd name="connsiteY8" fmla="*/ 304335 h 304335"/>
                  <a:gd name="connsiteX9" fmla="*/ 40856 w 292253"/>
                  <a:gd name="connsiteY9" fmla="*/ 298814 h 304335"/>
                  <a:gd name="connsiteX10" fmla="*/ 52279 w 292253"/>
                  <a:gd name="connsiteY10" fmla="*/ 281108 h 304335"/>
                  <a:gd name="connsiteX11" fmla="*/ 73031 w 292253"/>
                  <a:gd name="connsiteY11" fmla="*/ 232178 h 304335"/>
                  <a:gd name="connsiteX12" fmla="*/ 218202 w 292253"/>
                  <a:gd name="connsiteY12" fmla="*/ 232178 h 304335"/>
                  <a:gd name="connsiteX13" fmla="*/ 239240 w 292253"/>
                  <a:gd name="connsiteY13" fmla="*/ 281108 h 304335"/>
                  <a:gd name="connsiteX14" fmla="*/ 250854 w 292253"/>
                  <a:gd name="connsiteY14" fmla="*/ 298624 h 304335"/>
                  <a:gd name="connsiteX15" fmla="*/ 269226 w 292253"/>
                  <a:gd name="connsiteY15" fmla="*/ 304335 h 304335"/>
                  <a:gd name="connsiteX16" fmla="*/ 284838 w 292253"/>
                  <a:gd name="connsiteY16" fmla="*/ 299861 h 304335"/>
                  <a:gd name="connsiteX17" fmla="*/ 291978 w 292253"/>
                  <a:gd name="connsiteY17" fmla="*/ 287391 h 304335"/>
                  <a:gd name="connsiteX18" fmla="*/ 288646 w 292253"/>
                  <a:gd name="connsiteY18" fmla="*/ 269685 h 304335"/>
                  <a:gd name="connsiteX19" fmla="*/ 176793 w 292253"/>
                  <a:gd name="connsiteY19" fmla="*/ 22752 h 304335"/>
                  <a:gd name="connsiteX20" fmla="*/ 145093 w 292253"/>
                  <a:gd name="connsiteY20" fmla="*/ 61971 h 304335"/>
                  <a:gd name="connsiteX21" fmla="*/ 145950 w 292253"/>
                  <a:gd name="connsiteY21" fmla="*/ 61971 h 304335"/>
                  <a:gd name="connsiteX22" fmla="*/ 199735 w 292253"/>
                  <a:gd name="connsiteY22" fmla="*/ 189055 h 304335"/>
                  <a:gd name="connsiteX23" fmla="*/ 91689 w 292253"/>
                  <a:gd name="connsiteY23" fmla="*/ 189055 h 304335"/>
                  <a:gd name="connsiteX24" fmla="*/ 145093 w 292253"/>
                  <a:gd name="connsiteY24" fmla="*/ 61971 h 30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92253" h="304335">
                    <a:moveTo>
                      <a:pt x="176793" y="22752"/>
                    </a:moveTo>
                    <a:cubicBezTo>
                      <a:pt x="173175" y="14565"/>
                      <a:pt x="168701" y="8758"/>
                      <a:pt x="163466" y="5236"/>
                    </a:cubicBezTo>
                    <a:cubicBezTo>
                      <a:pt x="158230" y="1714"/>
                      <a:pt x="152423" y="0"/>
                      <a:pt x="145950" y="0"/>
                    </a:cubicBezTo>
                    <a:cubicBezTo>
                      <a:pt x="139191" y="0"/>
                      <a:pt x="133194" y="1714"/>
                      <a:pt x="128053" y="5236"/>
                    </a:cubicBezTo>
                    <a:cubicBezTo>
                      <a:pt x="122818" y="8758"/>
                      <a:pt x="118439" y="14565"/>
                      <a:pt x="114726" y="22752"/>
                    </a:cubicBezTo>
                    <a:lnTo>
                      <a:pt x="3254" y="269685"/>
                    </a:lnTo>
                    <a:cubicBezTo>
                      <a:pt x="398" y="276158"/>
                      <a:pt x="-554" y="281965"/>
                      <a:pt x="303" y="287200"/>
                    </a:cubicBezTo>
                    <a:cubicBezTo>
                      <a:pt x="1160" y="292436"/>
                      <a:pt x="3635" y="296530"/>
                      <a:pt x="7728" y="299671"/>
                    </a:cubicBezTo>
                    <a:cubicBezTo>
                      <a:pt x="11822" y="302812"/>
                      <a:pt x="17248" y="304335"/>
                      <a:pt x="24006" y="304335"/>
                    </a:cubicBezTo>
                    <a:cubicBezTo>
                      <a:pt x="31336" y="304335"/>
                      <a:pt x="36953" y="302527"/>
                      <a:pt x="40856" y="298814"/>
                    </a:cubicBezTo>
                    <a:cubicBezTo>
                      <a:pt x="44759" y="295197"/>
                      <a:pt x="48567" y="289295"/>
                      <a:pt x="52279" y="281108"/>
                    </a:cubicBezTo>
                    <a:lnTo>
                      <a:pt x="73031" y="232178"/>
                    </a:lnTo>
                    <a:lnTo>
                      <a:pt x="218202" y="232178"/>
                    </a:lnTo>
                    <a:lnTo>
                      <a:pt x="239240" y="281108"/>
                    </a:lnTo>
                    <a:cubicBezTo>
                      <a:pt x="242572" y="289009"/>
                      <a:pt x="246475" y="294816"/>
                      <a:pt x="250854" y="298624"/>
                    </a:cubicBezTo>
                    <a:cubicBezTo>
                      <a:pt x="255233" y="302432"/>
                      <a:pt x="261325" y="304335"/>
                      <a:pt x="269226" y="304335"/>
                    </a:cubicBezTo>
                    <a:cubicBezTo>
                      <a:pt x="275699" y="304335"/>
                      <a:pt x="280935" y="302907"/>
                      <a:pt x="284838" y="299861"/>
                    </a:cubicBezTo>
                    <a:cubicBezTo>
                      <a:pt x="288741" y="296910"/>
                      <a:pt x="291121" y="292722"/>
                      <a:pt x="291978" y="287391"/>
                    </a:cubicBezTo>
                    <a:cubicBezTo>
                      <a:pt x="292834" y="282060"/>
                      <a:pt x="291692" y="276158"/>
                      <a:pt x="288646" y="269685"/>
                    </a:cubicBezTo>
                    <a:lnTo>
                      <a:pt x="176793" y="22752"/>
                    </a:lnTo>
                    <a:close/>
                    <a:moveTo>
                      <a:pt x="145093" y="61971"/>
                    </a:moveTo>
                    <a:lnTo>
                      <a:pt x="145950" y="61971"/>
                    </a:lnTo>
                    <a:lnTo>
                      <a:pt x="199735" y="189055"/>
                    </a:lnTo>
                    <a:lnTo>
                      <a:pt x="91689" y="189055"/>
                    </a:lnTo>
                    <a:lnTo>
                      <a:pt x="145093" y="61971"/>
                    </a:lnTo>
                    <a:close/>
                  </a:path>
                </a:pathLst>
              </a:custGeom>
              <a:grpFill/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" name="Полилиния 51">
                <a:extLst>
                  <a:ext uri="{FF2B5EF4-FFF2-40B4-BE49-F238E27FC236}">
                    <a16:creationId xmlns:a16="http://schemas.microsoft.com/office/drawing/2014/main" id="{DCDDE2FE-34A9-75B4-81BA-279BC402A8B9}"/>
                  </a:ext>
                </a:extLst>
              </p:cNvPr>
              <p:cNvSpPr/>
              <p:nvPr/>
            </p:nvSpPr>
            <p:spPr>
              <a:xfrm>
                <a:off x="5260196" y="3737142"/>
                <a:ext cx="266733" cy="297671"/>
              </a:xfrm>
              <a:custGeom>
                <a:avLst/>
                <a:gdLst>
                  <a:gd name="connsiteX0" fmla="*/ 110616 w 266733"/>
                  <a:gd name="connsiteY0" fmla="*/ 0 h 297671"/>
                  <a:gd name="connsiteX1" fmla="*/ 28749 w 266733"/>
                  <a:gd name="connsiteY1" fmla="*/ 0 h 297671"/>
                  <a:gd name="connsiteX2" fmla="*/ 7425 w 266733"/>
                  <a:gd name="connsiteY2" fmla="*/ 7425 h 297671"/>
                  <a:gd name="connsiteX3" fmla="*/ 0 w 266733"/>
                  <a:gd name="connsiteY3" fmla="*/ 28749 h 297671"/>
                  <a:gd name="connsiteX4" fmla="*/ 0 w 266733"/>
                  <a:gd name="connsiteY4" fmla="*/ 268923 h 297671"/>
                  <a:gd name="connsiteX5" fmla="*/ 7425 w 266733"/>
                  <a:gd name="connsiteY5" fmla="*/ 290246 h 297671"/>
                  <a:gd name="connsiteX6" fmla="*/ 28749 w 266733"/>
                  <a:gd name="connsiteY6" fmla="*/ 297672 h 297671"/>
                  <a:gd name="connsiteX7" fmla="*/ 110616 w 266733"/>
                  <a:gd name="connsiteY7" fmla="*/ 297672 h 297671"/>
                  <a:gd name="connsiteX8" fmla="*/ 177061 w 266733"/>
                  <a:gd name="connsiteY8" fmla="*/ 287772 h 297671"/>
                  <a:gd name="connsiteX9" fmla="*/ 225991 w 266733"/>
                  <a:gd name="connsiteY9" fmla="*/ 258833 h 297671"/>
                  <a:gd name="connsiteX10" fmla="*/ 256358 w 266733"/>
                  <a:gd name="connsiteY10" fmla="*/ 212188 h 297671"/>
                  <a:gd name="connsiteX11" fmla="*/ 266734 w 266733"/>
                  <a:gd name="connsiteY11" fmla="*/ 148693 h 297671"/>
                  <a:gd name="connsiteX12" fmla="*/ 225991 w 266733"/>
                  <a:gd name="connsiteY12" fmla="*/ 38554 h 297671"/>
                  <a:gd name="connsiteX13" fmla="*/ 110616 w 266733"/>
                  <a:gd name="connsiteY13" fmla="*/ 0 h 297671"/>
                  <a:gd name="connsiteX14" fmla="*/ 203906 w 266733"/>
                  <a:gd name="connsiteY14" fmla="*/ 194386 h 297671"/>
                  <a:gd name="connsiteX15" fmla="*/ 184676 w 266733"/>
                  <a:gd name="connsiteY15" fmla="*/ 226847 h 297671"/>
                  <a:gd name="connsiteX16" fmla="*/ 152596 w 266733"/>
                  <a:gd name="connsiteY16" fmla="*/ 246267 h 297671"/>
                  <a:gd name="connsiteX17" fmla="*/ 107189 w 266733"/>
                  <a:gd name="connsiteY17" fmla="*/ 252835 h 297671"/>
                  <a:gd name="connsiteX18" fmla="*/ 53975 w 266733"/>
                  <a:gd name="connsiteY18" fmla="*/ 252835 h 297671"/>
                  <a:gd name="connsiteX19" fmla="*/ 53975 w 266733"/>
                  <a:gd name="connsiteY19" fmla="*/ 44741 h 297671"/>
                  <a:gd name="connsiteX20" fmla="*/ 107189 w 266733"/>
                  <a:gd name="connsiteY20" fmla="*/ 44741 h 297671"/>
                  <a:gd name="connsiteX21" fmla="*/ 184486 w 266733"/>
                  <a:gd name="connsiteY21" fmla="*/ 70444 h 297671"/>
                  <a:gd name="connsiteX22" fmla="*/ 210188 w 266733"/>
                  <a:gd name="connsiteY22" fmla="*/ 148503 h 297671"/>
                  <a:gd name="connsiteX23" fmla="*/ 203906 w 266733"/>
                  <a:gd name="connsiteY23" fmla="*/ 194386 h 297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66733" h="297671">
                    <a:moveTo>
                      <a:pt x="110616" y="0"/>
                    </a:moveTo>
                    <a:lnTo>
                      <a:pt x="28749" y="0"/>
                    </a:lnTo>
                    <a:cubicBezTo>
                      <a:pt x="19420" y="0"/>
                      <a:pt x="12375" y="2475"/>
                      <a:pt x="7425" y="7425"/>
                    </a:cubicBezTo>
                    <a:cubicBezTo>
                      <a:pt x="2475" y="12375"/>
                      <a:pt x="0" y="19420"/>
                      <a:pt x="0" y="28749"/>
                    </a:cubicBezTo>
                    <a:lnTo>
                      <a:pt x="0" y="268923"/>
                    </a:lnTo>
                    <a:cubicBezTo>
                      <a:pt x="0" y="278252"/>
                      <a:pt x="2475" y="285296"/>
                      <a:pt x="7425" y="290246"/>
                    </a:cubicBezTo>
                    <a:cubicBezTo>
                      <a:pt x="12375" y="295197"/>
                      <a:pt x="19420" y="297672"/>
                      <a:pt x="28749" y="297672"/>
                    </a:cubicBezTo>
                    <a:lnTo>
                      <a:pt x="110616" y="297672"/>
                    </a:lnTo>
                    <a:cubicBezTo>
                      <a:pt x="135651" y="297672"/>
                      <a:pt x="157832" y="294340"/>
                      <a:pt x="177061" y="287772"/>
                    </a:cubicBezTo>
                    <a:cubicBezTo>
                      <a:pt x="196290" y="281203"/>
                      <a:pt x="212663" y="271493"/>
                      <a:pt x="225991" y="258833"/>
                    </a:cubicBezTo>
                    <a:cubicBezTo>
                      <a:pt x="239318" y="246172"/>
                      <a:pt x="249504" y="230655"/>
                      <a:pt x="256358" y="212188"/>
                    </a:cubicBezTo>
                    <a:cubicBezTo>
                      <a:pt x="263212" y="193720"/>
                      <a:pt x="266734" y="172587"/>
                      <a:pt x="266734" y="148693"/>
                    </a:cubicBezTo>
                    <a:cubicBezTo>
                      <a:pt x="266734" y="100810"/>
                      <a:pt x="253121" y="64161"/>
                      <a:pt x="225991" y="38554"/>
                    </a:cubicBezTo>
                    <a:cubicBezTo>
                      <a:pt x="198860" y="12756"/>
                      <a:pt x="160402" y="0"/>
                      <a:pt x="110616" y="0"/>
                    </a:cubicBezTo>
                    <a:close/>
                    <a:moveTo>
                      <a:pt x="203906" y="194386"/>
                    </a:moveTo>
                    <a:cubicBezTo>
                      <a:pt x="199717" y="207428"/>
                      <a:pt x="193244" y="218280"/>
                      <a:pt x="184676" y="226847"/>
                    </a:cubicBezTo>
                    <a:cubicBezTo>
                      <a:pt x="176109" y="235415"/>
                      <a:pt x="165447" y="241888"/>
                      <a:pt x="152596" y="246267"/>
                    </a:cubicBezTo>
                    <a:cubicBezTo>
                      <a:pt x="139745" y="250646"/>
                      <a:pt x="124704" y="252835"/>
                      <a:pt x="107189" y="252835"/>
                    </a:cubicBezTo>
                    <a:lnTo>
                      <a:pt x="53975" y="252835"/>
                    </a:lnTo>
                    <a:lnTo>
                      <a:pt x="53975" y="44741"/>
                    </a:lnTo>
                    <a:lnTo>
                      <a:pt x="107189" y="44741"/>
                    </a:lnTo>
                    <a:cubicBezTo>
                      <a:pt x="141554" y="44741"/>
                      <a:pt x="167256" y="53309"/>
                      <a:pt x="184486" y="70444"/>
                    </a:cubicBezTo>
                    <a:cubicBezTo>
                      <a:pt x="201621" y="87579"/>
                      <a:pt x="210188" y="113662"/>
                      <a:pt x="210188" y="148503"/>
                    </a:cubicBezTo>
                    <a:cubicBezTo>
                      <a:pt x="210188" y="166018"/>
                      <a:pt x="208094" y="181249"/>
                      <a:pt x="203906" y="194386"/>
                    </a:cubicBezTo>
                    <a:close/>
                  </a:path>
                </a:pathLst>
              </a:custGeom>
              <a:grpFill/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" name="Полилиния 52">
                <a:extLst>
                  <a:ext uri="{FF2B5EF4-FFF2-40B4-BE49-F238E27FC236}">
                    <a16:creationId xmlns:a16="http://schemas.microsoft.com/office/drawing/2014/main" id="{4ACA5105-EE8E-02F9-4FB7-D5EA37C44919}"/>
                  </a:ext>
                </a:extLst>
              </p:cNvPr>
              <p:cNvSpPr/>
              <p:nvPr/>
            </p:nvSpPr>
            <p:spPr>
              <a:xfrm>
                <a:off x="5675224" y="3733811"/>
                <a:ext cx="292253" cy="304335"/>
              </a:xfrm>
              <a:custGeom>
                <a:avLst/>
                <a:gdLst>
                  <a:gd name="connsiteX0" fmla="*/ 176793 w 292253"/>
                  <a:gd name="connsiteY0" fmla="*/ 22752 h 304335"/>
                  <a:gd name="connsiteX1" fmla="*/ 163466 w 292253"/>
                  <a:gd name="connsiteY1" fmla="*/ 5236 h 304335"/>
                  <a:gd name="connsiteX2" fmla="*/ 145950 w 292253"/>
                  <a:gd name="connsiteY2" fmla="*/ 0 h 304335"/>
                  <a:gd name="connsiteX3" fmla="*/ 128053 w 292253"/>
                  <a:gd name="connsiteY3" fmla="*/ 5236 h 304335"/>
                  <a:gd name="connsiteX4" fmla="*/ 114726 w 292253"/>
                  <a:gd name="connsiteY4" fmla="*/ 22752 h 304335"/>
                  <a:gd name="connsiteX5" fmla="*/ 3254 w 292253"/>
                  <a:gd name="connsiteY5" fmla="*/ 269685 h 304335"/>
                  <a:gd name="connsiteX6" fmla="*/ 303 w 292253"/>
                  <a:gd name="connsiteY6" fmla="*/ 287200 h 304335"/>
                  <a:gd name="connsiteX7" fmla="*/ 7728 w 292253"/>
                  <a:gd name="connsiteY7" fmla="*/ 299671 h 304335"/>
                  <a:gd name="connsiteX8" fmla="*/ 24006 w 292253"/>
                  <a:gd name="connsiteY8" fmla="*/ 304335 h 304335"/>
                  <a:gd name="connsiteX9" fmla="*/ 40856 w 292253"/>
                  <a:gd name="connsiteY9" fmla="*/ 298814 h 304335"/>
                  <a:gd name="connsiteX10" fmla="*/ 52279 w 292253"/>
                  <a:gd name="connsiteY10" fmla="*/ 281108 h 304335"/>
                  <a:gd name="connsiteX11" fmla="*/ 73031 w 292253"/>
                  <a:gd name="connsiteY11" fmla="*/ 232178 h 304335"/>
                  <a:gd name="connsiteX12" fmla="*/ 218202 w 292253"/>
                  <a:gd name="connsiteY12" fmla="*/ 232178 h 304335"/>
                  <a:gd name="connsiteX13" fmla="*/ 239240 w 292253"/>
                  <a:gd name="connsiteY13" fmla="*/ 281108 h 304335"/>
                  <a:gd name="connsiteX14" fmla="*/ 250854 w 292253"/>
                  <a:gd name="connsiteY14" fmla="*/ 298624 h 304335"/>
                  <a:gd name="connsiteX15" fmla="*/ 269226 w 292253"/>
                  <a:gd name="connsiteY15" fmla="*/ 304335 h 304335"/>
                  <a:gd name="connsiteX16" fmla="*/ 284838 w 292253"/>
                  <a:gd name="connsiteY16" fmla="*/ 299861 h 304335"/>
                  <a:gd name="connsiteX17" fmla="*/ 291978 w 292253"/>
                  <a:gd name="connsiteY17" fmla="*/ 287391 h 304335"/>
                  <a:gd name="connsiteX18" fmla="*/ 288646 w 292253"/>
                  <a:gd name="connsiteY18" fmla="*/ 269685 h 304335"/>
                  <a:gd name="connsiteX19" fmla="*/ 176793 w 292253"/>
                  <a:gd name="connsiteY19" fmla="*/ 22752 h 304335"/>
                  <a:gd name="connsiteX20" fmla="*/ 145093 w 292253"/>
                  <a:gd name="connsiteY20" fmla="*/ 61971 h 304335"/>
                  <a:gd name="connsiteX21" fmla="*/ 145950 w 292253"/>
                  <a:gd name="connsiteY21" fmla="*/ 61971 h 304335"/>
                  <a:gd name="connsiteX22" fmla="*/ 199735 w 292253"/>
                  <a:gd name="connsiteY22" fmla="*/ 189055 h 304335"/>
                  <a:gd name="connsiteX23" fmla="*/ 91689 w 292253"/>
                  <a:gd name="connsiteY23" fmla="*/ 189055 h 304335"/>
                  <a:gd name="connsiteX24" fmla="*/ 145093 w 292253"/>
                  <a:gd name="connsiteY24" fmla="*/ 61971 h 30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92253" h="304335">
                    <a:moveTo>
                      <a:pt x="176793" y="22752"/>
                    </a:moveTo>
                    <a:cubicBezTo>
                      <a:pt x="173175" y="14565"/>
                      <a:pt x="168701" y="8758"/>
                      <a:pt x="163466" y="5236"/>
                    </a:cubicBezTo>
                    <a:cubicBezTo>
                      <a:pt x="158230" y="1714"/>
                      <a:pt x="152423" y="0"/>
                      <a:pt x="145950" y="0"/>
                    </a:cubicBezTo>
                    <a:cubicBezTo>
                      <a:pt x="139191" y="0"/>
                      <a:pt x="133194" y="1714"/>
                      <a:pt x="128053" y="5236"/>
                    </a:cubicBezTo>
                    <a:cubicBezTo>
                      <a:pt x="122818" y="8758"/>
                      <a:pt x="118439" y="14565"/>
                      <a:pt x="114726" y="22752"/>
                    </a:cubicBezTo>
                    <a:lnTo>
                      <a:pt x="3254" y="269685"/>
                    </a:lnTo>
                    <a:cubicBezTo>
                      <a:pt x="398" y="276158"/>
                      <a:pt x="-554" y="281965"/>
                      <a:pt x="303" y="287200"/>
                    </a:cubicBezTo>
                    <a:cubicBezTo>
                      <a:pt x="1160" y="292436"/>
                      <a:pt x="3635" y="296530"/>
                      <a:pt x="7728" y="299671"/>
                    </a:cubicBezTo>
                    <a:cubicBezTo>
                      <a:pt x="11822" y="302812"/>
                      <a:pt x="17248" y="304335"/>
                      <a:pt x="24006" y="304335"/>
                    </a:cubicBezTo>
                    <a:cubicBezTo>
                      <a:pt x="31336" y="304335"/>
                      <a:pt x="36953" y="302527"/>
                      <a:pt x="40856" y="298814"/>
                    </a:cubicBezTo>
                    <a:cubicBezTo>
                      <a:pt x="44759" y="295197"/>
                      <a:pt x="48566" y="289295"/>
                      <a:pt x="52279" y="281108"/>
                    </a:cubicBezTo>
                    <a:lnTo>
                      <a:pt x="73031" y="232178"/>
                    </a:lnTo>
                    <a:lnTo>
                      <a:pt x="218202" y="232178"/>
                    </a:lnTo>
                    <a:lnTo>
                      <a:pt x="239240" y="281108"/>
                    </a:lnTo>
                    <a:cubicBezTo>
                      <a:pt x="242572" y="289009"/>
                      <a:pt x="246475" y="294816"/>
                      <a:pt x="250854" y="298624"/>
                    </a:cubicBezTo>
                    <a:cubicBezTo>
                      <a:pt x="255233" y="302432"/>
                      <a:pt x="261325" y="304335"/>
                      <a:pt x="269226" y="304335"/>
                    </a:cubicBezTo>
                    <a:cubicBezTo>
                      <a:pt x="275699" y="304335"/>
                      <a:pt x="280935" y="302907"/>
                      <a:pt x="284838" y="299861"/>
                    </a:cubicBezTo>
                    <a:cubicBezTo>
                      <a:pt x="288741" y="296910"/>
                      <a:pt x="291121" y="292722"/>
                      <a:pt x="291978" y="287391"/>
                    </a:cubicBezTo>
                    <a:cubicBezTo>
                      <a:pt x="292834" y="282060"/>
                      <a:pt x="291692" y="276158"/>
                      <a:pt x="288646" y="269685"/>
                    </a:cubicBezTo>
                    <a:lnTo>
                      <a:pt x="176793" y="22752"/>
                    </a:lnTo>
                    <a:close/>
                    <a:moveTo>
                      <a:pt x="145093" y="61971"/>
                    </a:moveTo>
                    <a:lnTo>
                      <a:pt x="145950" y="61971"/>
                    </a:lnTo>
                    <a:lnTo>
                      <a:pt x="199735" y="189055"/>
                    </a:lnTo>
                    <a:lnTo>
                      <a:pt x="91689" y="189055"/>
                    </a:lnTo>
                    <a:lnTo>
                      <a:pt x="145093" y="61971"/>
                    </a:lnTo>
                    <a:close/>
                  </a:path>
                </a:pathLst>
              </a:custGeom>
              <a:grpFill/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" name="Полилиния 53">
                <a:extLst>
                  <a:ext uri="{FF2B5EF4-FFF2-40B4-BE49-F238E27FC236}">
                    <a16:creationId xmlns:a16="http://schemas.microsoft.com/office/drawing/2014/main" id="{13548043-4F00-988E-5D20-F5077FCD01B5}"/>
                  </a:ext>
                </a:extLst>
              </p:cNvPr>
              <p:cNvSpPr/>
              <p:nvPr/>
            </p:nvSpPr>
            <p:spPr>
              <a:xfrm>
                <a:off x="6010230" y="3733716"/>
                <a:ext cx="250740" cy="304525"/>
              </a:xfrm>
              <a:custGeom>
                <a:avLst/>
                <a:gdLst>
                  <a:gd name="connsiteX0" fmla="*/ 225895 w 250740"/>
                  <a:gd name="connsiteY0" fmla="*/ 0 h 304525"/>
                  <a:gd name="connsiteX1" fmla="*/ 207142 w 250740"/>
                  <a:gd name="connsiteY1" fmla="*/ 6759 h 304525"/>
                  <a:gd name="connsiteX2" fmla="*/ 200574 w 250740"/>
                  <a:gd name="connsiteY2" fmla="*/ 25797 h 304525"/>
                  <a:gd name="connsiteX3" fmla="*/ 200574 w 250740"/>
                  <a:gd name="connsiteY3" fmla="*/ 211236 h 304525"/>
                  <a:gd name="connsiteX4" fmla="*/ 49882 w 250740"/>
                  <a:gd name="connsiteY4" fmla="*/ 15707 h 304525"/>
                  <a:gd name="connsiteX5" fmla="*/ 38268 w 250740"/>
                  <a:gd name="connsiteY5" fmla="*/ 3712 h 304525"/>
                  <a:gd name="connsiteX6" fmla="*/ 23704 w 250740"/>
                  <a:gd name="connsiteY6" fmla="*/ 95 h 304525"/>
                  <a:gd name="connsiteX7" fmla="*/ 6568 w 250740"/>
                  <a:gd name="connsiteY7" fmla="*/ 7044 h 304525"/>
                  <a:gd name="connsiteX8" fmla="*/ 0 w 250740"/>
                  <a:gd name="connsiteY8" fmla="*/ 27130 h 304525"/>
                  <a:gd name="connsiteX9" fmla="*/ 0 w 250740"/>
                  <a:gd name="connsiteY9" fmla="*/ 278347 h 304525"/>
                  <a:gd name="connsiteX10" fmla="*/ 6568 w 250740"/>
                  <a:gd name="connsiteY10" fmla="*/ 297767 h 304525"/>
                  <a:gd name="connsiteX11" fmla="*/ 25322 w 250740"/>
                  <a:gd name="connsiteY11" fmla="*/ 304526 h 304525"/>
                  <a:gd name="connsiteX12" fmla="*/ 43885 w 250740"/>
                  <a:gd name="connsiteY12" fmla="*/ 297767 h 304525"/>
                  <a:gd name="connsiteX13" fmla="*/ 50167 w 250740"/>
                  <a:gd name="connsiteY13" fmla="*/ 278347 h 304525"/>
                  <a:gd name="connsiteX14" fmla="*/ 50167 w 250740"/>
                  <a:gd name="connsiteY14" fmla="*/ 92243 h 304525"/>
                  <a:gd name="connsiteX15" fmla="*/ 200859 w 250740"/>
                  <a:gd name="connsiteY15" fmla="*/ 288342 h 304525"/>
                  <a:gd name="connsiteX16" fmla="*/ 213330 w 250740"/>
                  <a:gd name="connsiteY16" fmla="*/ 300623 h 304525"/>
                  <a:gd name="connsiteX17" fmla="*/ 228751 w 250740"/>
                  <a:gd name="connsiteY17" fmla="*/ 304430 h 304525"/>
                  <a:gd name="connsiteX18" fmla="*/ 244839 w 250740"/>
                  <a:gd name="connsiteY18" fmla="*/ 297672 h 304525"/>
                  <a:gd name="connsiteX19" fmla="*/ 250741 w 250740"/>
                  <a:gd name="connsiteY19" fmla="*/ 279109 h 304525"/>
                  <a:gd name="connsiteX20" fmla="*/ 250741 w 250740"/>
                  <a:gd name="connsiteY20" fmla="*/ 25797 h 304525"/>
                  <a:gd name="connsiteX21" fmla="*/ 244363 w 250740"/>
                  <a:gd name="connsiteY21" fmla="*/ 6759 h 304525"/>
                  <a:gd name="connsiteX22" fmla="*/ 225895 w 250740"/>
                  <a:gd name="connsiteY22" fmla="*/ 0 h 304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50740" h="304525">
                    <a:moveTo>
                      <a:pt x="225895" y="0"/>
                    </a:moveTo>
                    <a:cubicBezTo>
                      <a:pt x="217709" y="0"/>
                      <a:pt x="211521" y="2285"/>
                      <a:pt x="207142" y="6759"/>
                    </a:cubicBezTo>
                    <a:cubicBezTo>
                      <a:pt x="202763" y="11233"/>
                      <a:pt x="200574" y="17611"/>
                      <a:pt x="200574" y="25797"/>
                    </a:cubicBezTo>
                    <a:lnTo>
                      <a:pt x="200574" y="211236"/>
                    </a:lnTo>
                    <a:lnTo>
                      <a:pt x="49882" y="15707"/>
                    </a:lnTo>
                    <a:cubicBezTo>
                      <a:pt x="45408" y="10091"/>
                      <a:pt x="41505" y="6092"/>
                      <a:pt x="38268" y="3712"/>
                    </a:cubicBezTo>
                    <a:cubicBezTo>
                      <a:pt x="35032" y="1333"/>
                      <a:pt x="30177" y="95"/>
                      <a:pt x="23704" y="95"/>
                    </a:cubicBezTo>
                    <a:cubicBezTo>
                      <a:pt x="16659" y="95"/>
                      <a:pt x="10948" y="2380"/>
                      <a:pt x="6568" y="7044"/>
                    </a:cubicBezTo>
                    <a:cubicBezTo>
                      <a:pt x="2190" y="11709"/>
                      <a:pt x="0" y="18372"/>
                      <a:pt x="0" y="27130"/>
                    </a:cubicBezTo>
                    <a:lnTo>
                      <a:pt x="0" y="278347"/>
                    </a:lnTo>
                    <a:cubicBezTo>
                      <a:pt x="0" y="286820"/>
                      <a:pt x="2190" y="293293"/>
                      <a:pt x="6568" y="297767"/>
                    </a:cubicBezTo>
                    <a:cubicBezTo>
                      <a:pt x="10948" y="302241"/>
                      <a:pt x="17135" y="304526"/>
                      <a:pt x="25322" y="304526"/>
                    </a:cubicBezTo>
                    <a:cubicBezTo>
                      <a:pt x="33508" y="304526"/>
                      <a:pt x="39696" y="302241"/>
                      <a:pt x="43885" y="297767"/>
                    </a:cubicBezTo>
                    <a:cubicBezTo>
                      <a:pt x="48073" y="293293"/>
                      <a:pt x="50167" y="286820"/>
                      <a:pt x="50167" y="278347"/>
                    </a:cubicBezTo>
                    <a:lnTo>
                      <a:pt x="50167" y="92243"/>
                    </a:lnTo>
                    <a:lnTo>
                      <a:pt x="200859" y="288342"/>
                    </a:lnTo>
                    <a:cubicBezTo>
                      <a:pt x="205334" y="293959"/>
                      <a:pt x="209522" y="298052"/>
                      <a:pt x="213330" y="300623"/>
                    </a:cubicBezTo>
                    <a:cubicBezTo>
                      <a:pt x="217138" y="303193"/>
                      <a:pt x="222278" y="304430"/>
                      <a:pt x="228751" y="304430"/>
                    </a:cubicBezTo>
                    <a:cubicBezTo>
                      <a:pt x="235510" y="304430"/>
                      <a:pt x="240841" y="302146"/>
                      <a:pt x="244839" y="297672"/>
                    </a:cubicBezTo>
                    <a:cubicBezTo>
                      <a:pt x="248742" y="293197"/>
                      <a:pt x="250741" y="287010"/>
                      <a:pt x="250741" y="279109"/>
                    </a:cubicBezTo>
                    <a:lnTo>
                      <a:pt x="250741" y="25797"/>
                    </a:lnTo>
                    <a:cubicBezTo>
                      <a:pt x="250741" y="17611"/>
                      <a:pt x="248647" y="11328"/>
                      <a:pt x="244363" y="6759"/>
                    </a:cubicBezTo>
                    <a:cubicBezTo>
                      <a:pt x="240270" y="2285"/>
                      <a:pt x="234082" y="0"/>
                      <a:pt x="225895" y="0"/>
                    </a:cubicBezTo>
                    <a:close/>
                  </a:path>
                </a:pathLst>
              </a:custGeom>
              <a:grpFill/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" name="Полилиния 54">
                <a:extLst>
                  <a:ext uri="{FF2B5EF4-FFF2-40B4-BE49-F238E27FC236}">
                    <a16:creationId xmlns:a16="http://schemas.microsoft.com/office/drawing/2014/main" id="{B5777F43-5D0E-D5F3-F6F1-2EE43D732456}"/>
                  </a:ext>
                </a:extLst>
              </p:cNvPr>
              <p:cNvSpPr/>
              <p:nvPr/>
            </p:nvSpPr>
            <p:spPr>
              <a:xfrm>
                <a:off x="6292289" y="3737142"/>
                <a:ext cx="265210" cy="301003"/>
              </a:xfrm>
              <a:custGeom>
                <a:avLst/>
                <a:gdLst>
                  <a:gd name="connsiteX0" fmla="*/ 241888 w 265210"/>
                  <a:gd name="connsiteY0" fmla="*/ 0 h 301003"/>
                  <a:gd name="connsiteX1" fmla="*/ 23227 w 265210"/>
                  <a:gd name="connsiteY1" fmla="*/ 0 h 301003"/>
                  <a:gd name="connsiteX2" fmla="*/ 6093 w 265210"/>
                  <a:gd name="connsiteY2" fmla="*/ 5712 h 301003"/>
                  <a:gd name="connsiteX3" fmla="*/ 0 w 265210"/>
                  <a:gd name="connsiteY3" fmla="*/ 22371 h 301003"/>
                  <a:gd name="connsiteX4" fmla="*/ 6093 w 265210"/>
                  <a:gd name="connsiteY4" fmla="*/ 39030 h 301003"/>
                  <a:gd name="connsiteX5" fmla="*/ 23227 w 265210"/>
                  <a:gd name="connsiteY5" fmla="*/ 45122 h 301003"/>
                  <a:gd name="connsiteX6" fmla="*/ 105570 w 265210"/>
                  <a:gd name="connsiteY6" fmla="*/ 45122 h 301003"/>
                  <a:gd name="connsiteX7" fmla="*/ 105570 w 265210"/>
                  <a:gd name="connsiteY7" fmla="*/ 273112 h 301003"/>
                  <a:gd name="connsiteX8" fmla="*/ 112519 w 265210"/>
                  <a:gd name="connsiteY8" fmla="*/ 293578 h 301003"/>
                  <a:gd name="connsiteX9" fmla="*/ 132605 w 265210"/>
                  <a:gd name="connsiteY9" fmla="*/ 301003 h 301003"/>
                  <a:gd name="connsiteX10" fmla="*/ 152882 w 265210"/>
                  <a:gd name="connsiteY10" fmla="*/ 293578 h 301003"/>
                  <a:gd name="connsiteX11" fmla="*/ 159641 w 265210"/>
                  <a:gd name="connsiteY11" fmla="*/ 273112 h 301003"/>
                  <a:gd name="connsiteX12" fmla="*/ 159641 w 265210"/>
                  <a:gd name="connsiteY12" fmla="*/ 45122 h 301003"/>
                  <a:gd name="connsiteX13" fmla="*/ 241983 w 265210"/>
                  <a:gd name="connsiteY13" fmla="*/ 45122 h 301003"/>
                  <a:gd name="connsiteX14" fmla="*/ 259118 w 265210"/>
                  <a:gd name="connsiteY14" fmla="*/ 39030 h 301003"/>
                  <a:gd name="connsiteX15" fmla="*/ 265211 w 265210"/>
                  <a:gd name="connsiteY15" fmla="*/ 22371 h 301003"/>
                  <a:gd name="connsiteX16" fmla="*/ 259118 w 265210"/>
                  <a:gd name="connsiteY16" fmla="*/ 5712 h 301003"/>
                  <a:gd name="connsiteX17" fmla="*/ 241888 w 265210"/>
                  <a:gd name="connsiteY17" fmla="*/ 0 h 301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65210" h="301003">
                    <a:moveTo>
                      <a:pt x="241888" y="0"/>
                    </a:moveTo>
                    <a:lnTo>
                      <a:pt x="23227" y="0"/>
                    </a:lnTo>
                    <a:cubicBezTo>
                      <a:pt x="15898" y="0"/>
                      <a:pt x="10186" y="1904"/>
                      <a:pt x="6093" y="5712"/>
                    </a:cubicBezTo>
                    <a:cubicBezTo>
                      <a:pt x="1999" y="9519"/>
                      <a:pt x="0" y="15041"/>
                      <a:pt x="0" y="22371"/>
                    </a:cubicBezTo>
                    <a:cubicBezTo>
                      <a:pt x="0" y="29415"/>
                      <a:pt x="1999" y="34936"/>
                      <a:pt x="6093" y="39030"/>
                    </a:cubicBezTo>
                    <a:cubicBezTo>
                      <a:pt x="10186" y="43123"/>
                      <a:pt x="15898" y="45122"/>
                      <a:pt x="23227" y="45122"/>
                    </a:cubicBezTo>
                    <a:lnTo>
                      <a:pt x="105570" y="45122"/>
                    </a:lnTo>
                    <a:lnTo>
                      <a:pt x="105570" y="273112"/>
                    </a:lnTo>
                    <a:cubicBezTo>
                      <a:pt x="105570" y="281870"/>
                      <a:pt x="107855" y="288628"/>
                      <a:pt x="112519" y="293578"/>
                    </a:cubicBezTo>
                    <a:cubicBezTo>
                      <a:pt x="117184" y="298529"/>
                      <a:pt x="123847" y="301003"/>
                      <a:pt x="132605" y="301003"/>
                    </a:cubicBezTo>
                    <a:cubicBezTo>
                      <a:pt x="141649" y="301003"/>
                      <a:pt x="148407" y="298529"/>
                      <a:pt x="152882" y="293578"/>
                    </a:cubicBezTo>
                    <a:cubicBezTo>
                      <a:pt x="157356" y="288628"/>
                      <a:pt x="159641" y="281870"/>
                      <a:pt x="159641" y="273112"/>
                    </a:cubicBezTo>
                    <a:lnTo>
                      <a:pt x="159641" y="45122"/>
                    </a:lnTo>
                    <a:lnTo>
                      <a:pt x="241983" y="45122"/>
                    </a:lnTo>
                    <a:cubicBezTo>
                      <a:pt x="249313" y="45122"/>
                      <a:pt x="255025" y="43123"/>
                      <a:pt x="259118" y="39030"/>
                    </a:cubicBezTo>
                    <a:cubicBezTo>
                      <a:pt x="263211" y="34936"/>
                      <a:pt x="265211" y="29415"/>
                      <a:pt x="265211" y="22371"/>
                    </a:cubicBezTo>
                    <a:cubicBezTo>
                      <a:pt x="265211" y="15041"/>
                      <a:pt x="263116" y="9519"/>
                      <a:pt x="259118" y="5712"/>
                    </a:cubicBezTo>
                    <a:cubicBezTo>
                      <a:pt x="254835" y="1904"/>
                      <a:pt x="249123" y="0"/>
                      <a:pt x="241888" y="0"/>
                    </a:cubicBezTo>
                    <a:close/>
                  </a:path>
                </a:pathLst>
              </a:custGeom>
              <a:grpFill/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" name="Полилиния 55">
                <a:extLst>
                  <a:ext uri="{FF2B5EF4-FFF2-40B4-BE49-F238E27FC236}">
                    <a16:creationId xmlns:a16="http://schemas.microsoft.com/office/drawing/2014/main" id="{8F00E020-86B3-D53E-D451-1CE292FC92D1}"/>
                  </a:ext>
                </a:extLst>
              </p:cNvPr>
              <p:cNvSpPr/>
              <p:nvPr/>
            </p:nvSpPr>
            <p:spPr>
              <a:xfrm>
                <a:off x="6560356" y="3732954"/>
                <a:ext cx="286248" cy="306143"/>
              </a:xfrm>
              <a:custGeom>
                <a:avLst/>
                <a:gdLst>
                  <a:gd name="connsiteX0" fmla="*/ 218661 w 286248"/>
                  <a:gd name="connsiteY0" fmla="*/ 18753 h 306143"/>
                  <a:gd name="connsiteX1" fmla="*/ 143077 w 286248"/>
                  <a:gd name="connsiteY1" fmla="*/ 0 h 306143"/>
                  <a:gd name="connsiteX2" fmla="*/ 84151 w 286248"/>
                  <a:gd name="connsiteY2" fmla="*/ 10757 h 306143"/>
                  <a:gd name="connsiteX3" fmla="*/ 39030 w 286248"/>
                  <a:gd name="connsiteY3" fmla="*/ 41600 h 306143"/>
                  <a:gd name="connsiteX4" fmla="*/ 10091 w 286248"/>
                  <a:gd name="connsiteY4" fmla="*/ 89768 h 306143"/>
                  <a:gd name="connsiteX5" fmla="*/ 0 w 286248"/>
                  <a:gd name="connsiteY5" fmla="*/ 152882 h 306143"/>
                  <a:gd name="connsiteX6" fmla="*/ 17706 w 286248"/>
                  <a:gd name="connsiteY6" fmla="*/ 233701 h 306143"/>
                  <a:gd name="connsiteX7" fmla="*/ 67778 w 286248"/>
                  <a:gd name="connsiteY7" fmla="*/ 287105 h 306143"/>
                  <a:gd name="connsiteX8" fmla="*/ 143172 w 286248"/>
                  <a:gd name="connsiteY8" fmla="*/ 306144 h 306143"/>
                  <a:gd name="connsiteX9" fmla="*/ 202097 w 286248"/>
                  <a:gd name="connsiteY9" fmla="*/ 295387 h 306143"/>
                  <a:gd name="connsiteX10" fmla="*/ 247219 w 286248"/>
                  <a:gd name="connsiteY10" fmla="*/ 264354 h 306143"/>
                  <a:gd name="connsiteX11" fmla="*/ 276158 w 286248"/>
                  <a:gd name="connsiteY11" fmla="*/ 215805 h 306143"/>
                  <a:gd name="connsiteX12" fmla="*/ 286248 w 286248"/>
                  <a:gd name="connsiteY12" fmla="*/ 152501 h 306143"/>
                  <a:gd name="connsiteX13" fmla="*/ 268542 w 286248"/>
                  <a:gd name="connsiteY13" fmla="*/ 71872 h 306143"/>
                  <a:gd name="connsiteX14" fmla="*/ 218661 w 286248"/>
                  <a:gd name="connsiteY14" fmla="*/ 18753 h 306143"/>
                  <a:gd name="connsiteX15" fmla="*/ 219232 w 286248"/>
                  <a:gd name="connsiteY15" fmla="*/ 210189 h 306143"/>
                  <a:gd name="connsiteX16" fmla="*/ 189722 w 286248"/>
                  <a:gd name="connsiteY16" fmla="*/ 246933 h 306143"/>
                  <a:gd name="connsiteX17" fmla="*/ 143077 w 286248"/>
                  <a:gd name="connsiteY17" fmla="*/ 259594 h 306143"/>
                  <a:gd name="connsiteX18" fmla="*/ 79296 w 286248"/>
                  <a:gd name="connsiteY18" fmla="*/ 231322 h 306143"/>
                  <a:gd name="connsiteX19" fmla="*/ 56545 w 286248"/>
                  <a:gd name="connsiteY19" fmla="*/ 152787 h 306143"/>
                  <a:gd name="connsiteX20" fmla="*/ 66921 w 286248"/>
                  <a:gd name="connsiteY20" fmla="*/ 95194 h 306143"/>
                  <a:gd name="connsiteX21" fmla="*/ 96717 w 286248"/>
                  <a:gd name="connsiteY21" fmla="*/ 58925 h 306143"/>
                  <a:gd name="connsiteX22" fmla="*/ 143172 w 286248"/>
                  <a:gd name="connsiteY22" fmla="*/ 46455 h 306143"/>
                  <a:gd name="connsiteX23" fmla="*/ 207142 w 286248"/>
                  <a:gd name="connsiteY23" fmla="*/ 74346 h 306143"/>
                  <a:gd name="connsiteX24" fmla="*/ 229703 w 286248"/>
                  <a:gd name="connsiteY24" fmla="*/ 152882 h 306143"/>
                  <a:gd name="connsiteX25" fmla="*/ 219232 w 286248"/>
                  <a:gd name="connsiteY25" fmla="*/ 210189 h 306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86248" h="306143">
                    <a:moveTo>
                      <a:pt x="218661" y="18753"/>
                    </a:moveTo>
                    <a:cubicBezTo>
                      <a:pt x="197242" y="6283"/>
                      <a:pt x="172111" y="0"/>
                      <a:pt x="143077" y="0"/>
                    </a:cubicBezTo>
                    <a:cubicBezTo>
                      <a:pt x="121372" y="0"/>
                      <a:pt x="101762" y="3617"/>
                      <a:pt x="84151" y="10757"/>
                    </a:cubicBezTo>
                    <a:cubicBezTo>
                      <a:pt x="66541" y="17897"/>
                      <a:pt x="51500" y="28178"/>
                      <a:pt x="39030" y="41600"/>
                    </a:cubicBezTo>
                    <a:cubicBezTo>
                      <a:pt x="26464" y="54927"/>
                      <a:pt x="16849" y="71015"/>
                      <a:pt x="10091" y="89768"/>
                    </a:cubicBezTo>
                    <a:cubicBezTo>
                      <a:pt x="3332" y="108521"/>
                      <a:pt x="0" y="129559"/>
                      <a:pt x="0" y="152882"/>
                    </a:cubicBezTo>
                    <a:cubicBezTo>
                      <a:pt x="0" y="183820"/>
                      <a:pt x="5902" y="210760"/>
                      <a:pt x="17706" y="233701"/>
                    </a:cubicBezTo>
                    <a:cubicBezTo>
                      <a:pt x="29510" y="256643"/>
                      <a:pt x="46169" y="274444"/>
                      <a:pt x="67778" y="287105"/>
                    </a:cubicBezTo>
                    <a:cubicBezTo>
                      <a:pt x="89387" y="299766"/>
                      <a:pt x="114423" y="306144"/>
                      <a:pt x="143172" y="306144"/>
                    </a:cubicBezTo>
                    <a:cubicBezTo>
                      <a:pt x="164876" y="306144"/>
                      <a:pt x="184486" y="302527"/>
                      <a:pt x="202097" y="295387"/>
                    </a:cubicBezTo>
                    <a:cubicBezTo>
                      <a:pt x="219708" y="288247"/>
                      <a:pt x="234748" y="277871"/>
                      <a:pt x="247219" y="264354"/>
                    </a:cubicBezTo>
                    <a:cubicBezTo>
                      <a:pt x="259689" y="250836"/>
                      <a:pt x="269399" y="234653"/>
                      <a:pt x="276158" y="215805"/>
                    </a:cubicBezTo>
                    <a:cubicBezTo>
                      <a:pt x="282917" y="196956"/>
                      <a:pt x="286248" y="175823"/>
                      <a:pt x="286248" y="152501"/>
                    </a:cubicBezTo>
                    <a:cubicBezTo>
                      <a:pt x="286248" y="121563"/>
                      <a:pt x="280346" y="94623"/>
                      <a:pt x="268542" y="71872"/>
                    </a:cubicBezTo>
                    <a:cubicBezTo>
                      <a:pt x="256738" y="49120"/>
                      <a:pt x="239984" y="31224"/>
                      <a:pt x="218661" y="18753"/>
                    </a:cubicBezTo>
                    <a:close/>
                    <a:moveTo>
                      <a:pt x="219232" y="210189"/>
                    </a:moveTo>
                    <a:cubicBezTo>
                      <a:pt x="212378" y="226276"/>
                      <a:pt x="202478" y="238461"/>
                      <a:pt x="189722" y="246933"/>
                    </a:cubicBezTo>
                    <a:cubicBezTo>
                      <a:pt x="176870" y="255406"/>
                      <a:pt x="161354" y="259594"/>
                      <a:pt x="143077" y="259594"/>
                    </a:cubicBezTo>
                    <a:cubicBezTo>
                      <a:pt x="115756" y="259594"/>
                      <a:pt x="94528" y="250170"/>
                      <a:pt x="79296" y="231322"/>
                    </a:cubicBezTo>
                    <a:cubicBezTo>
                      <a:pt x="64066" y="212473"/>
                      <a:pt x="56545" y="186295"/>
                      <a:pt x="56545" y="152787"/>
                    </a:cubicBezTo>
                    <a:cubicBezTo>
                      <a:pt x="56545" y="130321"/>
                      <a:pt x="59972" y="111092"/>
                      <a:pt x="66921" y="95194"/>
                    </a:cubicBezTo>
                    <a:cubicBezTo>
                      <a:pt x="73775" y="79297"/>
                      <a:pt x="83771" y="67207"/>
                      <a:pt x="96717" y="58925"/>
                    </a:cubicBezTo>
                    <a:cubicBezTo>
                      <a:pt x="109663" y="50643"/>
                      <a:pt x="125180" y="46455"/>
                      <a:pt x="143172" y="46455"/>
                    </a:cubicBezTo>
                    <a:cubicBezTo>
                      <a:pt x="170778" y="46455"/>
                      <a:pt x="192101" y="55784"/>
                      <a:pt x="207142" y="74346"/>
                    </a:cubicBezTo>
                    <a:cubicBezTo>
                      <a:pt x="222183" y="92909"/>
                      <a:pt x="229703" y="119088"/>
                      <a:pt x="229703" y="152882"/>
                    </a:cubicBezTo>
                    <a:cubicBezTo>
                      <a:pt x="229608" y="174967"/>
                      <a:pt x="226181" y="194101"/>
                      <a:pt x="219232" y="210189"/>
                    </a:cubicBezTo>
                    <a:close/>
                  </a:path>
                </a:pathLst>
              </a:custGeom>
              <a:grpFill/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" name="Полилиния 56">
                <a:extLst>
                  <a:ext uri="{FF2B5EF4-FFF2-40B4-BE49-F238E27FC236}">
                    <a16:creationId xmlns:a16="http://schemas.microsoft.com/office/drawing/2014/main" id="{D5A50E9F-621C-F13C-3305-CA595B26FC8A}"/>
                  </a:ext>
                </a:extLst>
              </p:cNvPr>
              <p:cNvSpPr/>
              <p:nvPr/>
            </p:nvSpPr>
            <p:spPr>
              <a:xfrm>
                <a:off x="6901341" y="3733716"/>
                <a:ext cx="250740" cy="304525"/>
              </a:xfrm>
              <a:custGeom>
                <a:avLst/>
                <a:gdLst>
                  <a:gd name="connsiteX0" fmla="*/ 225895 w 250740"/>
                  <a:gd name="connsiteY0" fmla="*/ 0 h 304525"/>
                  <a:gd name="connsiteX1" fmla="*/ 207142 w 250740"/>
                  <a:gd name="connsiteY1" fmla="*/ 6759 h 304525"/>
                  <a:gd name="connsiteX2" fmla="*/ 200574 w 250740"/>
                  <a:gd name="connsiteY2" fmla="*/ 25797 h 304525"/>
                  <a:gd name="connsiteX3" fmla="*/ 200574 w 250740"/>
                  <a:gd name="connsiteY3" fmla="*/ 211236 h 304525"/>
                  <a:gd name="connsiteX4" fmla="*/ 49882 w 250740"/>
                  <a:gd name="connsiteY4" fmla="*/ 15707 h 304525"/>
                  <a:gd name="connsiteX5" fmla="*/ 38268 w 250740"/>
                  <a:gd name="connsiteY5" fmla="*/ 3712 h 304525"/>
                  <a:gd name="connsiteX6" fmla="*/ 23703 w 250740"/>
                  <a:gd name="connsiteY6" fmla="*/ 95 h 304525"/>
                  <a:gd name="connsiteX7" fmla="*/ 6568 w 250740"/>
                  <a:gd name="connsiteY7" fmla="*/ 7044 h 304525"/>
                  <a:gd name="connsiteX8" fmla="*/ 0 w 250740"/>
                  <a:gd name="connsiteY8" fmla="*/ 27130 h 304525"/>
                  <a:gd name="connsiteX9" fmla="*/ 0 w 250740"/>
                  <a:gd name="connsiteY9" fmla="*/ 278347 h 304525"/>
                  <a:gd name="connsiteX10" fmla="*/ 6568 w 250740"/>
                  <a:gd name="connsiteY10" fmla="*/ 297767 h 304525"/>
                  <a:gd name="connsiteX11" fmla="*/ 25322 w 250740"/>
                  <a:gd name="connsiteY11" fmla="*/ 304526 h 304525"/>
                  <a:gd name="connsiteX12" fmla="*/ 43884 w 250740"/>
                  <a:gd name="connsiteY12" fmla="*/ 297767 h 304525"/>
                  <a:gd name="connsiteX13" fmla="*/ 50167 w 250740"/>
                  <a:gd name="connsiteY13" fmla="*/ 278347 h 304525"/>
                  <a:gd name="connsiteX14" fmla="*/ 50167 w 250740"/>
                  <a:gd name="connsiteY14" fmla="*/ 92243 h 304525"/>
                  <a:gd name="connsiteX15" fmla="*/ 200859 w 250740"/>
                  <a:gd name="connsiteY15" fmla="*/ 288342 h 304525"/>
                  <a:gd name="connsiteX16" fmla="*/ 213330 w 250740"/>
                  <a:gd name="connsiteY16" fmla="*/ 300623 h 304525"/>
                  <a:gd name="connsiteX17" fmla="*/ 228751 w 250740"/>
                  <a:gd name="connsiteY17" fmla="*/ 304430 h 304525"/>
                  <a:gd name="connsiteX18" fmla="*/ 244839 w 250740"/>
                  <a:gd name="connsiteY18" fmla="*/ 297672 h 304525"/>
                  <a:gd name="connsiteX19" fmla="*/ 250741 w 250740"/>
                  <a:gd name="connsiteY19" fmla="*/ 279109 h 304525"/>
                  <a:gd name="connsiteX20" fmla="*/ 250741 w 250740"/>
                  <a:gd name="connsiteY20" fmla="*/ 25797 h 304525"/>
                  <a:gd name="connsiteX21" fmla="*/ 244363 w 250740"/>
                  <a:gd name="connsiteY21" fmla="*/ 6759 h 304525"/>
                  <a:gd name="connsiteX22" fmla="*/ 225895 w 250740"/>
                  <a:gd name="connsiteY22" fmla="*/ 0 h 304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50740" h="304525">
                    <a:moveTo>
                      <a:pt x="225895" y="0"/>
                    </a:moveTo>
                    <a:cubicBezTo>
                      <a:pt x="217709" y="0"/>
                      <a:pt x="211521" y="2285"/>
                      <a:pt x="207142" y="6759"/>
                    </a:cubicBezTo>
                    <a:cubicBezTo>
                      <a:pt x="202763" y="11233"/>
                      <a:pt x="200574" y="17611"/>
                      <a:pt x="200574" y="25797"/>
                    </a:cubicBezTo>
                    <a:lnTo>
                      <a:pt x="200574" y="211236"/>
                    </a:lnTo>
                    <a:lnTo>
                      <a:pt x="49882" y="15707"/>
                    </a:lnTo>
                    <a:cubicBezTo>
                      <a:pt x="45407" y="10091"/>
                      <a:pt x="41504" y="6092"/>
                      <a:pt x="38268" y="3712"/>
                    </a:cubicBezTo>
                    <a:cubicBezTo>
                      <a:pt x="35031" y="1333"/>
                      <a:pt x="30176" y="95"/>
                      <a:pt x="23703" y="95"/>
                    </a:cubicBezTo>
                    <a:cubicBezTo>
                      <a:pt x="16659" y="95"/>
                      <a:pt x="10947" y="2380"/>
                      <a:pt x="6568" y="7044"/>
                    </a:cubicBezTo>
                    <a:cubicBezTo>
                      <a:pt x="2189" y="11709"/>
                      <a:pt x="0" y="18372"/>
                      <a:pt x="0" y="27130"/>
                    </a:cubicBezTo>
                    <a:lnTo>
                      <a:pt x="0" y="278347"/>
                    </a:lnTo>
                    <a:cubicBezTo>
                      <a:pt x="0" y="286820"/>
                      <a:pt x="2189" y="293293"/>
                      <a:pt x="6568" y="297767"/>
                    </a:cubicBezTo>
                    <a:cubicBezTo>
                      <a:pt x="10947" y="302241"/>
                      <a:pt x="17135" y="304526"/>
                      <a:pt x="25322" y="304526"/>
                    </a:cubicBezTo>
                    <a:cubicBezTo>
                      <a:pt x="33508" y="304526"/>
                      <a:pt x="39696" y="302241"/>
                      <a:pt x="43884" y="297767"/>
                    </a:cubicBezTo>
                    <a:cubicBezTo>
                      <a:pt x="48073" y="293293"/>
                      <a:pt x="50167" y="286820"/>
                      <a:pt x="50167" y="278347"/>
                    </a:cubicBezTo>
                    <a:lnTo>
                      <a:pt x="50167" y="92243"/>
                    </a:lnTo>
                    <a:lnTo>
                      <a:pt x="200859" y="288342"/>
                    </a:lnTo>
                    <a:cubicBezTo>
                      <a:pt x="205334" y="293959"/>
                      <a:pt x="209522" y="298052"/>
                      <a:pt x="213330" y="300623"/>
                    </a:cubicBezTo>
                    <a:cubicBezTo>
                      <a:pt x="217138" y="303193"/>
                      <a:pt x="222278" y="304430"/>
                      <a:pt x="228751" y="304430"/>
                    </a:cubicBezTo>
                    <a:cubicBezTo>
                      <a:pt x="235510" y="304430"/>
                      <a:pt x="240841" y="302146"/>
                      <a:pt x="244839" y="297672"/>
                    </a:cubicBezTo>
                    <a:cubicBezTo>
                      <a:pt x="248742" y="293197"/>
                      <a:pt x="250741" y="287010"/>
                      <a:pt x="250741" y="279109"/>
                    </a:cubicBezTo>
                    <a:lnTo>
                      <a:pt x="250741" y="25797"/>
                    </a:lnTo>
                    <a:cubicBezTo>
                      <a:pt x="250741" y="17611"/>
                      <a:pt x="248647" y="11328"/>
                      <a:pt x="244363" y="6759"/>
                    </a:cubicBezTo>
                    <a:cubicBezTo>
                      <a:pt x="240270" y="2285"/>
                      <a:pt x="234082" y="0"/>
                      <a:pt x="225895" y="0"/>
                    </a:cubicBezTo>
                    <a:close/>
                  </a:path>
                </a:pathLst>
              </a:custGeom>
              <a:grpFill/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" name="Полилиния 57">
                <a:extLst>
                  <a:ext uri="{FF2B5EF4-FFF2-40B4-BE49-F238E27FC236}">
                    <a16:creationId xmlns:a16="http://schemas.microsoft.com/office/drawing/2014/main" id="{8629F15D-C3D9-63CE-F29C-7A78D084089D}"/>
                  </a:ext>
                </a:extLst>
              </p:cNvPr>
              <p:cNvSpPr/>
              <p:nvPr/>
            </p:nvSpPr>
            <p:spPr>
              <a:xfrm>
                <a:off x="7207389" y="3732954"/>
                <a:ext cx="286153" cy="306143"/>
              </a:xfrm>
              <a:custGeom>
                <a:avLst/>
                <a:gdLst>
                  <a:gd name="connsiteX0" fmla="*/ 218661 w 286153"/>
                  <a:gd name="connsiteY0" fmla="*/ 18753 h 306143"/>
                  <a:gd name="connsiteX1" fmla="*/ 143077 w 286153"/>
                  <a:gd name="connsiteY1" fmla="*/ 0 h 306143"/>
                  <a:gd name="connsiteX2" fmla="*/ 84151 w 286153"/>
                  <a:gd name="connsiteY2" fmla="*/ 10757 h 306143"/>
                  <a:gd name="connsiteX3" fmla="*/ 39030 w 286153"/>
                  <a:gd name="connsiteY3" fmla="*/ 41600 h 306143"/>
                  <a:gd name="connsiteX4" fmla="*/ 10091 w 286153"/>
                  <a:gd name="connsiteY4" fmla="*/ 89768 h 306143"/>
                  <a:gd name="connsiteX5" fmla="*/ 0 w 286153"/>
                  <a:gd name="connsiteY5" fmla="*/ 152882 h 306143"/>
                  <a:gd name="connsiteX6" fmla="*/ 17706 w 286153"/>
                  <a:gd name="connsiteY6" fmla="*/ 233701 h 306143"/>
                  <a:gd name="connsiteX7" fmla="*/ 67683 w 286153"/>
                  <a:gd name="connsiteY7" fmla="*/ 287105 h 306143"/>
                  <a:gd name="connsiteX8" fmla="*/ 143077 w 286153"/>
                  <a:gd name="connsiteY8" fmla="*/ 306144 h 306143"/>
                  <a:gd name="connsiteX9" fmla="*/ 202002 w 286153"/>
                  <a:gd name="connsiteY9" fmla="*/ 295387 h 306143"/>
                  <a:gd name="connsiteX10" fmla="*/ 247124 w 286153"/>
                  <a:gd name="connsiteY10" fmla="*/ 264354 h 306143"/>
                  <a:gd name="connsiteX11" fmla="*/ 276063 w 286153"/>
                  <a:gd name="connsiteY11" fmla="*/ 215805 h 306143"/>
                  <a:gd name="connsiteX12" fmla="*/ 286153 w 286153"/>
                  <a:gd name="connsiteY12" fmla="*/ 152501 h 306143"/>
                  <a:gd name="connsiteX13" fmla="*/ 268447 w 286153"/>
                  <a:gd name="connsiteY13" fmla="*/ 71872 h 306143"/>
                  <a:gd name="connsiteX14" fmla="*/ 218661 w 286153"/>
                  <a:gd name="connsiteY14" fmla="*/ 18753 h 306143"/>
                  <a:gd name="connsiteX15" fmla="*/ 219327 w 286153"/>
                  <a:gd name="connsiteY15" fmla="*/ 210189 h 306143"/>
                  <a:gd name="connsiteX16" fmla="*/ 189817 w 286153"/>
                  <a:gd name="connsiteY16" fmla="*/ 246933 h 306143"/>
                  <a:gd name="connsiteX17" fmla="*/ 143172 w 286153"/>
                  <a:gd name="connsiteY17" fmla="*/ 259594 h 306143"/>
                  <a:gd name="connsiteX18" fmla="*/ 79392 w 286153"/>
                  <a:gd name="connsiteY18" fmla="*/ 231322 h 306143"/>
                  <a:gd name="connsiteX19" fmla="*/ 56641 w 286153"/>
                  <a:gd name="connsiteY19" fmla="*/ 152787 h 306143"/>
                  <a:gd name="connsiteX20" fmla="*/ 67017 w 286153"/>
                  <a:gd name="connsiteY20" fmla="*/ 95194 h 306143"/>
                  <a:gd name="connsiteX21" fmla="*/ 96812 w 286153"/>
                  <a:gd name="connsiteY21" fmla="*/ 58925 h 306143"/>
                  <a:gd name="connsiteX22" fmla="*/ 143267 w 286153"/>
                  <a:gd name="connsiteY22" fmla="*/ 46455 h 306143"/>
                  <a:gd name="connsiteX23" fmla="*/ 207237 w 286153"/>
                  <a:gd name="connsiteY23" fmla="*/ 74346 h 306143"/>
                  <a:gd name="connsiteX24" fmla="*/ 229798 w 286153"/>
                  <a:gd name="connsiteY24" fmla="*/ 152882 h 306143"/>
                  <a:gd name="connsiteX25" fmla="*/ 219327 w 286153"/>
                  <a:gd name="connsiteY25" fmla="*/ 210189 h 306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86153" h="306143">
                    <a:moveTo>
                      <a:pt x="218661" y="18753"/>
                    </a:moveTo>
                    <a:cubicBezTo>
                      <a:pt x="197242" y="6283"/>
                      <a:pt x="172111" y="0"/>
                      <a:pt x="143077" y="0"/>
                    </a:cubicBezTo>
                    <a:cubicBezTo>
                      <a:pt x="121372" y="0"/>
                      <a:pt x="101762" y="3617"/>
                      <a:pt x="84151" y="10757"/>
                    </a:cubicBezTo>
                    <a:cubicBezTo>
                      <a:pt x="66541" y="17897"/>
                      <a:pt x="51500" y="28178"/>
                      <a:pt x="39030" y="41600"/>
                    </a:cubicBezTo>
                    <a:cubicBezTo>
                      <a:pt x="26464" y="54927"/>
                      <a:pt x="16849" y="71015"/>
                      <a:pt x="10091" y="89768"/>
                    </a:cubicBezTo>
                    <a:cubicBezTo>
                      <a:pt x="3332" y="108521"/>
                      <a:pt x="0" y="129559"/>
                      <a:pt x="0" y="152882"/>
                    </a:cubicBezTo>
                    <a:cubicBezTo>
                      <a:pt x="0" y="183820"/>
                      <a:pt x="5902" y="210760"/>
                      <a:pt x="17706" y="233701"/>
                    </a:cubicBezTo>
                    <a:cubicBezTo>
                      <a:pt x="29510" y="256643"/>
                      <a:pt x="46169" y="274444"/>
                      <a:pt x="67683" y="287105"/>
                    </a:cubicBezTo>
                    <a:cubicBezTo>
                      <a:pt x="89197" y="299766"/>
                      <a:pt x="114328" y="306144"/>
                      <a:pt x="143077" y="306144"/>
                    </a:cubicBezTo>
                    <a:cubicBezTo>
                      <a:pt x="164781" y="306144"/>
                      <a:pt x="184391" y="302527"/>
                      <a:pt x="202002" y="295387"/>
                    </a:cubicBezTo>
                    <a:cubicBezTo>
                      <a:pt x="219613" y="288247"/>
                      <a:pt x="234653" y="277871"/>
                      <a:pt x="247124" y="264354"/>
                    </a:cubicBezTo>
                    <a:cubicBezTo>
                      <a:pt x="259594" y="250836"/>
                      <a:pt x="269304" y="234653"/>
                      <a:pt x="276063" y="215805"/>
                    </a:cubicBezTo>
                    <a:cubicBezTo>
                      <a:pt x="282821" y="196956"/>
                      <a:pt x="286153" y="175823"/>
                      <a:pt x="286153" y="152501"/>
                    </a:cubicBezTo>
                    <a:cubicBezTo>
                      <a:pt x="286153" y="121563"/>
                      <a:pt x="280251" y="94623"/>
                      <a:pt x="268447" y="71872"/>
                    </a:cubicBezTo>
                    <a:cubicBezTo>
                      <a:pt x="256738" y="48930"/>
                      <a:pt x="240079" y="31224"/>
                      <a:pt x="218661" y="18753"/>
                    </a:cubicBezTo>
                    <a:close/>
                    <a:moveTo>
                      <a:pt x="219327" y="210189"/>
                    </a:moveTo>
                    <a:cubicBezTo>
                      <a:pt x="212473" y="226276"/>
                      <a:pt x="202573" y="238461"/>
                      <a:pt x="189817" y="246933"/>
                    </a:cubicBezTo>
                    <a:cubicBezTo>
                      <a:pt x="176966" y="255406"/>
                      <a:pt x="161449" y="259594"/>
                      <a:pt x="143172" y="259594"/>
                    </a:cubicBezTo>
                    <a:cubicBezTo>
                      <a:pt x="115851" y="259594"/>
                      <a:pt x="94623" y="250170"/>
                      <a:pt x="79392" y="231322"/>
                    </a:cubicBezTo>
                    <a:cubicBezTo>
                      <a:pt x="64161" y="212473"/>
                      <a:pt x="56641" y="186295"/>
                      <a:pt x="56641" y="152787"/>
                    </a:cubicBezTo>
                    <a:cubicBezTo>
                      <a:pt x="56641" y="130321"/>
                      <a:pt x="60067" y="111092"/>
                      <a:pt x="67017" y="95194"/>
                    </a:cubicBezTo>
                    <a:cubicBezTo>
                      <a:pt x="73871" y="79297"/>
                      <a:pt x="83866" y="67207"/>
                      <a:pt x="96812" y="58925"/>
                    </a:cubicBezTo>
                    <a:cubicBezTo>
                      <a:pt x="109759" y="50643"/>
                      <a:pt x="125180" y="46455"/>
                      <a:pt x="143267" y="46455"/>
                    </a:cubicBezTo>
                    <a:cubicBezTo>
                      <a:pt x="170873" y="46455"/>
                      <a:pt x="192197" y="55784"/>
                      <a:pt x="207237" y="74346"/>
                    </a:cubicBezTo>
                    <a:cubicBezTo>
                      <a:pt x="222278" y="92909"/>
                      <a:pt x="229798" y="119088"/>
                      <a:pt x="229798" y="152882"/>
                    </a:cubicBezTo>
                    <a:cubicBezTo>
                      <a:pt x="229703" y="174967"/>
                      <a:pt x="226276" y="194101"/>
                      <a:pt x="219327" y="210189"/>
                    </a:cubicBezTo>
                    <a:close/>
                  </a:path>
                </a:pathLst>
              </a:custGeom>
              <a:grpFill/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" name="Полилиния 58">
                <a:extLst>
                  <a:ext uri="{FF2B5EF4-FFF2-40B4-BE49-F238E27FC236}">
                    <a16:creationId xmlns:a16="http://schemas.microsoft.com/office/drawing/2014/main" id="{271D3B57-D08F-161B-D8DC-D21F85B52EC2}"/>
                  </a:ext>
                </a:extLst>
              </p:cNvPr>
              <p:cNvSpPr/>
              <p:nvPr/>
            </p:nvSpPr>
            <p:spPr>
              <a:xfrm>
                <a:off x="7514958" y="3733716"/>
                <a:ext cx="288127" cy="304335"/>
              </a:xfrm>
              <a:custGeom>
                <a:avLst/>
                <a:gdLst>
                  <a:gd name="connsiteX0" fmla="*/ 287679 w 288127"/>
                  <a:gd name="connsiteY0" fmla="*/ 17325 h 304335"/>
                  <a:gd name="connsiteX1" fmla="*/ 279873 w 288127"/>
                  <a:gd name="connsiteY1" fmla="*/ 4664 h 304335"/>
                  <a:gd name="connsiteX2" fmla="*/ 264452 w 288127"/>
                  <a:gd name="connsiteY2" fmla="*/ 0 h 304335"/>
                  <a:gd name="connsiteX3" fmla="*/ 246746 w 288127"/>
                  <a:gd name="connsiteY3" fmla="*/ 5236 h 304335"/>
                  <a:gd name="connsiteX4" fmla="*/ 235798 w 288127"/>
                  <a:gd name="connsiteY4" fmla="*/ 20657 h 304335"/>
                  <a:gd name="connsiteX5" fmla="*/ 145269 w 288127"/>
                  <a:gd name="connsiteY5" fmla="*/ 231702 h 304335"/>
                  <a:gd name="connsiteX6" fmla="*/ 54359 w 288127"/>
                  <a:gd name="connsiteY6" fmla="*/ 21038 h 304335"/>
                  <a:gd name="connsiteX7" fmla="*/ 43982 w 288127"/>
                  <a:gd name="connsiteY7" fmla="*/ 5236 h 304335"/>
                  <a:gd name="connsiteX8" fmla="*/ 25610 w 288127"/>
                  <a:gd name="connsiteY8" fmla="*/ 0 h 304335"/>
                  <a:gd name="connsiteX9" fmla="*/ 9522 w 288127"/>
                  <a:gd name="connsiteY9" fmla="*/ 4664 h 304335"/>
                  <a:gd name="connsiteX10" fmla="*/ 669 w 288127"/>
                  <a:gd name="connsiteY10" fmla="*/ 17325 h 304335"/>
                  <a:gd name="connsiteX11" fmla="*/ 3239 w 288127"/>
                  <a:gd name="connsiteY11" fmla="*/ 35888 h 304335"/>
                  <a:gd name="connsiteX12" fmla="*/ 113379 w 288127"/>
                  <a:gd name="connsiteY12" fmla="*/ 283297 h 304335"/>
                  <a:gd name="connsiteX13" fmla="*/ 125374 w 288127"/>
                  <a:gd name="connsiteY13" fmla="*/ 299099 h 304335"/>
                  <a:gd name="connsiteX14" fmla="*/ 144127 w 288127"/>
                  <a:gd name="connsiteY14" fmla="*/ 304335 h 304335"/>
                  <a:gd name="connsiteX15" fmla="*/ 162880 w 288127"/>
                  <a:gd name="connsiteY15" fmla="*/ 299099 h 304335"/>
                  <a:gd name="connsiteX16" fmla="*/ 174494 w 288127"/>
                  <a:gd name="connsiteY16" fmla="*/ 283297 h 304335"/>
                  <a:gd name="connsiteX17" fmla="*/ 284633 w 288127"/>
                  <a:gd name="connsiteY17" fmla="*/ 35888 h 304335"/>
                  <a:gd name="connsiteX18" fmla="*/ 287679 w 288127"/>
                  <a:gd name="connsiteY18" fmla="*/ 17325 h 30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8127" h="304335">
                    <a:moveTo>
                      <a:pt x="287679" y="17325"/>
                    </a:moveTo>
                    <a:cubicBezTo>
                      <a:pt x="286537" y="11994"/>
                      <a:pt x="283967" y="7806"/>
                      <a:pt x="279873" y="4664"/>
                    </a:cubicBezTo>
                    <a:cubicBezTo>
                      <a:pt x="275780" y="1523"/>
                      <a:pt x="270639" y="0"/>
                      <a:pt x="264452" y="0"/>
                    </a:cubicBezTo>
                    <a:cubicBezTo>
                      <a:pt x="256836" y="0"/>
                      <a:pt x="250934" y="1713"/>
                      <a:pt x="246746" y="5236"/>
                    </a:cubicBezTo>
                    <a:cubicBezTo>
                      <a:pt x="242557" y="8758"/>
                      <a:pt x="238845" y="13898"/>
                      <a:pt x="235798" y="20657"/>
                    </a:cubicBezTo>
                    <a:lnTo>
                      <a:pt x="145269" y="231702"/>
                    </a:lnTo>
                    <a:lnTo>
                      <a:pt x="54359" y="21038"/>
                    </a:lnTo>
                    <a:cubicBezTo>
                      <a:pt x="51503" y="13994"/>
                      <a:pt x="48076" y="8758"/>
                      <a:pt x="43982" y="5236"/>
                    </a:cubicBezTo>
                    <a:cubicBezTo>
                      <a:pt x="39889" y="1713"/>
                      <a:pt x="33797" y="0"/>
                      <a:pt x="25610" y="0"/>
                    </a:cubicBezTo>
                    <a:cubicBezTo>
                      <a:pt x="19423" y="0"/>
                      <a:pt x="14092" y="1523"/>
                      <a:pt x="9522" y="4664"/>
                    </a:cubicBezTo>
                    <a:cubicBezTo>
                      <a:pt x="5048" y="7806"/>
                      <a:pt x="2097" y="11994"/>
                      <a:pt x="669" y="17325"/>
                    </a:cubicBezTo>
                    <a:cubicBezTo>
                      <a:pt x="-759" y="22656"/>
                      <a:pt x="98" y="28844"/>
                      <a:pt x="3239" y="35888"/>
                    </a:cubicBezTo>
                    <a:lnTo>
                      <a:pt x="113379" y="283297"/>
                    </a:lnTo>
                    <a:cubicBezTo>
                      <a:pt x="116520" y="290342"/>
                      <a:pt x="120519" y="295577"/>
                      <a:pt x="125374" y="299099"/>
                    </a:cubicBezTo>
                    <a:cubicBezTo>
                      <a:pt x="130323" y="302622"/>
                      <a:pt x="136606" y="304335"/>
                      <a:pt x="144127" y="304335"/>
                    </a:cubicBezTo>
                    <a:cubicBezTo>
                      <a:pt x="152028" y="304335"/>
                      <a:pt x="158215" y="302622"/>
                      <a:pt x="162880" y="299099"/>
                    </a:cubicBezTo>
                    <a:cubicBezTo>
                      <a:pt x="167544" y="295577"/>
                      <a:pt x="171352" y="290342"/>
                      <a:pt x="174494" y="283297"/>
                    </a:cubicBezTo>
                    <a:lnTo>
                      <a:pt x="284633" y="35888"/>
                    </a:lnTo>
                    <a:cubicBezTo>
                      <a:pt x="287774" y="28844"/>
                      <a:pt x="288821" y="22656"/>
                      <a:pt x="287679" y="17325"/>
                    </a:cubicBezTo>
                    <a:close/>
                  </a:path>
                </a:pathLst>
              </a:custGeom>
              <a:grpFill/>
              <a:ln w="9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0739813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crush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2.59259E-6 L 0.06576 2.59259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2.59259E-6 L 0.06575 2.59259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1.11111E-6 L 0.06576 1.11111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1.11111E-6 L 0.06576 1.11111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3.7037E-7 L 0.06576 -3.7037E-7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3.7037E-7 L 0.06575 -3.7037E-7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513614" y="1220703"/>
            <a:ext cx="11389623" cy="15029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5500"/>
              </a:lnSpc>
            </a:pP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ЧЕЛОВЕК</a:t>
            </a:r>
            <a:b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</a:b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ЗАПОМИНАЕТ</a:t>
            </a:r>
          </a:p>
        </p:txBody>
      </p:sp>
      <p:sp>
        <p:nvSpPr>
          <p:cNvPr id="3" name="Oval 132">
            <a:extLst>
              <a:ext uri="{FF2B5EF4-FFF2-40B4-BE49-F238E27FC236}">
                <a16:creationId xmlns:a16="http://schemas.microsoft.com/office/drawing/2014/main" id="{0FCC6B9E-C89F-637C-4374-B8BA7742A6F8}"/>
              </a:ext>
            </a:extLst>
          </p:cNvPr>
          <p:cNvSpPr/>
          <p:nvPr/>
        </p:nvSpPr>
        <p:spPr>
          <a:xfrm>
            <a:off x="-1552515" y="4081265"/>
            <a:ext cx="4116282" cy="4116282"/>
          </a:xfrm>
          <a:prstGeom prst="ellipse">
            <a:avLst/>
          </a:prstGeom>
          <a:gradFill flip="none" rotWithShape="1">
            <a:gsLst>
              <a:gs pos="100000">
                <a:schemeClr val="accent2">
                  <a:lumMod val="20000"/>
                  <a:lumOff val="80000"/>
                  <a:alpha val="0"/>
                </a:schemeClr>
              </a:gs>
              <a:gs pos="0">
                <a:srgbClr val="C0DCFD"/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Oval 131">
            <a:extLst>
              <a:ext uri="{FF2B5EF4-FFF2-40B4-BE49-F238E27FC236}">
                <a16:creationId xmlns:a16="http://schemas.microsoft.com/office/drawing/2014/main" id="{276EEF5D-F78C-B26E-DECD-C77D3F1482D1}"/>
              </a:ext>
            </a:extLst>
          </p:cNvPr>
          <p:cNvSpPr/>
          <p:nvPr/>
        </p:nvSpPr>
        <p:spPr>
          <a:xfrm>
            <a:off x="7084494" y="-1500448"/>
            <a:ext cx="6485696" cy="6485696"/>
          </a:xfrm>
          <a:prstGeom prst="ellipse">
            <a:avLst/>
          </a:prstGeom>
          <a:gradFill flip="none" rotWithShape="1">
            <a:gsLst>
              <a:gs pos="100000">
                <a:srgbClr val="C0DCFD">
                  <a:alpha val="0"/>
                </a:srgbClr>
              </a:gs>
              <a:gs pos="0">
                <a:srgbClr val="620CFD">
                  <a:alpha val="28632"/>
                </a:srgbClr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3CB3A965-7490-A9A7-97DA-E0CD8D4B4F2A}"/>
              </a:ext>
            </a:extLst>
          </p:cNvPr>
          <p:cNvGrpSpPr/>
          <p:nvPr/>
        </p:nvGrpSpPr>
        <p:grpSpPr>
          <a:xfrm>
            <a:off x="-8408818" y="3135112"/>
            <a:ext cx="7866337" cy="2800382"/>
            <a:chOff x="611775" y="3135112"/>
            <a:chExt cx="7866337" cy="2800382"/>
          </a:xfrm>
        </p:grpSpPr>
        <p:sp>
          <p:nvSpPr>
            <p:cNvPr id="27" name="Rectangle: Rounded Corners 70">
              <a:extLst>
                <a:ext uri="{FF2B5EF4-FFF2-40B4-BE49-F238E27FC236}">
                  <a16:creationId xmlns:a16="http://schemas.microsoft.com/office/drawing/2014/main" id="{0860C7BA-FFC6-9C76-F590-AE20567C2007}"/>
                </a:ext>
              </a:extLst>
            </p:cNvPr>
            <p:cNvSpPr/>
            <p:nvPr/>
          </p:nvSpPr>
          <p:spPr>
            <a:xfrm rot="10800000">
              <a:off x="611775" y="3189950"/>
              <a:ext cx="7651707" cy="266698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CA1A079-22A7-8EF1-2376-223ECFC71489}"/>
                </a:ext>
              </a:extLst>
            </p:cNvPr>
            <p:cNvSpPr txBox="1"/>
            <p:nvPr/>
          </p:nvSpPr>
          <p:spPr>
            <a:xfrm>
              <a:off x="856599" y="3135112"/>
              <a:ext cx="7406884" cy="28003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166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0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D1E7BE5-BDAC-2876-BDEF-78FB7AEE6593}"/>
                </a:ext>
              </a:extLst>
            </p:cNvPr>
            <p:cNvSpPr txBox="1"/>
            <p:nvPr/>
          </p:nvSpPr>
          <p:spPr>
            <a:xfrm>
              <a:off x="3946600" y="3397454"/>
              <a:ext cx="1562915" cy="10711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60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5CE364F-399F-1BB2-B253-56711FAB3F7F}"/>
                </a:ext>
              </a:extLst>
            </p:cNvPr>
            <p:cNvSpPr txBox="1"/>
            <p:nvPr/>
          </p:nvSpPr>
          <p:spPr>
            <a:xfrm>
              <a:off x="5311385" y="4207474"/>
              <a:ext cx="3166727" cy="13569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5080"/>
                </a:lnSpc>
              </a:pPr>
              <a:r>
                <a:rPr lang="ru-RU" sz="40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</a:t>
              </a: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гда </a:t>
              </a:r>
              <a:b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читает</a:t>
              </a:r>
            </a:p>
          </p:txBody>
        </p:sp>
      </p:grpSp>
      <p:grpSp>
        <p:nvGrpSpPr>
          <p:cNvPr id="29" name="Group 73">
            <a:extLst>
              <a:ext uri="{FF2B5EF4-FFF2-40B4-BE49-F238E27FC236}">
                <a16:creationId xmlns:a16="http://schemas.microsoft.com/office/drawing/2014/main" id="{35E67D2F-B7C3-B295-35E6-FC63796E3A00}"/>
              </a:ext>
            </a:extLst>
          </p:cNvPr>
          <p:cNvGrpSpPr/>
          <p:nvPr/>
        </p:nvGrpSpPr>
        <p:grpSpPr>
          <a:xfrm>
            <a:off x="7507895" y="0"/>
            <a:ext cx="9429752" cy="6858000"/>
            <a:chOff x="-2" y="0"/>
            <a:chExt cx="6428641" cy="6858000"/>
          </a:xfrm>
        </p:grpSpPr>
        <p:sp>
          <p:nvSpPr>
            <p:cNvPr id="30" name="Rectangle 36">
              <a:extLst>
                <a:ext uri="{FF2B5EF4-FFF2-40B4-BE49-F238E27FC236}">
                  <a16:creationId xmlns:a16="http://schemas.microsoft.com/office/drawing/2014/main" id="{6B639D09-947B-C295-89E5-D3A7FED4C562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C53A0486-4FEC-606C-49B2-3FDFBA486CDC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CB477ED-8E12-B1BF-B8A7-3C0791AD06EE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941091D-EDDA-A164-26A5-C572323EC7A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200F815-13CC-7E6B-07CF-6C3058F6FC6E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128BDE-2C15-EEFD-DC03-849CC99CC0F5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F04D5FF-393F-4F2F-7D30-44C7741775D5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7" name="Rectangle 37">
              <a:extLst>
                <a:ext uri="{FF2B5EF4-FFF2-40B4-BE49-F238E27FC236}">
                  <a16:creationId xmlns:a16="http://schemas.microsoft.com/office/drawing/2014/main" id="{E77182A8-0D9D-1D4B-7DE2-D3C02E6B9837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8" name="Rectangle 48">
              <a:extLst>
                <a:ext uri="{FF2B5EF4-FFF2-40B4-BE49-F238E27FC236}">
                  <a16:creationId xmlns:a16="http://schemas.microsoft.com/office/drawing/2014/main" id="{2D657C40-FF42-B366-A67D-3943F761017E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9" name="Rectangle 49">
              <a:extLst>
                <a:ext uri="{FF2B5EF4-FFF2-40B4-BE49-F238E27FC236}">
                  <a16:creationId xmlns:a16="http://schemas.microsoft.com/office/drawing/2014/main" id="{A4E5D924-F2E5-0073-3EFE-88569B3773E2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sp>
        <p:nvSpPr>
          <p:cNvPr id="45" name="Rectangle: Rounded Corners 70">
            <a:extLst>
              <a:ext uri="{FF2B5EF4-FFF2-40B4-BE49-F238E27FC236}">
                <a16:creationId xmlns:a16="http://schemas.microsoft.com/office/drawing/2014/main" id="{8A62F481-7B00-FDFB-AFA5-6899929C5A13}"/>
              </a:ext>
            </a:extLst>
          </p:cNvPr>
          <p:cNvSpPr/>
          <p:nvPr/>
        </p:nvSpPr>
        <p:spPr>
          <a:xfrm rot="10800000">
            <a:off x="8963996" y="3189949"/>
            <a:ext cx="2583322" cy="2666987"/>
          </a:xfrm>
          <a:prstGeom prst="roundRect">
            <a:avLst>
              <a:gd name="adj" fmla="val 13536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9AFDD577-E4C7-ECF0-3995-8A85BA1E1B64}"/>
              </a:ext>
            </a:extLst>
          </p:cNvPr>
          <p:cNvSpPr/>
          <p:nvPr/>
        </p:nvSpPr>
        <p:spPr>
          <a:xfrm>
            <a:off x="4417926" y="5740165"/>
            <a:ext cx="284229" cy="284229"/>
          </a:xfrm>
          <a:prstGeom prst="ellipse">
            <a:avLst/>
          </a:prstGeom>
          <a:solidFill>
            <a:srgbClr val="A16D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Овал 46">
            <a:extLst>
              <a:ext uri="{FF2B5EF4-FFF2-40B4-BE49-F238E27FC236}">
                <a16:creationId xmlns:a16="http://schemas.microsoft.com/office/drawing/2014/main" id="{643D3635-EF8F-0234-F307-27FF2F248B9A}"/>
              </a:ext>
            </a:extLst>
          </p:cNvPr>
          <p:cNvSpPr/>
          <p:nvPr/>
        </p:nvSpPr>
        <p:spPr>
          <a:xfrm>
            <a:off x="468479" y="4393189"/>
            <a:ext cx="284229" cy="284229"/>
          </a:xfrm>
          <a:prstGeom prst="ellipse">
            <a:avLst/>
          </a:prstGeom>
          <a:solidFill>
            <a:srgbClr val="A16D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B9DD599F-25FF-6A6B-8A34-F033DC21A19C}"/>
              </a:ext>
            </a:extLst>
          </p:cNvPr>
          <p:cNvCxnSpPr>
            <a:stCxn id="46" idx="4"/>
          </p:cNvCxnSpPr>
          <p:nvPr/>
        </p:nvCxnSpPr>
        <p:spPr>
          <a:xfrm flipH="1">
            <a:off x="4560040" y="6024394"/>
            <a:ext cx="1" cy="2173153"/>
          </a:xfrm>
          <a:prstGeom prst="line">
            <a:avLst/>
          </a:prstGeom>
          <a:ln w="28575">
            <a:solidFill>
              <a:srgbClr val="A16D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700AA3C1-EDD6-A498-5800-43ABA44EB283}"/>
              </a:ext>
            </a:extLst>
          </p:cNvPr>
          <p:cNvCxnSpPr>
            <a:cxnSpLocks/>
          </p:cNvCxnSpPr>
          <p:nvPr/>
        </p:nvCxnSpPr>
        <p:spPr>
          <a:xfrm flipH="1">
            <a:off x="-1486560" y="4539167"/>
            <a:ext cx="1955039" cy="0"/>
          </a:xfrm>
          <a:prstGeom prst="line">
            <a:avLst/>
          </a:prstGeom>
          <a:ln w="28575">
            <a:solidFill>
              <a:srgbClr val="A16D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643BE960-F61A-D6F6-A87C-70AC72D71606}"/>
              </a:ext>
            </a:extLst>
          </p:cNvPr>
          <p:cNvGrpSpPr/>
          <p:nvPr/>
        </p:nvGrpSpPr>
        <p:grpSpPr>
          <a:xfrm>
            <a:off x="658019" y="3135112"/>
            <a:ext cx="8028864" cy="2800382"/>
            <a:chOff x="611774" y="3135112"/>
            <a:chExt cx="8028864" cy="2800382"/>
          </a:xfrm>
        </p:grpSpPr>
        <p:sp>
          <p:nvSpPr>
            <p:cNvPr id="8" name="Rectangle: Rounded Corners 70">
              <a:extLst>
                <a:ext uri="{FF2B5EF4-FFF2-40B4-BE49-F238E27FC236}">
                  <a16:creationId xmlns:a16="http://schemas.microsoft.com/office/drawing/2014/main" id="{B6ADE273-E6B0-FBBC-0E1B-A7BCC3893952}"/>
                </a:ext>
              </a:extLst>
            </p:cNvPr>
            <p:cNvSpPr/>
            <p:nvPr/>
          </p:nvSpPr>
          <p:spPr>
            <a:xfrm rot="10800000">
              <a:off x="611774" y="3189949"/>
              <a:ext cx="8028864" cy="266698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507FDBC-367B-17FF-FB0D-FFC92F715AA7}"/>
                </a:ext>
              </a:extLst>
            </p:cNvPr>
            <p:cNvSpPr txBox="1"/>
            <p:nvPr/>
          </p:nvSpPr>
          <p:spPr>
            <a:xfrm>
              <a:off x="856599" y="3135112"/>
              <a:ext cx="5328966" cy="28003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166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0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5F23A9C-90DF-4AC2-FBDE-93D6DAB69067}"/>
                </a:ext>
              </a:extLst>
            </p:cNvPr>
            <p:cNvSpPr txBox="1"/>
            <p:nvPr/>
          </p:nvSpPr>
          <p:spPr>
            <a:xfrm>
              <a:off x="4391383" y="3397454"/>
              <a:ext cx="1562915" cy="10711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60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E472BCB-F4BB-BB40-E804-391A75F36DA2}"/>
                </a:ext>
              </a:extLst>
            </p:cNvPr>
            <p:cNvSpPr txBox="1"/>
            <p:nvPr/>
          </p:nvSpPr>
          <p:spPr>
            <a:xfrm>
              <a:off x="5311385" y="4207474"/>
              <a:ext cx="3166727" cy="13569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5080"/>
                </a:lnSpc>
              </a:pPr>
              <a:r>
                <a:rPr lang="ru-RU" sz="40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</a:t>
              </a: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гда </a:t>
              </a:r>
              <a:b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слушает</a:t>
              </a:r>
            </a:p>
          </p:txBody>
        </p:sp>
      </p:grpSp>
      <p:grpSp>
        <p:nvGrpSpPr>
          <p:cNvPr id="19" name="!!22">
            <a:extLst>
              <a:ext uri="{FF2B5EF4-FFF2-40B4-BE49-F238E27FC236}">
                <a16:creationId xmlns:a16="http://schemas.microsoft.com/office/drawing/2014/main" id="{53DFCEFC-AF35-5A9F-CCB3-4FC3ABA0C164}"/>
              </a:ext>
            </a:extLst>
          </p:cNvPr>
          <p:cNvGrpSpPr/>
          <p:nvPr/>
        </p:nvGrpSpPr>
        <p:grpSpPr>
          <a:xfrm>
            <a:off x="9925793" y="3561176"/>
            <a:ext cx="810678" cy="1934434"/>
            <a:chOff x="10640447" y="3561176"/>
            <a:chExt cx="810678" cy="1934434"/>
          </a:xfrm>
        </p:grpSpPr>
        <p:sp>
          <p:nvSpPr>
            <p:cNvPr id="14" name="Shape 646">
              <a:extLst>
                <a:ext uri="{FF2B5EF4-FFF2-40B4-BE49-F238E27FC236}">
                  <a16:creationId xmlns:a16="http://schemas.microsoft.com/office/drawing/2014/main" id="{8E93BDDE-6DDE-EB15-DD54-B6ECB1E71950}"/>
                </a:ext>
              </a:extLst>
            </p:cNvPr>
            <p:cNvSpPr/>
            <p:nvPr/>
          </p:nvSpPr>
          <p:spPr>
            <a:xfrm>
              <a:off x="10640447" y="5323995"/>
              <a:ext cx="810678" cy="1716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rgbClr val="620CFD"/>
            </a:solidFill>
            <a:ln w="12700" cap="flat">
              <a:solidFill>
                <a:srgbClr val="620CFD"/>
              </a:solidFill>
              <a:miter lim="400000"/>
            </a:ln>
            <a:effectLst/>
          </p:spPr>
          <p:txBody>
            <a:bodyPr lIns="67733" tIns="67733" rIns="67733" bIns="67733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>
                  <a:solidFill>
                    <a:srgbClr val="FFFFFF"/>
                  </a:solidFill>
                </a:defRPr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15" name="Shape 647">
              <a:extLst>
                <a:ext uri="{FF2B5EF4-FFF2-40B4-BE49-F238E27FC236}">
                  <a16:creationId xmlns:a16="http://schemas.microsoft.com/office/drawing/2014/main" id="{E55E88C6-6EE7-FF3D-09F2-BA1C677E5507}"/>
                </a:ext>
              </a:extLst>
            </p:cNvPr>
            <p:cNvSpPr/>
            <p:nvPr/>
          </p:nvSpPr>
          <p:spPr>
            <a:xfrm rot="21300000" flipH="1">
              <a:off x="10723139" y="3568251"/>
              <a:ext cx="570537" cy="108601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34" h="21600" extrusionOk="0">
                  <a:moveTo>
                    <a:pt x="6073" y="21422"/>
                  </a:moveTo>
                  <a:cubicBezTo>
                    <a:pt x="1992" y="18123"/>
                    <a:pt x="-94" y="14441"/>
                    <a:pt x="3" y="10711"/>
                  </a:cubicBezTo>
                  <a:cubicBezTo>
                    <a:pt x="101" y="6957"/>
                    <a:pt x="2407" y="3275"/>
                    <a:pt x="6709" y="0"/>
                  </a:cubicBezTo>
                  <a:cubicBezTo>
                    <a:pt x="15604" y="2159"/>
                    <a:pt x="21164" y="6163"/>
                    <a:pt x="21331" y="10528"/>
                  </a:cubicBezTo>
                  <a:cubicBezTo>
                    <a:pt x="21506" y="15126"/>
                    <a:pt x="15701" y="19388"/>
                    <a:pt x="6249" y="21600"/>
                  </a:cubicBezTo>
                  <a:lnTo>
                    <a:pt x="6073" y="21422"/>
                  </a:lnTo>
                  <a:close/>
                </a:path>
              </a:pathLst>
            </a:custGeom>
            <a:solidFill>
              <a:srgbClr val="620CFD"/>
            </a:solidFill>
            <a:ln w="12700" cap="flat">
              <a:solidFill>
                <a:srgbClr val="620CFD"/>
              </a:solidFill>
              <a:miter lim="400000"/>
            </a:ln>
            <a:effectLst/>
          </p:spPr>
          <p:txBody>
            <a:bodyPr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/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16" name="Shape 648">
              <a:extLst>
                <a:ext uri="{FF2B5EF4-FFF2-40B4-BE49-F238E27FC236}">
                  <a16:creationId xmlns:a16="http://schemas.microsoft.com/office/drawing/2014/main" id="{2669C850-4F23-CB05-207E-F95B4810680F}"/>
                </a:ext>
              </a:extLst>
            </p:cNvPr>
            <p:cNvSpPr/>
            <p:nvPr/>
          </p:nvSpPr>
          <p:spPr>
            <a:xfrm>
              <a:off x="11049201" y="4492790"/>
              <a:ext cx="106343" cy="9399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7" h="21600" extrusionOk="0">
                  <a:moveTo>
                    <a:pt x="20627" y="0"/>
                  </a:moveTo>
                  <a:cubicBezTo>
                    <a:pt x="10371" y="2560"/>
                    <a:pt x="3973" y="5305"/>
                    <a:pt x="1661" y="8112"/>
                  </a:cubicBezTo>
                  <a:cubicBezTo>
                    <a:pt x="-973" y="11309"/>
                    <a:pt x="1760" y="14535"/>
                    <a:pt x="2807" y="17770"/>
                  </a:cubicBezTo>
                  <a:cubicBezTo>
                    <a:pt x="2926" y="18139"/>
                    <a:pt x="3022" y="18507"/>
                    <a:pt x="2976" y="18876"/>
                  </a:cubicBezTo>
                  <a:cubicBezTo>
                    <a:pt x="2861" y="19795"/>
                    <a:pt x="1863" y="20708"/>
                    <a:pt x="0" y="21600"/>
                  </a:cubicBezTo>
                </a:path>
              </a:pathLst>
            </a:custGeom>
            <a:solidFill>
              <a:srgbClr val="620CFD"/>
            </a:solidFill>
            <a:ln w="76200" cap="flat">
              <a:solidFill>
                <a:srgbClr val="620CFD"/>
              </a:solidFill>
              <a:prstDash val="solid"/>
              <a:miter lim="400000"/>
            </a:ln>
            <a:effectLst/>
          </p:spPr>
          <p:txBody>
            <a:bodyPr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/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17" name="Shape 649">
              <a:extLst>
                <a:ext uri="{FF2B5EF4-FFF2-40B4-BE49-F238E27FC236}">
                  <a16:creationId xmlns:a16="http://schemas.microsoft.com/office/drawing/2014/main" id="{881CF7C5-DD7F-9000-65E7-08B26393C439}"/>
                </a:ext>
              </a:extLst>
            </p:cNvPr>
            <p:cNvSpPr/>
            <p:nvPr/>
          </p:nvSpPr>
          <p:spPr>
            <a:xfrm>
              <a:off x="11047147" y="3561176"/>
              <a:ext cx="249675" cy="10807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82" h="21600" extrusionOk="0">
                  <a:moveTo>
                    <a:pt x="1571" y="0"/>
                  </a:moveTo>
                  <a:cubicBezTo>
                    <a:pt x="1295" y="39"/>
                    <a:pt x="1058" y="85"/>
                    <a:pt x="786" y="124"/>
                  </a:cubicBezTo>
                  <a:cubicBezTo>
                    <a:pt x="-136" y="2929"/>
                    <a:pt x="-261" y="5746"/>
                    <a:pt x="484" y="8555"/>
                  </a:cubicBezTo>
                  <a:cubicBezTo>
                    <a:pt x="1656" y="12978"/>
                    <a:pt x="4882" y="17351"/>
                    <a:pt x="10106" y="21590"/>
                  </a:cubicBezTo>
                  <a:cubicBezTo>
                    <a:pt x="10141" y="21593"/>
                    <a:pt x="10171" y="21597"/>
                    <a:pt x="10206" y="21600"/>
                  </a:cubicBezTo>
                  <a:lnTo>
                    <a:pt x="10528" y="21411"/>
                  </a:lnTo>
                  <a:cubicBezTo>
                    <a:pt x="18148" y="17918"/>
                    <a:pt x="21339" y="14136"/>
                    <a:pt x="19808" y="10407"/>
                  </a:cubicBezTo>
                  <a:cubicBezTo>
                    <a:pt x="18267" y="6654"/>
                    <a:pt x="11994" y="3077"/>
                    <a:pt x="1571" y="0"/>
                  </a:cubicBezTo>
                  <a:close/>
                </a:path>
              </a:pathLst>
            </a:custGeom>
            <a:solidFill>
              <a:srgbClr val="620CFD"/>
            </a:solidFill>
            <a:ln w="12700" cap="flat">
              <a:solidFill>
                <a:srgbClr val="620CFD"/>
              </a:solidFill>
              <a:miter lim="400000"/>
            </a:ln>
            <a:effectLst/>
          </p:spPr>
          <p:txBody>
            <a:bodyPr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/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18" name="Shape 650">
              <a:extLst>
                <a:ext uri="{FF2B5EF4-FFF2-40B4-BE49-F238E27FC236}">
                  <a16:creationId xmlns:a16="http://schemas.microsoft.com/office/drawing/2014/main" id="{9FFF8920-B498-C49F-23E5-FF492582DB9A}"/>
                </a:ext>
              </a:extLst>
            </p:cNvPr>
            <p:cNvSpPr/>
            <p:nvPr/>
          </p:nvSpPr>
          <p:spPr>
            <a:xfrm rot="1980000">
              <a:off x="11126577" y="4667306"/>
              <a:ext cx="203259" cy="4766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34" h="21600" extrusionOk="0">
                  <a:moveTo>
                    <a:pt x="6073" y="21422"/>
                  </a:moveTo>
                  <a:cubicBezTo>
                    <a:pt x="1992" y="18123"/>
                    <a:pt x="-94" y="14441"/>
                    <a:pt x="3" y="10711"/>
                  </a:cubicBezTo>
                  <a:cubicBezTo>
                    <a:pt x="101" y="6957"/>
                    <a:pt x="2407" y="3275"/>
                    <a:pt x="6709" y="0"/>
                  </a:cubicBezTo>
                  <a:cubicBezTo>
                    <a:pt x="15604" y="2159"/>
                    <a:pt x="21164" y="6163"/>
                    <a:pt x="21331" y="10528"/>
                  </a:cubicBezTo>
                  <a:cubicBezTo>
                    <a:pt x="21506" y="15126"/>
                    <a:pt x="15701" y="19388"/>
                    <a:pt x="6249" y="21600"/>
                  </a:cubicBezTo>
                  <a:lnTo>
                    <a:pt x="6073" y="21422"/>
                  </a:lnTo>
                  <a:close/>
                </a:path>
              </a:pathLst>
            </a:custGeom>
            <a:solidFill>
              <a:srgbClr val="620CFD"/>
            </a:solidFill>
            <a:ln w="12700" cap="flat">
              <a:solidFill>
                <a:srgbClr val="620CFD"/>
              </a:solidFill>
              <a:miter lim="400000"/>
            </a:ln>
            <a:effectLst/>
          </p:spPr>
          <p:txBody>
            <a:bodyPr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/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09F263B4-A41B-1992-6A80-B6930BC0AC2D}"/>
              </a:ext>
            </a:extLst>
          </p:cNvPr>
          <p:cNvGrpSpPr/>
          <p:nvPr/>
        </p:nvGrpSpPr>
        <p:grpSpPr>
          <a:xfrm>
            <a:off x="658019" y="8154942"/>
            <a:ext cx="8028864" cy="2800382"/>
            <a:chOff x="611774" y="3135112"/>
            <a:chExt cx="8028864" cy="2800382"/>
          </a:xfrm>
        </p:grpSpPr>
        <p:sp>
          <p:nvSpPr>
            <p:cNvPr id="21" name="Rectangle: Rounded Corners 70">
              <a:extLst>
                <a:ext uri="{FF2B5EF4-FFF2-40B4-BE49-F238E27FC236}">
                  <a16:creationId xmlns:a16="http://schemas.microsoft.com/office/drawing/2014/main" id="{7C46770B-3BBD-D1DE-1F04-3AFC434040F7}"/>
                </a:ext>
              </a:extLst>
            </p:cNvPr>
            <p:cNvSpPr/>
            <p:nvPr/>
          </p:nvSpPr>
          <p:spPr>
            <a:xfrm rot="10800000">
              <a:off x="611774" y="3189949"/>
              <a:ext cx="8028864" cy="266698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F067BAA-254A-A0CA-2804-1730D7C5B020}"/>
                </a:ext>
              </a:extLst>
            </p:cNvPr>
            <p:cNvSpPr txBox="1"/>
            <p:nvPr/>
          </p:nvSpPr>
          <p:spPr>
            <a:xfrm>
              <a:off x="856599" y="3135112"/>
              <a:ext cx="5328966" cy="28003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166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0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B57033B-F114-6D16-8E79-5F97F362ACD5}"/>
                </a:ext>
              </a:extLst>
            </p:cNvPr>
            <p:cNvSpPr txBox="1"/>
            <p:nvPr/>
          </p:nvSpPr>
          <p:spPr>
            <a:xfrm>
              <a:off x="4391383" y="3397454"/>
              <a:ext cx="1562915" cy="10711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60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9010182-DACD-3D2F-03C8-35A2580A52B3}"/>
                </a:ext>
              </a:extLst>
            </p:cNvPr>
            <p:cNvSpPr txBox="1"/>
            <p:nvPr/>
          </p:nvSpPr>
          <p:spPr>
            <a:xfrm>
              <a:off x="5311385" y="4207474"/>
              <a:ext cx="3166727" cy="13569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5080"/>
                </a:lnSpc>
              </a:pPr>
              <a:r>
                <a:rPr lang="ru-RU" sz="40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</a:t>
              </a: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гда </a:t>
              </a:r>
              <a:b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смотри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48452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1.11111E-6 L 0.06576 1.11111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4820C330-AFE2-A7B7-C987-08EC320A90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C0DCFD">
                  <a:alpha val="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" name="Oval 131">
            <a:extLst>
              <a:ext uri="{FF2B5EF4-FFF2-40B4-BE49-F238E27FC236}">
                <a16:creationId xmlns:a16="http://schemas.microsoft.com/office/drawing/2014/main" id="{276EEF5D-F78C-B26E-DECD-C77D3F1482D1}"/>
              </a:ext>
            </a:extLst>
          </p:cNvPr>
          <p:cNvSpPr/>
          <p:nvPr/>
        </p:nvSpPr>
        <p:spPr>
          <a:xfrm>
            <a:off x="7084494" y="-1500448"/>
            <a:ext cx="6485696" cy="6485696"/>
          </a:xfrm>
          <a:prstGeom prst="ellipse">
            <a:avLst/>
          </a:prstGeom>
          <a:gradFill flip="none" rotWithShape="1">
            <a:gsLst>
              <a:gs pos="100000">
                <a:srgbClr val="C0DCFD">
                  <a:alpha val="0"/>
                </a:srgbClr>
              </a:gs>
              <a:gs pos="0">
                <a:srgbClr val="620CFD">
                  <a:alpha val="28632"/>
                </a:srgbClr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9" name="Group 73">
            <a:extLst>
              <a:ext uri="{FF2B5EF4-FFF2-40B4-BE49-F238E27FC236}">
                <a16:creationId xmlns:a16="http://schemas.microsoft.com/office/drawing/2014/main" id="{35E67D2F-B7C3-B295-35E6-FC63796E3A00}"/>
              </a:ext>
            </a:extLst>
          </p:cNvPr>
          <p:cNvGrpSpPr/>
          <p:nvPr/>
        </p:nvGrpSpPr>
        <p:grpSpPr>
          <a:xfrm>
            <a:off x="-557464" y="3543847"/>
            <a:ext cx="13464284" cy="9792204"/>
            <a:chOff x="-2" y="0"/>
            <a:chExt cx="6428641" cy="6858000"/>
          </a:xfrm>
        </p:grpSpPr>
        <p:sp>
          <p:nvSpPr>
            <p:cNvPr id="30" name="Rectangle 36">
              <a:extLst>
                <a:ext uri="{FF2B5EF4-FFF2-40B4-BE49-F238E27FC236}">
                  <a16:creationId xmlns:a16="http://schemas.microsoft.com/office/drawing/2014/main" id="{6B639D09-947B-C295-89E5-D3A7FED4C562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C53A0486-4FEC-606C-49B2-3FDFBA486CDC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CB477ED-8E12-B1BF-B8A7-3C0791AD06EE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941091D-EDDA-A164-26A5-C572323EC7A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200F815-13CC-7E6B-07CF-6C3058F6FC6E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128BDE-2C15-EEFD-DC03-849CC99CC0F5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F04D5FF-393F-4F2F-7D30-44C7741775D5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7" name="Rectangle 37">
              <a:extLst>
                <a:ext uri="{FF2B5EF4-FFF2-40B4-BE49-F238E27FC236}">
                  <a16:creationId xmlns:a16="http://schemas.microsoft.com/office/drawing/2014/main" id="{E77182A8-0D9D-1D4B-7DE2-D3C02E6B9837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8" name="Rectangle 48">
              <a:extLst>
                <a:ext uri="{FF2B5EF4-FFF2-40B4-BE49-F238E27FC236}">
                  <a16:creationId xmlns:a16="http://schemas.microsoft.com/office/drawing/2014/main" id="{2D657C40-FF42-B366-A67D-3943F761017E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9" name="Rectangle 49">
              <a:extLst>
                <a:ext uri="{FF2B5EF4-FFF2-40B4-BE49-F238E27FC236}">
                  <a16:creationId xmlns:a16="http://schemas.microsoft.com/office/drawing/2014/main" id="{A4E5D924-F2E5-0073-3EFE-88569B3773E2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8E2067B-2AE3-38F9-43E7-4B95E4B09078}"/>
              </a:ext>
            </a:extLst>
          </p:cNvPr>
          <p:cNvGrpSpPr/>
          <p:nvPr/>
        </p:nvGrpSpPr>
        <p:grpSpPr>
          <a:xfrm flipV="1">
            <a:off x="15303401" y="8547715"/>
            <a:ext cx="1456851" cy="408879"/>
            <a:chOff x="611777" y="2405270"/>
            <a:chExt cx="4857016" cy="1363166"/>
          </a:xfrm>
        </p:grpSpPr>
        <p:sp>
          <p:nvSpPr>
            <p:cNvPr id="5" name="Скругленный прямоугольник 4">
              <a:extLst>
                <a:ext uri="{FF2B5EF4-FFF2-40B4-BE49-F238E27FC236}">
                  <a16:creationId xmlns:a16="http://schemas.microsoft.com/office/drawing/2014/main" id="{A7F4FB1F-7CB9-0392-E88E-05F8570BD35A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1C36F64-CC19-9AA3-6893-F3FE7D967910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На какие презентации делают ставку компании сегодня</a:t>
              </a: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19197928-64DB-9EA7-85E1-312760B10401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9AFEDB3-80B5-9A2A-AD4C-89FC4DCFFA98}"/>
              </a:ext>
            </a:extLst>
          </p:cNvPr>
          <p:cNvGrpSpPr/>
          <p:nvPr/>
        </p:nvGrpSpPr>
        <p:grpSpPr>
          <a:xfrm flipV="1">
            <a:off x="15667789" y="10092497"/>
            <a:ext cx="1456851" cy="408879"/>
            <a:chOff x="611777" y="2405270"/>
            <a:chExt cx="4857016" cy="1363166"/>
          </a:xfrm>
        </p:grpSpPr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04266423-83B6-B053-32BE-FA22D1949E9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92F0A0F-B8D9-CC2B-4135-042748D7E5ED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ый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и современный визуал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Разбираем терминологию</a:t>
              </a: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BF6A9C1A-6EA0-F8AC-74EC-7FD19A995EBC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5F9BCE64-2736-D050-26B1-B81E3AD61828}"/>
              </a:ext>
            </a:extLst>
          </p:cNvPr>
          <p:cNvGrpSpPr/>
          <p:nvPr/>
        </p:nvGrpSpPr>
        <p:grpSpPr>
          <a:xfrm flipV="1">
            <a:off x="15001953" y="11637279"/>
            <a:ext cx="1456851" cy="408879"/>
            <a:chOff x="611777" y="2405270"/>
            <a:chExt cx="4857016" cy="1363166"/>
          </a:xfrm>
        </p:grpSpPr>
        <p:sp>
          <p:nvSpPr>
            <p:cNvPr id="15" name="Скругленный прямоугольник 14">
              <a:extLst>
                <a:ext uri="{FF2B5EF4-FFF2-40B4-BE49-F238E27FC236}">
                  <a16:creationId xmlns:a16="http://schemas.microsoft.com/office/drawing/2014/main" id="{3BA1765F-B5D6-C20A-0972-59DF1A8D3A1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3006BE3-2E8B-0497-3D07-C701AF6EA6A1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Тренды дизайн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 ближайшее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5-летие </a:t>
              </a: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B87F739B-4D12-3F01-E7F6-8B2159450E25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AEDE9B22-2CD9-D79F-D8C3-683B6E11B10D}"/>
              </a:ext>
            </a:extLst>
          </p:cNvPr>
          <p:cNvGrpSpPr/>
          <p:nvPr/>
        </p:nvGrpSpPr>
        <p:grpSpPr>
          <a:xfrm flipV="1">
            <a:off x="20423132" y="8547715"/>
            <a:ext cx="1456851" cy="408879"/>
            <a:chOff x="611777" y="2405270"/>
            <a:chExt cx="4857016" cy="1363166"/>
          </a:xfrm>
        </p:grpSpPr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CF04D4B2-EFA1-1BE0-9334-A3C11FB0404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8DF981C-58D9-6EFC-B35D-28D92119103A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Азбу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ого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изуала</a:t>
              </a: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D9D36EAF-E32C-E2F6-ECE4-F55205B9259B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2A22449B-F3F2-9012-D8EB-6828B988225F}"/>
              </a:ext>
            </a:extLst>
          </p:cNvPr>
          <p:cNvGrpSpPr/>
          <p:nvPr/>
        </p:nvGrpSpPr>
        <p:grpSpPr>
          <a:xfrm flipV="1">
            <a:off x="20787520" y="10092497"/>
            <a:ext cx="1456851" cy="408879"/>
            <a:chOff x="611777" y="2405270"/>
            <a:chExt cx="4857016" cy="1363166"/>
          </a:xfrm>
        </p:grpSpPr>
        <p:sp>
          <p:nvSpPr>
            <p:cNvPr id="23" name="Скругленный прямоугольник 22">
              <a:extLst>
                <a:ext uri="{FF2B5EF4-FFF2-40B4-BE49-F238E27FC236}">
                  <a16:creationId xmlns:a16="http://schemas.microsoft.com/office/drawing/2014/main" id="{F19019FB-484B-063A-C0F1-75F5F3B3CFD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BBBBF49-432E-C74C-DF03-D20345CEDC74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Методи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оформления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слайдов на практике</a:t>
              </a: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D3399DB1-82A0-B6CF-384C-9EA39DF495AD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0AEB9D68-0AAB-CD6D-25A5-FC460F1FFE21}"/>
              </a:ext>
            </a:extLst>
          </p:cNvPr>
          <p:cNvGrpSpPr/>
          <p:nvPr/>
        </p:nvGrpSpPr>
        <p:grpSpPr>
          <a:xfrm flipV="1">
            <a:off x="20121684" y="11637279"/>
            <a:ext cx="1456851" cy="408879"/>
            <a:chOff x="611777" y="2405270"/>
            <a:chExt cx="4857016" cy="1363166"/>
          </a:xfrm>
        </p:grpSpPr>
        <p:sp>
          <p:nvSpPr>
            <p:cNvPr id="27" name="Скругленный прямоугольник 26">
              <a:extLst>
                <a:ext uri="{FF2B5EF4-FFF2-40B4-BE49-F238E27FC236}">
                  <a16:creationId xmlns:a16="http://schemas.microsoft.com/office/drawing/2014/main" id="{2A288FAD-4AD3-DE3D-94C2-865EDD5A7CE3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A8691D3-AEB8-607D-0A93-0F3654F79B76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резентации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+ </a:t>
              </a:r>
              <a:r>
                <a:rPr lang="ru-RU" sz="2000" dirty="0" err="1">
                  <a:latin typeface="Unbounded" panose="020B0305040102020103" pitchFamily="34" charset="0"/>
                  <a:cs typeface="Times New Roman" panose="02020603050405020304" pitchFamily="18" charset="0"/>
                </a:rPr>
                <a:t>ТенЧат</a:t>
              </a: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= результат</a:t>
              </a:r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9C58F58E-156F-0E6B-4B76-D9E0FBDED56F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1" name="Скругленный прямоугольник 40">
            <a:extLst>
              <a:ext uri="{FF2B5EF4-FFF2-40B4-BE49-F238E27FC236}">
                <a16:creationId xmlns:a16="http://schemas.microsoft.com/office/drawing/2014/main" id="{B2D5F329-37AC-F436-20FB-AD090F27DC43}"/>
              </a:ext>
            </a:extLst>
          </p:cNvPr>
          <p:cNvSpPr/>
          <p:nvPr/>
        </p:nvSpPr>
        <p:spPr>
          <a:xfrm>
            <a:off x="4331457" y="7486218"/>
            <a:ext cx="52098" cy="2475022"/>
          </a:xfrm>
          <a:prstGeom prst="roundRect">
            <a:avLst/>
          </a:prstGeom>
          <a:gradFill>
            <a:gsLst>
              <a:gs pos="100000">
                <a:srgbClr val="C0DCFD">
                  <a:alpha val="4267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E283FF1-84AF-A1B7-E607-51E859AA0778}"/>
              </a:ext>
            </a:extLst>
          </p:cNvPr>
          <p:cNvSpPr txBox="1"/>
          <p:nvPr/>
        </p:nvSpPr>
        <p:spPr>
          <a:xfrm>
            <a:off x="4690120" y="7518099"/>
            <a:ext cx="9667656" cy="549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</a:t>
            </a:r>
            <a:r>
              <a:rPr lang="ru-RU" sz="2800" b="1" dirty="0">
                <a:solidFill>
                  <a:schemeClr val="bg1"/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endParaRPr lang="ru-RU" sz="2400" b="1" dirty="0">
              <a:solidFill>
                <a:schemeClr val="bg1"/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612541A-5722-B369-2E78-78EA68D27C80}"/>
              </a:ext>
            </a:extLst>
          </p:cNvPr>
          <p:cNvSpPr txBox="1"/>
          <p:nvPr/>
        </p:nvSpPr>
        <p:spPr>
          <a:xfrm>
            <a:off x="4647592" y="8132434"/>
            <a:ext cx="3952733" cy="14026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Инсайт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«Как эффективно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именять презентации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компании сегодня»</a:t>
            </a: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0B03D86C-0C8C-7285-0A3C-A4E4022B6418}"/>
              </a:ext>
            </a:extLst>
          </p:cNvPr>
          <p:cNvSpPr/>
          <p:nvPr/>
        </p:nvSpPr>
        <p:spPr>
          <a:xfrm>
            <a:off x="612041" y="1307566"/>
            <a:ext cx="3539147" cy="5217059"/>
          </a:xfrm>
          <a:prstGeom prst="roundRect">
            <a:avLst>
              <a:gd name="adj" fmla="val 10818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6FF4A3-D37D-9E42-6CD4-E7F96A3F3ADB}"/>
              </a:ext>
            </a:extLst>
          </p:cNvPr>
          <p:cNvSpPr txBox="1"/>
          <p:nvPr/>
        </p:nvSpPr>
        <p:spPr>
          <a:xfrm>
            <a:off x="630518" y="751532"/>
            <a:ext cx="3412348" cy="483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1</a:t>
            </a:r>
            <a:endParaRPr lang="ru-RU" sz="2000" b="1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2FADAEE-DBC1-0E32-C25A-F2B902A696D7}"/>
              </a:ext>
            </a:extLst>
          </p:cNvPr>
          <p:cNvSpPr txBox="1"/>
          <p:nvPr/>
        </p:nvSpPr>
        <p:spPr>
          <a:xfrm>
            <a:off x="894075" y="1581949"/>
            <a:ext cx="3297640" cy="1396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оверенные структуры бизнес-презентаций 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од разные задачи</a:t>
            </a:r>
          </a:p>
        </p:txBody>
      </p:sp>
      <p:sp>
        <p:nvSpPr>
          <p:cNvPr id="47" name="Rectangle: Rounded Corners 70">
            <a:extLst>
              <a:ext uri="{FF2B5EF4-FFF2-40B4-BE49-F238E27FC236}">
                <a16:creationId xmlns:a16="http://schemas.microsoft.com/office/drawing/2014/main" id="{B757CB36-0058-A064-BCF0-2CFE89591F63}"/>
              </a:ext>
            </a:extLst>
          </p:cNvPr>
          <p:cNvSpPr/>
          <p:nvPr/>
        </p:nvSpPr>
        <p:spPr>
          <a:xfrm rot="10800000">
            <a:off x="965960" y="3243232"/>
            <a:ext cx="2752824" cy="3050061"/>
          </a:xfrm>
          <a:prstGeom prst="roundRect">
            <a:avLst>
              <a:gd name="adj" fmla="val 13536"/>
            </a:avLst>
          </a:prstGeom>
          <a:solidFill>
            <a:schemeClr val="bg1">
              <a:alpha val="10036"/>
            </a:schemeClr>
          </a:solidFill>
          <a:ln w="15875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AA1DE7CE-024A-A818-C56B-9FF6157E666B}"/>
              </a:ext>
            </a:extLst>
          </p:cNvPr>
          <p:cNvSpPr/>
          <p:nvPr/>
        </p:nvSpPr>
        <p:spPr>
          <a:xfrm>
            <a:off x="818980" y="3233093"/>
            <a:ext cx="3105632" cy="57135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Unbounded" panose="020B0305040102020103" pitchFamily="34" charset="0"/>
              </a:rPr>
              <a:t>antonovlad.com</a:t>
            </a:r>
            <a:r>
              <a:rPr lang="e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" panose="020B0305040102020103" pitchFamily="34" charset="0"/>
              </a:rPr>
              <a:t>/blog</a:t>
            </a:r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latin typeface="Unbounded" panose="020B0305040102020103" pitchFamily="34" charset="0"/>
            </a:endParaRPr>
          </a:p>
        </p:txBody>
      </p:sp>
      <p:grpSp>
        <p:nvGrpSpPr>
          <p:cNvPr id="782" name="Группа 781">
            <a:extLst>
              <a:ext uri="{FF2B5EF4-FFF2-40B4-BE49-F238E27FC236}">
                <a16:creationId xmlns:a16="http://schemas.microsoft.com/office/drawing/2014/main" id="{6CA974CC-D59B-3EEC-C51C-E56B06141F4B}"/>
              </a:ext>
            </a:extLst>
          </p:cNvPr>
          <p:cNvGrpSpPr/>
          <p:nvPr/>
        </p:nvGrpSpPr>
        <p:grpSpPr>
          <a:xfrm>
            <a:off x="4462156" y="7518309"/>
            <a:ext cx="3579674" cy="5773093"/>
            <a:chOff x="4462156" y="751532"/>
            <a:chExt cx="3579674" cy="5773093"/>
          </a:xfrm>
        </p:grpSpPr>
        <p:sp>
          <p:nvSpPr>
            <p:cNvPr id="783" name="Скругленный прямоугольник 782">
              <a:extLst>
                <a:ext uri="{FF2B5EF4-FFF2-40B4-BE49-F238E27FC236}">
                  <a16:creationId xmlns:a16="http://schemas.microsoft.com/office/drawing/2014/main" id="{1DCBC51A-65D7-EFF7-91B7-5BF93A7BA66D}"/>
                </a:ext>
              </a:extLst>
            </p:cNvPr>
            <p:cNvSpPr/>
            <p:nvPr/>
          </p:nvSpPr>
          <p:spPr>
            <a:xfrm>
              <a:off x="4462156" y="1307566"/>
              <a:ext cx="3539147" cy="5217059"/>
            </a:xfrm>
            <a:prstGeom prst="roundRect">
              <a:avLst>
                <a:gd name="adj" fmla="val 10818"/>
              </a:avLst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4" name="TextBox 783">
              <a:extLst>
                <a:ext uri="{FF2B5EF4-FFF2-40B4-BE49-F238E27FC236}">
                  <a16:creationId xmlns:a16="http://schemas.microsoft.com/office/drawing/2014/main" id="{933BF08A-EED8-A67D-AB21-EC65B9378130}"/>
                </a:ext>
              </a:extLst>
            </p:cNvPr>
            <p:cNvSpPr txBox="1"/>
            <p:nvPr/>
          </p:nvSpPr>
          <p:spPr>
            <a:xfrm>
              <a:off x="4480633" y="751532"/>
              <a:ext cx="3412348" cy="4838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ru-RU" sz="2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БОНУС </a:t>
              </a:r>
              <a:r>
                <a:rPr lang="en-US" sz="2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#2</a:t>
              </a:r>
              <a:endPara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785" name="TextBox 784">
              <a:extLst>
                <a:ext uri="{FF2B5EF4-FFF2-40B4-BE49-F238E27FC236}">
                  <a16:creationId xmlns:a16="http://schemas.microsoft.com/office/drawing/2014/main" id="{6232C9F1-B782-6B8F-88D5-85DAD8338262}"/>
                </a:ext>
              </a:extLst>
            </p:cNvPr>
            <p:cNvSpPr txBox="1"/>
            <p:nvPr/>
          </p:nvSpPr>
          <p:spPr>
            <a:xfrm>
              <a:off x="4744190" y="1581949"/>
              <a:ext cx="3297640" cy="1396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dirty="0">
                  <a:solidFill>
                    <a:schemeClr val="bg1"/>
                  </a:solidFill>
                  <a:latin typeface="Unbounded" panose="020B0305040102020103" pitchFamily="34" charset="0"/>
                  <a:cs typeface="Times New Roman" panose="02020603050405020304" pitchFamily="18" charset="0"/>
                </a:rPr>
                <a:t>Как эффективно</a:t>
              </a:r>
              <a:br>
                <a:rPr lang="ru-RU" dirty="0">
                  <a:solidFill>
                    <a:schemeClr val="bg1"/>
                  </a:solidFill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dirty="0">
                  <a:solidFill>
                    <a:schemeClr val="bg1"/>
                  </a:solidFill>
                  <a:latin typeface="Unbounded" panose="020B0305040102020103" pitchFamily="34" charset="0"/>
                  <a:cs typeface="Times New Roman" panose="02020603050405020304" pitchFamily="18" charset="0"/>
                </a:rPr>
                <a:t>применять презентации</a:t>
              </a:r>
              <a:br>
                <a:rPr lang="ru-RU" dirty="0">
                  <a:solidFill>
                    <a:schemeClr val="bg1"/>
                  </a:solidFill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dirty="0">
                  <a:solidFill>
                    <a:schemeClr val="bg1"/>
                  </a:solidFill>
                  <a:latin typeface="Unbounded" panose="020B0305040102020103" pitchFamily="34" charset="0"/>
                  <a:cs typeface="Times New Roman" panose="02020603050405020304" pitchFamily="18" charset="0"/>
                </a:rPr>
                <a:t>компании сегодня</a:t>
              </a:r>
            </a:p>
          </p:txBody>
        </p:sp>
        <p:grpSp>
          <p:nvGrpSpPr>
            <p:cNvPr id="786" name="Группа 785">
              <a:extLst>
                <a:ext uri="{FF2B5EF4-FFF2-40B4-BE49-F238E27FC236}">
                  <a16:creationId xmlns:a16="http://schemas.microsoft.com/office/drawing/2014/main" id="{8818E76F-0633-9703-0DF8-1F13B771BB8E}"/>
                </a:ext>
              </a:extLst>
            </p:cNvPr>
            <p:cNvGrpSpPr/>
            <p:nvPr/>
          </p:nvGrpSpPr>
          <p:grpSpPr>
            <a:xfrm>
              <a:off x="4669095" y="3233093"/>
              <a:ext cx="3105632" cy="3060200"/>
              <a:chOff x="1100253" y="3123154"/>
              <a:chExt cx="3105632" cy="3060200"/>
            </a:xfrm>
          </p:grpSpPr>
          <p:sp>
            <p:nvSpPr>
              <p:cNvPr id="787" name="Rectangle: Rounded Corners 70">
                <a:extLst>
                  <a:ext uri="{FF2B5EF4-FFF2-40B4-BE49-F238E27FC236}">
                    <a16:creationId xmlns:a16="http://schemas.microsoft.com/office/drawing/2014/main" id="{2FD19789-51C3-1F55-F70E-3EAA7AC791E7}"/>
                  </a:ext>
                </a:extLst>
              </p:cNvPr>
              <p:cNvSpPr/>
              <p:nvPr/>
            </p:nvSpPr>
            <p:spPr>
              <a:xfrm rot="10800000">
                <a:off x="1247233" y="3133293"/>
                <a:ext cx="2752824" cy="3050061"/>
              </a:xfrm>
              <a:prstGeom prst="roundRect">
                <a:avLst>
                  <a:gd name="adj" fmla="val 13536"/>
                </a:avLst>
              </a:prstGeom>
              <a:solidFill>
                <a:schemeClr val="bg1">
                  <a:alpha val="10036"/>
                </a:schemeClr>
              </a:solidFill>
              <a:ln w="15875">
                <a:solidFill>
                  <a:schemeClr val="bg1"/>
                </a:solidFill>
                <a:round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rgbClr val="435368"/>
                  </a:solidFill>
                </a:endParaRPr>
              </a:p>
            </p:txBody>
          </p:sp>
          <p:sp>
            <p:nvSpPr>
              <p:cNvPr id="788" name="Скругленный прямоугольник 787">
                <a:extLst>
                  <a:ext uri="{FF2B5EF4-FFF2-40B4-BE49-F238E27FC236}">
                    <a16:creationId xmlns:a16="http://schemas.microsoft.com/office/drawing/2014/main" id="{FC91A9E6-5AA5-0FA9-4EDE-9C11CABE508E}"/>
                  </a:ext>
                </a:extLst>
              </p:cNvPr>
              <p:cNvSpPr/>
              <p:nvPr/>
            </p:nvSpPr>
            <p:spPr>
              <a:xfrm>
                <a:off x="1100253" y="3123154"/>
                <a:ext cx="3105632" cy="571358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Unbounded" panose="020B0305040102020103" pitchFamily="34" charset="0"/>
                  </a:rPr>
                  <a:t>https://</a:t>
                </a:r>
                <a:r>
                  <a:rPr lang="en" sz="1600" dirty="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Unbounded" panose="020B0305040102020103" pitchFamily="34" charset="0"/>
                  </a:rPr>
                  <a:t>goo.su</a:t>
                </a:r>
                <a:r>
                  <a:rPr lang="en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Unbounded" panose="020B0305040102020103" pitchFamily="34" charset="0"/>
                  </a:rPr>
                  <a:t>/bon_1</a:t>
                </a:r>
                <a:endPara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" panose="020B0305040102020103" pitchFamily="34" charset="0"/>
                </a:endParaRPr>
              </a:p>
            </p:txBody>
          </p:sp>
          <p:grpSp>
            <p:nvGrpSpPr>
              <p:cNvPr id="789" name="Рисунок 167">
                <a:extLst>
                  <a:ext uri="{FF2B5EF4-FFF2-40B4-BE49-F238E27FC236}">
                    <a16:creationId xmlns:a16="http://schemas.microsoft.com/office/drawing/2014/main" id="{B21BBA6B-B8F0-123C-E019-62ECF75EBFB6}"/>
                  </a:ext>
                </a:extLst>
              </p:cNvPr>
              <p:cNvGrpSpPr/>
              <p:nvPr/>
            </p:nvGrpSpPr>
            <p:grpSpPr>
              <a:xfrm>
                <a:off x="1644213" y="4007606"/>
                <a:ext cx="1883766" cy="1883766"/>
                <a:chOff x="1252377" y="3901076"/>
                <a:chExt cx="2279357" cy="2279357"/>
              </a:xfrm>
              <a:solidFill>
                <a:schemeClr val="bg1"/>
              </a:solidFill>
            </p:grpSpPr>
            <p:sp>
              <p:nvSpPr>
                <p:cNvPr id="790" name="Полилиния 789">
                  <a:extLst>
                    <a:ext uri="{FF2B5EF4-FFF2-40B4-BE49-F238E27FC236}">
                      <a16:creationId xmlns:a16="http://schemas.microsoft.com/office/drawing/2014/main" id="{A932C618-A29A-1C3F-2DC1-345043273A8F}"/>
                    </a:ext>
                  </a:extLst>
                </p:cNvPr>
                <p:cNvSpPr/>
                <p:nvPr/>
              </p:nvSpPr>
              <p:spPr>
                <a:xfrm rot="-5400000">
                  <a:off x="1434726" y="5724562"/>
                  <a:ext cx="273522" cy="273522"/>
                </a:xfrm>
                <a:custGeom>
                  <a:avLst/>
                  <a:gdLst>
                    <a:gd name="connsiteX0" fmla="*/ 273523 w 273522"/>
                    <a:gd name="connsiteY0" fmla="*/ 136761 h 273522"/>
                    <a:gd name="connsiteX1" fmla="*/ 136761 w 273522"/>
                    <a:gd name="connsiteY1" fmla="*/ 273523 h 273522"/>
                    <a:gd name="connsiteX2" fmla="*/ 0 w 273522"/>
                    <a:gd name="connsiteY2" fmla="*/ 136761 h 273522"/>
                    <a:gd name="connsiteX3" fmla="*/ 136761 w 273522"/>
                    <a:gd name="connsiteY3" fmla="*/ 0 h 273522"/>
                    <a:gd name="connsiteX4" fmla="*/ 273523 w 273522"/>
                    <a:gd name="connsiteY4" fmla="*/ 136761 h 273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3522" h="273522">
                      <a:moveTo>
                        <a:pt x="273523" y="136761"/>
                      </a:moveTo>
                      <a:cubicBezTo>
                        <a:pt x="273523" y="212293"/>
                        <a:pt x="212293" y="273523"/>
                        <a:pt x="136761" y="273523"/>
                      </a:cubicBezTo>
                      <a:cubicBezTo>
                        <a:pt x="61230" y="273523"/>
                        <a:pt x="0" y="212293"/>
                        <a:pt x="0" y="136761"/>
                      </a:cubicBezTo>
                      <a:cubicBezTo>
                        <a:pt x="0" y="61230"/>
                        <a:pt x="61230" y="0"/>
                        <a:pt x="136761" y="0"/>
                      </a:cubicBezTo>
                      <a:cubicBezTo>
                        <a:pt x="212293" y="0"/>
                        <a:pt x="273523" y="61230"/>
                        <a:pt x="273523" y="136761"/>
                      </a:cubicBez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1" name="Полилиния 790">
                  <a:extLst>
                    <a:ext uri="{FF2B5EF4-FFF2-40B4-BE49-F238E27FC236}">
                      <a16:creationId xmlns:a16="http://schemas.microsoft.com/office/drawing/2014/main" id="{755C08A3-AC1D-A78E-1207-2E9964EC6A1F}"/>
                    </a:ext>
                  </a:extLst>
                </p:cNvPr>
                <p:cNvSpPr/>
                <p:nvPr/>
              </p:nvSpPr>
              <p:spPr>
                <a:xfrm rot="-5400000">
                  <a:off x="1252377" y="5542214"/>
                  <a:ext cx="638220" cy="638220"/>
                </a:xfrm>
                <a:custGeom>
                  <a:avLst/>
                  <a:gdLst>
                    <a:gd name="connsiteX0" fmla="*/ 0 w 638220"/>
                    <a:gd name="connsiteY0" fmla="*/ 227936 h 638220"/>
                    <a:gd name="connsiteX1" fmla="*/ 0 w 638220"/>
                    <a:gd name="connsiteY1" fmla="*/ 410284 h 638220"/>
                    <a:gd name="connsiteX2" fmla="*/ 227936 w 638220"/>
                    <a:gd name="connsiteY2" fmla="*/ 638220 h 638220"/>
                    <a:gd name="connsiteX3" fmla="*/ 410284 w 638220"/>
                    <a:gd name="connsiteY3" fmla="*/ 638220 h 638220"/>
                    <a:gd name="connsiteX4" fmla="*/ 638220 w 638220"/>
                    <a:gd name="connsiteY4" fmla="*/ 410284 h 638220"/>
                    <a:gd name="connsiteX5" fmla="*/ 638220 w 638220"/>
                    <a:gd name="connsiteY5" fmla="*/ 227936 h 638220"/>
                    <a:gd name="connsiteX6" fmla="*/ 410284 w 638220"/>
                    <a:gd name="connsiteY6" fmla="*/ 0 h 638220"/>
                    <a:gd name="connsiteX7" fmla="*/ 227936 w 638220"/>
                    <a:gd name="connsiteY7" fmla="*/ 0 h 638220"/>
                    <a:gd name="connsiteX8" fmla="*/ 0 w 638220"/>
                    <a:gd name="connsiteY8" fmla="*/ 227936 h 638220"/>
                    <a:gd name="connsiteX9" fmla="*/ 227936 w 638220"/>
                    <a:gd name="connsiteY9" fmla="*/ 91174 h 638220"/>
                    <a:gd name="connsiteX10" fmla="*/ 410284 w 638220"/>
                    <a:gd name="connsiteY10" fmla="*/ 91174 h 638220"/>
                    <a:gd name="connsiteX11" fmla="*/ 547046 w 638220"/>
                    <a:gd name="connsiteY11" fmla="*/ 227936 h 638220"/>
                    <a:gd name="connsiteX12" fmla="*/ 547046 w 638220"/>
                    <a:gd name="connsiteY12" fmla="*/ 410284 h 638220"/>
                    <a:gd name="connsiteX13" fmla="*/ 410284 w 638220"/>
                    <a:gd name="connsiteY13" fmla="*/ 547046 h 638220"/>
                    <a:gd name="connsiteX14" fmla="*/ 227936 w 638220"/>
                    <a:gd name="connsiteY14" fmla="*/ 547046 h 638220"/>
                    <a:gd name="connsiteX15" fmla="*/ 91174 w 638220"/>
                    <a:gd name="connsiteY15" fmla="*/ 410284 h 638220"/>
                    <a:gd name="connsiteX16" fmla="*/ 91174 w 638220"/>
                    <a:gd name="connsiteY16" fmla="*/ 227936 h 638220"/>
                    <a:gd name="connsiteX17" fmla="*/ 227936 w 638220"/>
                    <a:gd name="connsiteY17" fmla="*/ 91174 h 638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638220" h="638220">
                      <a:moveTo>
                        <a:pt x="0" y="227936"/>
                      </a:moveTo>
                      <a:lnTo>
                        <a:pt x="0" y="410284"/>
                      </a:lnTo>
                      <a:cubicBezTo>
                        <a:pt x="0" y="536170"/>
                        <a:pt x="102050" y="638220"/>
                        <a:pt x="227936" y="638220"/>
                      </a:cubicBezTo>
                      <a:lnTo>
                        <a:pt x="410284" y="638220"/>
                      </a:lnTo>
                      <a:cubicBezTo>
                        <a:pt x="536170" y="638220"/>
                        <a:pt x="638220" y="536170"/>
                        <a:pt x="638220" y="410284"/>
                      </a:cubicBezTo>
                      <a:lnTo>
                        <a:pt x="638220" y="227936"/>
                      </a:lnTo>
                      <a:cubicBezTo>
                        <a:pt x="638220" y="102050"/>
                        <a:pt x="536170" y="0"/>
                        <a:pt x="410284" y="0"/>
                      </a:cubicBezTo>
                      <a:lnTo>
                        <a:pt x="227936" y="0"/>
                      </a:lnTo>
                      <a:cubicBezTo>
                        <a:pt x="102050" y="0"/>
                        <a:pt x="0" y="102050"/>
                        <a:pt x="0" y="227936"/>
                      </a:cubicBezTo>
                      <a:moveTo>
                        <a:pt x="227936" y="91174"/>
                      </a:moveTo>
                      <a:lnTo>
                        <a:pt x="410284" y="91174"/>
                      </a:lnTo>
                      <a:cubicBezTo>
                        <a:pt x="485816" y="91174"/>
                        <a:pt x="547046" y="152405"/>
                        <a:pt x="547046" y="227936"/>
                      </a:cubicBezTo>
                      <a:lnTo>
                        <a:pt x="547046" y="410284"/>
                      </a:lnTo>
                      <a:cubicBezTo>
                        <a:pt x="547046" y="485816"/>
                        <a:pt x="485816" y="547046"/>
                        <a:pt x="410284" y="547046"/>
                      </a:cubicBezTo>
                      <a:lnTo>
                        <a:pt x="227936" y="547046"/>
                      </a:lnTo>
                      <a:cubicBezTo>
                        <a:pt x="152405" y="547046"/>
                        <a:pt x="91174" y="485816"/>
                        <a:pt x="91174" y="410284"/>
                      </a:cubicBezTo>
                      <a:lnTo>
                        <a:pt x="91174" y="227936"/>
                      </a:lnTo>
                      <a:cubicBezTo>
                        <a:pt x="91174" y="152405"/>
                        <a:pt x="152405" y="91174"/>
                        <a:pt x="227936" y="91174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2" name="Полилиния 791">
                  <a:extLst>
                    <a:ext uri="{FF2B5EF4-FFF2-40B4-BE49-F238E27FC236}">
                      <a16:creationId xmlns:a16="http://schemas.microsoft.com/office/drawing/2014/main" id="{3545D461-AC28-01AC-4A21-D2F7879E5B3C}"/>
                    </a:ext>
                  </a:extLst>
                </p:cNvPr>
                <p:cNvSpPr/>
                <p:nvPr/>
              </p:nvSpPr>
              <p:spPr>
                <a:xfrm rot="5400000">
                  <a:off x="3075863" y="4083425"/>
                  <a:ext cx="273522" cy="273522"/>
                </a:xfrm>
                <a:custGeom>
                  <a:avLst/>
                  <a:gdLst>
                    <a:gd name="connsiteX0" fmla="*/ 273523 w 273522"/>
                    <a:gd name="connsiteY0" fmla="*/ 136761 h 273522"/>
                    <a:gd name="connsiteX1" fmla="*/ 136761 w 273522"/>
                    <a:gd name="connsiteY1" fmla="*/ 273523 h 273522"/>
                    <a:gd name="connsiteX2" fmla="*/ 0 w 273522"/>
                    <a:gd name="connsiteY2" fmla="*/ 136761 h 273522"/>
                    <a:gd name="connsiteX3" fmla="*/ 136761 w 273522"/>
                    <a:gd name="connsiteY3" fmla="*/ 0 h 273522"/>
                    <a:gd name="connsiteX4" fmla="*/ 273523 w 273522"/>
                    <a:gd name="connsiteY4" fmla="*/ 136761 h 273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3522" h="273522">
                      <a:moveTo>
                        <a:pt x="273523" y="136761"/>
                      </a:moveTo>
                      <a:cubicBezTo>
                        <a:pt x="273523" y="212293"/>
                        <a:pt x="212293" y="273523"/>
                        <a:pt x="136761" y="273523"/>
                      </a:cubicBezTo>
                      <a:cubicBezTo>
                        <a:pt x="61230" y="273523"/>
                        <a:pt x="0" y="212293"/>
                        <a:pt x="0" y="136761"/>
                      </a:cubicBezTo>
                      <a:cubicBezTo>
                        <a:pt x="0" y="61230"/>
                        <a:pt x="61230" y="0"/>
                        <a:pt x="136761" y="0"/>
                      </a:cubicBezTo>
                      <a:cubicBezTo>
                        <a:pt x="212293" y="0"/>
                        <a:pt x="273523" y="61230"/>
                        <a:pt x="273523" y="136761"/>
                      </a:cubicBez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3" name="Полилиния 792">
                  <a:extLst>
                    <a:ext uri="{FF2B5EF4-FFF2-40B4-BE49-F238E27FC236}">
                      <a16:creationId xmlns:a16="http://schemas.microsoft.com/office/drawing/2014/main" id="{24C80834-75A1-ABEE-21A9-0105BECB5628}"/>
                    </a:ext>
                  </a:extLst>
                </p:cNvPr>
                <p:cNvSpPr/>
                <p:nvPr/>
              </p:nvSpPr>
              <p:spPr>
                <a:xfrm rot="5400000">
                  <a:off x="2893515" y="3901076"/>
                  <a:ext cx="638220" cy="638220"/>
                </a:xfrm>
                <a:custGeom>
                  <a:avLst/>
                  <a:gdLst>
                    <a:gd name="connsiteX0" fmla="*/ 0 w 638220"/>
                    <a:gd name="connsiteY0" fmla="*/ 227936 h 638220"/>
                    <a:gd name="connsiteX1" fmla="*/ 0 w 638220"/>
                    <a:gd name="connsiteY1" fmla="*/ 410284 h 638220"/>
                    <a:gd name="connsiteX2" fmla="*/ 227936 w 638220"/>
                    <a:gd name="connsiteY2" fmla="*/ 638220 h 638220"/>
                    <a:gd name="connsiteX3" fmla="*/ 410284 w 638220"/>
                    <a:gd name="connsiteY3" fmla="*/ 638220 h 638220"/>
                    <a:gd name="connsiteX4" fmla="*/ 638220 w 638220"/>
                    <a:gd name="connsiteY4" fmla="*/ 410284 h 638220"/>
                    <a:gd name="connsiteX5" fmla="*/ 638220 w 638220"/>
                    <a:gd name="connsiteY5" fmla="*/ 227936 h 638220"/>
                    <a:gd name="connsiteX6" fmla="*/ 410284 w 638220"/>
                    <a:gd name="connsiteY6" fmla="*/ 0 h 638220"/>
                    <a:gd name="connsiteX7" fmla="*/ 227936 w 638220"/>
                    <a:gd name="connsiteY7" fmla="*/ 0 h 638220"/>
                    <a:gd name="connsiteX8" fmla="*/ 0 w 638220"/>
                    <a:gd name="connsiteY8" fmla="*/ 227936 h 638220"/>
                    <a:gd name="connsiteX9" fmla="*/ 227936 w 638220"/>
                    <a:gd name="connsiteY9" fmla="*/ 91174 h 638220"/>
                    <a:gd name="connsiteX10" fmla="*/ 410284 w 638220"/>
                    <a:gd name="connsiteY10" fmla="*/ 91174 h 638220"/>
                    <a:gd name="connsiteX11" fmla="*/ 547046 w 638220"/>
                    <a:gd name="connsiteY11" fmla="*/ 227936 h 638220"/>
                    <a:gd name="connsiteX12" fmla="*/ 547046 w 638220"/>
                    <a:gd name="connsiteY12" fmla="*/ 410284 h 638220"/>
                    <a:gd name="connsiteX13" fmla="*/ 410284 w 638220"/>
                    <a:gd name="connsiteY13" fmla="*/ 547046 h 638220"/>
                    <a:gd name="connsiteX14" fmla="*/ 227936 w 638220"/>
                    <a:gd name="connsiteY14" fmla="*/ 547046 h 638220"/>
                    <a:gd name="connsiteX15" fmla="*/ 91174 w 638220"/>
                    <a:gd name="connsiteY15" fmla="*/ 410284 h 638220"/>
                    <a:gd name="connsiteX16" fmla="*/ 91174 w 638220"/>
                    <a:gd name="connsiteY16" fmla="*/ 227936 h 638220"/>
                    <a:gd name="connsiteX17" fmla="*/ 227936 w 638220"/>
                    <a:gd name="connsiteY17" fmla="*/ 91174 h 638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638220" h="638220">
                      <a:moveTo>
                        <a:pt x="0" y="227936"/>
                      </a:moveTo>
                      <a:lnTo>
                        <a:pt x="0" y="410284"/>
                      </a:lnTo>
                      <a:cubicBezTo>
                        <a:pt x="0" y="536170"/>
                        <a:pt x="102050" y="638220"/>
                        <a:pt x="227936" y="638220"/>
                      </a:cubicBezTo>
                      <a:lnTo>
                        <a:pt x="410284" y="638220"/>
                      </a:lnTo>
                      <a:cubicBezTo>
                        <a:pt x="536170" y="638220"/>
                        <a:pt x="638220" y="536170"/>
                        <a:pt x="638220" y="410284"/>
                      </a:cubicBezTo>
                      <a:lnTo>
                        <a:pt x="638220" y="227936"/>
                      </a:lnTo>
                      <a:cubicBezTo>
                        <a:pt x="638220" y="102050"/>
                        <a:pt x="536170" y="0"/>
                        <a:pt x="410284" y="0"/>
                      </a:cubicBezTo>
                      <a:lnTo>
                        <a:pt x="227936" y="0"/>
                      </a:lnTo>
                      <a:cubicBezTo>
                        <a:pt x="102050" y="0"/>
                        <a:pt x="0" y="102050"/>
                        <a:pt x="0" y="227936"/>
                      </a:cubicBezTo>
                      <a:moveTo>
                        <a:pt x="227936" y="91174"/>
                      </a:moveTo>
                      <a:lnTo>
                        <a:pt x="410284" y="91174"/>
                      </a:lnTo>
                      <a:cubicBezTo>
                        <a:pt x="485816" y="91174"/>
                        <a:pt x="547046" y="152405"/>
                        <a:pt x="547046" y="227936"/>
                      </a:cubicBezTo>
                      <a:lnTo>
                        <a:pt x="547046" y="410284"/>
                      </a:lnTo>
                      <a:cubicBezTo>
                        <a:pt x="547046" y="485816"/>
                        <a:pt x="485816" y="547046"/>
                        <a:pt x="410284" y="547046"/>
                      </a:cubicBezTo>
                      <a:lnTo>
                        <a:pt x="227936" y="547046"/>
                      </a:lnTo>
                      <a:cubicBezTo>
                        <a:pt x="152405" y="547046"/>
                        <a:pt x="91174" y="485816"/>
                        <a:pt x="91174" y="410284"/>
                      </a:cubicBezTo>
                      <a:lnTo>
                        <a:pt x="91174" y="227936"/>
                      </a:lnTo>
                      <a:cubicBezTo>
                        <a:pt x="91174" y="152405"/>
                        <a:pt x="152405" y="91174"/>
                        <a:pt x="227936" y="91174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4" name="Полилиния 793">
                  <a:extLst>
                    <a:ext uri="{FF2B5EF4-FFF2-40B4-BE49-F238E27FC236}">
                      <a16:creationId xmlns:a16="http://schemas.microsoft.com/office/drawing/2014/main" id="{382488E7-D4DC-77D2-72E3-B0A0C7E4DE90}"/>
                    </a:ext>
                  </a:extLst>
                </p:cNvPr>
                <p:cNvSpPr/>
                <p:nvPr/>
              </p:nvSpPr>
              <p:spPr>
                <a:xfrm>
                  <a:off x="1434726" y="4083425"/>
                  <a:ext cx="273522" cy="273522"/>
                </a:xfrm>
                <a:custGeom>
                  <a:avLst/>
                  <a:gdLst>
                    <a:gd name="connsiteX0" fmla="*/ 273523 w 273522"/>
                    <a:gd name="connsiteY0" fmla="*/ 136761 h 273522"/>
                    <a:gd name="connsiteX1" fmla="*/ 136761 w 273522"/>
                    <a:gd name="connsiteY1" fmla="*/ 273523 h 273522"/>
                    <a:gd name="connsiteX2" fmla="*/ 0 w 273522"/>
                    <a:gd name="connsiteY2" fmla="*/ 136761 h 273522"/>
                    <a:gd name="connsiteX3" fmla="*/ 136761 w 273522"/>
                    <a:gd name="connsiteY3" fmla="*/ 0 h 273522"/>
                    <a:gd name="connsiteX4" fmla="*/ 273523 w 273522"/>
                    <a:gd name="connsiteY4" fmla="*/ 136761 h 273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3522" h="273522">
                      <a:moveTo>
                        <a:pt x="273523" y="136761"/>
                      </a:moveTo>
                      <a:cubicBezTo>
                        <a:pt x="273523" y="212293"/>
                        <a:pt x="212293" y="273523"/>
                        <a:pt x="136761" y="273523"/>
                      </a:cubicBezTo>
                      <a:cubicBezTo>
                        <a:pt x="61230" y="273523"/>
                        <a:pt x="0" y="212293"/>
                        <a:pt x="0" y="136761"/>
                      </a:cubicBezTo>
                      <a:cubicBezTo>
                        <a:pt x="0" y="61230"/>
                        <a:pt x="61230" y="0"/>
                        <a:pt x="136761" y="0"/>
                      </a:cubicBezTo>
                      <a:cubicBezTo>
                        <a:pt x="212293" y="0"/>
                        <a:pt x="273523" y="61230"/>
                        <a:pt x="273523" y="136761"/>
                      </a:cubicBez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5" name="Полилиния 794">
                  <a:extLst>
                    <a:ext uri="{FF2B5EF4-FFF2-40B4-BE49-F238E27FC236}">
                      <a16:creationId xmlns:a16="http://schemas.microsoft.com/office/drawing/2014/main" id="{1D9AB006-BACC-2160-CA21-1961E6E3EC22}"/>
                    </a:ext>
                  </a:extLst>
                </p:cNvPr>
                <p:cNvSpPr/>
                <p:nvPr/>
              </p:nvSpPr>
              <p:spPr>
                <a:xfrm>
                  <a:off x="1252377" y="3901076"/>
                  <a:ext cx="638220" cy="638220"/>
                </a:xfrm>
                <a:custGeom>
                  <a:avLst/>
                  <a:gdLst>
                    <a:gd name="connsiteX0" fmla="*/ 0 w 638220"/>
                    <a:gd name="connsiteY0" fmla="*/ 227936 h 638220"/>
                    <a:gd name="connsiteX1" fmla="*/ 0 w 638220"/>
                    <a:gd name="connsiteY1" fmla="*/ 410284 h 638220"/>
                    <a:gd name="connsiteX2" fmla="*/ 227936 w 638220"/>
                    <a:gd name="connsiteY2" fmla="*/ 638220 h 638220"/>
                    <a:gd name="connsiteX3" fmla="*/ 410284 w 638220"/>
                    <a:gd name="connsiteY3" fmla="*/ 638220 h 638220"/>
                    <a:gd name="connsiteX4" fmla="*/ 638220 w 638220"/>
                    <a:gd name="connsiteY4" fmla="*/ 410284 h 638220"/>
                    <a:gd name="connsiteX5" fmla="*/ 638220 w 638220"/>
                    <a:gd name="connsiteY5" fmla="*/ 227936 h 638220"/>
                    <a:gd name="connsiteX6" fmla="*/ 410284 w 638220"/>
                    <a:gd name="connsiteY6" fmla="*/ 0 h 638220"/>
                    <a:gd name="connsiteX7" fmla="*/ 227936 w 638220"/>
                    <a:gd name="connsiteY7" fmla="*/ 0 h 638220"/>
                    <a:gd name="connsiteX8" fmla="*/ 0 w 638220"/>
                    <a:gd name="connsiteY8" fmla="*/ 227936 h 638220"/>
                    <a:gd name="connsiteX9" fmla="*/ 227936 w 638220"/>
                    <a:gd name="connsiteY9" fmla="*/ 91174 h 638220"/>
                    <a:gd name="connsiteX10" fmla="*/ 410284 w 638220"/>
                    <a:gd name="connsiteY10" fmla="*/ 91174 h 638220"/>
                    <a:gd name="connsiteX11" fmla="*/ 547046 w 638220"/>
                    <a:gd name="connsiteY11" fmla="*/ 227936 h 638220"/>
                    <a:gd name="connsiteX12" fmla="*/ 547046 w 638220"/>
                    <a:gd name="connsiteY12" fmla="*/ 410284 h 638220"/>
                    <a:gd name="connsiteX13" fmla="*/ 410284 w 638220"/>
                    <a:gd name="connsiteY13" fmla="*/ 547046 h 638220"/>
                    <a:gd name="connsiteX14" fmla="*/ 227936 w 638220"/>
                    <a:gd name="connsiteY14" fmla="*/ 547046 h 638220"/>
                    <a:gd name="connsiteX15" fmla="*/ 91174 w 638220"/>
                    <a:gd name="connsiteY15" fmla="*/ 410284 h 638220"/>
                    <a:gd name="connsiteX16" fmla="*/ 91174 w 638220"/>
                    <a:gd name="connsiteY16" fmla="*/ 227936 h 638220"/>
                    <a:gd name="connsiteX17" fmla="*/ 227936 w 638220"/>
                    <a:gd name="connsiteY17" fmla="*/ 91174 h 638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638220" h="638220">
                      <a:moveTo>
                        <a:pt x="0" y="227936"/>
                      </a:moveTo>
                      <a:lnTo>
                        <a:pt x="0" y="410284"/>
                      </a:lnTo>
                      <a:cubicBezTo>
                        <a:pt x="0" y="536170"/>
                        <a:pt x="102050" y="638220"/>
                        <a:pt x="227936" y="638220"/>
                      </a:cubicBezTo>
                      <a:lnTo>
                        <a:pt x="410284" y="638220"/>
                      </a:lnTo>
                      <a:cubicBezTo>
                        <a:pt x="536170" y="638220"/>
                        <a:pt x="638220" y="536170"/>
                        <a:pt x="638220" y="410284"/>
                      </a:cubicBezTo>
                      <a:lnTo>
                        <a:pt x="638220" y="227936"/>
                      </a:lnTo>
                      <a:cubicBezTo>
                        <a:pt x="638220" y="102050"/>
                        <a:pt x="536170" y="0"/>
                        <a:pt x="410284" y="0"/>
                      </a:cubicBezTo>
                      <a:lnTo>
                        <a:pt x="227936" y="0"/>
                      </a:lnTo>
                      <a:cubicBezTo>
                        <a:pt x="102050" y="0"/>
                        <a:pt x="0" y="102050"/>
                        <a:pt x="0" y="227936"/>
                      </a:cubicBezTo>
                      <a:moveTo>
                        <a:pt x="227936" y="91174"/>
                      </a:moveTo>
                      <a:lnTo>
                        <a:pt x="410284" y="91174"/>
                      </a:lnTo>
                      <a:cubicBezTo>
                        <a:pt x="485816" y="91174"/>
                        <a:pt x="547046" y="152405"/>
                        <a:pt x="547046" y="227936"/>
                      </a:cubicBezTo>
                      <a:lnTo>
                        <a:pt x="547046" y="410284"/>
                      </a:lnTo>
                      <a:cubicBezTo>
                        <a:pt x="547046" y="485816"/>
                        <a:pt x="485816" y="547046"/>
                        <a:pt x="410284" y="547046"/>
                      </a:cubicBezTo>
                      <a:lnTo>
                        <a:pt x="227936" y="547046"/>
                      </a:lnTo>
                      <a:cubicBezTo>
                        <a:pt x="152405" y="547046"/>
                        <a:pt x="91174" y="485816"/>
                        <a:pt x="91174" y="410284"/>
                      </a:cubicBezTo>
                      <a:lnTo>
                        <a:pt x="91174" y="227936"/>
                      </a:lnTo>
                      <a:cubicBezTo>
                        <a:pt x="91174" y="152405"/>
                        <a:pt x="152405" y="91174"/>
                        <a:pt x="227936" y="91174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6" name="Полилиния 795">
                  <a:extLst>
                    <a:ext uri="{FF2B5EF4-FFF2-40B4-BE49-F238E27FC236}">
                      <a16:creationId xmlns:a16="http://schemas.microsoft.com/office/drawing/2014/main" id="{A944B1BC-26A6-0952-0CF4-FCA5660DAF6F}"/>
                    </a:ext>
                  </a:extLst>
                </p:cNvPr>
                <p:cNvSpPr/>
                <p:nvPr/>
              </p:nvSpPr>
              <p:spPr>
                <a:xfrm rot="-5400000">
                  <a:off x="2346469" y="390107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7" name="Полилиния 796">
                  <a:extLst>
                    <a:ext uri="{FF2B5EF4-FFF2-40B4-BE49-F238E27FC236}">
                      <a16:creationId xmlns:a16="http://schemas.microsoft.com/office/drawing/2014/main" id="{6148DEA3-FE68-C4A8-C501-5B3888DCD177}"/>
                    </a:ext>
                  </a:extLst>
                </p:cNvPr>
                <p:cNvSpPr/>
                <p:nvPr/>
              </p:nvSpPr>
              <p:spPr>
                <a:xfrm rot="5400000">
                  <a:off x="2528817" y="390107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8" name="Полилиния 797">
                  <a:extLst>
                    <a:ext uri="{FF2B5EF4-FFF2-40B4-BE49-F238E27FC236}">
                      <a16:creationId xmlns:a16="http://schemas.microsoft.com/office/drawing/2014/main" id="{A2BE114C-E24E-3BA1-4526-10CE46604FDB}"/>
                    </a:ext>
                  </a:extLst>
                </p:cNvPr>
                <p:cNvSpPr/>
                <p:nvPr/>
              </p:nvSpPr>
              <p:spPr>
                <a:xfrm rot="-5400000">
                  <a:off x="1981772" y="399225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9" name="Полилиния 798">
                  <a:extLst>
                    <a:ext uri="{FF2B5EF4-FFF2-40B4-BE49-F238E27FC236}">
                      <a16:creationId xmlns:a16="http://schemas.microsoft.com/office/drawing/2014/main" id="{016AE7F2-B479-67B4-E1FB-B870BAE71184}"/>
                    </a:ext>
                  </a:extLst>
                </p:cNvPr>
                <p:cNvSpPr/>
                <p:nvPr/>
              </p:nvSpPr>
              <p:spPr>
                <a:xfrm>
                  <a:off x="2072946" y="399225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0" name="Полилиния 799">
                  <a:extLst>
                    <a:ext uri="{FF2B5EF4-FFF2-40B4-BE49-F238E27FC236}">
                      <a16:creationId xmlns:a16="http://schemas.microsoft.com/office/drawing/2014/main" id="{A1000AC1-DDC2-0F01-607A-61BC895D2AA4}"/>
                    </a:ext>
                  </a:extLst>
                </p:cNvPr>
                <p:cNvSpPr/>
                <p:nvPr/>
              </p:nvSpPr>
              <p:spPr>
                <a:xfrm>
                  <a:off x="2164120" y="399225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1" name="Полилиния 800">
                  <a:extLst>
                    <a:ext uri="{FF2B5EF4-FFF2-40B4-BE49-F238E27FC236}">
                      <a16:creationId xmlns:a16="http://schemas.microsoft.com/office/drawing/2014/main" id="{6A6497C7-9746-81D5-AEDF-98A6AC4C8781}"/>
                    </a:ext>
                  </a:extLst>
                </p:cNvPr>
                <p:cNvSpPr/>
                <p:nvPr/>
              </p:nvSpPr>
              <p:spPr>
                <a:xfrm rot="5400000">
                  <a:off x="2346469" y="399225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2" name="Полилиния 801">
                  <a:extLst>
                    <a:ext uri="{FF2B5EF4-FFF2-40B4-BE49-F238E27FC236}">
                      <a16:creationId xmlns:a16="http://schemas.microsoft.com/office/drawing/2014/main" id="{A11AEA64-E9BF-2773-8EF4-C67CBE35A203}"/>
                    </a:ext>
                  </a:extLst>
                </p:cNvPr>
                <p:cNvSpPr/>
                <p:nvPr/>
              </p:nvSpPr>
              <p:spPr>
                <a:xfrm rot="5400000">
                  <a:off x="2711166" y="399225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3" name="Полилиния 802">
                  <a:extLst>
                    <a:ext uri="{FF2B5EF4-FFF2-40B4-BE49-F238E27FC236}">
                      <a16:creationId xmlns:a16="http://schemas.microsoft.com/office/drawing/2014/main" id="{48749118-15E3-4910-8A05-87C4F872477A}"/>
                    </a:ext>
                  </a:extLst>
                </p:cNvPr>
                <p:cNvSpPr/>
                <p:nvPr/>
              </p:nvSpPr>
              <p:spPr>
                <a:xfrm>
                  <a:off x="2072946" y="408342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4" name="Полилиния 803">
                  <a:extLst>
                    <a:ext uri="{FF2B5EF4-FFF2-40B4-BE49-F238E27FC236}">
                      <a16:creationId xmlns:a16="http://schemas.microsoft.com/office/drawing/2014/main" id="{3C568E31-4622-DBAF-3FB3-E160B29F100E}"/>
                    </a:ext>
                  </a:extLst>
                </p:cNvPr>
                <p:cNvSpPr/>
                <p:nvPr/>
              </p:nvSpPr>
              <p:spPr>
                <a:xfrm>
                  <a:off x="2164120" y="408342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5" name="Полилиния 804">
                  <a:extLst>
                    <a:ext uri="{FF2B5EF4-FFF2-40B4-BE49-F238E27FC236}">
                      <a16:creationId xmlns:a16="http://schemas.microsoft.com/office/drawing/2014/main" id="{D005C009-286E-AE38-8F0E-B52E226C48EB}"/>
                    </a:ext>
                  </a:extLst>
                </p:cNvPr>
                <p:cNvSpPr/>
                <p:nvPr/>
              </p:nvSpPr>
              <p:spPr>
                <a:xfrm rot="5400000">
                  <a:off x="2437643" y="408342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6" name="Полилиния 805">
                  <a:extLst>
                    <a:ext uri="{FF2B5EF4-FFF2-40B4-BE49-F238E27FC236}">
                      <a16:creationId xmlns:a16="http://schemas.microsoft.com/office/drawing/2014/main" id="{011E90BD-242F-08AD-D430-5F795164AF4B}"/>
                    </a:ext>
                  </a:extLst>
                </p:cNvPr>
                <p:cNvSpPr/>
                <p:nvPr/>
              </p:nvSpPr>
              <p:spPr>
                <a:xfrm rot="-5400000">
                  <a:off x="1981772" y="417459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7" name="Полилиния 806">
                  <a:extLst>
                    <a:ext uri="{FF2B5EF4-FFF2-40B4-BE49-F238E27FC236}">
                      <a16:creationId xmlns:a16="http://schemas.microsoft.com/office/drawing/2014/main" id="{B5039C16-D8EC-4A07-149E-12D7802E8E3E}"/>
                    </a:ext>
                  </a:extLst>
                </p:cNvPr>
                <p:cNvSpPr/>
                <p:nvPr/>
              </p:nvSpPr>
              <p:spPr>
                <a:xfrm rot="5400000">
                  <a:off x="2164120" y="417459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8" name="Полилиния 807">
                  <a:extLst>
                    <a:ext uri="{FF2B5EF4-FFF2-40B4-BE49-F238E27FC236}">
                      <a16:creationId xmlns:a16="http://schemas.microsoft.com/office/drawing/2014/main" id="{58302434-C263-2A20-F755-816DCE1CC666}"/>
                    </a:ext>
                  </a:extLst>
                </p:cNvPr>
                <p:cNvSpPr/>
                <p:nvPr/>
              </p:nvSpPr>
              <p:spPr>
                <a:xfrm rot="-5400000">
                  <a:off x="2619992" y="417459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9" name="Полилиния 808">
                  <a:extLst>
                    <a:ext uri="{FF2B5EF4-FFF2-40B4-BE49-F238E27FC236}">
                      <a16:creationId xmlns:a16="http://schemas.microsoft.com/office/drawing/2014/main" id="{CEB12436-0A78-6C27-B942-4941D65B2553}"/>
                    </a:ext>
                  </a:extLst>
                </p:cNvPr>
                <p:cNvSpPr/>
                <p:nvPr/>
              </p:nvSpPr>
              <p:spPr>
                <a:xfrm>
                  <a:off x="2711166" y="417459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0" name="Полилиния 809">
                  <a:extLst>
                    <a:ext uri="{FF2B5EF4-FFF2-40B4-BE49-F238E27FC236}">
                      <a16:creationId xmlns:a16="http://schemas.microsoft.com/office/drawing/2014/main" id="{B8929779-43E9-C7BC-385E-3E8AB8A27724}"/>
                    </a:ext>
                  </a:extLst>
                </p:cNvPr>
                <p:cNvSpPr/>
                <p:nvPr/>
              </p:nvSpPr>
              <p:spPr>
                <a:xfrm>
                  <a:off x="1981772" y="4265773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1" name="Полилиния 810">
                  <a:extLst>
                    <a:ext uri="{FF2B5EF4-FFF2-40B4-BE49-F238E27FC236}">
                      <a16:creationId xmlns:a16="http://schemas.microsoft.com/office/drawing/2014/main" id="{AA90515A-7C81-10E5-DA0C-912701E06F8A}"/>
                    </a:ext>
                  </a:extLst>
                </p:cNvPr>
                <p:cNvSpPr/>
                <p:nvPr/>
              </p:nvSpPr>
              <p:spPr>
                <a:xfrm rot="5400000">
                  <a:off x="2072946" y="4265773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2" name="Полилиния 811">
                  <a:extLst>
                    <a:ext uri="{FF2B5EF4-FFF2-40B4-BE49-F238E27FC236}">
                      <a16:creationId xmlns:a16="http://schemas.microsoft.com/office/drawing/2014/main" id="{72C25DCC-BC61-260C-F0D8-02ED4EF26F9C}"/>
                    </a:ext>
                  </a:extLst>
                </p:cNvPr>
                <p:cNvSpPr/>
                <p:nvPr/>
              </p:nvSpPr>
              <p:spPr>
                <a:xfrm rot="-5400000">
                  <a:off x="2346469" y="4265773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3" name="Полилиния 812">
                  <a:extLst>
                    <a:ext uri="{FF2B5EF4-FFF2-40B4-BE49-F238E27FC236}">
                      <a16:creationId xmlns:a16="http://schemas.microsoft.com/office/drawing/2014/main" id="{9790BF3A-09E2-C924-9674-414AC0F2403E}"/>
                    </a:ext>
                  </a:extLst>
                </p:cNvPr>
                <p:cNvSpPr/>
                <p:nvPr/>
              </p:nvSpPr>
              <p:spPr>
                <a:xfrm>
                  <a:off x="2437643" y="4265773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4" name="Полилиния 813">
                  <a:extLst>
                    <a:ext uri="{FF2B5EF4-FFF2-40B4-BE49-F238E27FC236}">
                      <a16:creationId xmlns:a16="http://schemas.microsoft.com/office/drawing/2014/main" id="{90E588FF-3375-84D1-1557-BA9CA09E50B8}"/>
                    </a:ext>
                  </a:extLst>
                </p:cNvPr>
                <p:cNvSpPr/>
                <p:nvPr/>
              </p:nvSpPr>
              <p:spPr>
                <a:xfrm>
                  <a:off x="2711166" y="4265773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5" name="Полилиния 814">
                  <a:extLst>
                    <a:ext uri="{FF2B5EF4-FFF2-40B4-BE49-F238E27FC236}">
                      <a16:creationId xmlns:a16="http://schemas.microsoft.com/office/drawing/2014/main" id="{3AB1E627-3416-83A9-5229-3AFF6A9894AC}"/>
                    </a:ext>
                  </a:extLst>
                </p:cNvPr>
                <p:cNvSpPr/>
                <p:nvPr/>
              </p:nvSpPr>
              <p:spPr>
                <a:xfrm rot="-5400000">
                  <a:off x="2164120" y="435694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6" name="Полилиния 815">
                  <a:extLst>
                    <a:ext uri="{FF2B5EF4-FFF2-40B4-BE49-F238E27FC236}">
                      <a16:creationId xmlns:a16="http://schemas.microsoft.com/office/drawing/2014/main" id="{97C1E3C5-D8F6-A445-ED1C-69C70FED48F8}"/>
                    </a:ext>
                  </a:extLst>
                </p:cNvPr>
                <p:cNvSpPr/>
                <p:nvPr/>
              </p:nvSpPr>
              <p:spPr>
                <a:xfrm>
                  <a:off x="2346469" y="435694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7" name="Полилиния 816">
                  <a:extLst>
                    <a:ext uri="{FF2B5EF4-FFF2-40B4-BE49-F238E27FC236}">
                      <a16:creationId xmlns:a16="http://schemas.microsoft.com/office/drawing/2014/main" id="{1DFD362F-A907-06BD-F9E2-DD81D0058158}"/>
                    </a:ext>
                  </a:extLst>
                </p:cNvPr>
                <p:cNvSpPr/>
                <p:nvPr/>
              </p:nvSpPr>
              <p:spPr>
                <a:xfrm>
                  <a:off x="2437643" y="435694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8" name="Полилиния 817">
                  <a:extLst>
                    <a:ext uri="{FF2B5EF4-FFF2-40B4-BE49-F238E27FC236}">
                      <a16:creationId xmlns:a16="http://schemas.microsoft.com/office/drawing/2014/main" id="{201CF776-5EA4-82E3-2CF0-4EAC3D96E52B}"/>
                    </a:ext>
                  </a:extLst>
                </p:cNvPr>
                <p:cNvSpPr/>
                <p:nvPr/>
              </p:nvSpPr>
              <p:spPr>
                <a:xfrm>
                  <a:off x="2528817" y="435694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9" name="Полилиния 818">
                  <a:extLst>
                    <a:ext uri="{FF2B5EF4-FFF2-40B4-BE49-F238E27FC236}">
                      <a16:creationId xmlns:a16="http://schemas.microsoft.com/office/drawing/2014/main" id="{13F6173A-3C5E-A894-58CE-1E6AD2E64A6E}"/>
                    </a:ext>
                  </a:extLst>
                </p:cNvPr>
                <p:cNvSpPr/>
                <p:nvPr/>
              </p:nvSpPr>
              <p:spPr>
                <a:xfrm>
                  <a:off x="2711166" y="435694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0" name="Полилиния 819">
                  <a:extLst>
                    <a:ext uri="{FF2B5EF4-FFF2-40B4-BE49-F238E27FC236}">
                      <a16:creationId xmlns:a16="http://schemas.microsoft.com/office/drawing/2014/main" id="{721C81F8-560E-59D4-24D2-D57E61C40679}"/>
                    </a:ext>
                  </a:extLst>
                </p:cNvPr>
                <p:cNvSpPr/>
                <p:nvPr/>
              </p:nvSpPr>
              <p:spPr>
                <a:xfrm rot="-5400000">
                  <a:off x="1981772" y="444812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1" name="Полилиния 820">
                  <a:extLst>
                    <a:ext uri="{FF2B5EF4-FFF2-40B4-BE49-F238E27FC236}">
                      <a16:creationId xmlns:a16="http://schemas.microsoft.com/office/drawing/2014/main" id="{A786577F-D9F9-814E-B872-60FF7E2069AC}"/>
                    </a:ext>
                  </a:extLst>
                </p:cNvPr>
                <p:cNvSpPr/>
                <p:nvPr/>
              </p:nvSpPr>
              <p:spPr>
                <a:xfrm rot="5400000">
                  <a:off x="2164120" y="444812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2" name="Полилиния 821">
                  <a:extLst>
                    <a:ext uri="{FF2B5EF4-FFF2-40B4-BE49-F238E27FC236}">
                      <a16:creationId xmlns:a16="http://schemas.microsoft.com/office/drawing/2014/main" id="{7947E744-1244-7CD5-7B7C-0338947DB29F}"/>
                    </a:ext>
                  </a:extLst>
                </p:cNvPr>
                <p:cNvSpPr/>
                <p:nvPr/>
              </p:nvSpPr>
              <p:spPr>
                <a:xfrm>
                  <a:off x="2346469" y="444812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3" name="Полилиния 822">
                  <a:extLst>
                    <a:ext uri="{FF2B5EF4-FFF2-40B4-BE49-F238E27FC236}">
                      <a16:creationId xmlns:a16="http://schemas.microsoft.com/office/drawing/2014/main" id="{98171117-5956-6F6C-2FCC-0AFC563ECE6B}"/>
                    </a:ext>
                  </a:extLst>
                </p:cNvPr>
                <p:cNvSpPr/>
                <p:nvPr/>
              </p:nvSpPr>
              <p:spPr>
                <a:xfrm rot="5400000">
                  <a:off x="2528817" y="444812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4" name="Полилиния 823">
                  <a:extLst>
                    <a:ext uri="{FF2B5EF4-FFF2-40B4-BE49-F238E27FC236}">
                      <a16:creationId xmlns:a16="http://schemas.microsoft.com/office/drawing/2014/main" id="{FD532B24-C26F-C4BB-6847-112532342780}"/>
                    </a:ext>
                  </a:extLst>
                </p:cNvPr>
                <p:cNvSpPr/>
                <p:nvPr/>
              </p:nvSpPr>
              <p:spPr>
                <a:xfrm rot="5400000">
                  <a:off x="2711166" y="444812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5" name="Полилиния 824">
                  <a:extLst>
                    <a:ext uri="{FF2B5EF4-FFF2-40B4-BE49-F238E27FC236}">
                      <a16:creationId xmlns:a16="http://schemas.microsoft.com/office/drawing/2014/main" id="{9E705551-D922-D9A0-6083-12EC792E4FF5}"/>
                    </a:ext>
                  </a:extLst>
                </p:cNvPr>
                <p:cNvSpPr/>
                <p:nvPr/>
              </p:nvSpPr>
              <p:spPr>
                <a:xfrm>
                  <a:off x="1981772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6" name="Полилиния 825">
                  <a:extLst>
                    <a:ext uri="{FF2B5EF4-FFF2-40B4-BE49-F238E27FC236}">
                      <a16:creationId xmlns:a16="http://schemas.microsoft.com/office/drawing/2014/main" id="{8B600FE4-275A-CC8C-0E84-A9D696A223BD}"/>
                    </a:ext>
                  </a:extLst>
                </p:cNvPr>
                <p:cNvSpPr/>
                <p:nvPr/>
              </p:nvSpPr>
              <p:spPr>
                <a:xfrm rot="5400000">
                  <a:off x="2072946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7" name="Полилиния 826">
                  <a:extLst>
                    <a:ext uri="{FF2B5EF4-FFF2-40B4-BE49-F238E27FC236}">
                      <a16:creationId xmlns:a16="http://schemas.microsoft.com/office/drawing/2014/main" id="{9E6AF0BB-51B9-5941-5CEC-109FC7C3D6D5}"/>
                    </a:ext>
                  </a:extLst>
                </p:cNvPr>
                <p:cNvSpPr/>
                <p:nvPr/>
              </p:nvSpPr>
              <p:spPr>
                <a:xfrm rot="-5400000">
                  <a:off x="2255295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8" name="Полилиния 827">
                  <a:extLst>
                    <a:ext uri="{FF2B5EF4-FFF2-40B4-BE49-F238E27FC236}">
                      <a16:creationId xmlns:a16="http://schemas.microsoft.com/office/drawing/2014/main" id="{950BEF95-84ED-A59C-09D4-AA523AC41059}"/>
                    </a:ext>
                  </a:extLst>
                </p:cNvPr>
                <p:cNvSpPr/>
                <p:nvPr/>
              </p:nvSpPr>
              <p:spPr>
                <a:xfrm>
                  <a:off x="2346469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9" name="Полилиния 828">
                  <a:extLst>
                    <a:ext uri="{FF2B5EF4-FFF2-40B4-BE49-F238E27FC236}">
                      <a16:creationId xmlns:a16="http://schemas.microsoft.com/office/drawing/2014/main" id="{2265A0A2-440F-C0BB-EE30-95B0A28DC2FD}"/>
                    </a:ext>
                  </a:extLst>
                </p:cNvPr>
                <p:cNvSpPr/>
                <p:nvPr/>
              </p:nvSpPr>
              <p:spPr>
                <a:xfrm rot="5400000">
                  <a:off x="2437643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0" name="Полилиния 829">
                  <a:extLst>
                    <a:ext uri="{FF2B5EF4-FFF2-40B4-BE49-F238E27FC236}">
                      <a16:creationId xmlns:a16="http://schemas.microsoft.com/office/drawing/2014/main" id="{03332CB8-5FC2-0F3B-7A18-DD20CBD75DA9}"/>
                    </a:ext>
                  </a:extLst>
                </p:cNvPr>
                <p:cNvSpPr/>
                <p:nvPr/>
              </p:nvSpPr>
              <p:spPr>
                <a:xfrm rot="-5400000">
                  <a:off x="2619992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1" name="Полилиния 830">
                  <a:extLst>
                    <a:ext uri="{FF2B5EF4-FFF2-40B4-BE49-F238E27FC236}">
                      <a16:creationId xmlns:a16="http://schemas.microsoft.com/office/drawing/2014/main" id="{42CC4FDC-DAA0-F57D-8548-71447955F290}"/>
                    </a:ext>
                  </a:extLst>
                </p:cNvPr>
                <p:cNvSpPr/>
                <p:nvPr/>
              </p:nvSpPr>
              <p:spPr>
                <a:xfrm rot="-5400000">
                  <a:off x="1343551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2" name="Полилиния 831">
                  <a:extLst>
                    <a:ext uri="{FF2B5EF4-FFF2-40B4-BE49-F238E27FC236}">
                      <a16:creationId xmlns:a16="http://schemas.microsoft.com/office/drawing/2014/main" id="{508760CB-D646-B348-EB8F-1D4D14309E3E}"/>
                    </a:ext>
                  </a:extLst>
                </p:cNvPr>
                <p:cNvSpPr/>
                <p:nvPr/>
              </p:nvSpPr>
              <p:spPr>
                <a:xfrm rot="-5400000">
                  <a:off x="1525900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3" name="Полилиния 832">
                  <a:extLst>
                    <a:ext uri="{FF2B5EF4-FFF2-40B4-BE49-F238E27FC236}">
                      <a16:creationId xmlns:a16="http://schemas.microsoft.com/office/drawing/2014/main" id="{A39E9E9B-B539-DB05-6D07-EB1618015667}"/>
                    </a:ext>
                  </a:extLst>
                </p:cNvPr>
                <p:cNvSpPr/>
                <p:nvPr/>
              </p:nvSpPr>
              <p:spPr>
                <a:xfrm>
                  <a:off x="1617074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4" name="Полилиния 833">
                  <a:extLst>
                    <a:ext uri="{FF2B5EF4-FFF2-40B4-BE49-F238E27FC236}">
                      <a16:creationId xmlns:a16="http://schemas.microsoft.com/office/drawing/2014/main" id="{2809EB12-9B4B-7C0A-8B97-AC260939BF4C}"/>
                    </a:ext>
                  </a:extLst>
                </p:cNvPr>
                <p:cNvSpPr/>
                <p:nvPr/>
              </p:nvSpPr>
              <p:spPr>
                <a:xfrm>
                  <a:off x="1708249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5" name="Полилиния 834">
                  <a:extLst>
                    <a:ext uri="{FF2B5EF4-FFF2-40B4-BE49-F238E27FC236}">
                      <a16:creationId xmlns:a16="http://schemas.microsoft.com/office/drawing/2014/main" id="{034CEA7F-1D74-F327-6DA3-B6AC3B05224F}"/>
                    </a:ext>
                  </a:extLst>
                </p:cNvPr>
                <p:cNvSpPr/>
                <p:nvPr/>
              </p:nvSpPr>
              <p:spPr>
                <a:xfrm rot="5400000">
                  <a:off x="1799423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6" name="Полилиния 835">
                  <a:extLst>
                    <a:ext uri="{FF2B5EF4-FFF2-40B4-BE49-F238E27FC236}">
                      <a16:creationId xmlns:a16="http://schemas.microsoft.com/office/drawing/2014/main" id="{00CDF0C1-9B69-7964-FBC9-3BFC98610225}"/>
                    </a:ext>
                  </a:extLst>
                </p:cNvPr>
                <p:cNvSpPr/>
                <p:nvPr/>
              </p:nvSpPr>
              <p:spPr>
                <a:xfrm rot="5400000">
                  <a:off x="1981772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7" name="Полилиния 836">
                  <a:extLst>
                    <a:ext uri="{FF2B5EF4-FFF2-40B4-BE49-F238E27FC236}">
                      <a16:creationId xmlns:a16="http://schemas.microsoft.com/office/drawing/2014/main" id="{3038C7CD-5728-DF3F-E658-A2C85FA4CD8B}"/>
                    </a:ext>
                  </a:extLst>
                </p:cNvPr>
                <p:cNvSpPr/>
                <p:nvPr/>
              </p:nvSpPr>
              <p:spPr>
                <a:xfrm>
                  <a:off x="2619992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8" name="Полилиния 837">
                  <a:extLst>
                    <a:ext uri="{FF2B5EF4-FFF2-40B4-BE49-F238E27FC236}">
                      <a16:creationId xmlns:a16="http://schemas.microsoft.com/office/drawing/2014/main" id="{FDF01416-8E0C-B49E-19DB-E3C55A25C667}"/>
                    </a:ext>
                  </a:extLst>
                </p:cNvPr>
                <p:cNvSpPr/>
                <p:nvPr/>
              </p:nvSpPr>
              <p:spPr>
                <a:xfrm>
                  <a:off x="2711166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9" name="Полилиния 838">
                  <a:extLst>
                    <a:ext uri="{FF2B5EF4-FFF2-40B4-BE49-F238E27FC236}">
                      <a16:creationId xmlns:a16="http://schemas.microsoft.com/office/drawing/2014/main" id="{F8848984-C969-C96E-89D1-5D50F27245E9}"/>
                    </a:ext>
                  </a:extLst>
                </p:cNvPr>
                <p:cNvSpPr/>
                <p:nvPr/>
              </p:nvSpPr>
              <p:spPr>
                <a:xfrm>
                  <a:off x="2802340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0" name="Полилиния 839">
                  <a:extLst>
                    <a:ext uri="{FF2B5EF4-FFF2-40B4-BE49-F238E27FC236}">
                      <a16:creationId xmlns:a16="http://schemas.microsoft.com/office/drawing/2014/main" id="{A88E8448-510B-5E5B-BD66-D167B601A62D}"/>
                    </a:ext>
                  </a:extLst>
                </p:cNvPr>
                <p:cNvSpPr/>
                <p:nvPr/>
              </p:nvSpPr>
              <p:spPr>
                <a:xfrm rot="5400000">
                  <a:off x="2893515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1" name="Полилиния 840">
                  <a:extLst>
                    <a:ext uri="{FF2B5EF4-FFF2-40B4-BE49-F238E27FC236}">
                      <a16:creationId xmlns:a16="http://schemas.microsoft.com/office/drawing/2014/main" id="{1ADEFD04-3006-7210-BC8D-329FD88AC1EF}"/>
                    </a:ext>
                  </a:extLst>
                </p:cNvPr>
                <p:cNvSpPr/>
                <p:nvPr/>
              </p:nvSpPr>
              <p:spPr>
                <a:xfrm rot="-5400000">
                  <a:off x="3075863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2" name="Полилиния 841">
                  <a:extLst>
                    <a:ext uri="{FF2B5EF4-FFF2-40B4-BE49-F238E27FC236}">
                      <a16:creationId xmlns:a16="http://schemas.microsoft.com/office/drawing/2014/main" id="{C2079E3A-CDC6-2CBA-1472-8D71C9BECE10}"/>
                    </a:ext>
                  </a:extLst>
                </p:cNvPr>
                <p:cNvSpPr/>
                <p:nvPr/>
              </p:nvSpPr>
              <p:spPr>
                <a:xfrm>
                  <a:off x="3167038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3" name="Полилиния 842">
                  <a:extLst>
                    <a:ext uri="{FF2B5EF4-FFF2-40B4-BE49-F238E27FC236}">
                      <a16:creationId xmlns:a16="http://schemas.microsoft.com/office/drawing/2014/main" id="{D2DF15C3-EF5F-BFA8-E4BB-C09457B6D1CA}"/>
                    </a:ext>
                  </a:extLst>
                </p:cNvPr>
                <p:cNvSpPr/>
                <p:nvPr/>
              </p:nvSpPr>
              <p:spPr>
                <a:xfrm rot="-5400000">
                  <a:off x="3349386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4" name="Полилиния 843">
                  <a:extLst>
                    <a:ext uri="{FF2B5EF4-FFF2-40B4-BE49-F238E27FC236}">
                      <a16:creationId xmlns:a16="http://schemas.microsoft.com/office/drawing/2014/main" id="{2C593203-E990-02A7-8C8C-31DFEB55CBCB}"/>
                    </a:ext>
                  </a:extLst>
                </p:cNvPr>
                <p:cNvSpPr/>
                <p:nvPr/>
              </p:nvSpPr>
              <p:spPr>
                <a:xfrm rot="-5400000">
                  <a:off x="1252377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5" name="Полилиния 844">
                  <a:extLst>
                    <a:ext uri="{FF2B5EF4-FFF2-40B4-BE49-F238E27FC236}">
                      <a16:creationId xmlns:a16="http://schemas.microsoft.com/office/drawing/2014/main" id="{C429EEB4-6696-BE49-018D-DB213BE62FB5}"/>
                    </a:ext>
                  </a:extLst>
                </p:cNvPr>
                <p:cNvSpPr/>
                <p:nvPr/>
              </p:nvSpPr>
              <p:spPr>
                <a:xfrm>
                  <a:off x="1343551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6" name="Полилиния 845">
                  <a:extLst>
                    <a:ext uri="{FF2B5EF4-FFF2-40B4-BE49-F238E27FC236}">
                      <a16:creationId xmlns:a16="http://schemas.microsoft.com/office/drawing/2014/main" id="{FCF43CFE-307A-32F7-41E8-70B790243760}"/>
                    </a:ext>
                  </a:extLst>
                </p:cNvPr>
                <p:cNvSpPr/>
                <p:nvPr/>
              </p:nvSpPr>
              <p:spPr>
                <a:xfrm>
                  <a:off x="1434726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7" name="Полилиния 846">
                  <a:extLst>
                    <a:ext uri="{FF2B5EF4-FFF2-40B4-BE49-F238E27FC236}">
                      <a16:creationId xmlns:a16="http://schemas.microsoft.com/office/drawing/2014/main" id="{C66769DF-D946-E35E-E3B3-0DCC6E256715}"/>
                    </a:ext>
                  </a:extLst>
                </p:cNvPr>
                <p:cNvSpPr/>
                <p:nvPr/>
              </p:nvSpPr>
              <p:spPr>
                <a:xfrm>
                  <a:off x="1525900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8" name="Полилиния 847">
                  <a:extLst>
                    <a:ext uri="{FF2B5EF4-FFF2-40B4-BE49-F238E27FC236}">
                      <a16:creationId xmlns:a16="http://schemas.microsoft.com/office/drawing/2014/main" id="{67E744E1-79A9-F068-EBE5-D4DD11AF73CA}"/>
                    </a:ext>
                  </a:extLst>
                </p:cNvPr>
                <p:cNvSpPr/>
                <p:nvPr/>
              </p:nvSpPr>
              <p:spPr>
                <a:xfrm>
                  <a:off x="1617074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9" name="Полилиния 848">
                  <a:extLst>
                    <a:ext uri="{FF2B5EF4-FFF2-40B4-BE49-F238E27FC236}">
                      <a16:creationId xmlns:a16="http://schemas.microsoft.com/office/drawing/2014/main" id="{9694BF0F-58DF-8DF0-7237-BAE1BB81EAE7}"/>
                    </a:ext>
                  </a:extLst>
                </p:cNvPr>
                <p:cNvSpPr/>
                <p:nvPr/>
              </p:nvSpPr>
              <p:spPr>
                <a:xfrm>
                  <a:off x="1708249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0" name="Полилиния 849">
                  <a:extLst>
                    <a:ext uri="{FF2B5EF4-FFF2-40B4-BE49-F238E27FC236}">
                      <a16:creationId xmlns:a16="http://schemas.microsoft.com/office/drawing/2014/main" id="{BE6D1C7D-798C-A90B-30B1-3735B0BF1ECF}"/>
                    </a:ext>
                  </a:extLst>
                </p:cNvPr>
                <p:cNvSpPr/>
                <p:nvPr/>
              </p:nvSpPr>
              <p:spPr>
                <a:xfrm rot="-5400000">
                  <a:off x="1890597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1" name="Полилиния 850">
                  <a:extLst>
                    <a:ext uri="{FF2B5EF4-FFF2-40B4-BE49-F238E27FC236}">
                      <a16:creationId xmlns:a16="http://schemas.microsoft.com/office/drawing/2014/main" id="{0E04D676-1FCB-177E-85C2-7E0EF4C09051}"/>
                    </a:ext>
                  </a:extLst>
                </p:cNvPr>
                <p:cNvSpPr/>
                <p:nvPr/>
              </p:nvSpPr>
              <p:spPr>
                <a:xfrm rot="-5400000">
                  <a:off x="2072946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2" name="Полилиния 851">
                  <a:extLst>
                    <a:ext uri="{FF2B5EF4-FFF2-40B4-BE49-F238E27FC236}">
                      <a16:creationId xmlns:a16="http://schemas.microsoft.com/office/drawing/2014/main" id="{55EF19E2-456F-EE40-B5B7-5BDD64B1A6E9}"/>
                    </a:ext>
                  </a:extLst>
                </p:cNvPr>
                <p:cNvSpPr/>
                <p:nvPr/>
              </p:nvSpPr>
              <p:spPr>
                <a:xfrm rot="5400000">
                  <a:off x="2164120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3" name="Полилиния 852">
                  <a:extLst>
                    <a:ext uri="{FF2B5EF4-FFF2-40B4-BE49-F238E27FC236}">
                      <a16:creationId xmlns:a16="http://schemas.microsoft.com/office/drawing/2014/main" id="{10D9D2E7-E505-E151-69B3-2B75ABC0A39A}"/>
                    </a:ext>
                  </a:extLst>
                </p:cNvPr>
                <p:cNvSpPr/>
                <p:nvPr/>
              </p:nvSpPr>
              <p:spPr>
                <a:xfrm rot="-5400000">
                  <a:off x="2346469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4" name="Полилиния 853">
                  <a:extLst>
                    <a:ext uri="{FF2B5EF4-FFF2-40B4-BE49-F238E27FC236}">
                      <a16:creationId xmlns:a16="http://schemas.microsoft.com/office/drawing/2014/main" id="{7A0ED07A-F335-CA68-1E70-5018EC73C0C2}"/>
                    </a:ext>
                  </a:extLst>
                </p:cNvPr>
                <p:cNvSpPr/>
                <p:nvPr/>
              </p:nvSpPr>
              <p:spPr>
                <a:xfrm>
                  <a:off x="2619992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5" name="Полилиния 854">
                  <a:extLst>
                    <a:ext uri="{FF2B5EF4-FFF2-40B4-BE49-F238E27FC236}">
                      <a16:creationId xmlns:a16="http://schemas.microsoft.com/office/drawing/2014/main" id="{6216238E-25BE-D500-FB06-30F9A94A3382}"/>
                    </a:ext>
                  </a:extLst>
                </p:cNvPr>
                <p:cNvSpPr/>
                <p:nvPr/>
              </p:nvSpPr>
              <p:spPr>
                <a:xfrm rot="-5400000">
                  <a:off x="2984689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6" name="Полилиния 855">
                  <a:extLst>
                    <a:ext uri="{FF2B5EF4-FFF2-40B4-BE49-F238E27FC236}">
                      <a16:creationId xmlns:a16="http://schemas.microsoft.com/office/drawing/2014/main" id="{D43084B7-335C-F0D7-2F33-096CDBC145EF}"/>
                    </a:ext>
                  </a:extLst>
                </p:cNvPr>
                <p:cNvSpPr/>
                <p:nvPr/>
              </p:nvSpPr>
              <p:spPr>
                <a:xfrm>
                  <a:off x="3075863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7" name="Полилиния 856">
                  <a:extLst>
                    <a:ext uri="{FF2B5EF4-FFF2-40B4-BE49-F238E27FC236}">
                      <a16:creationId xmlns:a16="http://schemas.microsoft.com/office/drawing/2014/main" id="{0600A4C1-F7FA-F5A6-167C-D4248610D836}"/>
                    </a:ext>
                  </a:extLst>
                </p:cNvPr>
                <p:cNvSpPr/>
                <p:nvPr/>
              </p:nvSpPr>
              <p:spPr>
                <a:xfrm>
                  <a:off x="3167038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8" name="Полилиния 857">
                  <a:extLst>
                    <a:ext uri="{FF2B5EF4-FFF2-40B4-BE49-F238E27FC236}">
                      <a16:creationId xmlns:a16="http://schemas.microsoft.com/office/drawing/2014/main" id="{1DCB38D0-8F01-82FA-7C2F-202659702CBC}"/>
                    </a:ext>
                  </a:extLst>
                </p:cNvPr>
                <p:cNvSpPr/>
                <p:nvPr/>
              </p:nvSpPr>
              <p:spPr>
                <a:xfrm>
                  <a:off x="3258212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9" name="Полилиния 858">
                  <a:extLst>
                    <a:ext uri="{FF2B5EF4-FFF2-40B4-BE49-F238E27FC236}">
                      <a16:creationId xmlns:a16="http://schemas.microsoft.com/office/drawing/2014/main" id="{5BE8D634-92FF-0EBE-389C-EB52986EAB81}"/>
                    </a:ext>
                  </a:extLst>
                </p:cNvPr>
                <p:cNvSpPr/>
                <p:nvPr/>
              </p:nvSpPr>
              <p:spPr>
                <a:xfrm rot="5400000">
                  <a:off x="3349386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0" name="Полилиния 859">
                  <a:extLst>
                    <a:ext uri="{FF2B5EF4-FFF2-40B4-BE49-F238E27FC236}">
                      <a16:creationId xmlns:a16="http://schemas.microsoft.com/office/drawing/2014/main" id="{10C67351-FBCB-2F2F-A46D-B4B831292571}"/>
                    </a:ext>
                  </a:extLst>
                </p:cNvPr>
                <p:cNvSpPr/>
                <p:nvPr/>
              </p:nvSpPr>
              <p:spPr>
                <a:xfrm rot="5400000">
                  <a:off x="1525900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1" name="Полилиния 860">
                  <a:extLst>
                    <a:ext uri="{FF2B5EF4-FFF2-40B4-BE49-F238E27FC236}">
                      <a16:creationId xmlns:a16="http://schemas.microsoft.com/office/drawing/2014/main" id="{A6373E72-BD22-0413-7CB9-F1310FA3F42F}"/>
                    </a:ext>
                  </a:extLst>
                </p:cNvPr>
                <p:cNvSpPr/>
                <p:nvPr/>
              </p:nvSpPr>
              <p:spPr>
                <a:xfrm>
                  <a:off x="1708249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2" name="Полилиния 861">
                  <a:extLst>
                    <a:ext uri="{FF2B5EF4-FFF2-40B4-BE49-F238E27FC236}">
                      <a16:creationId xmlns:a16="http://schemas.microsoft.com/office/drawing/2014/main" id="{FEA28998-14D4-C136-25EA-5E4427648574}"/>
                    </a:ext>
                  </a:extLst>
                </p:cNvPr>
                <p:cNvSpPr/>
                <p:nvPr/>
              </p:nvSpPr>
              <p:spPr>
                <a:xfrm>
                  <a:off x="1799423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3" name="Полилиния 862">
                  <a:extLst>
                    <a:ext uri="{FF2B5EF4-FFF2-40B4-BE49-F238E27FC236}">
                      <a16:creationId xmlns:a16="http://schemas.microsoft.com/office/drawing/2014/main" id="{19BCF405-4785-167A-E24F-E4C360BA6759}"/>
                    </a:ext>
                  </a:extLst>
                </p:cNvPr>
                <p:cNvSpPr/>
                <p:nvPr/>
              </p:nvSpPr>
              <p:spPr>
                <a:xfrm>
                  <a:off x="1890597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4" name="Полилиния 863">
                  <a:extLst>
                    <a:ext uri="{FF2B5EF4-FFF2-40B4-BE49-F238E27FC236}">
                      <a16:creationId xmlns:a16="http://schemas.microsoft.com/office/drawing/2014/main" id="{8A0C8D19-305C-5374-E8FE-33C701EC2871}"/>
                    </a:ext>
                  </a:extLst>
                </p:cNvPr>
                <p:cNvSpPr/>
                <p:nvPr/>
              </p:nvSpPr>
              <p:spPr>
                <a:xfrm rot="-5400000">
                  <a:off x="2255295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5" name="Полилиния 864">
                  <a:extLst>
                    <a:ext uri="{FF2B5EF4-FFF2-40B4-BE49-F238E27FC236}">
                      <a16:creationId xmlns:a16="http://schemas.microsoft.com/office/drawing/2014/main" id="{5B51C998-280E-A89E-FACD-17AE443B76AC}"/>
                    </a:ext>
                  </a:extLst>
                </p:cNvPr>
                <p:cNvSpPr/>
                <p:nvPr/>
              </p:nvSpPr>
              <p:spPr>
                <a:xfrm rot="5400000">
                  <a:off x="2346469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6" name="Полилиния 865">
                  <a:extLst>
                    <a:ext uri="{FF2B5EF4-FFF2-40B4-BE49-F238E27FC236}">
                      <a16:creationId xmlns:a16="http://schemas.microsoft.com/office/drawing/2014/main" id="{5316F627-41A6-56BA-4B8E-38008ADE231A}"/>
                    </a:ext>
                  </a:extLst>
                </p:cNvPr>
                <p:cNvSpPr/>
                <p:nvPr/>
              </p:nvSpPr>
              <p:spPr>
                <a:xfrm rot="-5400000">
                  <a:off x="2528817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7" name="Полилиния 866">
                  <a:extLst>
                    <a:ext uri="{FF2B5EF4-FFF2-40B4-BE49-F238E27FC236}">
                      <a16:creationId xmlns:a16="http://schemas.microsoft.com/office/drawing/2014/main" id="{CECFA69C-077F-9AAE-A57E-7001DE3AAF5C}"/>
                    </a:ext>
                  </a:extLst>
                </p:cNvPr>
                <p:cNvSpPr/>
                <p:nvPr/>
              </p:nvSpPr>
              <p:spPr>
                <a:xfrm>
                  <a:off x="2619992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8" name="Полилиния 867">
                  <a:extLst>
                    <a:ext uri="{FF2B5EF4-FFF2-40B4-BE49-F238E27FC236}">
                      <a16:creationId xmlns:a16="http://schemas.microsoft.com/office/drawing/2014/main" id="{9A45DDB0-A500-E5A0-D9E5-F3CFF08B12D5}"/>
                    </a:ext>
                  </a:extLst>
                </p:cNvPr>
                <p:cNvSpPr/>
                <p:nvPr/>
              </p:nvSpPr>
              <p:spPr>
                <a:xfrm rot="5400000">
                  <a:off x="2711166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9" name="Полилиния 868">
                  <a:extLst>
                    <a:ext uri="{FF2B5EF4-FFF2-40B4-BE49-F238E27FC236}">
                      <a16:creationId xmlns:a16="http://schemas.microsoft.com/office/drawing/2014/main" id="{CEAFB210-AD4A-EE6A-7401-D15B6CEC5E65}"/>
                    </a:ext>
                  </a:extLst>
                </p:cNvPr>
                <p:cNvSpPr/>
                <p:nvPr/>
              </p:nvSpPr>
              <p:spPr>
                <a:xfrm>
                  <a:off x="2984689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0" name="Полилиния 869">
                  <a:extLst>
                    <a:ext uri="{FF2B5EF4-FFF2-40B4-BE49-F238E27FC236}">
                      <a16:creationId xmlns:a16="http://schemas.microsoft.com/office/drawing/2014/main" id="{7C52F116-95D6-0B02-B491-657BB188B3FC}"/>
                    </a:ext>
                  </a:extLst>
                </p:cNvPr>
                <p:cNvSpPr/>
                <p:nvPr/>
              </p:nvSpPr>
              <p:spPr>
                <a:xfrm>
                  <a:off x="3167038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1" name="Полилиния 870">
                  <a:extLst>
                    <a:ext uri="{FF2B5EF4-FFF2-40B4-BE49-F238E27FC236}">
                      <a16:creationId xmlns:a16="http://schemas.microsoft.com/office/drawing/2014/main" id="{6450374E-A77E-0029-225F-FFEC7C2957C3}"/>
                    </a:ext>
                  </a:extLst>
                </p:cNvPr>
                <p:cNvSpPr/>
                <p:nvPr/>
              </p:nvSpPr>
              <p:spPr>
                <a:xfrm rot="-5400000">
                  <a:off x="3440561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2" name="Полилиния 871">
                  <a:extLst>
                    <a:ext uri="{FF2B5EF4-FFF2-40B4-BE49-F238E27FC236}">
                      <a16:creationId xmlns:a16="http://schemas.microsoft.com/office/drawing/2014/main" id="{C3A390EC-05FC-EC42-7490-6C9314E4A518}"/>
                    </a:ext>
                  </a:extLst>
                </p:cNvPr>
                <p:cNvSpPr/>
                <p:nvPr/>
              </p:nvSpPr>
              <p:spPr>
                <a:xfrm rot="-5400000">
                  <a:off x="1343551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3" name="Полилиния 872">
                  <a:extLst>
                    <a:ext uri="{FF2B5EF4-FFF2-40B4-BE49-F238E27FC236}">
                      <a16:creationId xmlns:a16="http://schemas.microsoft.com/office/drawing/2014/main" id="{7B7F7414-E7C2-CB8D-249A-A2BDA64A0B5E}"/>
                    </a:ext>
                  </a:extLst>
                </p:cNvPr>
                <p:cNvSpPr/>
                <p:nvPr/>
              </p:nvSpPr>
              <p:spPr>
                <a:xfrm>
                  <a:off x="1434726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4" name="Полилиния 873">
                  <a:extLst>
                    <a:ext uri="{FF2B5EF4-FFF2-40B4-BE49-F238E27FC236}">
                      <a16:creationId xmlns:a16="http://schemas.microsoft.com/office/drawing/2014/main" id="{189FA044-395D-5FC6-60C3-E94D0C8531DC}"/>
                    </a:ext>
                  </a:extLst>
                </p:cNvPr>
                <p:cNvSpPr/>
                <p:nvPr/>
              </p:nvSpPr>
              <p:spPr>
                <a:xfrm rot="5400000">
                  <a:off x="1617074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5" name="Полилиния 874">
                  <a:extLst>
                    <a:ext uri="{FF2B5EF4-FFF2-40B4-BE49-F238E27FC236}">
                      <a16:creationId xmlns:a16="http://schemas.microsoft.com/office/drawing/2014/main" id="{860212EF-9222-1FB2-8FF5-FDCCA010CAB1}"/>
                    </a:ext>
                  </a:extLst>
                </p:cNvPr>
                <p:cNvSpPr/>
                <p:nvPr/>
              </p:nvSpPr>
              <p:spPr>
                <a:xfrm>
                  <a:off x="1890597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6" name="Полилиния 875">
                  <a:extLst>
                    <a:ext uri="{FF2B5EF4-FFF2-40B4-BE49-F238E27FC236}">
                      <a16:creationId xmlns:a16="http://schemas.microsoft.com/office/drawing/2014/main" id="{B9BDFBC7-D04A-1D85-8953-A6CBA4F43C7E}"/>
                    </a:ext>
                  </a:extLst>
                </p:cNvPr>
                <p:cNvSpPr/>
                <p:nvPr/>
              </p:nvSpPr>
              <p:spPr>
                <a:xfrm>
                  <a:off x="1981772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7" name="Полилиния 876">
                  <a:extLst>
                    <a:ext uri="{FF2B5EF4-FFF2-40B4-BE49-F238E27FC236}">
                      <a16:creationId xmlns:a16="http://schemas.microsoft.com/office/drawing/2014/main" id="{AB4DC634-2314-8555-34E3-66C8C07D944A}"/>
                    </a:ext>
                  </a:extLst>
                </p:cNvPr>
                <p:cNvSpPr/>
                <p:nvPr/>
              </p:nvSpPr>
              <p:spPr>
                <a:xfrm rot="5400000">
                  <a:off x="2072946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8" name="Полилиния 877">
                  <a:extLst>
                    <a:ext uri="{FF2B5EF4-FFF2-40B4-BE49-F238E27FC236}">
                      <a16:creationId xmlns:a16="http://schemas.microsoft.com/office/drawing/2014/main" id="{D55D01AE-426B-5ECA-CDE5-8258B063E264}"/>
                    </a:ext>
                  </a:extLst>
                </p:cNvPr>
                <p:cNvSpPr/>
                <p:nvPr/>
              </p:nvSpPr>
              <p:spPr>
                <a:xfrm>
                  <a:off x="2528817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9" name="Полилиния 878">
                  <a:extLst>
                    <a:ext uri="{FF2B5EF4-FFF2-40B4-BE49-F238E27FC236}">
                      <a16:creationId xmlns:a16="http://schemas.microsoft.com/office/drawing/2014/main" id="{BB428378-062B-EFDF-6AE7-DC3DBCADCB5B}"/>
                    </a:ext>
                  </a:extLst>
                </p:cNvPr>
                <p:cNvSpPr/>
                <p:nvPr/>
              </p:nvSpPr>
              <p:spPr>
                <a:xfrm rot="5400000">
                  <a:off x="2619992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0" name="Полилиния 879">
                  <a:extLst>
                    <a:ext uri="{FF2B5EF4-FFF2-40B4-BE49-F238E27FC236}">
                      <a16:creationId xmlns:a16="http://schemas.microsoft.com/office/drawing/2014/main" id="{D9C062CA-B4F8-D244-A76C-97C45330DD31}"/>
                    </a:ext>
                  </a:extLst>
                </p:cNvPr>
                <p:cNvSpPr/>
                <p:nvPr/>
              </p:nvSpPr>
              <p:spPr>
                <a:xfrm>
                  <a:off x="2984689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1" name="Полилиния 880">
                  <a:extLst>
                    <a:ext uri="{FF2B5EF4-FFF2-40B4-BE49-F238E27FC236}">
                      <a16:creationId xmlns:a16="http://schemas.microsoft.com/office/drawing/2014/main" id="{28D3C757-F182-FBF7-CD62-54D4A4C2FB39}"/>
                    </a:ext>
                  </a:extLst>
                </p:cNvPr>
                <p:cNvSpPr/>
                <p:nvPr/>
              </p:nvSpPr>
              <p:spPr>
                <a:xfrm>
                  <a:off x="3167038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2" name="Полилиния 881">
                  <a:extLst>
                    <a:ext uri="{FF2B5EF4-FFF2-40B4-BE49-F238E27FC236}">
                      <a16:creationId xmlns:a16="http://schemas.microsoft.com/office/drawing/2014/main" id="{C9F39A43-779A-4B1F-CF12-33C470CC8268}"/>
                    </a:ext>
                  </a:extLst>
                </p:cNvPr>
                <p:cNvSpPr/>
                <p:nvPr/>
              </p:nvSpPr>
              <p:spPr>
                <a:xfrm>
                  <a:off x="3258212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3" name="Полилиния 882">
                  <a:extLst>
                    <a:ext uri="{FF2B5EF4-FFF2-40B4-BE49-F238E27FC236}">
                      <a16:creationId xmlns:a16="http://schemas.microsoft.com/office/drawing/2014/main" id="{7D4AB940-D3F4-9E43-B4C6-2EEEE0904B41}"/>
                    </a:ext>
                  </a:extLst>
                </p:cNvPr>
                <p:cNvSpPr/>
                <p:nvPr/>
              </p:nvSpPr>
              <p:spPr>
                <a:xfrm>
                  <a:off x="3349386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4" name="Полилиния 883">
                  <a:extLst>
                    <a:ext uri="{FF2B5EF4-FFF2-40B4-BE49-F238E27FC236}">
                      <a16:creationId xmlns:a16="http://schemas.microsoft.com/office/drawing/2014/main" id="{19657F59-70D7-645E-F5C0-583BFF5F5CB1}"/>
                    </a:ext>
                  </a:extLst>
                </p:cNvPr>
                <p:cNvSpPr/>
                <p:nvPr/>
              </p:nvSpPr>
              <p:spPr>
                <a:xfrm>
                  <a:off x="3440561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5" name="Полилиния 884">
                  <a:extLst>
                    <a:ext uri="{FF2B5EF4-FFF2-40B4-BE49-F238E27FC236}">
                      <a16:creationId xmlns:a16="http://schemas.microsoft.com/office/drawing/2014/main" id="{244CED64-F8AC-AEAF-8F48-3C0F9A31F09C}"/>
                    </a:ext>
                  </a:extLst>
                </p:cNvPr>
                <p:cNvSpPr/>
                <p:nvPr/>
              </p:nvSpPr>
              <p:spPr>
                <a:xfrm rot="-5400000">
                  <a:off x="1252377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6" name="Полилиния 885">
                  <a:extLst>
                    <a:ext uri="{FF2B5EF4-FFF2-40B4-BE49-F238E27FC236}">
                      <a16:creationId xmlns:a16="http://schemas.microsoft.com/office/drawing/2014/main" id="{A4DC6659-1A0B-7C2A-5B56-44B86C9C0F57}"/>
                    </a:ext>
                  </a:extLst>
                </p:cNvPr>
                <p:cNvSpPr/>
                <p:nvPr/>
              </p:nvSpPr>
              <p:spPr>
                <a:xfrm>
                  <a:off x="1343551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7" name="Полилиния 886">
                  <a:extLst>
                    <a:ext uri="{FF2B5EF4-FFF2-40B4-BE49-F238E27FC236}">
                      <a16:creationId xmlns:a16="http://schemas.microsoft.com/office/drawing/2014/main" id="{BD97C5A0-6E17-1793-EB64-C331892C919C}"/>
                    </a:ext>
                  </a:extLst>
                </p:cNvPr>
                <p:cNvSpPr/>
                <p:nvPr/>
              </p:nvSpPr>
              <p:spPr>
                <a:xfrm>
                  <a:off x="1434726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8" name="Полилиния 887">
                  <a:extLst>
                    <a:ext uri="{FF2B5EF4-FFF2-40B4-BE49-F238E27FC236}">
                      <a16:creationId xmlns:a16="http://schemas.microsoft.com/office/drawing/2014/main" id="{07EFB46F-CD66-4D30-245F-031856181ABA}"/>
                    </a:ext>
                  </a:extLst>
                </p:cNvPr>
                <p:cNvSpPr/>
                <p:nvPr/>
              </p:nvSpPr>
              <p:spPr>
                <a:xfrm rot="5400000">
                  <a:off x="1799423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9" name="Полилиния 888">
                  <a:extLst>
                    <a:ext uri="{FF2B5EF4-FFF2-40B4-BE49-F238E27FC236}">
                      <a16:creationId xmlns:a16="http://schemas.microsoft.com/office/drawing/2014/main" id="{71C13DDB-8A65-A2CE-5BDB-18D8B32E4775}"/>
                    </a:ext>
                  </a:extLst>
                </p:cNvPr>
                <p:cNvSpPr/>
                <p:nvPr/>
              </p:nvSpPr>
              <p:spPr>
                <a:xfrm rot="5400000">
                  <a:off x="1981772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90" name="Полилиния 889">
                  <a:extLst>
                    <a:ext uri="{FF2B5EF4-FFF2-40B4-BE49-F238E27FC236}">
                      <a16:creationId xmlns:a16="http://schemas.microsoft.com/office/drawing/2014/main" id="{EA427E2C-AE81-B510-62E1-16144EA2FEBF}"/>
                    </a:ext>
                  </a:extLst>
                </p:cNvPr>
                <p:cNvSpPr/>
                <p:nvPr/>
              </p:nvSpPr>
              <p:spPr>
                <a:xfrm rot="5400000">
                  <a:off x="2255295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91" name="Полилиния 890">
                  <a:extLst>
                    <a:ext uri="{FF2B5EF4-FFF2-40B4-BE49-F238E27FC236}">
                      <a16:creationId xmlns:a16="http://schemas.microsoft.com/office/drawing/2014/main" id="{8325952A-520F-6B16-85E4-66CA016A51C9}"/>
                    </a:ext>
                  </a:extLst>
                </p:cNvPr>
                <p:cNvSpPr/>
                <p:nvPr/>
              </p:nvSpPr>
              <p:spPr>
                <a:xfrm rot="-5400000">
                  <a:off x="2437643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92" name="Полилиния 891">
                  <a:extLst>
                    <a:ext uri="{FF2B5EF4-FFF2-40B4-BE49-F238E27FC236}">
                      <a16:creationId xmlns:a16="http://schemas.microsoft.com/office/drawing/2014/main" id="{90B384F8-A7F3-AF72-7FC5-BC5E6F73C932}"/>
                    </a:ext>
                  </a:extLst>
                </p:cNvPr>
                <p:cNvSpPr/>
                <p:nvPr/>
              </p:nvSpPr>
              <p:spPr>
                <a:xfrm>
                  <a:off x="2528817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93" name="Полилиния 892">
                  <a:extLst>
                    <a:ext uri="{FF2B5EF4-FFF2-40B4-BE49-F238E27FC236}">
                      <a16:creationId xmlns:a16="http://schemas.microsoft.com/office/drawing/2014/main" id="{EE79DF5F-DC94-5777-AD1C-814BFA32ED65}"/>
                    </a:ext>
                  </a:extLst>
                </p:cNvPr>
                <p:cNvSpPr/>
                <p:nvPr/>
              </p:nvSpPr>
              <p:spPr>
                <a:xfrm rot="5400000">
                  <a:off x="2711166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94" name="Полилиния 893">
                  <a:extLst>
                    <a:ext uri="{FF2B5EF4-FFF2-40B4-BE49-F238E27FC236}">
                      <a16:creationId xmlns:a16="http://schemas.microsoft.com/office/drawing/2014/main" id="{642D1C49-F181-49ED-22F6-8A3FAB03B80F}"/>
                    </a:ext>
                  </a:extLst>
                </p:cNvPr>
                <p:cNvSpPr/>
                <p:nvPr/>
              </p:nvSpPr>
              <p:spPr>
                <a:xfrm rot="-5400000">
                  <a:off x="2893515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95" name="Полилиния 894">
                  <a:extLst>
                    <a:ext uri="{FF2B5EF4-FFF2-40B4-BE49-F238E27FC236}">
                      <a16:creationId xmlns:a16="http://schemas.microsoft.com/office/drawing/2014/main" id="{BC02651A-237F-784C-7C29-76E1CF803F78}"/>
                    </a:ext>
                  </a:extLst>
                </p:cNvPr>
                <p:cNvSpPr/>
                <p:nvPr/>
              </p:nvSpPr>
              <p:spPr>
                <a:xfrm rot="5400000">
                  <a:off x="2984689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96" name="Полилиния 895">
                  <a:extLst>
                    <a:ext uri="{FF2B5EF4-FFF2-40B4-BE49-F238E27FC236}">
                      <a16:creationId xmlns:a16="http://schemas.microsoft.com/office/drawing/2014/main" id="{870D1DB0-355F-D1DF-1A18-F181A73082D7}"/>
                    </a:ext>
                  </a:extLst>
                </p:cNvPr>
                <p:cNvSpPr/>
                <p:nvPr/>
              </p:nvSpPr>
              <p:spPr>
                <a:xfrm rot="5400000">
                  <a:off x="3440561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97" name="Полилиния 896">
                  <a:extLst>
                    <a:ext uri="{FF2B5EF4-FFF2-40B4-BE49-F238E27FC236}">
                      <a16:creationId xmlns:a16="http://schemas.microsoft.com/office/drawing/2014/main" id="{7C5D9A52-E7FC-2C69-8FB4-D910316E7001}"/>
                    </a:ext>
                  </a:extLst>
                </p:cNvPr>
                <p:cNvSpPr/>
                <p:nvPr/>
              </p:nvSpPr>
              <p:spPr>
                <a:xfrm>
                  <a:off x="1252377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98" name="Полилиния 897">
                  <a:extLst>
                    <a:ext uri="{FF2B5EF4-FFF2-40B4-BE49-F238E27FC236}">
                      <a16:creationId xmlns:a16="http://schemas.microsoft.com/office/drawing/2014/main" id="{B8928B96-803D-D36F-A5CD-00AF31C17237}"/>
                    </a:ext>
                  </a:extLst>
                </p:cNvPr>
                <p:cNvSpPr/>
                <p:nvPr/>
              </p:nvSpPr>
              <p:spPr>
                <a:xfrm>
                  <a:off x="1343551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99" name="Полилиния 898">
                  <a:extLst>
                    <a:ext uri="{FF2B5EF4-FFF2-40B4-BE49-F238E27FC236}">
                      <a16:creationId xmlns:a16="http://schemas.microsoft.com/office/drawing/2014/main" id="{2F674B5F-1520-D205-38E5-96975E937E25}"/>
                    </a:ext>
                  </a:extLst>
                </p:cNvPr>
                <p:cNvSpPr/>
                <p:nvPr/>
              </p:nvSpPr>
              <p:spPr>
                <a:xfrm>
                  <a:off x="1434726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00" name="Полилиния 899">
                  <a:extLst>
                    <a:ext uri="{FF2B5EF4-FFF2-40B4-BE49-F238E27FC236}">
                      <a16:creationId xmlns:a16="http://schemas.microsoft.com/office/drawing/2014/main" id="{8E602136-9340-0169-0BB8-A0FCC34BA43C}"/>
                    </a:ext>
                  </a:extLst>
                </p:cNvPr>
                <p:cNvSpPr/>
                <p:nvPr/>
              </p:nvSpPr>
              <p:spPr>
                <a:xfrm rot="5400000">
                  <a:off x="1708249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01" name="Полилиния 900">
                  <a:extLst>
                    <a:ext uri="{FF2B5EF4-FFF2-40B4-BE49-F238E27FC236}">
                      <a16:creationId xmlns:a16="http://schemas.microsoft.com/office/drawing/2014/main" id="{B4B85971-CD39-A05B-E6C6-0EF50D3C35FF}"/>
                    </a:ext>
                  </a:extLst>
                </p:cNvPr>
                <p:cNvSpPr/>
                <p:nvPr/>
              </p:nvSpPr>
              <p:spPr>
                <a:xfrm rot="5400000">
                  <a:off x="1890597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02" name="Полилиния 901">
                  <a:extLst>
                    <a:ext uri="{FF2B5EF4-FFF2-40B4-BE49-F238E27FC236}">
                      <a16:creationId xmlns:a16="http://schemas.microsoft.com/office/drawing/2014/main" id="{015C4A99-73F8-7940-A199-4D6AE8215858}"/>
                    </a:ext>
                  </a:extLst>
                </p:cNvPr>
                <p:cNvSpPr/>
                <p:nvPr/>
              </p:nvSpPr>
              <p:spPr>
                <a:xfrm rot="5400000">
                  <a:off x="2072946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03" name="Полилиния 902">
                  <a:extLst>
                    <a:ext uri="{FF2B5EF4-FFF2-40B4-BE49-F238E27FC236}">
                      <a16:creationId xmlns:a16="http://schemas.microsoft.com/office/drawing/2014/main" id="{6984CB55-3485-5333-5797-0DB063C4202F}"/>
                    </a:ext>
                  </a:extLst>
                </p:cNvPr>
                <p:cNvSpPr/>
                <p:nvPr/>
              </p:nvSpPr>
              <p:spPr>
                <a:xfrm rot="-5400000">
                  <a:off x="2346469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04" name="Полилиния 903">
                  <a:extLst>
                    <a:ext uri="{FF2B5EF4-FFF2-40B4-BE49-F238E27FC236}">
                      <a16:creationId xmlns:a16="http://schemas.microsoft.com/office/drawing/2014/main" id="{86C06C3A-E486-F327-59DD-5953D614A5CA}"/>
                    </a:ext>
                  </a:extLst>
                </p:cNvPr>
                <p:cNvSpPr/>
                <p:nvPr/>
              </p:nvSpPr>
              <p:spPr>
                <a:xfrm>
                  <a:off x="2437643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05" name="Полилиния 904">
                  <a:extLst>
                    <a:ext uri="{FF2B5EF4-FFF2-40B4-BE49-F238E27FC236}">
                      <a16:creationId xmlns:a16="http://schemas.microsoft.com/office/drawing/2014/main" id="{A5C1FB8E-6C8D-3BD4-8B97-92496E378045}"/>
                    </a:ext>
                  </a:extLst>
                </p:cNvPr>
                <p:cNvSpPr/>
                <p:nvPr/>
              </p:nvSpPr>
              <p:spPr>
                <a:xfrm>
                  <a:off x="2528817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06" name="Полилиния 905">
                  <a:extLst>
                    <a:ext uri="{FF2B5EF4-FFF2-40B4-BE49-F238E27FC236}">
                      <a16:creationId xmlns:a16="http://schemas.microsoft.com/office/drawing/2014/main" id="{95AA4545-0319-F8EA-3FB6-4A97EB886BDE}"/>
                    </a:ext>
                  </a:extLst>
                </p:cNvPr>
                <p:cNvSpPr/>
                <p:nvPr/>
              </p:nvSpPr>
              <p:spPr>
                <a:xfrm>
                  <a:off x="2619992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07" name="Полилиния 906">
                  <a:extLst>
                    <a:ext uri="{FF2B5EF4-FFF2-40B4-BE49-F238E27FC236}">
                      <a16:creationId xmlns:a16="http://schemas.microsoft.com/office/drawing/2014/main" id="{1BBD603F-BFEC-1AEB-D9FD-B4F3488FDBC6}"/>
                    </a:ext>
                  </a:extLst>
                </p:cNvPr>
                <p:cNvSpPr/>
                <p:nvPr/>
              </p:nvSpPr>
              <p:spPr>
                <a:xfrm rot="-5400000">
                  <a:off x="3075863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08" name="Полилиния 907">
                  <a:extLst>
                    <a:ext uri="{FF2B5EF4-FFF2-40B4-BE49-F238E27FC236}">
                      <a16:creationId xmlns:a16="http://schemas.microsoft.com/office/drawing/2014/main" id="{E03D7F09-68BE-EA54-2B60-48171197E310}"/>
                    </a:ext>
                  </a:extLst>
                </p:cNvPr>
                <p:cNvSpPr/>
                <p:nvPr/>
              </p:nvSpPr>
              <p:spPr>
                <a:xfrm rot="-5400000">
                  <a:off x="3349386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09" name="Полилиния 908">
                  <a:extLst>
                    <a:ext uri="{FF2B5EF4-FFF2-40B4-BE49-F238E27FC236}">
                      <a16:creationId xmlns:a16="http://schemas.microsoft.com/office/drawing/2014/main" id="{D84CBE87-6193-41F3-FE88-254A69DFA6D0}"/>
                    </a:ext>
                  </a:extLst>
                </p:cNvPr>
                <p:cNvSpPr/>
                <p:nvPr/>
              </p:nvSpPr>
              <p:spPr>
                <a:xfrm>
                  <a:off x="1252377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10" name="Полилиния 909">
                  <a:extLst>
                    <a:ext uri="{FF2B5EF4-FFF2-40B4-BE49-F238E27FC236}">
                      <a16:creationId xmlns:a16="http://schemas.microsoft.com/office/drawing/2014/main" id="{34122E93-389E-2978-03CC-4A32F8650ABC}"/>
                    </a:ext>
                  </a:extLst>
                </p:cNvPr>
                <p:cNvSpPr/>
                <p:nvPr/>
              </p:nvSpPr>
              <p:spPr>
                <a:xfrm>
                  <a:off x="1343551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11" name="Полилиния 910">
                  <a:extLst>
                    <a:ext uri="{FF2B5EF4-FFF2-40B4-BE49-F238E27FC236}">
                      <a16:creationId xmlns:a16="http://schemas.microsoft.com/office/drawing/2014/main" id="{6DC513C7-6695-13A1-60FC-5923E878AC05}"/>
                    </a:ext>
                  </a:extLst>
                </p:cNvPr>
                <p:cNvSpPr/>
                <p:nvPr/>
              </p:nvSpPr>
              <p:spPr>
                <a:xfrm>
                  <a:off x="1434726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12" name="Полилиния 911">
                  <a:extLst>
                    <a:ext uri="{FF2B5EF4-FFF2-40B4-BE49-F238E27FC236}">
                      <a16:creationId xmlns:a16="http://schemas.microsoft.com/office/drawing/2014/main" id="{BBFCB171-23DE-82B3-75D6-978E2FD889BC}"/>
                    </a:ext>
                  </a:extLst>
                </p:cNvPr>
                <p:cNvSpPr/>
                <p:nvPr/>
              </p:nvSpPr>
              <p:spPr>
                <a:xfrm rot="5400000">
                  <a:off x="1617074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13" name="Полилиния 912">
                  <a:extLst>
                    <a:ext uri="{FF2B5EF4-FFF2-40B4-BE49-F238E27FC236}">
                      <a16:creationId xmlns:a16="http://schemas.microsoft.com/office/drawing/2014/main" id="{47E35018-72D7-9C8C-A901-B711CEA2E20D}"/>
                    </a:ext>
                  </a:extLst>
                </p:cNvPr>
                <p:cNvSpPr/>
                <p:nvPr/>
              </p:nvSpPr>
              <p:spPr>
                <a:xfrm rot="5400000">
                  <a:off x="1799423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14" name="Полилиния 913">
                  <a:extLst>
                    <a:ext uri="{FF2B5EF4-FFF2-40B4-BE49-F238E27FC236}">
                      <a16:creationId xmlns:a16="http://schemas.microsoft.com/office/drawing/2014/main" id="{CEAF3181-B01E-120F-024B-B533D7A0262A}"/>
                    </a:ext>
                  </a:extLst>
                </p:cNvPr>
                <p:cNvSpPr/>
                <p:nvPr/>
              </p:nvSpPr>
              <p:spPr>
                <a:xfrm rot="-5400000">
                  <a:off x="2164120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15" name="Полилиния 914">
                  <a:extLst>
                    <a:ext uri="{FF2B5EF4-FFF2-40B4-BE49-F238E27FC236}">
                      <a16:creationId xmlns:a16="http://schemas.microsoft.com/office/drawing/2014/main" id="{D196392A-86DD-F307-8689-9D40F81C1FAE}"/>
                    </a:ext>
                  </a:extLst>
                </p:cNvPr>
                <p:cNvSpPr/>
                <p:nvPr/>
              </p:nvSpPr>
              <p:spPr>
                <a:xfrm rot="5400000">
                  <a:off x="2346469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16" name="Полилиния 915">
                  <a:extLst>
                    <a:ext uri="{FF2B5EF4-FFF2-40B4-BE49-F238E27FC236}">
                      <a16:creationId xmlns:a16="http://schemas.microsoft.com/office/drawing/2014/main" id="{2C8FB02C-311B-EAF0-98CF-4FBBED5B1AFD}"/>
                    </a:ext>
                  </a:extLst>
                </p:cNvPr>
                <p:cNvSpPr/>
                <p:nvPr/>
              </p:nvSpPr>
              <p:spPr>
                <a:xfrm>
                  <a:off x="2528817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17" name="Полилиния 916">
                  <a:extLst>
                    <a:ext uri="{FF2B5EF4-FFF2-40B4-BE49-F238E27FC236}">
                      <a16:creationId xmlns:a16="http://schemas.microsoft.com/office/drawing/2014/main" id="{13416A50-7C4A-C5C5-3C4C-5B0523B3D80F}"/>
                    </a:ext>
                  </a:extLst>
                </p:cNvPr>
                <p:cNvSpPr/>
                <p:nvPr/>
              </p:nvSpPr>
              <p:spPr>
                <a:xfrm rot="5400000">
                  <a:off x="2619992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18" name="Полилиния 917">
                  <a:extLst>
                    <a:ext uri="{FF2B5EF4-FFF2-40B4-BE49-F238E27FC236}">
                      <a16:creationId xmlns:a16="http://schemas.microsoft.com/office/drawing/2014/main" id="{107002BB-6BE2-BEB3-82FA-6FF6DC7BC95F}"/>
                    </a:ext>
                  </a:extLst>
                </p:cNvPr>
                <p:cNvSpPr/>
                <p:nvPr/>
              </p:nvSpPr>
              <p:spPr>
                <a:xfrm rot="-5400000">
                  <a:off x="2802340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19" name="Полилиния 918">
                  <a:extLst>
                    <a:ext uri="{FF2B5EF4-FFF2-40B4-BE49-F238E27FC236}">
                      <a16:creationId xmlns:a16="http://schemas.microsoft.com/office/drawing/2014/main" id="{91D9DC8D-0F0D-489A-A35A-BBC27ED21491}"/>
                    </a:ext>
                  </a:extLst>
                </p:cNvPr>
                <p:cNvSpPr/>
                <p:nvPr/>
              </p:nvSpPr>
              <p:spPr>
                <a:xfrm>
                  <a:off x="3075863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20" name="Полилиния 919">
                  <a:extLst>
                    <a:ext uri="{FF2B5EF4-FFF2-40B4-BE49-F238E27FC236}">
                      <a16:creationId xmlns:a16="http://schemas.microsoft.com/office/drawing/2014/main" id="{1CFF4DBE-A859-4B28-767A-F57CF12083A5}"/>
                    </a:ext>
                  </a:extLst>
                </p:cNvPr>
                <p:cNvSpPr/>
                <p:nvPr/>
              </p:nvSpPr>
              <p:spPr>
                <a:xfrm>
                  <a:off x="3167038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21" name="Полилиния 920">
                  <a:extLst>
                    <a:ext uri="{FF2B5EF4-FFF2-40B4-BE49-F238E27FC236}">
                      <a16:creationId xmlns:a16="http://schemas.microsoft.com/office/drawing/2014/main" id="{19F32D18-78A7-59A3-DC94-383213FD4115}"/>
                    </a:ext>
                  </a:extLst>
                </p:cNvPr>
                <p:cNvSpPr/>
                <p:nvPr/>
              </p:nvSpPr>
              <p:spPr>
                <a:xfrm>
                  <a:off x="3258212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22" name="Полилиния 921">
                  <a:extLst>
                    <a:ext uri="{FF2B5EF4-FFF2-40B4-BE49-F238E27FC236}">
                      <a16:creationId xmlns:a16="http://schemas.microsoft.com/office/drawing/2014/main" id="{50E199F3-C265-868B-E2F1-0F878E5C8EC1}"/>
                    </a:ext>
                  </a:extLst>
                </p:cNvPr>
                <p:cNvSpPr/>
                <p:nvPr/>
              </p:nvSpPr>
              <p:spPr>
                <a:xfrm>
                  <a:off x="3349386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23" name="Полилиния 922">
                  <a:extLst>
                    <a:ext uri="{FF2B5EF4-FFF2-40B4-BE49-F238E27FC236}">
                      <a16:creationId xmlns:a16="http://schemas.microsoft.com/office/drawing/2014/main" id="{618560F6-7045-EEA1-B6FB-A0D626B95ADC}"/>
                    </a:ext>
                  </a:extLst>
                </p:cNvPr>
                <p:cNvSpPr/>
                <p:nvPr/>
              </p:nvSpPr>
              <p:spPr>
                <a:xfrm>
                  <a:off x="3440561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24" name="Полилиния 923">
                  <a:extLst>
                    <a:ext uri="{FF2B5EF4-FFF2-40B4-BE49-F238E27FC236}">
                      <a16:creationId xmlns:a16="http://schemas.microsoft.com/office/drawing/2014/main" id="{1987D9BD-BF0A-E58F-307D-01A8D3BC2F59}"/>
                    </a:ext>
                  </a:extLst>
                </p:cNvPr>
                <p:cNvSpPr/>
                <p:nvPr/>
              </p:nvSpPr>
              <p:spPr>
                <a:xfrm>
                  <a:off x="1252377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25" name="Полилиния 924">
                  <a:extLst>
                    <a:ext uri="{FF2B5EF4-FFF2-40B4-BE49-F238E27FC236}">
                      <a16:creationId xmlns:a16="http://schemas.microsoft.com/office/drawing/2014/main" id="{C27E5199-E83C-A99E-8696-7B80CB6BEB82}"/>
                    </a:ext>
                  </a:extLst>
                </p:cNvPr>
                <p:cNvSpPr/>
                <p:nvPr/>
              </p:nvSpPr>
              <p:spPr>
                <a:xfrm>
                  <a:off x="1434726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26" name="Полилиния 925">
                  <a:extLst>
                    <a:ext uri="{FF2B5EF4-FFF2-40B4-BE49-F238E27FC236}">
                      <a16:creationId xmlns:a16="http://schemas.microsoft.com/office/drawing/2014/main" id="{61F8E90E-E652-0FD6-4DF9-6A87D110BD62}"/>
                    </a:ext>
                  </a:extLst>
                </p:cNvPr>
                <p:cNvSpPr/>
                <p:nvPr/>
              </p:nvSpPr>
              <p:spPr>
                <a:xfrm rot="5400000">
                  <a:off x="1525900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27" name="Полилиния 926">
                  <a:extLst>
                    <a:ext uri="{FF2B5EF4-FFF2-40B4-BE49-F238E27FC236}">
                      <a16:creationId xmlns:a16="http://schemas.microsoft.com/office/drawing/2014/main" id="{B280162E-0751-DCE1-CF06-2BB46CEA888D}"/>
                    </a:ext>
                  </a:extLst>
                </p:cNvPr>
                <p:cNvSpPr/>
                <p:nvPr/>
              </p:nvSpPr>
              <p:spPr>
                <a:xfrm rot="5400000">
                  <a:off x="2164120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28" name="Полилиния 927">
                  <a:extLst>
                    <a:ext uri="{FF2B5EF4-FFF2-40B4-BE49-F238E27FC236}">
                      <a16:creationId xmlns:a16="http://schemas.microsoft.com/office/drawing/2014/main" id="{B34DA319-9ECA-F14D-CED4-335DC95AEAB9}"/>
                    </a:ext>
                  </a:extLst>
                </p:cNvPr>
                <p:cNvSpPr/>
                <p:nvPr/>
              </p:nvSpPr>
              <p:spPr>
                <a:xfrm rot="-5400000">
                  <a:off x="2437643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29" name="Полилиния 928">
                  <a:extLst>
                    <a:ext uri="{FF2B5EF4-FFF2-40B4-BE49-F238E27FC236}">
                      <a16:creationId xmlns:a16="http://schemas.microsoft.com/office/drawing/2014/main" id="{5E5EEA14-15A9-E6B2-9B7C-8D73C8C756A1}"/>
                    </a:ext>
                  </a:extLst>
                </p:cNvPr>
                <p:cNvSpPr/>
                <p:nvPr/>
              </p:nvSpPr>
              <p:spPr>
                <a:xfrm>
                  <a:off x="2802340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30" name="Полилиния 929">
                  <a:extLst>
                    <a:ext uri="{FF2B5EF4-FFF2-40B4-BE49-F238E27FC236}">
                      <a16:creationId xmlns:a16="http://schemas.microsoft.com/office/drawing/2014/main" id="{2DF2147C-82D3-2065-30C5-413F24FE7ABD}"/>
                    </a:ext>
                  </a:extLst>
                </p:cNvPr>
                <p:cNvSpPr/>
                <p:nvPr/>
              </p:nvSpPr>
              <p:spPr>
                <a:xfrm rot="-5400000">
                  <a:off x="2984689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31" name="Полилиния 930">
                  <a:extLst>
                    <a:ext uri="{FF2B5EF4-FFF2-40B4-BE49-F238E27FC236}">
                      <a16:creationId xmlns:a16="http://schemas.microsoft.com/office/drawing/2014/main" id="{D1827196-7529-9D3A-E98E-42C23230AE89}"/>
                    </a:ext>
                  </a:extLst>
                </p:cNvPr>
                <p:cNvSpPr/>
                <p:nvPr/>
              </p:nvSpPr>
              <p:spPr>
                <a:xfrm>
                  <a:off x="3167038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32" name="Полилиния 931">
                  <a:extLst>
                    <a:ext uri="{FF2B5EF4-FFF2-40B4-BE49-F238E27FC236}">
                      <a16:creationId xmlns:a16="http://schemas.microsoft.com/office/drawing/2014/main" id="{CB3EC54C-8D14-5E47-E336-8C07AB07C75E}"/>
                    </a:ext>
                  </a:extLst>
                </p:cNvPr>
                <p:cNvSpPr/>
                <p:nvPr/>
              </p:nvSpPr>
              <p:spPr>
                <a:xfrm>
                  <a:off x="3258212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33" name="Полилиния 932">
                  <a:extLst>
                    <a:ext uri="{FF2B5EF4-FFF2-40B4-BE49-F238E27FC236}">
                      <a16:creationId xmlns:a16="http://schemas.microsoft.com/office/drawing/2014/main" id="{EE2BC4BB-F935-1FDB-4474-7390614FB9A6}"/>
                    </a:ext>
                  </a:extLst>
                </p:cNvPr>
                <p:cNvSpPr/>
                <p:nvPr/>
              </p:nvSpPr>
              <p:spPr>
                <a:xfrm rot="5400000">
                  <a:off x="3440561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34" name="Полилиния 933">
                  <a:extLst>
                    <a:ext uri="{FF2B5EF4-FFF2-40B4-BE49-F238E27FC236}">
                      <a16:creationId xmlns:a16="http://schemas.microsoft.com/office/drawing/2014/main" id="{AFFC9C44-C64A-B936-9071-84B36BC10569}"/>
                    </a:ext>
                  </a:extLst>
                </p:cNvPr>
                <p:cNvSpPr/>
                <p:nvPr/>
              </p:nvSpPr>
              <p:spPr>
                <a:xfrm rot="5400000">
                  <a:off x="1252377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35" name="Полилиния 934">
                  <a:extLst>
                    <a:ext uri="{FF2B5EF4-FFF2-40B4-BE49-F238E27FC236}">
                      <a16:creationId xmlns:a16="http://schemas.microsoft.com/office/drawing/2014/main" id="{2A576ADC-C021-4BEC-BEC7-45B4A23767F2}"/>
                    </a:ext>
                  </a:extLst>
                </p:cNvPr>
                <p:cNvSpPr/>
                <p:nvPr/>
              </p:nvSpPr>
              <p:spPr>
                <a:xfrm rot="-5400000">
                  <a:off x="1617074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36" name="Полилиния 935">
                  <a:extLst>
                    <a:ext uri="{FF2B5EF4-FFF2-40B4-BE49-F238E27FC236}">
                      <a16:creationId xmlns:a16="http://schemas.microsoft.com/office/drawing/2014/main" id="{67DE8620-57B2-1493-C07B-1E30D25CC3EE}"/>
                    </a:ext>
                  </a:extLst>
                </p:cNvPr>
                <p:cNvSpPr/>
                <p:nvPr/>
              </p:nvSpPr>
              <p:spPr>
                <a:xfrm>
                  <a:off x="1708249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37" name="Полилиния 936">
                  <a:extLst>
                    <a:ext uri="{FF2B5EF4-FFF2-40B4-BE49-F238E27FC236}">
                      <a16:creationId xmlns:a16="http://schemas.microsoft.com/office/drawing/2014/main" id="{4973C1D6-94F8-3FAC-C14F-E5433AE2E0EF}"/>
                    </a:ext>
                  </a:extLst>
                </p:cNvPr>
                <p:cNvSpPr/>
                <p:nvPr/>
              </p:nvSpPr>
              <p:spPr>
                <a:xfrm rot="5400000">
                  <a:off x="1799423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38" name="Полилиния 937">
                  <a:extLst>
                    <a:ext uri="{FF2B5EF4-FFF2-40B4-BE49-F238E27FC236}">
                      <a16:creationId xmlns:a16="http://schemas.microsoft.com/office/drawing/2014/main" id="{484F9ED8-BD2B-4546-7876-22534EB42697}"/>
                    </a:ext>
                  </a:extLst>
                </p:cNvPr>
                <p:cNvSpPr/>
                <p:nvPr/>
              </p:nvSpPr>
              <p:spPr>
                <a:xfrm rot="5400000">
                  <a:off x="2072946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39" name="Полилиния 938">
                  <a:extLst>
                    <a:ext uri="{FF2B5EF4-FFF2-40B4-BE49-F238E27FC236}">
                      <a16:creationId xmlns:a16="http://schemas.microsoft.com/office/drawing/2014/main" id="{72F99295-F3AC-C036-E4D9-526711EBD760}"/>
                    </a:ext>
                  </a:extLst>
                </p:cNvPr>
                <p:cNvSpPr/>
                <p:nvPr/>
              </p:nvSpPr>
              <p:spPr>
                <a:xfrm rot="-5400000">
                  <a:off x="2255295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40" name="Полилиния 939">
                  <a:extLst>
                    <a:ext uri="{FF2B5EF4-FFF2-40B4-BE49-F238E27FC236}">
                      <a16:creationId xmlns:a16="http://schemas.microsoft.com/office/drawing/2014/main" id="{10E1B0AB-8EE4-14E6-C1B2-297C37EFAA53}"/>
                    </a:ext>
                  </a:extLst>
                </p:cNvPr>
                <p:cNvSpPr/>
                <p:nvPr/>
              </p:nvSpPr>
              <p:spPr>
                <a:xfrm>
                  <a:off x="2437643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41" name="Полилиния 940">
                  <a:extLst>
                    <a:ext uri="{FF2B5EF4-FFF2-40B4-BE49-F238E27FC236}">
                      <a16:creationId xmlns:a16="http://schemas.microsoft.com/office/drawing/2014/main" id="{9B1ABD03-FA4B-B184-2C5C-BDCAA0534261}"/>
                    </a:ext>
                  </a:extLst>
                </p:cNvPr>
                <p:cNvSpPr/>
                <p:nvPr/>
              </p:nvSpPr>
              <p:spPr>
                <a:xfrm>
                  <a:off x="2528817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42" name="Полилиния 941">
                  <a:extLst>
                    <a:ext uri="{FF2B5EF4-FFF2-40B4-BE49-F238E27FC236}">
                      <a16:creationId xmlns:a16="http://schemas.microsoft.com/office/drawing/2014/main" id="{9AF96F99-46C9-03CA-3294-B9A7FF66A1CD}"/>
                    </a:ext>
                  </a:extLst>
                </p:cNvPr>
                <p:cNvSpPr/>
                <p:nvPr/>
              </p:nvSpPr>
              <p:spPr>
                <a:xfrm>
                  <a:off x="2619992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43" name="Полилиния 942">
                  <a:extLst>
                    <a:ext uri="{FF2B5EF4-FFF2-40B4-BE49-F238E27FC236}">
                      <a16:creationId xmlns:a16="http://schemas.microsoft.com/office/drawing/2014/main" id="{C0B4FE56-CA3F-D967-26A5-D46D89DE7B69}"/>
                    </a:ext>
                  </a:extLst>
                </p:cNvPr>
                <p:cNvSpPr/>
                <p:nvPr/>
              </p:nvSpPr>
              <p:spPr>
                <a:xfrm>
                  <a:off x="2711166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44" name="Полилиния 943">
                  <a:extLst>
                    <a:ext uri="{FF2B5EF4-FFF2-40B4-BE49-F238E27FC236}">
                      <a16:creationId xmlns:a16="http://schemas.microsoft.com/office/drawing/2014/main" id="{16FFED69-0592-0DDF-5AB2-38489633A9AC}"/>
                    </a:ext>
                  </a:extLst>
                </p:cNvPr>
                <p:cNvSpPr/>
                <p:nvPr/>
              </p:nvSpPr>
              <p:spPr>
                <a:xfrm>
                  <a:off x="2802340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45" name="Полилиния 944">
                  <a:extLst>
                    <a:ext uri="{FF2B5EF4-FFF2-40B4-BE49-F238E27FC236}">
                      <a16:creationId xmlns:a16="http://schemas.microsoft.com/office/drawing/2014/main" id="{19926A64-FA04-F47D-A2EC-3207196A2146}"/>
                    </a:ext>
                  </a:extLst>
                </p:cNvPr>
                <p:cNvSpPr/>
                <p:nvPr/>
              </p:nvSpPr>
              <p:spPr>
                <a:xfrm>
                  <a:off x="2893515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46" name="Полилиния 945">
                  <a:extLst>
                    <a:ext uri="{FF2B5EF4-FFF2-40B4-BE49-F238E27FC236}">
                      <a16:creationId xmlns:a16="http://schemas.microsoft.com/office/drawing/2014/main" id="{6707B71D-D0DF-A35F-D892-4B9DBAEA005A}"/>
                    </a:ext>
                  </a:extLst>
                </p:cNvPr>
                <p:cNvSpPr/>
                <p:nvPr/>
              </p:nvSpPr>
              <p:spPr>
                <a:xfrm>
                  <a:off x="2984689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47" name="Полилиния 946">
                  <a:extLst>
                    <a:ext uri="{FF2B5EF4-FFF2-40B4-BE49-F238E27FC236}">
                      <a16:creationId xmlns:a16="http://schemas.microsoft.com/office/drawing/2014/main" id="{1A536EF3-A443-4A19-D95A-8BE406A5634A}"/>
                    </a:ext>
                  </a:extLst>
                </p:cNvPr>
                <p:cNvSpPr/>
                <p:nvPr/>
              </p:nvSpPr>
              <p:spPr>
                <a:xfrm>
                  <a:off x="3075863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48" name="Полилиния 947">
                  <a:extLst>
                    <a:ext uri="{FF2B5EF4-FFF2-40B4-BE49-F238E27FC236}">
                      <a16:creationId xmlns:a16="http://schemas.microsoft.com/office/drawing/2014/main" id="{0430887D-DC0C-8E14-1968-9C1A64C9DD96}"/>
                    </a:ext>
                  </a:extLst>
                </p:cNvPr>
                <p:cNvSpPr/>
                <p:nvPr/>
              </p:nvSpPr>
              <p:spPr>
                <a:xfrm>
                  <a:off x="3258212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49" name="Полилиния 948">
                  <a:extLst>
                    <a:ext uri="{FF2B5EF4-FFF2-40B4-BE49-F238E27FC236}">
                      <a16:creationId xmlns:a16="http://schemas.microsoft.com/office/drawing/2014/main" id="{E45608AD-633D-0637-D12C-5556D93A3E1C}"/>
                    </a:ext>
                  </a:extLst>
                </p:cNvPr>
                <p:cNvSpPr/>
                <p:nvPr/>
              </p:nvSpPr>
              <p:spPr>
                <a:xfrm>
                  <a:off x="3349386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50" name="Полилиния 949">
                  <a:extLst>
                    <a:ext uri="{FF2B5EF4-FFF2-40B4-BE49-F238E27FC236}">
                      <a16:creationId xmlns:a16="http://schemas.microsoft.com/office/drawing/2014/main" id="{D394C984-E671-076E-9D9D-C2CAAF63B9E3}"/>
                    </a:ext>
                  </a:extLst>
                </p:cNvPr>
                <p:cNvSpPr/>
                <p:nvPr/>
              </p:nvSpPr>
              <p:spPr>
                <a:xfrm rot="5400000">
                  <a:off x="1981772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51" name="Полилиния 950">
                  <a:extLst>
                    <a:ext uri="{FF2B5EF4-FFF2-40B4-BE49-F238E27FC236}">
                      <a16:creationId xmlns:a16="http://schemas.microsoft.com/office/drawing/2014/main" id="{C93FA71B-5A79-3145-FE97-921E2CC9764D}"/>
                    </a:ext>
                  </a:extLst>
                </p:cNvPr>
                <p:cNvSpPr/>
                <p:nvPr/>
              </p:nvSpPr>
              <p:spPr>
                <a:xfrm>
                  <a:off x="2255295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52" name="Полилиния 951">
                  <a:extLst>
                    <a:ext uri="{FF2B5EF4-FFF2-40B4-BE49-F238E27FC236}">
                      <a16:creationId xmlns:a16="http://schemas.microsoft.com/office/drawing/2014/main" id="{A4C7E64B-526D-F806-5BB0-A4E4DE156F5C}"/>
                    </a:ext>
                  </a:extLst>
                </p:cNvPr>
                <p:cNvSpPr/>
                <p:nvPr/>
              </p:nvSpPr>
              <p:spPr>
                <a:xfrm rot="5400000">
                  <a:off x="2346469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53" name="Полилиния 952">
                  <a:extLst>
                    <a:ext uri="{FF2B5EF4-FFF2-40B4-BE49-F238E27FC236}">
                      <a16:creationId xmlns:a16="http://schemas.microsoft.com/office/drawing/2014/main" id="{95B1BC1B-1645-12D2-68EF-D714FEC09D3E}"/>
                    </a:ext>
                  </a:extLst>
                </p:cNvPr>
                <p:cNvSpPr/>
                <p:nvPr/>
              </p:nvSpPr>
              <p:spPr>
                <a:xfrm>
                  <a:off x="2619992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54" name="Полилиния 953">
                  <a:extLst>
                    <a:ext uri="{FF2B5EF4-FFF2-40B4-BE49-F238E27FC236}">
                      <a16:creationId xmlns:a16="http://schemas.microsoft.com/office/drawing/2014/main" id="{197E6D73-6D10-9FB7-BCD6-A45156796255}"/>
                    </a:ext>
                  </a:extLst>
                </p:cNvPr>
                <p:cNvSpPr/>
                <p:nvPr/>
              </p:nvSpPr>
              <p:spPr>
                <a:xfrm>
                  <a:off x="2711166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55" name="Полилиния 954">
                  <a:extLst>
                    <a:ext uri="{FF2B5EF4-FFF2-40B4-BE49-F238E27FC236}">
                      <a16:creationId xmlns:a16="http://schemas.microsoft.com/office/drawing/2014/main" id="{B5F7FECF-E178-0A48-CD72-00C17C3B89DA}"/>
                    </a:ext>
                  </a:extLst>
                </p:cNvPr>
                <p:cNvSpPr/>
                <p:nvPr/>
              </p:nvSpPr>
              <p:spPr>
                <a:xfrm>
                  <a:off x="3075863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56" name="Полилиния 955">
                  <a:extLst>
                    <a:ext uri="{FF2B5EF4-FFF2-40B4-BE49-F238E27FC236}">
                      <a16:creationId xmlns:a16="http://schemas.microsoft.com/office/drawing/2014/main" id="{E20B4B16-8079-FF8C-D20F-02460EBEF08A}"/>
                    </a:ext>
                  </a:extLst>
                </p:cNvPr>
                <p:cNvSpPr/>
                <p:nvPr/>
              </p:nvSpPr>
              <p:spPr>
                <a:xfrm>
                  <a:off x="3258212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57" name="Полилиния 956">
                  <a:extLst>
                    <a:ext uri="{FF2B5EF4-FFF2-40B4-BE49-F238E27FC236}">
                      <a16:creationId xmlns:a16="http://schemas.microsoft.com/office/drawing/2014/main" id="{80EDAFFA-8330-C567-E825-B0A6B13B54D7}"/>
                    </a:ext>
                  </a:extLst>
                </p:cNvPr>
                <p:cNvSpPr/>
                <p:nvPr/>
              </p:nvSpPr>
              <p:spPr>
                <a:xfrm rot="5400000">
                  <a:off x="3349386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58" name="Полилиния 957">
                  <a:extLst>
                    <a:ext uri="{FF2B5EF4-FFF2-40B4-BE49-F238E27FC236}">
                      <a16:creationId xmlns:a16="http://schemas.microsoft.com/office/drawing/2014/main" id="{F710E959-A774-F81A-A1B7-8B2AC8571FF2}"/>
                    </a:ext>
                  </a:extLst>
                </p:cNvPr>
                <p:cNvSpPr/>
                <p:nvPr/>
              </p:nvSpPr>
              <p:spPr>
                <a:xfrm>
                  <a:off x="2255295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59" name="Полилиния 958">
                  <a:extLst>
                    <a:ext uri="{FF2B5EF4-FFF2-40B4-BE49-F238E27FC236}">
                      <a16:creationId xmlns:a16="http://schemas.microsoft.com/office/drawing/2014/main" id="{D72DC351-FC2A-F4EE-C63F-F6E3C45D6DE7}"/>
                    </a:ext>
                  </a:extLst>
                </p:cNvPr>
                <p:cNvSpPr/>
                <p:nvPr/>
              </p:nvSpPr>
              <p:spPr>
                <a:xfrm rot="5400000">
                  <a:off x="2437643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60" name="Полилиния 959">
                  <a:extLst>
                    <a:ext uri="{FF2B5EF4-FFF2-40B4-BE49-F238E27FC236}">
                      <a16:creationId xmlns:a16="http://schemas.microsoft.com/office/drawing/2014/main" id="{4949B474-147C-A3E1-F335-ECE374377471}"/>
                    </a:ext>
                  </a:extLst>
                </p:cNvPr>
                <p:cNvSpPr/>
                <p:nvPr/>
              </p:nvSpPr>
              <p:spPr>
                <a:xfrm>
                  <a:off x="2711166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61" name="Полилиния 960">
                  <a:extLst>
                    <a:ext uri="{FF2B5EF4-FFF2-40B4-BE49-F238E27FC236}">
                      <a16:creationId xmlns:a16="http://schemas.microsoft.com/office/drawing/2014/main" id="{D04E9CD1-4636-D92C-6C5A-768B5A88D7E3}"/>
                    </a:ext>
                  </a:extLst>
                </p:cNvPr>
                <p:cNvSpPr/>
                <p:nvPr/>
              </p:nvSpPr>
              <p:spPr>
                <a:xfrm rot="5400000">
                  <a:off x="2893515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62" name="Полилиния 961">
                  <a:extLst>
                    <a:ext uri="{FF2B5EF4-FFF2-40B4-BE49-F238E27FC236}">
                      <a16:creationId xmlns:a16="http://schemas.microsoft.com/office/drawing/2014/main" id="{A5EBA3CD-B777-9849-DAFD-A889CA913061}"/>
                    </a:ext>
                  </a:extLst>
                </p:cNvPr>
                <p:cNvSpPr/>
                <p:nvPr/>
              </p:nvSpPr>
              <p:spPr>
                <a:xfrm>
                  <a:off x="3075863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63" name="Полилиния 962">
                  <a:extLst>
                    <a:ext uri="{FF2B5EF4-FFF2-40B4-BE49-F238E27FC236}">
                      <a16:creationId xmlns:a16="http://schemas.microsoft.com/office/drawing/2014/main" id="{18C18BD5-1193-542E-9B0B-0CD46862908C}"/>
                    </a:ext>
                  </a:extLst>
                </p:cNvPr>
                <p:cNvSpPr/>
                <p:nvPr/>
              </p:nvSpPr>
              <p:spPr>
                <a:xfrm rot="-5400000">
                  <a:off x="3440561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64" name="Полилиния 963">
                  <a:extLst>
                    <a:ext uri="{FF2B5EF4-FFF2-40B4-BE49-F238E27FC236}">
                      <a16:creationId xmlns:a16="http://schemas.microsoft.com/office/drawing/2014/main" id="{83A44833-E861-C816-03A4-F6C925C984EC}"/>
                    </a:ext>
                  </a:extLst>
                </p:cNvPr>
                <p:cNvSpPr/>
                <p:nvPr/>
              </p:nvSpPr>
              <p:spPr>
                <a:xfrm rot="-5400000">
                  <a:off x="1981772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65" name="Полилиния 964">
                  <a:extLst>
                    <a:ext uri="{FF2B5EF4-FFF2-40B4-BE49-F238E27FC236}">
                      <a16:creationId xmlns:a16="http://schemas.microsoft.com/office/drawing/2014/main" id="{2F626C04-6603-290E-4EFC-9917717081BC}"/>
                    </a:ext>
                  </a:extLst>
                </p:cNvPr>
                <p:cNvSpPr/>
                <p:nvPr/>
              </p:nvSpPr>
              <p:spPr>
                <a:xfrm>
                  <a:off x="2255295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66" name="Полилиния 965">
                  <a:extLst>
                    <a:ext uri="{FF2B5EF4-FFF2-40B4-BE49-F238E27FC236}">
                      <a16:creationId xmlns:a16="http://schemas.microsoft.com/office/drawing/2014/main" id="{739D53A6-061B-DA23-58A9-8A7B644109C9}"/>
                    </a:ext>
                  </a:extLst>
                </p:cNvPr>
                <p:cNvSpPr/>
                <p:nvPr/>
              </p:nvSpPr>
              <p:spPr>
                <a:xfrm rot="-5400000">
                  <a:off x="2619992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67" name="Полилиния 966">
                  <a:extLst>
                    <a:ext uri="{FF2B5EF4-FFF2-40B4-BE49-F238E27FC236}">
                      <a16:creationId xmlns:a16="http://schemas.microsoft.com/office/drawing/2014/main" id="{DC9D59EF-E4B8-D44C-AE54-138B31DC72A8}"/>
                    </a:ext>
                  </a:extLst>
                </p:cNvPr>
                <p:cNvSpPr/>
                <p:nvPr/>
              </p:nvSpPr>
              <p:spPr>
                <a:xfrm>
                  <a:off x="2711166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68" name="Полилиния 967">
                  <a:extLst>
                    <a:ext uri="{FF2B5EF4-FFF2-40B4-BE49-F238E27FC236}">
                      <a16:creationId xmlns:a16="http://schemas.microsoft.com/office/drawing/2014/main" id="{4D707E49-88E6-7931-564E-EEDBF154E336}"/>
                    </a:ext>
                  </a:extLst>
                </p:cNvPr>
                <p:cNvSpPr/>
                <p:nvPr/>
              </p:nvSpPr>
              <p:spPr>
                <a:xfrm>
                  <a:off x="3075863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69" name="Полилиния 968">
                  <a:extLst>
                    <a:ext uri="{FF2B5EF4-FFF2-40B4-BE49-F238E27FC236}">
                      <a16:creationId xmlns:a16="http://schemas.microsoft.com/office/drawing/2014/main" id="{7F09A2CA-F1E2-2CD7-28EC-D7889E512B3A}"/>
                    </a:ext>
                  </a:extLst>
                </p:cNvPr>
                <p:cNvSpPr/>
                <p:nvPr/>
              </p:nvSpPr>
              <p:spPr>
                <a:xfrm>
                  <a:off x="3440561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70" name="Полилиния 969">
                  <a:extLst>
                    <a:ext uri="{FF2B5EF4-FFF2-40B4-BE49-F238E27FC236}">
                      <a16:creationId xmlns:a16="http://schemas.microsoft.com/office/drawing/2014/main" id="{97C372BB-D602-1C74-23BD-0B0E1FA9CC3E}"/>
                    </a:ext>
                  </a:extLst>
                </p:cNvPr>
                <p:cNvSpPr/>
                <p:nvPr/>
              </p:nvSpPr>
              <p:spPr>
                <a:xfrm>
                  <a:off x="1981772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71" name="Полилиния 970">
                  <a:extLst>
                    <a:ext uri="{FF2B5EF4-FFF2-40B4-BE49-F238E27FC236}">
                      <a16:creationId xmlns:a16="http://schemas.microsoft.com/office/drawing/2014/main" id="{7D274332-98CE-E619-DF9B-1C06C556A681}"/>
                    </a:ext>
                  </a:extLst>
                </p:cNvPr>
                <p:cNvSpPr/>
                <p:nvPr/>
              </p:nvSpPr>
              <p:spPr>
                <a:xfrm rot="-5400000">
                  <a:off x="2164120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72" name="Полилиния 971">
                  <a:extLst>
                    <a:ext uri="{FF2B5EF4-FFF2-40B4-BE49-F238E27FC236}">
                      <a16:creationId xmlns:a16="http://schemas.microsoft.com/office/drawing/2014/main" id="{82C47284-473F-4016-B226-4EDCC05B8E15}"/>
                    </a:ext>
                  </a:extLst>
                </p:cNvPr>
                <p:cNvSpPr/>
                <p:nvPr/>
              </p:nvSpPr>
              <p:spPr>
                <a:xfrm>
                  <a:off x="2255295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73" name="Полилиния 972">
                  <a:extLst>
                    <a:ext uri="{FF2B5EF4-FFF2-40B4-BE49-F238E27FC236}">
                      <a16:creationId xmlns:a16="http://schemas.microsoft.com/office/drawing/2014/main" id="{E5E101BF-A3D3-CD23-5459-ABF102749905}"/>
                    </a:ext>
                  </a:extLst>
                </p:cNvPr>
                <p:cNvSpPr/>
                <p:nvPr/>
              </p:nvSpPr>
              <p:spPr>
                <a:xfrm>
                  <a:off x="2346469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74" name="Полилиния 973">
                  <a:extLst>
                    <a:ext uri="{FF2B5EF4-FFF2-40B4-BE49-F238E27FC236}">
                      <a16:creationId xmlns:a16="http://schemas.microsoft.com/office/drawing/2014/main" id="{2494D135-4EFE-9526-3772-8CB42555B9F2}"/>
                    </a:ext>
                  </a:extLst>
                </p:cNvPr>
                <p:cNvSpPr/>
                <p:nvPr/>
              </p:nvSpPr>
              <p:spPr>
                <a:xfrm>
                  <a:off x="2437643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75" name="Полилиния 974">
                  <a:extLst>
                    <a:ext uri="{FF2B5EF4-FFF2-40B4-BE49-F238E27FC236}">
                      <a16:creationId xmlns:a16="http://schemas.microsoft.com/office/drawing/2014/main" id="{ACEF7067-553B-EB5D-6EBB-F818A0FD0424}"/>
                    </a:ext>
                  </a:extLst>
                </p:cNvPr>
                <p:cNvSpPr/>
                <p:nvPr/>
              </p:nvSpPr>
              <p:spPr>
                <a:xfrm>
                  <a:off x="2528817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76" name="Полилиния 975">
                  <a:extLst>
                    <a:ext uri="{FF2B5EF4-FFF2-40B4-BE49-F238E27FC236}">
                      <a16:creationId xmlns:a16="http://schemas.microsoft.com/office/drawing/2014/main" id="{19BC9AFE-6657-6FCB-2424-2B57977C8D03}"/>
                    </a:ext>
                  </a:extLst>
                </p:cNvPr>
                <p:cNvSpPr/>
                <p:nvPr/>
              </p:nvSpPr>
              <p:spPr>
                <a:xfrm>
                  <a:off x="2619992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77" name="Полилиния 976">
                  <a:extLst>
                    <a:ext uri="{FF2B5EF4-FFF2-40B4-BE49-F238E27FC236}">
                      <a16:creationId xmlns:a16="http://schemas.microsoft.com/office/drawing/2014/main" id="{9F7818B4-9E25-BD08-1CCC-FBEA6AC6FC0D}"/>
                    </a:ext>
                  </a:extLst>
                </p:cNvPr>
                <p:cNvSpPr/>
                <p:nvPr/>
              </p:nvSpPr>
              <p:spPr>
                <a:xfrm>
                  <a:off x="2711166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78" name="Полилиния 977">
                  <a:extLst>
                    <a:ext uri="{FF2B5EF4-FFF2-40B4-BE49-F238E27FC236}">
                      <a16:creationId xmlns:a16="http://schemas.microsoft.com/office/drawing/2014/main" id="{518FCB95-04F8-237B-D2CF-8372B2B719D2}"/>
                    </a:ext>
                  </a:extLst>
                </p:cNvPr>
                <p:cNvSpPr/>
                <p:nvPr/>
              </p:nvSpPr>
              <p:spPr>
                <a:xfrm>
                  <a:off x="2802340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79" name="Полилиния 978">
                  <a:extLst>
                    <a:ext uri="{FF2B5EF4-FFF2-40B4-BE49-F238E27FC236}">
                      <a16:creationId xmlns:a16="http://schemas.microsoft.com/office/drawing/2014/main" id="{1D1C3DA2-04A2-D643-1E1E-2BF670B3521D}"/>
                    </a:ext>
                  </a:extLst>
                </p:cNvPr>
                <p:cNvSpPr/>
                <p:nvPr/>
              </p:nvSpPr>
              <p:spPr>
                <a:xfrm>
                  <a:off x="2893515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80" name="Полилиния 979">
                  <a:extLst>
                    <a:ext uri="{FF2B5EF4-FFF2-40B4-BE49-F238E27FC236}">
                      <a16:creationId xmlns:a16="http://schemas.microsoft.com/office/drawing/2014/main" id="{65FC91C5-8F3F-F310-427C-80AB640240C6}"/>
                    </a:ext>
                  </a:extLst>
                </p:cNvPr>
                <p:cNvSpPr/>
                <p:nvPr/>
              </p:nvSpPr>
              <p:spPr>
                <a:xfrm>
                  <a:off x="2984689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81" name="Полилиния 980">
                  <a:extLst>
                    <a:ext uri="{FF2B5EF4-FFF2-40B4-BE49-F238E27FC236}">
                      <a16:creationId xmlns:a16="http://schemas.microsoft.com/office/drawing/2014/main" id="{D366FAD4-9675-47E4-D80E-3E9746DA4396}"/>
                    </a:ext>
                  </a:extLst>
                </p:cNvPr>
                <p:cNvSpPr/>
                <p:nvPr/>
              </p:nvSpPr>
              <p:spPr>
                <a:xfrm rot="5400000">
                  <a:off x="3075863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82" name="Полилиния 981">
                  <a:extLst>
                    <a:ext uri="{FF2B5EF4-FFF2-40B4-BE49-F238E27FC236}">
                      <a16:creationId xmlns:a16="http://schemas.microsoft.com/office/drawing/2014/main" id="{5B837BD8-3DB9-EAA9-4F6B-7F9C9F97DF32}"/>
                    </a:ext>
                  </a:extLst>
                </p:cNvPr>
                <p:cNvSpPr/>
                <p:nvPr/>
              </p:nvSpPr>
              <p:spPr>
                <a:xfrm rot="-5400000">
                  <a:off x="3349386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83" name="Полилиния 982">
                  <a:extLst>
                    <a:ext uri="{FF2B5EF4-FFF2-40B4-BE49-F238E27FC236}">
                      <a16:creationId xmlns:a16="http://schemas.microsoft.com/office/drawing/2014/main" id="{7F673D41-8E93-A947-EB09-AA37A68724B3}"/>
                    </a:ext>
                  </a:extLst>
                </p:cNvPr>
                <p:cNvSpPr/>
                <p:nvPr/>
              </p:nvSpPr>
              <p:spPr>
                <a:xfrm>
                  <a:off x="3440561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84" name="Полилиния 983">
                  <a:extLst>
                    <a:ext uri="{FF2B5EF4-FFF2-40B4-BE49-F238E27FC236}">
                      <a16:creationId xmlns:a16="http://schemas.microsoft.com/office/drawing/2014/main" id="{62820D7E-FA6C-A09C-5604-966539E0D534}"/>
                    </a:ext>
                  </a:extLst>
                </p:cNvPr>
                <p:cNvSpPr/>
                <p:nvPr/>
              </p:nvSpPr>
              <p:spPr>
                <a:xfrm>
                  <a:off x="1981772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85" name="Полилиния 984">
                  <a:extLst>
                    <a:ext uri="{FF2B5EF4-FFF2-40B4-BE49-F238E27FC236}">
                      <a16:creationId xmlns:a16="http://schemas.microsoft.com/office/drawing/2014/main" id="{32CFB49B-5BD4-0460-3F42-A030D5F2A65E}"/>
                    </a:ext>
                  </a:extLst>
                </p:cNvPr>
                <p:cNvSpPr/>
                <p:nvPr/>
              </p:nvSpPr>
              <p:spPr>
                <a:xfrm>
                  <a:off x="2072946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86" name="Полилиния 985">
                  <a:extLst>
                    <a:ext uri="{FF2B5EF4-FFF2-40B4-BE49-F238E27FC236}">
                      <a16:creationId xmlns:a16="http://schemas.microsoft.com/office/drawing/2014/main" id="{D3B20779-EAA5-6788-602C-705A5807D65C}"/>
                    </a:ext>
                  </a:extLst>
                </p:cNvPr>
                <p:cNvSpPr/>
                <p:nvPr/>
              </p:nvSpPr>
              <p:spPr>
                <a:xfrm>
                  <a:off x="2528817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87" name="Полилиния 986">
                  <a:extLst>
                    <a:ext uri="{FF2B5EF4-FFF2-40B4-BE49-F238E27FC236}">
                      <a16:creationId xmlns:a16="http://schemas.microsoft.com/office/drawing/2014/main" id="{DA36D542-BE33-FC3C-3B0B-27A4C51D6428}"/>
                    </a:ext>
                  </a:extLst>
                </p:cNvPr>
                <p:cNvSpPr/>
                <p:nvPr/>
              </p:nvSpPr>
              <p:spPr>
                <a:xfrm>
                  <a:off x="2619992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88" name="Полилиния 987">
                  <a:extLst>
                    <a:ext uri="{FF2B5EF4-FFF2-40B4-BE49-F238E27FC236}">
                      <a16:creationId xmlns:a16="http://schemas.microsoft.com/office/drawing/2014/main" id="{5B424482-8E49-A416-A651-DB998FEFC0B4}"/>
                    </a:ext>
                  </a:extLst>
                </p:cNvPr>
                <p:cNvSpPr/>
                <p:nvPr/>
              </p:nvSpPr>
              <p:spPr>
                <a:xfrm rot="5400000">
                  <a:off x="2893515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89" name="Полилиния 988">
                  <a:extLst>
                    <a:ext uri="{FF2B5EF4-FFF2-40B4-BE49-F238E27FC236}">
                      <a16:creationId xmlns:a16="http://schemas.microsoft.com/office/drawing/2014/main" id="{3775E2A5-E6D4-4EBC-763E-94CED099DB12}"/>
                    </a:ext>
                  </a:extLst>
                </p:cNvPr>
                <p:cNvSpPr/>
                <p:nvPr/>
              </p:nvSpPr>
              <p:spPr>
                <a:xfrm>
                  <a:off x="3349386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90" name="Полилиния 989">
                  <a:extLst>
                    <a:ext uri="{FF2B5EF4-FFF2-40B4-BE49-F238E27FC236}">
                      <a16:creationId xmlns:a16="http://schemas.microsoft.com/office/drawing/2014/main" id="{7474D908-750D-9700-9C97-556DD07337D2}"/>
                    </a:ext>
                  </a:extLst>
                </p:cNvPr>
                <p:cNvSpPr/>
                <p:nvPr/>
              </p:nvSpPr>
              <p:spPr>
                <a:xfrm>
                  <a:off x="3440561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91" name="Полилиния 990">
                  <a:extLst>
                    <a:ext uri="{FF2B5EF4-FFF2-40B4-BE49-F238E27FC236}">
                      <a16:creationId xmlns:a16="http://schemas.microsoft.com/office/drawing/2014/main" id="{BFE0DA8F-B554-CCB6-F75F-311A0842B962}"/>
                    </a:ext>
                  </a:extLst>
                </p:cNvPr>
                <p:cNvSpPr/>
                <p:nvPr/>
              </p:nvSpPr>
              <p:spPr>
                <a:xfrm>
                  <a:off x="2072946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92" name="Полилиния 991">
                  <a:extLst>
                    <a:ext uri="{FF2B5EF4-FFF2-40B4-BE49-F238E27FC236}">
                      <a16:creationId xmlns:a16="http://schemas.microsoft.com/office/drawing/2014/main" id="{77B3A709-A64B-CE11-B94A-A32C56439DDD}"/>
                    </a:ext>
                  </a:extLst>
                </p:cNvPr>
                <p:cNvSpPr/>
                <p:nvPr/>
              </p:nvSpPr>
              <p:spPr>
                <a:xfrm>
                  <a:off x="2164120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93" name="Полилиния 992">
                  <a:extLst>
                    <a:ext uri="{FF2B5EF4-FFF2-40B4-BE49-F238E27FC236}">
                      <a16:creationId xmlns:a16="http://schemas.microsoft.com/office/drawing/2014/main" id="{150F6B9C-5AA0-D372-602E-AACBE0CD332D}"/>
                    </a:ext>
                  </a:extLst>
                </p:cNvPr>
                <p:cNvSpPr/>
                <p:nvPr/>
              </p:nvSpPr>
              <p:spPr>
                <a:xfrm>
                  <a:off x="2255295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94" name="Полилиния 993">
                  <a:extLst>
                    <a:ext uri="{FF2B5EF4-FFF2-40B4-BE49-F238E27FC236}">
                      <a16:creationId xmlns:a16="http://schemas.microsoft.com/office/drawing/2014/main" id="{80A325AD-7A5B-29CE-F815-168C20D48D19}"/>
                    </a:ext>
                  </a:extLst>
                </p:cNvPr>
                <p:cNvSpPr/>
                <p:nvPr/>
              </p:nvSpPr>
              <p:spPr>
                <a:xfrm>
                  <a:off x="2346469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95" name="Полилиния 994">
                  <a:extLst>
                    <a:ext uri="{FF2B5EF4-FFF2-40B4-BE49-F238E27FC236}">
                      <a16:creationId xmlns:a16="http://schemas.microsoft.com/office/drawing/2014/main" id="{E9C0DA92-A97E-DF7F-FBEA-0BD81A75AEE8}"/>
                    </a:ext>
                  </a:extLst>
                </p:cNvPr>
                <p:cNvSpPr/>
                <p:nvPr/>
              </p:nvSpPr>
              <p:spPr>
                <a:xfrm>
                  <a:off x="2437643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96" name="Полилиния 995">
                  <a:extLst>
                    <a:ext uri="{FF2B5EF4-FFF2-40B4-BE49-F238E27FC236}">
                      <a16:creationId xmlns:a16="http://schemas.microsoft.com/office/drawing/2014/main" id="{77DFF764-5D5F-6200-EE5D-DD35A9C138FF}"/>
                    </a:ext>
                  </a:extLst>
                </p:cNvPr>
                <p:cNvSpPr/>
                <p:nvPr/>
              </p:nvSpPr>
              <p:spPr>
                <a:xfrm>
                  <a:off x="2528817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97" name="Полилиния 996">
                  <a:extLst>
                    <a:ext uri="{FF2B5EF4-FFF2-40B4-BE49-F238E27FC236}">
                      <a16:creationId xmlns:a16="http://schemas.microsoft.com/office/drawing/2014/main" id="{55F1032E-13F1-D365-0D90-10F12582BA83}"/>
                    </a:ext>
                  </a:extLst>
                </p:cNvPr>
                <p:cNvSpPr/>
                <p:nvPr/>
              </p:nvSpPr>
              <p:spPr>
                <a:xfrm>
                  <a:off x="2619992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98" name="Полилиния 997">
                  <a:extLst>
                    <a:ext uri="{FF2B5EF4-FFF2-40B4-BE49-F238E27FC236}">
                      <a16:creationId xmlns:a16="http://schemas.microsoft.com/office/drawing/2014/main" id="{8944848F-EC2B-DD75-AB68-1C4652D6FB64}"/>
                    </a:ext>
                  </a:extLst>
                </p:cNvPr>
                <p:cNvSpPr/>
                <p:nvPr/>
              </p:nvSpPr>
              <p:spPr>
                <a:xfrm rot="5400000">
                  <a:off x="2802340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99" name="Полилиния 998">
                  <a:extLst>
                    <a:ext uri="{FF2B5EF4-FFF2-40B4-BE49-F238E27FC236}">
                      <a16:creationId xmlns:a16="http://schemas.microsoft.com/office/drawing/2014/main" id="{825A5A00-A562-7D1C-3B9C-2A00A9A8D2AE}"/>
                    </a:ext>
                  </a:extLst>
                </p:cNvPr>
                <p:cNvSpPr/>
                <p:nvPr/>
              </p:nvSpPr>
              <p:spPr>
                <a:xfrm rot="-5400000">
                  <a:off x="3075863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00" name="Полилиния 999">
                  <a:extLst>
                    <a:ext uri="{FF2B5EF4-FFF2-40B4-BE49-F238E27FC236}">
                      <a16:creationId xmlns:a16="http://schemas.microsoft.com/office/drawing/2014/main" id="{7FC63EFC-461B-227B-36C1-3E334141E893}"/>
                    </a:ext>
                  </a:extLst>
                </p:cNvPr>
                <p:cNvSpPr/>
                <p:nvPr/>
              </p:nvSpPr>
              <p:spPr>
                <a:xfrm>
                  <a:off x="3167038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01" name="Полилиния 1000">
                  <a:extLst>
                    <a:ext uri="{FF2B5EF4-FFF2-40B4-BE49-F238E27FC236}">
                      <a16:creationId xmlns:a16="http://schemas.microsoft.com/office/drawing/2014/main" id="{6625F829-53D2-A6D2-3BF8-F83E6F9734E7}"/>
                    </a:ext>
                  </a:extLst>
                </p:cNvPr>
                <p:cNvSpPr/>
                <p:nvPr/>
              </p:nvSpPr>
              <p:spPr>
                <a:xfrm>
                  <a:off x="3258212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02" name="Полилиния 1001">
                  <a:extLst>
                    <a:ext uri="{FF2B5EF4-FFF2-40B4-BE49-F238E27FC236}">
                      <a16:creationId xmlns:a16="http://schemas.microsoft.com/office/drawing/2014/main" id="{50A540B5-587D-31D8-F0AD-4B94CC9A2153}"/>
                    </a:ext>
                  </a:extLst>
                </p:cNvPr>
                <p:cNvSpPr/>
                <p:nvPr/>
              </p:nvSpPr>
              <p:spPr>
                <a:xfrm>
                  <a:off x="3349386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03" name="Полилиния 1002">
                  <a:extLst>
                    <a:ext uri="{FF2B5EF4-FFF2-40B4-BE49-F238E27FC236}">
                      <a16:creationId xmlns:a16="http://schemas.microsoft.com/office/drawing/2014/main" id="{D579AFF0-E2C3-0E4F-A4FA-356FC67C0FC1}"/>
                    </a:ext>
                  </a:extLst>
                </p:cNvPr>
                <p:cNvSpPr/>
                <p:nvPr/>
              </p:nvSpPr>
              <p:spPr>
                <a:xfrm>
                  <a:off x="3440561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04" name="Полилиния 1003">
                  <a:extLst>
                    <a:ext uri="{FF2B5EF4-FFF2-40B4-BE49-F238E27FC236}">
                      <a16:creationId xmlns:a16="http://schemas.microsoft.com/office/drawing/2014/main" id="{770E68DD-356D-C796-9BE4-488A3C45647C}"/>
                    </a:ext>
                  </a:extLst>
                </p:cNvPr>
                <p:cNvSpPr/>
                <p:nvPr/>
              </p:nvSpPr>
              <p:spPr>
                <a:xfrm rot="5400000">
                  <a:off x="1981772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05" name="Полилиния 1004">
                  <a:extLst>
                    <a:ext uri="{FF2B5EF4-FFF2-40B4-BE49-F238E27FC236}">
                      <a16:creationId xmlns:a16="http://schemas.microsoft.com/office/drawing/2014/main" id="{43E3AA04-A97E-8385-C660-6EA7928052F5}"/>
                    </a:ext>
                  </a:extLst>
                </p:cNvPr>
                <p:cNvSpPr/>
                <p:nvPr/>
              </p:nvSpPr>
              <p:spPr>
                <a:xfrm>
                  <a:off x="2164120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06" name="Полилиния 1005">
                  <a:extLst>
                    <a:ext uri="{FF2B5EF4-FFF2-40B4-BE49-F238E27FC236}">
                      <a16:creationId xmlns:a16="http://schemas.microsoft.com/office/drawing/2014/main" id="{EB741C85-8CA6-5A34-589A-60DBD6D5357B}"/>
                    </a:ext>
                  </a:extLst>
                </p:cNvPr>
                <p:cNvSpPr/>
                <p:nvPr/>
              </p:nvSpPr>
              <p:spPr>
                <a:xfrm>
                  <a:off x="2255295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07" name="Полилиния 1006">
                  <a:extLst>
                    <a:ext uri="{FF2B5EF4-FFF2-40B4-BE49-F238E27FC236}">
                      <a16:creationId xmlns:a16="http://schemas.microsoft.com/office/drawing/2014/main" id="{137BF58D-9C4B-455A-A439-97C7044D12F3}"/>
                    </a:ext>
                  </a:extLst>
                </p:cNvPr>
                <p:cNvSpPr/>
                <p:nvPr/>
              </p:nvSpPr>
              <p:spPr>
                <a:xfrm>
                  <a:off x="2437643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08" name="Полилиния 1007">
                  <a:extLst>
                    <a:ext uri="{FF2B5EF4-FFF2-40B4-BE49-F238E27FC236}">
                      <a16:creationId xmlns:a16="http://schemas.microsoft.com/office/drawing/2014/main" id="{C586F520-21F7-B720-ACAE-D247F15F6FB8}"/>
                    </a:ext>
                  </a:extLst>
                </p:cNvPr>
                <p:cNvSpPr/>
                <p:nvPr/>
              </p:nvSpPr>
              <p:spPr>
                <a:xfrm rot="5400000">
                  <a:off x="2619992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09" name="Полилиния 1008">
                  <a:extLst>
                    <a:ext uri="{FF2B5EF4-FFF2-40B4-BE49-F238E27FC236}">
                      <a16:creationId xmlns:a16="http://schemas.microsoft.com/office/drawing/2014/main" id="{E3E91ED4-6464-1111-6F97-20517B71ED7E}"/>
                    </a:ext>
                  </a:extLst>
                </p:cNvPr>
                <p:cNvSpPr/>
                <p:nvPr/>
              </p:nvSpPr>
              <p:spPr>
                <a:xfrm rot="-5400000">
                  <a:off x="2984689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10" name="Полилиния 1009">
                  <a:extLst>
                    <a:ext uri="{FF2B5EF4-FFF2-40B4-BE49-F238E27FC236}">
                      <a16:creationId xmlns:a16="http://schemas.microsoft.com/office/drawing/2014/main" id="{50717EDD-C1DF-5DE2-F639-367D74CAF3E7}"/>
                    </a:ext>
                  </a:extLst>
                </p:cNvPr>
                <p:cNvSpPr/>
                <p:nvPr/>
              </p:nvSpPr>
              <p:spPr>
                <a:xfrm rot="5400000">
                  <a:off x="3075863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11" name="Полилиния 1010">
                  <a:extLst>
                    <a:ext uri="{FF2B5EF4-FFF2-40B4-BE49-F238E27FC236}">
                      <a16:creationId xmlns:a16="http://schemas.microsoft.com/office/drawing/2014/main" id="{D09EB8AC-2E60-867B-74D2-91DC642D06EC}"/>
                    </a:ext>
                  </a:extLst>
                </p:cNvPr>
                <p:cNvSpPr/>
                <p:nvPr/>
              </p:nvSpPr>
              <p:spPr>
                <a:xfrm>
                  <a:off x="3258212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12" name="Полилиния 1011">
                  <a:extLst>
                    <a:ext uri="{FF2B5EF4-FFF2-40B4-BE49-F238E27FC236}">
                      <a16:creationId xmlns:a16="http://schemas.microsoft.com/office/drawing/2014/main" id="{A2D6BB6F-1735-F0BF-C195-C9F095AC992D}"/>
                    </a:ext>
                  </a:extLst>
                </p:cNvPr>
                <p:cNvSpPr/>
                <p:nvPr/>
              </p:nvSpPr>
              <p:spPr>
                <a:xfrm>
                  <a:off x="3349386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13" name="Полилиния 1012">
                  <a:extLst>
                    <a:ext uri="{FF2B5EF4-FFF2-40B4-BE49-F238E27FC236}">
                      <a16:creationId xmlns:a16="http://schemas.microsoft.com/office/drawing/2014/main" id="{74064E4B-6BF5-39C2-88CA-66EDC4DA4B6B}"/>
                    </a:ext>
                  </a:extLst>
                </p:cNvPr>
                <p:cNvSpPr/>
                <p:nvPr/>
              </p:nvSpPr>
              <p:spPr>
                <a:xfrm>
                  <a:off x="3440561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14" name="Полилиния 1013">
                  <a:extLst>
                    <a:ext uri="{FF2B5EF4-FFF2-40B4-BE49-F238E27FC236}">
                      <a16:creationId xmlns:a16="http://schemas.microsoft.com/office/drawing/2014/main" id="{14B0C3E1-A0D4-2F93-E0C3-6E6BBCDC1FC7}"/>
                    </a:ext>
                  </a:extLst>
                </p:cNvPr>
                <p:cNvSpPr/>
                <p:nvPr/>
              </p:nvSpPr>
              <p:spPr>
                <a:xfrm rot="-5400000">
                  <a:off x="2072946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15" name="Полилиния 1014">
                  <a:extLst>
                    <a:ext uri="{FF2B5EF4-FFF2-40B4-BE49-F238E27FC236}">
                      <a16:creationId xmlns:a16="http://schemas.microsoft.com/office/drawing/2014/main" id="{646F93C3-03A6-2250-6D01-09802DD88F54}"/>
                    </a:ext>
                  </a:extLst>
                </p:cNvPr>
                <p:cNvSpPr/>
                <p:nvPr/>
              </p:nvSpPr>
              <p:spPr>
                <a:xfrm>
                  <a:off x="2164120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16" name="Полилиния 1015">
                  <a:extLst>
                    <a:ext uri="{FF2B5EF4-FFF2-40B4-BE49-F238E27FC236}">
                      <a16:creationId xmlns:a16="http://schemas.microsoft.com/office/drawing/2014/main" id="{E395AE86-2841-40F9-CE49-659B25B8D8EA}"/>
                    </a:ext>
                  </a:extLst>
                </p:cNvPr>
                <p:cNvSpPr/>
                <p:nvPr/>
              </p:nvSpPr>
              <p:spPr>
                <a:xfrm rot="5400000">
                  <a:off x="2255295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17" name="Полилиния 1016">
                  <a:extLst>
                    <a:ext uri="{FF2B5EF4-FFF2-40B4-BE49-F238E27FC236}">
                      <a16:creationId xmlns:a16="http://schemas.microsoft.com/office/drawing/2014/main" id="{7AFA2595-509C-57BC-50D3-C91383926CEC}"/>
                    </a:ext>
                  </a:extLst>
                </p:cNvPr>
                <p:cNvSpPr/>
                <p:nvPr/>
              </p:nvSpPr>
              <p:spPr>
                <a:xfrm>
                  <a:off x="2437643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18" name="Полилиния 1017">
                  <a:extLst>
                    <a:ext uri="{FF2B5EF4-FFF2-40B4-BE49-F238E27FC236}">
                      <a16:creationId xmlns:a16="http://schemas.microsoft.com/office/drawing/2014/main" id="{7D6913E2-D884-5C0F-791B-D0721F6C26E8}"/>
                    </a:ext>
                  </a:extLst>
                </p:cNvPr>
                <p:cNvSpPr/>
                <p:nvPr/>
              </p:nvSpPr>
              <p:spPr>
                <a:xfrm rot="5400000">
                  <a:off x="2528817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19" name="Полилиния 1018">
                  <a:extLst>
                    <a:ext uri="{FF2B5EF4-FFF2-40B4-BE49-F238E27FC236}">
                      <a16:creationId xmlns:a16="http://schemas.microsoft.com/office/drawing/2014/main" id="{38768232-DD4D-D1AC-D4F7-5A46C51B934F}"/>
                    </a:ext>
                  </a:extLst>
                </p:cNvPr>
                <p:cNvSpPr/>
                <p:nvPr/>
              </p:nvSpPr>
              <p:spPr>
                <a:xfrm rot="-5400000">
                  <a:off x="2711166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20" name="Полилиния 1019">
                  <a:extLst>
                    <a:ext uri="{FF2B5EF4-FFF2-40B4-BE49-F238E27FC236}">
                      <a16:creationId xmlns:a16="http://schemas.microsoft.com/office/drawing/2014/main" id="{22FAD461-78CA-5368-E0E9-2AA82A163878}"/>
                    </a:ext>
                  </a:extLst>
                </p:cNvPr>
                <p:cNvSpPr/>
                <p:nvPr/>
              </p:nvSpPr>
              <p:spPr>
                <a:xfrm rot="5400000">
                  <a:off x="2802340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21" name="Полилиния 1020">
                  <a:extLst>
                    <a:ext uri="{FF2B5EF4-FFF2-40B4-BE49-F238E27FC236}">
                      <a16:creationId xmlns:a16="http://schemas.microsoft.com/office/drawing/2014/main" id="{B87779E5-9005-1EBD-41CE-84A2294FDA4B}"/>
                    </a:ext>
                  </a:extLst>
                </p:cNvPr>
                <p:cNvSpPr/>
                <p:nvPr/>
              </p:nvSpPr>
              <p:spPr>
                <a:xfrm rot="5400000">
                  <a:off x="3167038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22" name="Полилиния 1021">
                  <a:extLst>
                    <a:ext uri="{FF2B5EF4-FFF2-40B4-BE49-F238E27FC236}">
                      <a16:creationId xmlns:a16="http://schemas.microsoft.com/office/drawing/2014/main" id="{F73118B6-16C7-A34A-FE7A-CF93A80DF4C6}"/>
                    </a:ext>
                  </a:extLst>
                </p:cNvPr>
                <p:cNvSpPr/>
                <p:nvPr/>
              </p:nvSpPr>
              <p:spPr>
                <a:xfrm rot="5400000">
                  <a:off x="3440561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</p:grpSp>
      <p:sp>
        <p:nvSpPr>
          <p:cNvPr id="1023" name="Скругленный прямоугольник 1022">
            <a:extLst>
              <a:ext uri="{FF2B5EF4-FFF2-40B4-BE49-F238E27FC236}">
                <a16:creationId xmlns:a16="http://schemas.microsoft.com/office/drawing/2014/main" id="{2CF8F9A8-8183-8F24-0E92-B4D8D4CFDDD4}"/>
              </a:ext>
            </a:extLst>
          </p:cNvPr>
          <p:cNvSpPr/>
          <p:nvPr/>
        </p:nvSpPr>
        <p:spPr>
          <a:xfrm>
            <a:off x="4423654" y="8063727"/>
            <a:ext cx="3539147" cy="5217059"/>
          </a:xfrm>
          <a:prstGeom prst="roundRect">
            <a:avLst>
              <a:gd name="adj" fmla="val 10818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024" name="Рисунок 1327">
            <a:extLst>
              <a:ext uri="{FF2B5EF4-FFF2-40B4-BE49-F238E27FC236}">
                <a16:creationId xmlns:a16="http://schemas.microsoft.com/office/drawing/2014/main" id="{966F5705-37EE-3C33-3D48-AD3FBFB33320}"/>
              </a:ext>
            </a:extLst>
          </p:cNvPr>
          <p:cNvGrpSpPr/>
          <p:nvPr/>
        </p:nvGrpSpPr>
        <p:grpSpPr>
          <a:xfrm>
            <a:off x="1420219" y="4166809"/>
            <a:ext cx="1850145" cy="1850145"/>
            <a:chOff x="3082636" y="415636"/>
            <a:chExt cx="6026727" cy="6026727"/>
          </a:xfrm>
          <a:solidFill>
            <a:schemeClr val="bg1"/>
          </a:solidFill>
        </p:grpSpPr>
        <p:sp>
          <p:nvSpPr>
            <p:cNvPr id="1025" name="Полилиния 1024">
              <a:extLst>
                <a:ext uri="{FF2B5EF4-FFF2-40B4-BE49-F238E27FC236}">
                  <a16:creationId xmlns:a16="http://schemas.microsoft.com/office/drawing/2014/main" id="{BE1EB27C-43D5-E816-60A3-A2CCC5FE68E4}"/>
                </a:ext>
              </a:extLst>
            </p:cNvPr>
            <p:cNvSpPr/>
            <p:nvPr/>
          </p:nvSpPr>
          <p:spPr>
            <a:xfrm rot="-5400000">
              <a:off x="3498272" y="5403272"/>
              <a:ext cx="623454" cy="623454"/>
            </a:xfrm>
            <a:custGeom>
              <a:avLst/>
              <a:gdLst>
                <a:gd name="connsiteX0" fmla="*/ 623455 w 623454"/>
                <a:gd name="connsiteY0" fmla="*/ 311727 h 623454"/>
                <a:gd name="connsiteX1" fmla="*/ 311727 w 623454"/>
                <a:gd name="connsiteY1" fmla="*/ 623455 h 623454"/>
                <a:gd name="connsiteX2" fmla="*/ 0 w 623454"/>
                <a:gd name="connsiteY2" fmla="*/ 311727 h 623454"/>
                <a:gd name="connsiteX3" fmla="*/ 311727 w 623454"/>
                <a:gd name="connsiteY3" fmla="*/ 0 h 623454"/>
                <a:gd name="connsiteX4" fmla="*/ 623455 w 623454"/>
                <a:gd name="connsiteY4" fmla="*/ 311727 h 62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54" h="623454">
                  <a:moveTo>
                    <a:pt x="623455" y="311727"/>
                  </a:moveTo>
                  <a:cubicBezTo>
                    <a:pt x="623455" y="483890"/>
                    <a:pt x="483889" y="623455"/>
                    <a:pt x="311727" y="623455"/>
                  </a:cubicBezTo>
                  <a:cubicBezTo>
                    <a:pt x="139565" y="623455"/>
                    <a:pt x="0" y="483890"/>
                    <a:pt x="0" y="311727"/>
                  </a:cubicBezTo>
                  <a:cubicBezTo>
                    <a:pt x="0" y="139565"/>
                    <a:pt x="139565" y="0"/>
                    <a:pt x="311727" y="0"/>
                  </a:cubicBezTo>
                  <a:cubicBezTo>
                    <a:pt x="483889" y="0"/>
                    <a:pt x="623455" y="139565"/>
                    <a:pt x="623455" y="311727"/>
                  </a:cubicBez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6" name="Полилиния 1025">
              <a:extLst>
                <a:ext uri="{FF2B5EF4-FFF2-40B4-BE49-F238E27FC236}">
                  <a16:creationId xmlns:a16="http://schemas.microsoft.com/office/drawing/2014/main" id="{D8F89828-961A-72B7-6FA6-CEB7B4189F10}"/>
                </a:ext>
              </a:extLst>
            </p:cNvPr>
            <p:cNvSpPr/>
            <p:nvPr/>
          </p:nvSpPr>
          <p:spPr>
            <a:xfrm rot="-5400000">
              <a:off x="3082636" y="4987636"/>
              <a:ext cx="1454727" cy="1454727"/>
            </a:xfrm>
            <a:custGeom>
              <a:avLst/>
              <a:gdLst>
                <a:gd name="connsiteX0" fmla="*/ 0 w 1454727"/>
                <a:gd name="connsiteY0" fmla="*/ 519545 h 1454727"/>
                <a:gd name="connsiteX1" fmla="*/ 0 w 1454727"/>
                <a:gd name="connsiteY1" fmla="*/ 935182 h 1454727"/>
                <a:gd name="connsiteX2" fmla="*/ 519545 w 1454727"/>
                <a:gd name="connsiteY2" fmla="*/ 1454727 h 1454727"/>
                <a:gd name="connsiteX3" fmla="*/ 935182 w 1454727"/>
                <a:gd name="connsiteY3" fmla="*/ 1454727 h 1454727"/>
                <a:gd name="connsiteX4" fmla="*/ 1454727 w 1454727"/>
                <a:gd name="connsiteY4" fmla="*/ 935182 h 1454727"/>
                <a:gd name="connsiteX5" fmla="*/ 1454727 w 1454727"/>
                <a:gd name="connsiteY5" fmla="*/ 519545 h 1454727"/>
                <a:gd name="connsiteX6" fmla="*/ 935182 w 1454727"/>
                <a:gd name="connsiteY6" fmla="*/ 0 h 1454727"/>
                <a:gd name="connsiteX7" fmla="*/ 519545 w 1454727"/>
                <a:gd name="connsiteY7" fmla="*/ 0 h 1454727"/>
                <a:gd name="connsiteX8" fmla="*/ 0 w 1454727"/>
                <a:gd name="connsiteY8" fmla="*/ 519545 h 1454727"/>
                <a:gd name="connsiteX9" fmla="*/ 519545 w 1454727"/>
                <a:gd name="connsiteY9" fmla="*/ 207818 h 1454727"/>
                <a:gd name="connsiteX10" fmla="*/ 935182 w 1454727"/>
                <a:gd name="connsiteY10" fmla="*/ 207818 h 1454727"/>
                <a:gd name="connsiteX11" fmla="*/ 1246909 w 1454727"/>
                <a:gd name="connsiteY11" fmla="*/ 519545 h 1454727"/>
                <a:gd name="connsiteX12" fmla="*/ 1246909 w 1454727"/>
                <a:gd name="connsiteY12" fmla="*/ 935182 h 1454727"/>
                <a:gd name="connsiteX13" fmla="*/ 935182 w 1454727"/>
                <a:gd name="connsiteY13" fmla="*/ 1246909 h 1454727"/>
                <a:gd name="connsiteX14" fmla="*/ 519545 w 1454727"/>
                <a:gd name="connsiteY14" fmla="*/ 1246909 h 1454727"/>
                <a:gd name="connsiteX15" fmla="*/ 207818 w 1454727"/>
                <a:gd name="connsiteY15" fmla="*/ 935182 h 1454727"/>
                <a:gd name="connsiteX16" fmla="*/ 207818 w 1454727"/>
                <a:gd name="connsiteY16" fmla="*/ 519545 h 1454727"/>
                <a:gd name="connsiteX17" fmla="*/ 519545 w 1454727"/>
                <a:gd name="connsiteY17" fmla="*/ 207818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4727" h="1454727">
                  <a:moveTo>
                    <a:pt x="0" y="519545"/>
                  </a:moveTo>
                  <a:lnTo>
                    <a:pt x="0" y="935182"/>
                  </a:lnTo>
                  <a:cubicBezTo>
                    <a:pt x="0" y="1222119"/>
                    <a:pt x="232608" y="1454727"/>
                    <a:pt x="519545" y="1454727"/>
                  </a:cubicBezTo>
                  <a:lnTo>
                    <a:pt x="935182" y="1454727"/>
                  </a:lnTo>
                  <a:cubicBezTo>
                    <a:pt x="1222119" y="1454727"/>
                    <a:pt x="1454727" y="1222119"/>
                    <a:pt x="1454727" y="935182"/>
                  </a:cubicBezTo>
                  <a:lnTo>
                    <a:pt x="1454727" y="519545"/>
                  </a:lnTo>
                  <a:cubicBezTo>
                    <a:pt x="1454727" y="232609"/>
                    <a:pt x="1222119" y="0"/>
                    <a:pt x="935182" y="0"/>
                  </a:cubicBezTo>
                  <a:lnTo>
                    <a:pt x="519545" y="0"/>
                  </a:lnTo>
                  <a:cubicBezTo>
                    <a:pt x="232608" y="0"/>
                    <a:pt x="0" y="232609"/>
                    <a:pt x="0" y="519545"/>
                  </a:cubicBezTo>
                  <a:moveTo>
                    <a:pt x="519545" y="207818"/>
                  </a:moveTo>
                  <a:lnTo>
                    <a:pt x="935182" y="207818"/>
                  </a:lnTo>
                  <a:cubicBezTo>
                    <a:pt x="1107344" y="207818"/>
                    <a:pt x="1246909" y="347383"/>
                    <a:pt x="1246909" y="519545"/>
                  </a:cubicBezTo>
                  <a:lnTo>
                    <a:pt x="1246909" y="935182"/>
                  </a:lnTo>
                  <a:cubicBezTo>
                    <a:pt x="1246909" y="1107344"/>
                    <a:pt x="1107344" y="1246909"/>
                    <a:pt x="935182" y="1246909"/>
                  </a:cubicBezTo>
                  <a:lnTo>
                    <a:pt x="519545" y="1246909"/>
                  </a:lnTo>
                  <a:cubicBezTo>
                    <a:pt x="347383" y="1246909"/>
                    <a:pt x="207818" y="1107344"/>
                    <a:pt x="207818" y="935182"/>
                  </a:cubicBezTo>
                  <a:lnTo>
                    <a:pt x="207818" y="519545"/>
                  </a:lnTo>
                  <a:cubicBezTo>
                    <a:pt x="207818" y="347383"/>
                    <a:pt x="347383" y="207818"/>
                    <a:pt x="519545" y="207818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7" name="Полилиния 1026">
              <a:extLst>
                <a:ext uri="{FF2B5EF4-FFF2-40B4-BE49-F238E27FC236}">
                  <a16:creationId xmlns:a16="http://schemas.microsoft.com/office/drawing/2014/main" id="{A45F8A9D-30A5-DFA4-5EC0-8C6BAD81F024}"/>
                </a:ext>
              </a:extLst>
            </p:cNvPr>
            <p:cNvSpPr/>
            <p:nvPr/>
          </p:nvSpPr>
          <p:spPr>
            <a:xfrm rot="5400000">
              <a:off x="8070272" y="831272"/>
              <a:ext cx="623454" cy="623454"/>
            </a:xfrm>
            <a:custGeom>
              <a:avLst/>
              <a:gdLst>
                <a:gd name="connsiteX0" fmla="*/ 623455 w 623454"/>
                <a:gd name="connsiteY0" fmla="*/ 311727 h 623454"/>
                <a:gd name="connsiteX1" fmla="*/ 311727 w 623454"/>
                <a:gd name="connsiteY1" fmla="*/ 623455 h 623454"/>
                <a:gd name="connsiteX2" fmla="*/ 0 w 623454"/>
                <a:gd name="connsiteY2" fmla="*/ 311727 h 623454"/>
                <a:gd name="connsiteX3" fmla="*/ 311727 w 623454"/>
                <a:gd name="connsiteY3" fmla="*/ 0 h 623454"/>
                <a:gd name="connsiteX4" fmla="*/ 623455 w 623454"/>
                <a:gd name="connsiteY4" fmla="*/ 311727 h 62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54" h="623454">
                  <a:moveTo>
                    <a:pt x="623455" y="311727"/>
                  </a:moveTo>
                  <a:cubicBezTo>
                    <a:pt x="623455" y="483889"/>
                    <a:pt x="483890" y="623455"/>
                    <a:pt x="311727" y="623455"/>
                  </a:cubicBezTo>
                  <a:cubicBezTo>
                    <a:pt x="139565" y="623455"/>
                    <a:pt x="0" y="483889"/>
                    <a:pt x="0" y="311727"/>
                  </a:cubicBezTo>
                  <a:cubicBezTo>
                    <a:pt x="0" y="139565"/>
                    <a:pt x="139565" y="0"/>
                    <a:pt x="311727" y="0"/>
                  </a:cubicBezTo>
                  <a:cubicBezTo>
                    <a:pt x="483890" y="0"/>
                    <a:pt x="623455" y="139565"/>
                    <a:pt x="623455" y="311727"/>
                  </a:cubicBez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8" name="Полилиния 1027">
              <a:extLst>
                <a:ext uri="{FF2B5EF4-FFF2-40B4-BE49-F238E27FC236}">
                  <a16:creationId xmlns:a16="http://schemas.microsoft.com/office/drawing/2014/main" id="{5DD89BA1-FD3D-3702-4AE5-1C8ED068B327}"/>
                </a:ext>
              </a:extLst>
            </p:cNvPr>
            <p:cNvSpPr/>
            <p:nvPr/>
          </p:nvSpPr>
          <p:spPr>
            <a:xfrm rot="5400000">
              <a:off x="7654636" y="415636"/>
              <a:ext cx="1454727" cy="1454727"/>
            </a:xfrm>
            <a:custGeom>
              <a:avLst/>
              <a:gdLst>
                <a:gd name="connsiteX0" fmla="*/ 0 w 1454727"/>
                <a:gd name="connsiteY0" fmla="*/ 519545 h 1454727"/>
                <a:gd name="connsiteX1" fmla="*/ 0 w 1454727"/>
                <a:gd name="connsiteY1" fmla="*/ 935182 h 1454727"/>
                <a:gd name="connsiteX2" fmla="*/ 519545 w 1454727"/>
                <a:gd name="connsiteY2" fmla="*/ 1454727 h 1454727"/>
                <a:gd name="connsiteX3" fmla="*/ 935182 w 1454727"/>
                <a:gd name="connsiteY3" fmla="*/ 1454727 h 1454727"/>
                <a:gd name="connsiteX4" fmla="*/ 1454727 w 1454727"/>
                <a:gd name="connsiteY4" fmla="*/ 935182 h 1454727"/>
                <a:gd name="connsiteX5" fmla="*/ 1454727 w 1454727"/>
                <a:gd name="connsiteY5" fmla="*/ 519545 h 1454727"/>
                <a:gd name="connsiteX6" fmla="*/ 935182 w 1454727"/>
                <a:gd name="connsiteY6" fmla="*/ 0 h 1454727"/>
                <a:gd name="connsiteX7" fmla="*/ 519545 w 1454727"/>
                <a:gd name="connsiteY7" fmla="*/ 0 h 1454727"/>
                <a:gd name="connsiteX8" fmla="*/ 0 w 1454727"/>
                <a:gd name="connsiteY8" fmla="*/ 519545 h 1454727"/>
                <a:gd name="connsiteX9" fmla="*/ 519545 w 1454727"/>
                <a:gd name="connsiteY9" fmla="*/ 207818 h 1454727"/>
                <a:gd name="connsiteX10" fmla="*/ 935182 w 1454727"/>
                <a:gd name="connsiteY10" fmla="*/ 207818 h 1454727"/>
                <a:gd name="connsiteX11" fmla="*/ 1246909 w 1454727"/>
                <a:gd name="connsiteY11" fmla="*/ 519545 h 1454727"/>
                <a:gd name="connsiteX12" fmla="*/ 1246909 w 1454727"/>
                <a:gd name="connsiteY12" fmla="*/ 935182 h 1454727"/>
                <a:gd name="connsiteX13" fmla="*/ 935182 w 1454727"/>
                <a:gd name="connsiteY13" fmla="*/ 1246909 h 1454727"/>
                <a:gd name="connsiteX14" fmla="*/ 519545 w 1454727"/>
                <a:gd name="connsiteY14" fmla="*/ 1246909 h 1454727"/>
                <a:gd name="connsiteX15" fmla="*/ 207818 w 1454727"/>
                <a:gd name="connsiteY15" fmla="*/ 935182 h 1454727"/>
                <a:gd name="connsiteX16" fmla="*/ 207818 w 1454727"/>
                <a:gd name="connsiteY16" fmla="*/ 519545 h 1454727"/>
                <a:gd name="connsiteX17" fmla="*/ 519545 w 1454727"/>
                <a:gd name="connsiteY17" fmla="*/ 207818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4727" h="1454727">
                  <a:moveTo>
                    <a:pt x="0" y="519545"/>
                  </a:moveTo>
                  <a:lnTo>
                    <a:pt x="0" y="935182"/>
                  </a:lnTo>
                  <a:cubicBezTo>
                    <a:pt x="0" y="1222119"/>
                    <a:pt x="232609" y="1454727"/>
                    <a:pt x="519545" y="1454727"/>
                  </a:cubicBezTo>
                  <a:lnTo>
                    <a:pt x="935182" y="1454727"/>
                  </a:lnTo>
                  <a:cubicBezTo>
                    <a:pt x="1222119" y="1454727"/>
                    <a:pt x="1454727" y="1222119"/>
                    <a:pt x="1454727" y="935182"/>
                  </a:cubicBezTo>
                  <a:lnTo>
                    <a:pt x="1454727" y="519545"/>
                  </a:lnTo>
                  <a:cubicBezTo>
                    <a:pt x="1454727" y="232608"/>
                    <a:pt x="1222119" y="0"/>
                    <a:pt x="935182" y="0"/>
                  </a:cubicBezTo>
                  <a:lnTo>
                    <a:pt x="519545" y="0"/>
                  </a:lnTo>
                  <a:cubicBezTo>
                    <a:pt x="232609" y="0"/>
                    <a:pt x="0" y="232608"/>
                    <a:pt x="0" y="519545"/>
                  </a:cubicBezTo>
                  <a:moveTo>
                    <a:pt x="519545" y="207818"/>
                  </a:moveTo>
                  <a:lnTo>
                    <a:pt x="935182" y="207818"/>
                  </a:lnTo>
                  <a:cubicBezTo>
                    <a:pt x="1107344" y="207818"/>
                    <a:pt x="1246909" y="347383"/>
                    <a:pt x="1246909" y="519545"/>
                  </a:cubicBezTo>
                  <a:lnTo>
                    <a:pt x="1246909" y="935182"/>
                  </a:lnTo>
                  <a:cubicBezTo>
                    <a:pt x="1246909" y="1107344"/>
                    <a:pt x="1107344" y="1246909"/>
                    <a:pt x="935182" y="1246909"/>
                  </a:cubicBezTo>
                  <a:lnTo>
                    <a:pt x="519545" y="1246909"/>
                  </a:lnTo>
                  <a:cubicBezTo>
                    <a:pt x="347383" y="1246909"/>
                    <a:pt x="207818" y="1107344"/>
                    <a:pt x="207818" y="935182"/>
                  </a:cubicBezTo>
                  <a:lnTo>
                    <a:pt x="207818" y="519545"/>
                  </a:lnTo>
                  <a:cubicBezTo>
                    <a:pt x="207818" y="347383"/>
                    <a:pt x="347383" y="207818"/>
                    <a:pt x="519545" y="207818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9" name="Полилиния 1028">
              <a:extLst>
                <a:ext uri="{FF2B5EF4-FFF2-40B4-BE49-F238E27FC236}">
                  <a16:creationId xmlns:a16="http://schemas.microsoft.com/office/drawing/2014/main" id="{16509EC1-32E9-74FD-2B27-01A67226AC5F}"/>
                </a:ext>
              </a:extLst>
            </p:cNvPr>
            <p:cNvSpPr/>
            <p:nvPr/>
          </p:nvSpPr>
          <p:spPr>
            <a:xfrm>
              <a:off x="3498272" y="831272"/>
              <a:ext cx="623454" cy="623454"/>
            </a:xfrm>
            <a:custGeom>
              <a:avLst/>
              <a:gdLst>
                <a:gd name="connsiteX0" fmla="*/ 623455 w 623454"/>
                <a:gd name="connsiteY0" fmla="*/ 311727 h 623454"/>
                <a:gd name="connsiteX1" fmla="*/ 311727 w 623454"/>
                <a:gd name="connsiteY1" fmla="*/ 623455 h 623454"/>
                <a:gd name="connsiteX2" fmla="*/ 0 w 623454"/>
                <a:gd name="connsiteY2" fmla="*/ 311727 h 623454"/>
                <a:gd name="connsiteX3" fmla="*/ 311727 w 623454"/>
                <a:gd name="connsiteY3" fmla="*/ 0 h 623454"/>
                <a:gd name="connsiteX4" fmla="*/ 623455 w 623454"/>
                <a:gd name="connsiteY4" fmla="*/ 311727 h 62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54" h="623454">
                  <a:moveTo>
                    <a:pt x="623455" y="311727"/>
                  </a:moveTo>
                  <a:cubicBezTo>
                    <a:pt x="623455" y="483889"/>
                    <a:pt x="483889" y="623455"/>
                    <a:pt x="311727" y="623455"/>
                  </a:cubicBezTo>
                  <a:cubicBezTo>
                    <a:pt x="139565" y="623455"/>
                    <a:pt x="0" y="483889"/>
                    <a:pt x="0" y="311727"/>
                  </a:cubicBezTo>
                  <a:cubicBezTo>
                    <a:pt x="0" y="139565"/>
                    <a:pt x="139565" y="0"/>
                    <a:pt x="311727" y="0"/>
                  </a:cubicBezTo>
                  <a:cubicBezTo>
                    <a:pt x="483889" y="0"/>
                    <a:pt x="623455" y="139565"/>
                    <a:pt x="623455" y="311727"/>
                  </a:cubicBez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0" name="Полилиния 1029">
              <a:extLst>
                <a:ext uri="{FF2B5EF4-FFF2-40B4-BE49-F238E27FC236}">
                  <a16:creationId xmlns:a16="http://schemas.microsoft.com/office/drawing/2014/main" id="{4DA5713D-4AFA-BF72-C210-700E4492BBBF}"/>
                </a:ext>
              </a:extLst>
            </p:cNvPr>
            <p:cNvSpPr/>
            <p:nvPr/>
          </p:nvSpPr>
          <p:spPr>
            <a:xfrm>
              <a:off x="3082636" y="415636"/>
              <a:ext cx="1454727" cy="1454727"/>
            </a:xfrm>
            <a:custGeom>
              <a:avLst/>
              <a:gdLst>
                <a:gd name="connsiteX0" fmla="*/ 0 w 1454727"/>
                <a:gd name="connsiteY0" fmla="*/ 519545 h 1454727"/>
                <a:gd name="connsiteX1" fmla="*/ 0 w 1454727"/>
                <a:gd name="connsiteY1" fmla="*/ 935182 h 1454727"/>
                <a:gd name="connsiteX2" fmla="*/ 519545 w 1454727"/>
                <a:gd name="connsiteY2" fmla="*/ 1454727 h 1454727"/>
                <a:gd name="connsiteX3" fmla="*/ 935182 w 1454727"/>
                <a:gd name="connsiteY3" fmla="*/ 1454727 h 1454727"/>
                <a:gd name="connsiteX4" fmla="*/ 1454727 w 1454727"/>
                <a:gd name="connsiteY4" fmla="*/ 935182 h 1454727"/>
                <a:gd name="connsiteX5" fmla="*/ 1454727 w 1454727"/>
                <a:gd name="connsiteY5" fmla="*/ 519545 h 1454727"/>
                <a:gd name="connsiteX6" fmla="*/ 935182 w 1454727"/>
                <a:gd name="connsiteY6" fmla="*/ 0 h 1454727"/>
                <a:gd name="connsiteX7" fmla="*/ 519545 w 1454727"/>
                <a:gd name="connsiteY7" fmla="*/ 0 h 1454727"/>
                <a:gd name="connsiteX8" fmla="*/ 0 w 1454727"/>
                <a:gd name="connsiteY8" fmla="*/ 519545 h 1454727"/>
                <a:gd name="connsiteX9" fmla="*/ 519545 w 1454727"/>
                <a:gd name="connsiteY9" fmla="*/ 207818 h 1454727"/>
                <a:gd name="connsiteX10" fmla="*/ 935182 w 1454727"/>
                <a:gd name="connsiteY10" fmla="*/ 207818 h 1454727"/>
                <a:gd name="connsiteX11" fmla="*/ 1246909 w 1454727"/>
                <a:gd name="connsiteY11" fmla="*/ 519545 h 1454727"/>
                <a:gd name="connsiteX12" fmla="*/ 1246909 w 1454727"/>
                <a:gd name="connsiteY12" fmla="*/ 935182 h 1454727"/>
                <a:gd name="connsiteX13" fmla="*/ 935182 w 1454727"/>
                <a:gd name="connsiteY13" fmla="*/ 1246909 h 1454727"/>
                <a:gd name="connsiteX14" fmla="*/ 519545 w 1454727"/>
                <a:gd name="connsiteY14" fmla="*/ 1246909 h 1454727"/>
                <a:gd name="connsiteX15" fmla="*/ 207818 w 1454727"/>
                <a:gd name="connsiteY15" fmla="*/ 935182 h 1454727"/>
                <a:gd name="connsiteX16" fmla="*/ 207818 w 1454727"/>
                <a:gd name="connsiteY16" fmla="*/ 519545 h 1454727"/>
                <a:gd name="connsiteX17" fmla="*/ 519545 w 1454727"/>
                <a:gd name="connsiteY17" fmla="*/ 207818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4727" h="1454727">
                  <a:moveTo>
                    <a:pt x="0" y="519545"/>
                  </a:moveTo>
                  <a:lnTo>
                    <a:pt x="0" y="935182"/>
                  </a:lnTo>
                  <a:cubicBezTo>
                    <a:pt x="0" y="1222119"/>
                    <a:pt x="232608" y="1454727"/>
                    <a:pt x="519545" y="1454727"/>
                  </a:cubicBezTo>
                  <a:lnTo>
                    <a:pt x="935182" y="1454727"/>
                  </a:lnTo>
                  <a:cubicBezTo>
                    <a:pt x="1222119" y="1454727"/>
                    <a:pt x="1454727" y="1222119"/>
                    <a:pt x="1454727" y="935182"/>
                  </a:cubicBezTo>
                  <a:lnTo>
                    <a:pt x="1454727" y="519545"/>
                  </a:lnTo>
                  <a:cubicBezTo>
                    <a:pt x="1454727" y="232608"/>
                    <a:pt x="1222119" y="0"/>
                    <a:pt x="935182" y="0"/>
                  </a:cubicBezTo>
                  <a:lnTo>
                    <a:pt x="519545" y="0"/>
                  </a:lnTo>
                  <a:cubicBezTo>
                    <a:pt x="232608" y="0"/>
                    <a:pt x="0" y="232608"/>
                    <a:pt x="0" y="519545"/>
                  </a:cubicBezTo>
                  <a:moveTo>
                    <a:pt x="519545" y="207818"/>
                  </a:moveTo>
                  <a:lnTo>
                    <a:pt x="935182" y="207818"/>
                  </a:lnTo>
                  <a:cubicBezTo>
                    <a:pt x="1107344" y="207818"/>
                    <a:pt x="1246909" y="347383"/>
                    <a:pt x="1246909" y="519545"/>
                  </a:cubicBezTo>
                  <a:lnTo>
                    <a:pt x="1246909" y="935182"/>
                  </a:lnTo>
                  <a:cubicBezTo>
                    <a:pt x="1246909" y="1107344"/>
                    <a:pt x="1107344" y="1246909"/>
                    <a:pt x="935182" y="1246909"/>
                  </a:cubicBezTo>
                  <a:lnTo>
                    <a:pt x="519545" y="1246909"/>
                  </a:lnTo>
                  <a:cubicBezTo>
                    <a:pt x="347383" y="1246909"/>
                    <a:pt x="207818" y="1107344"/>
                    <a:pt x="207818" y="935182"/>
                  </a:cubicBezTo>
                  <a:lnTo>
                    <a:pt x="207818" y="519545"/>
                  </a:lnTo>
                  <a:cubicBezTo>
                    <a:pt x="207818" y="347383"/>
                    <a:pt x="347383" y="207818"/>
                    <a:pt x="519545" y="207818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1" name="Полилиния 1030">
              <a:extLst>
                <a:ext uri="{FF2B5EF4-FFF2-40B4-BE49-F238E27FC236}">
                  <a16:creationId xmlns:a16="http://schemas.microsoft.com/office/drawing/2014/main" id="{9CC5645B-75A1-754A-B45F-9A439EF534F1}"/>
                </a:ext>
              </a:extLst>
            </p:cNvPr>
            <p:cNvSpPr/>
            <p:nvPr/>
          </p:nvSpPr>
          <p:spPr>
            <a:xfrm rot="-5400000">
              <a:off x="5368636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2" name="Полилиния 1031">
              <a:extLst>
                <a:ext uri="{FF2B5EF4-FFF2-40B4-BE49-F238E27FC236}">
                  <a16:creationId xmlns:a16="http://schemas.microsoft.com/office/drawing/2014/main" id="{D34844F2-6647-9466-3D15-C1BF5792AA53}"/>
                </a:ext>
              </a:extLst>
            </p:cNvPr>
            <p:cNvSpPr/>
            <p:nvPr/>
          </p:nvSpPr>
          <p:spPr>
            <a:xfrm rot="5400000">
              <a:off x="5784272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3" name="Полилиния 1032">
              <a:extLst>
                <a:ext uri="{FF2B5EF4-FFF2-40B4-BE49-F238E27FC236}">
                  <a16:creationId xmlns:a16="http://schemas.microsoft.com/office/drawing/2014/main" id="{0446B217-7988-2C50-C8B5-00417BACBEA2}"/>
                </a:ext>
              </a:extLst>
            </p:cNvPr>
            <p:cNvSpPr/>
            <p:nvPr/>
          </p:nvSpPr>
          <p:spPr>
            <a:xfrm rot="-5400000">
              <a:off x="6199909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4" name="Полилиния 1033">
              <a:extLst>
                <a:ext uri="{FF2B5EF4-FFF2-40B4-BE49-F238E27FC236}">
                  <a16:creationId xmlns:a16="http://schemas.microsoft.com/office/drawing/2014/main" id="{3A876F15-DC40-B831-E217-FF10C432E2A8}"/>
                </a:ext>
              </a:extLst>
            </p:cNvPr>
            <p:cNvSpPr/>
            <p:nvPr/>
          </p:nvSpPr>
          <p:spPr>
            <a:xfrm rot="-5400000">
              <a:off x="6823363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5" name="Полилиния 1034">
              <a:extLst>
                <a:ext uri="{FF2B5EF4-FFF2-40B4-BE49-F238E27FC236}">
                  <a16:creationId xmlns:a16="http://schemas.microsoft.com/office/drawing/2014/main" id="{026AB172-9997-6043-E074-54D222C3CB81}"/>
                </a:ext>
              </a:extLst>
            </p:cNvPr>
            <p:cNvSpPr/>
            <p:nvPr/>
          </p:nvSpPr>
          <p:spPr>
            <a:xfrm>
              <a:off x="7031181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6" name="Полилиния 1035">
              <a:extLst>
                <a:ext uri="{FF2B5EF4-FFF2-40B4-BE49-F238E27FC236}">
                  <a16:creationId xmlns:a16="http://schemas.microsoft.com/office/drawing/2014/main" id="{96CA1EBE-5302-7DEF-3B88-8CF55F8F976A}"/>
                </a:ext>
              </a:extLst>
            </p:cNvPr>
            <p:cNvSpPr/>
            <p:nvPr/>
          </p:nvSpPr>
          <p:spPr>
            <a:xfrm rot="5400000">
              <a:off x="7239000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7" name="Полилиния 1036">
              <a:extLst>
                <a:ext uri="{FF2B5EF4-FFF2-40B4-BE49-F238E27FC236}">
                  <a16:creationId xmlns:a16="http://schemas.microsoft.com/office/drawing/2014/main" id="{21F6FCBD-993E-9214-B1EE-6141285D02EF}"/>
                </a:ext>
              </a:extLst>
            </p:cNvPr>
            <p:cNvSpPr/>
            <p:nvPr/>
          </p:nvSpPr>
          <p:spPr>
            <a:xfrm rot="-5400000">
              <a:off x="5160818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8" name="Полилиния 1037">
              <a:extLst>
                <a:ext uri="{FF2B5EF4-FFF2-40B4-BE49-F238E27FC236}">
                  <a16:creationId xmlns:a16="http://schemas.microsoft.com/office/drawing/2014/main" id="{609671A8-20C4-F0C6-0DB8-B75A7D67C171}"/>
                </a:ext>
              </a:extLst>
            </p:cNvPr>
            <p:cNvSpPr/>
            <p:nvPr/>
          </p:nvSpPr>
          <p:spPr>
            <a:xfrm>
              <a:off x="5368636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9" name="Полилиния 1038">
              <a:extLst>
                <a:ext uri="{FF2B5EF4-FFF2-40B4-BE49-F238E27FC236}">
                  <a16:creationId xmlns:a16="http://schemas.microsoft.com/office/drawing/2014/main" id="{7C1B3911-D487-A8CF-56D7-E93D73AAD572}"/>
                </a:ext>
              </a:extLst>
            </p:cNvPr>
            <p:cNvSpPr/>
            <p:nvPr/>
          </p:nvSpPr>
          <p:spPr>
            <a:xfrm>
              <a:off x="5576454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0" name="Полилиния 1039">
              <a:extLst>
                <a:ext uri="{FF2B5EF4-FFF2-40B4-BE49-F238E27FC236}">
                  <a16:creationId xmlns:a16="http://schemas.microsoft.com/office/drawing/2014/main" id="{88203C01-809B-4511-A716-DDFD2AA1045C}"/>
                </a:ext>
              </a:extLst>
            </p:cNvPr>
            <p:cNvSpPr/>
            <p:nvPr/>
          </p:nvSpPr>
          <p:spPr>
            <a:xfrm>
              <a:off x="6199909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1" name="Полилиния 1040">
              <a:extLst>
                <a:ext uri="{FF2B5EF4-FFF2-40B4-BE49-F238E27FC236}">
                  <a16:creationId xmlns:a16="http://schemas.microsoft.com/office/drawing/2014/main" id="{A8312D2B-A9BD-1086-FAD6-E71C324392F3}"/>
                </a:ext>
              </a:extLst>
            </p:cNvPr>
            <p:cNvSpPr/>
            <p:nvPr/>
          </p:nvSpPr>
          <p:spPr>
            <a:xfrm>
              <a:off x="6407727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2" name="Полилиния 1041">
              <a:extLst>
                <a:ext uri="{FF2B5EF4-FFF2-40B4-BE49-F238E27FC236}">
                  <a16:creationId xmlns:a16="http://schemas.microsoft.com/office/drawing/2014/main" id="{C8FEE8D8-ABFA-D0C9-3221-443AD46598EB}"/>
                </a:ext>
              </a:extLst>
            </p:cNvPr>
            <p:cNvSpPr/>
            <p:nvPr/>
          </p:nvSpPr>
          <p:spPr>
            <a:xfrm>
              <a:off x="7031181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3" name="Полилиния 1042">
              <a:extLst>
                <a:ext uri="{FF2B5EF4-FFF2-40B4-BE49-F238E27FC236}">
                  <a16:creationId xmlns:a16="http://schemas.microsoft.com/office/drawing/2014/main" id="{23C8EF31-4202-0C29-3D32-498029F994DB}"/>
                </a:ext>
              </a:extLst>
            </p:cNvPr>
            <p:cNvSpPr/>
            <p:nvPr/>
          </p:nvSpPr>
          <p:spPr>
            <a:xfrm rot="-5400000">
              <a:off x="4745181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4" name="Полилиния 1043">
              <a:extLst>
                <a:ext uri="{FF2B5EF4-FFF2-40B4-BE49-F238E27FC236}">
                  <a16:creationId xmlns:a16="http://schemas.microsoft.com/office/drawing/2014/main" id="{C3842C02-9B87-AB35-1971-9AB2F7B61835}"/>
                </a:ext>
              </a:extLst>
            </p:cNvPr>
            <p:cNvSpPr/>
            <p:nvPr/>
          </p:nvSpPr>
          <p:spPr>
            <a:xfrm>
              <a:off x="4953000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5" name="Полилиния 1044">
              <a:extLst>
                <a:ext uri="{FF2B5EF4-FFF2-40B4-BE49-F238E27FC236}">
                  <a16:creationId xmlns:a16="http://schemas.microsoft.com/office/drawing/2014/main" id="{FC758D92-AFA7-407F-9CF1-BDA65F4FB7F6}"/>
                </a:ext>
              </a:extLst>
            </p:cNvPr>
            <p:cNvSpPr/>
            <p:nvPr/>
          </p:nvSpPr>
          <p:spPr>
            <a:xfrm>
              <a:off x="5160818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6" name="Полилиния 1045">
              <a:extLst>
                <a:ext uri="{FF2B5EF4-FFF2-40B4-BE49-F238E27FC236}">
                  <a16:creationId xmlns:a16="http://schemas.microsoft.com/office/drawing/2014/main" id="{D0AE123B-8066-6E01-D2EF-49014FE88D17}"/>
                </a:ext>
              </a:extLst>
            </p:cNvPr>
            <p:cNvSpPr/>
            <p:nvPr/>
          </p:nvSpPr>
          <p:spPr>
            <a:xfrm>
              <a:off x="5368636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7" name="Полилиния 1046">
              <a:extLst>
                <a:ext uri="{FF2B5EF4-FFF2-40B4-BE49-F238E27FC236}">
                  <a16:creationId xmlns:a16="http://schemas.microsoft.com/office/drawing/2014/main" id="{363B1816-9E0F-8F52-BC09-031C9A3B7616}"/>
                </a:ext>
              </a:extLst>
            </p:cNvPr>
            <p:cNvSpPr/>
            <p:nvPr/>
          </p:nvSpPr>
          <p:spPr>
            <a:xfrm>
              <a:off x="5576454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8" name="Полилиния 1047">
              <a:extLst>
                <a:ext uri="{FF2B5EF4-FFF2-40B4-BE49-F238E27FC236}">
                  <a16:creationId xmlns:a16="http://schemas.microsoft.com/office/drawing/2014/main" id="{A4C5FB74-7EA8-5756-DD48-16DB4C11FBB0}"/>
                </a:ext>
              </a:extLst>
            </p:cNvPr>
            <p:cNvSpPr/>
            <p:nvPr/>
          </p:nvSpPr>
          <p:spPr>
            <a:xfrm rot="-5400000">
              <a:off x="5992090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9" name="Полилиния 1048">
              <a:extLst>
                <a:ext uri="{FF2B5EF4-FFF2-40B4-BE49-F238E27FC236}">
                  <a16:creationId xmlns:a16="http://schemas.microsoft.com/office/drawing/2014/main" id="{394DD66A-2A35-F435-E8BC-57E8B2E36ADE}"/>
                </a:ext>
              </a:extLst>
            </p:cNvPr>
            <p:cNvSpPr/>
            <p:nvPr/>
          </p:nvSpPr>
          <p:spPr>
            <a:xfrm>
              <a:off x="6199909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0" name="Полилиния 1049">
              <a:extLst>
                <a:ext uri="{FF2B5EF4-FFF2-40B4-BE49-F238E27FC236}">
                  <a16:creationId xmlns:a16="http://schemas.microsoft.com/office/drawing/2014/main" id="{518FCD09-972F-C630-E917-2EFE29CD96FD}"/>
                </a:ext>
              </a:extLst>
            </p:cNvPr>
            <p:cNvSpPr/>
            <p:nvPr/>
          </p:nvSpPr>
          <p:spPr>
            <a:xfrm>
              <a:off x="6407727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1" name="Полилиния 1050">
              <a:extLst>
                <a:ext uri="{FF2B5EF4-FFF2-40B4-BE49-F238E27FC236}">
                  <a16:creationId xmlns:a16="http://schemas.microsoft.com/office/drawing/2014/main" id="{F1BCD512-87E0-4AF2-F8D7-E76757D66F0B}"/>
                </a:ext>
              </a:extLst>
            </p:cNvPr>
            <p:cNvSpPr/>
            <p:nvPr/>
          </p:nvSpPr>
          <p:spPr>
            <a:xfrm rot="5400000">
              <a:off x="6615545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2" name="Полилиния 1051">
              <a:extLst>
                <a:ext uri="{FF2B5EF4-FFF2-40B4-BE49-F238E27FC236}">
                  <a16:creationId xmlns:a16="http://schemas.microsoft.com/office/drawing/2014/main" id="{3264DB7D-32B8-52FF-0EFA-F7CAFFD8797D}"/>
                </a:ext>
              </a:extLst>
            </p:cNvPr>
            <p:cNvSpPr/>
            <p:nvPr/>
          </p:nvSpPr>
          <p:spPr>
            <a:xfrm>
              <a:off x="7031181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3" name="Полилиния 1052">
              <a:extLst>
                <a:ext uri="{FF2B5EF4-FFF2-40B4-BE49-F238E27FC236}">
                  <a16:creationId xmlns:a16="http://schemas.microsoft.com/office/drawing/2014/main" id="{96CA7483-B144-E55A-1571-4AEE9B8244BD}"/>
                </a:ext>
              </a:extLst>
            </p:cNvPr>
            <p:cNvSpPr/>
            <p:nvPr/>
          </p:nvSpPr>
          <p:spPr>
            <a:xfrm>
              <a:off x="7239000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4" name="Полилиния 1053">
              <a:extLst>
                <a:ext uri="{FF2B5EF4-FFF2-40B4-BE49-F238E27FC236}">
                  <a16:creationId xmlns:a16="http://schemas.microsoft.com/office/drawing/2014/main" id="{E2632F36-EE70-CC90-6466-635BC298DF65}"/>
                </a:ext>
              </a:extLst>
            </p:cNvPr>
            <p:cNvSpPr/>
            <p:nvPr/>
          </p:nvSpPr>
          <p:spPr>
            <a:xfrm>
              <a:off x="5576454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5" name="Полилиния 1054">
              <a:extLst>
                <a:ext uri="{FF2B5EF4-FFF2-40B4-BE49-F238E27FC236}">
                  <a16:creationId xmlns:a16="http://schemas.microsoft.com/office/drawing/2014/main" id="{F1B96CCF-11B2-0DCC-9A7A-D27A07937BDE}"/>
                </a:ext>
              </a:extLst>
            </p:cNvPr>
            <p:cNvSpPr/>
            <p:nvPr/>
          </p:nvSpPr>
          <p:spPr>
            <a:xfrm rot="5400000">
              <a:off x="6407727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6" name="Полилиния 1055">
              <a:extLst>
                <a:ext uri="{FF2B5EF4-FFF2-40B4-BE49-F238E27FC236}">
                  <a16:creationId xmlns:a16="http://schemas.microsoft.com/office/drawing/2014/main" id="{A63BB649-6C58-78F7-019A-13A644C59260}"/>
                </a:ext>
              </a:extLst>
            </p:cNvPr>
            <p:cNvSpPr/>
            <p:nvPr/>
          </p:nvSpPr>
          <p:spPr>
            <a:xfrm rot="-5400000">
              <a:off x="6823363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7" name="Полилиния 1056">
              <a:extLst>
                <a:ext uri="{FF2B5EF4-FFF2-40B4-BE49-F238E27FC236}">
                  <a16:creationId xmlns:a16="http://schemas.microsoft.com/office/drawing/2014/main" id="{7960948E-3CD6-ABEB-A686-7A2DF1ED1DA9}"/>
                </a:ext>
              </a:extLst>
            </p:cNvPr>
            <p:cNvSpPr/>
            <p:nvPr/>
          </p:nvSpPr>
          <p:spPr>
            <a:xfrm rot="5400000">
              <a:off x="7239000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8" name="Полилиния 1057">
              <a:extLst>
                <a:ext uri="{FF2B5EF4-FFF2-40B4-BE49-F238E27FC236}">
                  <a16:creationId xmlns:a16="http://schemas.microsoft.com/office/drawing/2014/main" id="{B81C70B5-F208-AA03-87F7-3A089B34A4CC}"/>
                </a:ext>
              </a:extLst>
            </p:cNvPr>
            <p:cNvSpPr/>
            <p:nvPr/>
          </p:nvSpPr>
          <p:spPr>
            <a:xfrm rot="-5400000">
              <a:off x="4745181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9" name="Полилиния 1058">
              <a:extLst>
                <a:ext uri="{FF2B5EF4-FFF2-40B4-BE49-F238E27FC236}">
                  <a16:creationId xmlns:a16="http://schemas.microsoft.com/office/drawing/2014/main" id="{7065D9F0-DC0F-9A0E-5AEF-166DD9D72DF6}"/>
                </a:ext>
              </a:extLst>
            </p:cNvPr>
            <p:cNvSpPr/>
            <p:nvPr/>
          </p:nvSpPr>
          <p:spPr>
            <a:xfrm rot="5400000">
              <a:off x="4953000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0" name="Полилиния 1059">
              <a:extLst>
                <a:ext uri="{FF2B5EF4-FFF2-40B4-BE49-F238E27FC236}">
                  <a16:creationId xmlns:a16="http://schemas.microsoft.com/office/drawing/2014/main" id="{ABC493D4-151A-9C64-1B69-24D60F4566C7}"/>
                </a:ext>
              </a:extLst>
            </p:cNvPr>
            <p:cNvSpPr/>
            <p:nvPr/>
          </p:nvSpPr>
          <p:spPr>
            <a:xfrm>
              <a:off x="5576454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1" name="Полилиния 1060">
              <a:extLst>
                <a:ext uri="{FF2B5EF4-FFF2-40B4-BE49-F238E27FC236}">
                  <a16:creationId xmlns:a16="http://schemas.microsoft.com/office/drawing/2014/main" id="{FCCF6586-0B2A-9A72-FCA3-FE2CC7CCA646}"/>
                </a:ext>
              </a:extLst>
            </p:cNvPr>
            <p:cNvSpPr/>
            <p:nvPr/>
          </p:nvSpPr>
          <p:spPr>
            <a:xfrm>
              <a:off x="5784272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2" name="Полилиния 1061">
              <a:extLst>
                <a:ext uri="{FF2B5EF4-FFF2-40B4-BE49-F238E27FC236}">
                  <a16:creationId xmlns:a16="http://schemas.microsoft.com/office/drawing/2014/main" id="{BC4B8788-B2A4-6F57-C504-FCDD1ABF6EF2}"/>
                </a:ext>
              </a:extLst>
            </p:cNvPr>
            <p:cNvSpPr/>
            <p:nvPr/>
          </p:nvSpPr>
          <p:spPr>
            <a:xfrm rot="-5400000">
              <a:off x="6199909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3" name="Полилиния 1062">
              <a:extLst>
                <a:ext uri="{FF2B5EF4-FFF2-40B4-BE49-F238E27FC236}">
                  <a16:creationId xmlns:a16="http://schemas.microsoft.com/office/drawing/2014/main" id="{A0C6075A-A3FC-3A60-FB7A-1C89B8FF4B04}"/>
                </a:ext>
              </a:extLst>
            </p:cNvPr>
            <p:cNvSpPr/>
            <p:nvPr/>
          </p:nvSpPr>
          <p:spPr>
            <a:xfrm rot="-5400000">
              <a:off x="6615545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4" name="Полилиния 1063">
              <a:extLst>
                <a:ext uri="{FF2B5EF4-FFF2-40B4-BE49-F238E27FC236}">
                  <a16:creationId xmlns:a16="http://schemas.microsoft.com/office/drawing/2014/main" id="{4B576951-4567-7F63-924E-19EAED10E074}"/>
                </a:ext>
              </a:extLst>
            </p:cNvPr>
            <p:cNvSpPr/>
            <p:nvPr/>
          </p:nvSpPr>
          <p:spPr>
            <a:xfrm rot="5400000">
              <a:off x="6823363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5" name="Полилиния 1064">
              <a:extLst>
                <a:ext uri="{FF2B5EF4-FFF2-40B4-BE49-F238E27FC236}">
                  <a16:creationId xmlns:a16="http://schemas.microsoft.com/office/drawing/2014/main" id="{2E471FCD-5C5F-BAA2-7B15-40335B2CDB12}"/>
                </a:ext>
              </a:extLst>
            </p:cNvPr>
            <p:cNvSpPr/>
            <p:nvPr/>
          </p:nvSpPr>
          <p:spPr>
            <a:xfrm>
              <a:off x="4745181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6" name="Полилиния 1065">
              <a:extLst>
                <a:ext uri="{FF2B5EF4-FFF2-40B4-BE49-F238E27FC236}">
                  <a16:creationId xmlns:a16="http://schemas.microsoft.com/office/drawing/2014/main" id="{74664EE0-B335-7C9E-CC8D-84FFE096BFA1}"/>
                </a:ext>
              </a:extLst>
            </p:cNvPr>
            <p:cNvSpPr/>
            <p:nvPr/>
          </p:nvSpPr>
          <p:spPr>
            <a:xfrm rot="-5400000">
              <a:off x="5368636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7" name="Полилиния 1066">
              <a:extLst>
                <a:ext uri="{FF2B5EF4-FFF2-40B4-BE49-F238E27FC236}">
                  <a16:creationId xmlns:a16="http://schemas.microsoft.com/office/drawing/2014/main" id="{0DE49338-89A0-187E-B408-E8ECAC10F184}"/>
                </a:ext>
              </a:extLst>
            </p:cNvPr>
            <p:cNvSpPr/>
            <p:nvPr/>
          </p:nvSpPr>
          <p:spPr>
            <a:xfrm>
              <a:off x="5576454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8" name="Полилиния 1067">
              <a:extLst>
                <a:ext uri="{FF2B5EF4-FFF2-40B4-BE49-F238E27FC236}">
                  <a16:creationId xmlns:a16="http://schemas.microsoft.com/office/drawing/2014/main" id="{EB321FF0-27C8-AAC5-D245-A19578A12E2B}"/>
                </a:ext>
              </a:extLst>
            </p:cNvPr>
            <p:cNvSpPr/>
            <p:nvPr/>
          </p:nvSpPr>
          <p:spPr>
            <a:xfrm>
              <a:off x="5784272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9" name="Полилиния 1068">
              <a:extLst>
                <a:ext uri="{FF2B5EF4-FFF2-40B4-BE49-F238E27FC236}">
                  <a16:creationId xmlns:a16="http://schemas.microsoft.com/office/drawing/2014/main" id="{3E95334D-6349-0699-C61B-F3C86B58B50B}"/>
                </a:ext>
              </a:extLst>
            </p:cNvPr>
            <p:cNvSpPr/>
            <p:nvPr/>
          </p:nvSpPr>
          <p:spPr>
            <a:xfrm>
              <a:off x="5992090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0" name="Полилиния 1069">
              <a:extLst>
                <a:ext uri="{FF2B5EF4-FFF2-40B4-BE49-F238E27FC236}">
                  <a16:creationId xmlns:a16="http://schemas.microsoft.com/office/drawing/2014/main" id="{40512AF6-1D04-57ED-A3B3-2458FA74117B}"/>
                </a:ext>
              </a:extLst>
            </p:cNvPr>
            <p:cNvSpPr/>
            <p:nvPr/>
          </p:nvSpPr>
          <p:spPr>
            <a:xfrm rot="5400000">
              <a:off x="6199909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1" name="Полилиния 1070">
              <a:extLst>
                <a:ext uri="{FF2B5EF4-FFF2-40B4-BE49-F238E27FC236}">
                  <a16:creationId xmlns:a16="http://schemas.microsoft.com/office/drawing/2014/main" id="{CFAFEFCB-BCCF-2802-ACF8-0E077A47E704}"/>
                </a:ext>
              </a:extLst>
            </p:cNvPr>
            <p:cNvSpPr/>
            <p:nvPr/>
          </p:nvSpPr>
          <p:spPr>
            <a:xfrm rot="5400000">
              <a:off x="6615545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2" name="Полилиния 1071">
              <a:extLst>
                <a:ext uri="{FF2B5EF4-FFF2-40B4-BE49-F238E27FC236}">
                  <a16:creationId xmlns:a16="http://schemas.microsoft.com/office/drawing/2014/main" id="{FC615812-EA78-0931-B63C-758FDEE8C17A}"/>
                </a:ext>
              </a:extLst>
            </p:cNvPr>
            <p:cNvSpPr/>
            <p:nvPr/>
          </p:nvSpPr>
          <p:spPr>
            <a:xfrm rot="-5400000">
              <a:off x="7031181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3" name="Полилиния 1072">
              <a:extLst>
                <a:ext uri="{FF2B5EF4-FFF2-40B4-BE49-F238E27FC236}">
                  <a16:creationId xmlns:a16="http://schemas.microsoft.com/office/drawing/2014/main" id="{45AA82CA-84A5-B55E-BECD-6C1088CB9830}"/>
                </a:ext>
              </a:extLst>
            </p:cNvPr>
            <p:cNvSpPr/>
            <p:nvPr/>
          </p:nvSpPr>
          <p:spPr>
            <a:xfrm>
              <a:off x="7239000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4" name="Полилиния 1073">
              <a:extLst>
                <a:ext uri="{FF2B5EF4-FFF2-40B4-BE49-F238E27FC236}">
                  <a16:creationId xmlns:a16="http://schemas.microsoft.com/office/drawing/2014/main" id="{8EB81CD5-9595-7AC2-3237-C256ED1537E6}"/>
                </a:ext>
              </a:extLst>
            </p:cNvPr>
            <p:cNvSpPr/>
            <p:nvPr/>
          </p:nvSpPr>
          <p:spPr>
            <a:xfrm rot="5400000">
              <a:off x="4745181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5" name="Полилиния 1074">
              <a:extLst>
                <a:ext uri="{FF2B5EF4-FFF2-40B4-BE49-F238E27FC236}">
                  <a16:creationId xmlns:a16="http://schemas.microsoft.com/office/drawing/2014/main" id="{1D1FCD14-2717-74C3-13C3-BDE974C88A7B}"/>
                </a:ext>
              </a:extLst>
            </p:cNvPr>
            <p:cNvSpPr/>
            <p:nvPr/>
          </p:nvSpPr>
          <p:spPr>
            <a:xfrm rot="-5400000">
              <a:off x="5160818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6" name="Полилиния 1075">
              <a:extLst>
                <a:ext uri="{FF2B5EF4-FFF2-40B4-BE49-F238E27FC236}">
                  <a16:creationId xmlns:a16="http://schemas.microsoft.com/office/drawing/2014/main" id="{8BBDC990-3C55-6AFE-8DFB-1E6CD919F13E}"/>
                </a:ext>
              </a:extLst>
            </p:cNvPr>
            <p:cNvSpPr/>
            <p:nvPr/>
          </p:nvSpPr>
          <p:spPr>
            <a:xfrm>
              <a:off x="5576454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7" name="Полилиния 1076">
              <a:extLst>
                <a:ext uri="{FF2B5EF4-FFF2-40B4-BE49-F238E27FC236}">
                  <a16:creationId xmlns:a16="http://schemas.microsoft.com/office/drawing/2014/main" id="{9AE116D4-8D24-081F-7C1A-F3385E7653FA}"/>
                </a:ext>
              </a:extLst>
            </p:cNvPr>
            <p:cNvSpPr/>
            <p:nvPr/>
          </p:nvSpPr>
          <p:spPr>
            <a:xfrm rot="5400000">
              <a:off x="5992090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8" name="Полилиния 1077">
              <a:extLst>
                <a:ext uri="{FF2B5EF4-FFF2-40B4-BE49-F238E27FC236}">
                  <a16:creationId xmlns:a16="http://schemas.microsoft.com/office/drawing/2014/main" id="{21E62652-E579-2CCC-48C1-7CC441FCECF2}"/>
                </a:ext>
              </a:extLst>
            </p:cNvPr>
            <p:cNvSpPr/>
            <p:nvPr/>
          </p:nvSpPr>
          <p:spPr>
            <a:xfrm rot="-5400000">
              <a:off x="6407727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9" name="Полилиния 1078">
              <a:extLst>
                <a:ext uri="{FF2B5EF4-FFF2-40B4-BE49-F238E27FC236}">
                  <a16:creationId xmlns:a16="http://schemas.microsoft.com/office/drawing/2014/main" id="{202BAD7B-A50C-38B7-45B8-656C52F304D8}"/>
                </a:ext>
              </a:extLst>
            </p:cNvPr>
            <p:cNvSpPr/>
            <p:nvPr/>
          </p:nvSpPr>
          <p:spPr>
            <a:xfrm rot="5400000">
              <a:off x="6823363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6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0" name="Полилиния 1079">
              <a:extLst>
                <a:ext uri="{FF2B5EF4-FFF2-40B4-BE49-F238E27FC236}">
                  <a16:creationId xmlns:a16="http://schemas.microsoft.com/office/drawing/2014/main" id="{834F7AF2-6072-2F3D-EB0F-BC90B7909B76}"/>
                </a:ext>
              </a:extLst>
            </p:cNvPr>
            <p:cNvSpPr/>
            <p:nvPr/>
          </p:nvSpPr>
          <p:spPr>
            <a:xfrm>
              <a:off x="7239000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1" name="Полилиния 1080">
              <a:extLst>
                <a:ext uri="{FF2B5EF4-FFF2-40B4-BE49-F238E27FC236}">
                  <a16:creationId xmlns:a16="http://schemas.microsoft.com/office/drawing/2014/main" id="{4EE73BF1-43BC-48E4-3EB7-9760987C1C04}"/>
                </a:ext>
              </a:extLst>
            </p:cNvPr>
            <p:cNvSpPr/>
            <p:nvPr/>
          </p:nvSpPr>
          <p:spPr>
            <a:xfrm>
              <a:off x="5160818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2" name="Полилиния 1081">
              <a:extLst>
                <a:ext uri="{FF2B5EF4-FFF2-40B4-BE49-F238E27FC236}">
                  <a16:creationId xmlns:a16="http://schemas.microsoft.com/office/drawing/2014/main" id="{B1C690F6-8EFA-C8A1-CBAC-66AA064F5B74}"/>
                </a:ext>
              </a:extLst>
            </p:cNvPr>
            <p:cNvSpPr/>
            <p:nvPr/>
          </p:nvSpPr>
          <p:spPr>
            <a:xfrm>
              <a:off x="5368636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3" name="Полилиния 1082">
              <a:extLst>
                <a:ext uri="{FF2B5EF4-FFF2-40B4-BE49-F238E27FC236}">
                  <a16:creationId xmlns:a16="http://schemas.microsoft.com/office/drawing/2014/main" id="{29A05E52-2682-DC3A-E6AE-4084DD54358E}"/>
                </a:ext>
              </a:extLst>
            </p:cNvPr>
            <p:cNvSpPr/>
            <p:nvPr/>
          </p:nvSpPr>
          <p:spPr>
            <a:xfrm>
              <a:off x="5576454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4" name="Полилиния 1083">
              <a:extLst>
                <a:ext uri="{FF2B5EF4-FFF2-40B4-BE49-F238E27FC236}">
                  <a16:creationId xmlns:a16="http://schemas.microsoft.com/office/drawing/2014/main" id="{984A87C5-9D55-F6EF-C838-638D8AF530CD}"/>
                </a:ext>
              </a:extLst>
            </p:cNvPr>
            <p:cNvSpPr/>
            <p:nvPr/>
          </p:nvSpPr>
          <p:spPr>
            <a:xfrm rot="-5400000">
              <a:off x="6199909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5" name="Полилиния 1084">
              <a:extLst>
                <a:ext uri="{FF2B5EF4-FFF2-40B4-BE49-F238E27FC236}">
                  <a16:creationId xmlns:a16="http://schemas.microsoft.com/office/drawing/2014/main" id="{9D0AB17A-6DBB-FEAC-9AD3-53B03304BE65}"/>
                </a:ext>
              </a:extLst>
            </p:cNvPr>
            <p:cNvSpPr/>
            <p:nvPr/>
          </p:nvSpPr>
          <p:spPr>
            <a:xfrm>
              <a:off x="6407727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6" name="Полилиния 1085">
              <a:extLst>
                <a:ext uri="{FF2B5EF4-FFF2-40B4-BE49-F238E27FC236}">
                  <a16:creationId xmlns:a16="http://schemas.microsoft.com/office/drawing/2014/main" id="{466EB812-2CBA-DDC9-5345-EF11CE434911}"/>
                </a:ext>
              </a:extLst>
            </p:cNvPr>
            <p:cNvSpPr/>
            <p:nvPr/>
          </p:nvSpPr>
          <p:spPr>
            <a:xfrm rot="-5400000">
              <a:off x="7031181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7" name="Полилиния 1086">
              <a:extLst>
                <a:ext uri="{FF2B5EF4-FFF2-40B4-BE49-F238E27FC236}">
                  <a16:creationId xmlns:a16="http://schemas.microsoft.com/office/drawing/2014/main" id="{2406607E-60BF-927A-63D2-2A553F8E879D}"/>
                </a:ext>
              </a:extLst>
            </p:cNvPr>
            <p:cNvSpPr/>
            <p:nvPr/>
          </p:nvSpPr>
          <p:spPr>
            <a:xfrm>
              <a:off x="7239000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8" name="Полилиния 1087">
              <a:extLst>
                <a:ext uri="{FF2B5EF4-FFF2-40B4-BE49-F238E27FC236}">
                  <a16:creationId xmlns:a16="http://schemas.microsoft.com/office/drawing/2014/main" id="{CEDC6CCD-45A5-A601-84B6-B2076FB320EF}"/>
                </a:ext>
              </a:extLst>
            </p:cNvPr>
            <p:cNvSpPr/>
            <p:nvPr/>
          </p:nvSpPr>
          <p:spPr>
            <a:xfrm rot="5400000">
              <a:off x="3290454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9" name="Полилиния 1088">
              <a:extLst>
                <a:ext uri="{FF2B5EF4-FFF2-40B4-BE49-F238E27FC236}">
                  <a16:creationId xmlns:a16="http://schemas.microsoft.com/office/drawing/2014/main" id="{D1B244F7-DC82-850D-E1AB-52A2F1110389}"/>
                </a:ext>
              </a:extLst>
            </p:cNvPr>
            <p:cNvSpPr/>
            <p:nvPr/>
          </p:nvSpPr>
          <p:spPr>
            <a:xfrm rot="-5400000">
              <a:off x="3913909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0" name="Полилиния 1089">
              <a:extLst>
                <a:ext uri="{FF2B5EF4-FFF2-40B4-BE49-F238E27FC236}">
                  <a16:creationId xmlns:a16="http://schemas.microsoft.com/office/drawing/2014/main" id="{BCE07FEA-ED67-9481-4B38-0C9FF9EBAA74}"/>
                </a:ext>
              </a:extLst>
            </p:cNvPr>
            <p:cNvSpPr/>
            <p:nvPr/>
          </p:nvSpPr>
          <p:spPr>
            <a:xfrm rot="5400000">
              <a:off x="4329545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6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1" name="Полилиния 1090">
              <a:extLst>
                <a:ext uri="{FF2B5EF4-FFF2-40B4-BE49-F238E27FC236}">
                  <a16:creationId xmlns:a16="http://schemas.microsoft.com/office/drawing/2014/main" id="{97556BD0-3E1F-0B0D-573B-2BB1128FC76E}"/>
                </a:ext>
              </a:extLst>
            </p:cNvPr>
            <p:cNvSpPr/>
            <p:nvPr/>
          </p:nvSpPr>
          <p:spPr>
            <a:xfrm rot="-5400000">
              <a:off x="4745181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2" name="Полилиния 1091">
              <a:extLst>
                <a:ext uri="{FF2B5EF4-FFF2-40B4-BE49-F238E27FC236}">
                  <a16:creationId xmlns:a16="http://schemas.microsoft.com/office/drawing/2014/main" id="{58AA9043-973B-DE8F-FA49-5CED5E8B027E}"/>
                </a:ext>
              </a:extLst>
            </p:cNvPr>
            <p:cNvSpPr/>
            <p:nvPr/>
          </p:nvSpPr>
          <p:spPr>
            <a:xfrm>
              <a:off x="4953000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3" name="Полилиния 1092">
              <a:extLst>
                <a:ext uri="{FF2B5EF4-FFF2-40B4-BE49-F238E27FC236}">
                  <a16:creationId xmlns:a16="http://schemas.microsoft.com/office/drawing/2014/main" id="{D4E90065-C869-022E-3335-C67CD0834626}"/>
                </a:ext>
              </a:extLst>
            </p:cNvPr>
            <p:cNvSpPr/>
            <p:nvPr/>
          </p:nvSpPr>
          <p:spPr>
            <a:xfrm>
              <a:off x="5160818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4" name="Полилиния 1093">
              <a:extLst>
                <a:ext uri="{FF2B5EF4-FFF2-40B4-BE49-F238E27FC236}">
                  <a16:creationId xmlns:a16="http://schemas.microsoft.com/office/drawing/2014/main" id="{1D01F69C-0196-FFBB-894E-2697D4C656C6}"/>
                </a:ext>
              </a:extLst>
            </p:cNvPr>
            <p:cNvSpPr/>
            <p:nvPr/>
          </p:nvSpPr>
          <p:spPr>
            <a:xfrm>
              <a:off x="5368636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5" name="Полилиния 1094">
              <a:extLst>
                <a:ext uri="{FF2B5EF4-FFF2-40B4-BE49-F238E27FC236}">
                  <a16:creationId xmlns:a16="http://schemas.microsoft.com/office/drawing/2014/main" id="{B0081648-3009-4B7C-1FC8-782FC5A60B2B}"/>
                </a:ext>
              </a:extLst>
            </p:cNvPr>
            <p:cNvSpPr/>
            <p:nvPr/>
          </p:nvSpPr>
          <p:spPr>
            <a:xfrm>
              <a:off x="5576454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6" name="Полилиния 1095">
              <a:extLst>
                <a:ext uri="{FF2B5EF4-FFF2-40B4-BE49-F238E27FC236}">
                  <a16:creationId xmlns:a16="http://schemas.microsoft.com/office/drawing/2014/main" id="{8CF9F17B-7525-D31E-83B5-C30E7507E8C5}"/>
                </a:ext>
              </a:extLst>
            </p:cNvPr>
            <p:cNvSpPr/>
            <p:nvPr/>
          </p:nvSpPr>
          <p:spPr>
            <a:xfrm rot="5400000">
              <a:off x="5784272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7" name="Полилиния 1096">
              <a:extLst>
                <a:ext uri="{FF2B5EF4-FFF2-40B4-BE49-F238E27FC236}">
                  <a16:creationId xmlns:a16="http://schemas.microsoft.com/office/drawing/2014/main" id="{1A1456F0-1654-0684-CAB6-40945A72ABA4}"/>
                </a:ext>
              </a:extLst>
            </p:cNvPr>
            <p:cNvSpPr/>
            <p:nvPr/>
          </p:nvSpPr>
          <p:spPr>
            <a:xfrm rot="5400000">
              <a:off x="6407727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8" name="Полилиния 1097">
              <a:extLst>
                <a:ext uri="{FF2B5EF4-FFF2-40B4-BE49-F238E27FC236}">
                  <a16:creationId xmlns:a16="http://schemas.microsoft.com/office/drawing/2014/main" id="{FBDCDC55-6A64-1ABB-7B2B-B3B8511DE522}"/>
                </a:ext>
              </a:extLst>
            </p:cNvPr>
            <p:cNvSpPr/>
            <p:nvPr/>
          </p:nvSpPr>
          <p:spPr>
            <a:xfrm>
              <a:off x="7239000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9" name="Полилиния 1098">
              <a:extLst>
                <a:ext uri="{FF2B5EF4-FFF2-40B4-BE49-F238E27FC236}">
                  <a16:creationId xmlns:a16="http://schemas.microsoft.com/office/drawing/2014/main" id="{71C3E27C-6578-09CB-146E-E4DF17318242}"/>
                </a:ext>
              </a:extLst>
            </p:cNvPr>
            <p:cNvSpPr/>
            <p:nvPr/>
          </p:nvSpPr>
          <p:spPr>
            <a:xfrm rot="5400000">
              <a:off x="7446818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0" name="Полилиния 1099">
              <a:extLst>
                <a:ext uri="{FF2B5EF4-FFF2-40B4-BE49-F238E27FC236}">
                  <a16:creationId xmlns:a16="http://schemas.microsoft.com/office/drawing/2014/main" id="{8E05C712-869B-D73D-EA23-FA1546F97821}"/>
                </a:ext>
              </a:extLst>
            </p:cNvPr>
            <p:cNvSpPr/>
            <p:nvPr/>
          </p:nvSpPr>
          <p:spPr>
            <a:xfrm rot="-5400000">
              <a:off x="7862454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1" name="Полилиния 1100">
              <a:extLst>
                <a:ext uri="{FF2B5EF4-FFF2-40B4-BE49-F238E27FC236}">
                  <a16:creationId xmlns:a16="http://schemas.microsoft.com/office/drawing/2014/main" id="{964F2406-1FE8-6FF1-BDBA-52252263853D}"/>
                </a:ext>
              </a:extLst>
            </p:cNvPr>
            <p:cNvSpPr/>
            <p:nvPr/>
          </p:nvSpPr>
          <p:spPr>
            <a:xfrm>
              <a:off x="8070272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2" name="Полилиния 1101">
              <a:extLst>
                <a:ext uri="{FF2B5EF4-FFF2-40B4-BE49-F238E27FC236}">
                  <a16:creationId xmlns:a16="http://schemas.microsoft.com/office/drawing/2014/main" id="{E9B51342-3503-5376-4996-7C471B7905E9}"/>
                </a:ext>
              </a:extLst>
            </p:cNvPr>
            <p:cNvSpPr/>
            <p:nvPr/>
          </p:nvSpPr>
          <p:spPr>
            <a:xfrm rot="-5400000">
              <a:off x="8485909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3" name="Полилиния 1102">
              <a:extLst>
                <a:ext uri="{FF2B5EF4-FFF2-40B4-BE49-F238E27FC236}">
                  <a16:creationId xmlns:a16="http://schemas.microsoft.com/office/drawing/2014/main" id="{BE56A03B-35D2-4B39-3616-4B40D20A73F6}"/>
                </a:ext>
              </a:extLst>
            </p:cNvPr>
            <p:cNvSpPr/>
            <p:nvPr/>
          </p:nvSpPr>
          <p:spPr>
            <a:xfrm rot="-5400000">
              <a:off x="3082636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4" name="Полилиния 1103">
              <a:extLst>
                <a:ext uri="{FF2B5EF4-FFF2-40B4-BE49-F238E27FC236}">
                  <a16:creationId xmlns:a16="http://schemas.microsoft.com/office/drawing/2014/main" id="{8D99CFA0-BADE-34DA-FB08-85EDFFB0F14F}"/>
                </a:ext>
              </a:extLst>
            </p:cNvPr>
            <p:cNvSpPr/>
            <p:nvPr/>
          </p:nvSpPr>
          <p:spPr>
            <a:xfrm rot="-5400000">
              <a:off x="3498272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5" name="Полилиния 1104">
              <a:extLst>
                <a:ext uri="{FF2B5EF4-FFF2-40B4-BE49-F238E27FC236}">
                  <a16:creationId xmlns:a16="http://schemas.microsoft.com/office/drawing/2014/main" id="{6E4915A5-3626-D69C-ED7E-B7B1A15961F7}"/>
                </a:ext>
              </a:extLst>
            </p:cNvPr>
            <p:cNvSpPr/>
            <p:nvPr/>
          </p:nvSpPr>
          <p:spPr>
            <a:xfrm>
              <a:off x="3913909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6" name="Полилиния 1105">
              <a:extLst>
                <a:ext uri="{FF2B5EF4-FFF2-40B4-BE49-F238E27FC236}">
                  <a16:creationId xmlns:a16="http://schemas.microsoft.com/office/drawing/2014/main" id="{662D44F7-8259-813F-2D4F-5CBFFFC42293}"/>
                </a:ext>
              </a:extLst>
            </p:cNvPr>
            <p:cNvSpPr/>
            <p:nvPr/>
          </p:nvSpPr>
          <p:spPr>
            <a:xfrm rot="5400000">
              <a:off x="4121727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7" name="Полилиния 1106">
              <a:extLst>
                <a:ext uri="{FF2B5EF4-FFF2-40B4-BE49-F238E27FC236}">
                  <a16:creationId xmlns:a16="http://schemas.microsoft.com/office/drawing/2014/main" id="{65E16505-D34F-B744-7909-43583D93BEFD}"/>
                </a:ext>
              </a:extLst>
            </p:cNvPr>
            <p:cNvSpPr/>
            <p:nvPr/>
          </p:nvSpPr>
          <p:spPr>
            <a:xfrm rot="-5400000">
              <a:off x="4537363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8" name="Полилиния 1107">
              <a:extLst>
                <a:ext uri="{FF2B5EF4-FFF2-40B4-BE49-F238E27FC236}">
                  <a16:creationId xmlns:a16="http://schemas.microsoft.com/office/drawing/2014/main" id="{A8C0B3ED-CA67-DB1D-43C4-AE83D556B517}"/>
                </a:ext>
              </a:extLst>
            </p:cNvPr>
            <p:cNvSpPr/>
            <p:nvPr/>
          </p:nvSpPr>
          <p:spPr>
            <a:xfrm rot="-5400000">
              <a:off x="6615545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9" name="Полилиния 1108">
              <a:extLst>
                <a:ext uri="{FF2B5EF4-FFF2-40B4-BE49-F238E27FC236}">
                  <a16:creationId xmlns:a16="http://schemas.microsoft.com/office/drawing/2014/main" id="{5CC16E35-67AF-6C2F-8FF6-3A2702A4B175}"/>
                </a:ext>
              </a:extLst>
            </p:cNvPr>
            <p:cNvSpPr/>
            <p:nvPr/>
          </p:nvSpPr>
          <p:spPr>
            <a:xfrm>
              <a:off x="6823363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0" name="Полилиния 1109">
              <a:extLst>
                <a:ext uri="{FF2B5EF4-FFF2-40B4-BE49-F238E27FC236}">
                  <a16:creationId xmlns:a16="http://schemas.microsoft.com/office/drawing/2014/main" id="{FA22111A-0771-0353-1722-FEC198BAAD62}"/>
                </a:ext>
              </a:extLst>
            </p:cNvPr>
            <p:cNvSpPr/>
            <p:nvPr/>
          </p:nvSpPr>
          <p:spPr>
            <a:xfrm rot="5400000">
              <a:off x="7654636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1" name="Полилиния 1110">
              <a:extLst>
                <a:ext uri="{FF2B5EF4-FFF2-40B4-BE49-F238E27FC236}">
                  <a16:creationId xmlns:a16="http://schemas.microsoft.com/office/drawing/2014/main" id="{C120B052-FD0F-44E7-1F09-8D4DA85BC262}"/>
                </a:ext>
              </a:extLst>
            </p:cNvPr>
            <p:cNvSpPr/>
            <p:nvPr/>
          </p:nvSpPr>
          <p:spPr>
            <a:xfrm rot="5400000">
              <a:off x="8070272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2" name="Полилиния 1111">
              <a:extLst>
                <a:ext uri="{FF2B5EF4-FFF2-40B4-BE49-F238E27FC236}">
                  <a16:creationId xmlns:a16="http://schemas.microsoft.com/office/drawing/2014/main" id="{FCF01ABF-AA23-F860-39B6-EEFB2493C03A}"/>
                </a:ext>
              </a:extLst>
            </p:cNvPr>
            <p:cNvSpPr/>
            <p:nvPr/>
          </p:nvSpPr>
          <p:spPr>
            <a:xfrm>
              <a:off x="8485909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3" name="Полилиния 1112">
              <a:extLst>
                <a:ext uri="{FF2B5EF4-FFF2-40B4-BE49-F238E27FC236}">
                  <a16:creationId xmlns:a16="http://schemas.microsoft.com/office/drawing/2014/main" id="{0DCD68BC-73EE-0549-476F-3EB92F80A9CC}"/>
                </a:ext>
              </a:extLst>
            </p:cNvPr>
            <p:cNvSpPr/>
            <p:nvPr/>
          </p:nvSpPr>
          <p:spPr>
            <a:xfrm>
              <a:off x="8693727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4" name="Полилиния 1113">
              <a:extLst>
                <a:ext uri="{FF2B5EF4-FFF2-40B4-BE49-F238E27FC236}">
                  <a16:creationId xmlns:a16="http://schemas.microsoft.com/office/drawing/2014/main" id="{F44463CF-34C0-E14F-3DB1-172761D699BA}"/>
                </a:ext>
              </a:extLst>
            </p:cNvPr>
            <p:cNvSpPr/>
            <p:nvPr/>
          </p:nvSpPr>
          <p:spPr>
            <a:xfrm>
              <a:off x="8901545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5" name="Полилиния 1114">
              <a:extLst>
                <a:ext uri="{FF2B5EF4-FFF2-40B4-BE49-F238E27FC236}">
                  <a16:creationId xmlns:a16="http://schemas.microsoft.com/office/drawing/2014/main" id="{AAFC6DCA-8FDA-CB8F-038C-6B6907E3E484}"/>
                </a:ext>
              </a:extLst>
            </p:cNvPr>
            <p:cNvSpPr/>
            <p:nvPr/>
          </p:nvSpPr>
          <p:spPr>
            <a:xfrm>
              <a:off x="3082636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6" name="Полилиния 1115">
              <a:extLst>
                <a:ext uri="{FF2B5EF4-FFF2-40B4-BE49-F238E27FC236}">
                  <a16:creationId xmlns:a16="http://schemas.microsoft.com/office/drawing/2014/main" id="{4C908222-0A67-A720-4C17-FFC155CB0058}"/>
                </a:ext>
              </a:extLst>
            </p:cNvPr>
            <p:cNvSpPr/>
            <p:nvPr/>
          </p:nvSpPr>
          <p:spPr>
            <a:xfrm>
              <a:off x="3290454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7" name="Полилиния 1116">
              <a:extLst>
                <a:ext uri="{FF2B5EF4-FFF2-40B4-BE49-F238E27FC236}">
                  <a16:creationId xmlns:a16="http://schemas.microsoft.com/office/drawing/2014/main" id="{7118B9AE-5545-EDD1-5E82-45807A156267}"/>
                </a:ext>
              </a:extLst>
            </p:cNvPr>
            <p:cNvSpPr/>
            <p:nvPr/>
          </p:nvSpPr>
          <p:spPr>
            <a:xfrm>
              <a:off x="3498272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8" name="Полилиния 1117">
              <a:extLst>
                <a:ext uri="{FF2B5EF4-FFF2-40B4-BE49-F238E27FC236}">
                  <a16:creationId xmlns:a16="http://schemas.microsoft.com/office/drawing/2014/main" id="{3CCEDAF4-2FB2-0F00-799C-106DCE33C066}"/>
                </a:ext>
              </a:extLst>
            </p:cNvPr>
            <p:cNvSpPr/>
            <p:nvPr/>
          </p:nvSpPr>
          <p:spPr>
            <a:xfrm rot="5400000">
              <a:off x="3706090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9" name="Полилиния 1118">
              <a:extLst>
                <a:ext uri="{FF2B5EF4-FFF2-40B4-BE49-F238E27FC236}">
                  <a16:creationId xmlns:a16="http://schemas.microsoft.com/office/drawing/2014/main" id="{9EBF9D88-4567-C2D7-35CD-3644535C7D28}"/>
                </a:ext>
              </a:extLst>
            </p:cNvPr>
            <p:cNvSpPr/>
            <p:nvPr/>
          </p:nvSpPr>
          <p:spPr>
            <a:xfrm rot="-5400000">
              <a:off x="4329545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0" name="Полилиния 1119">
              <a:extLst>
                <a:ext uri="{FF2B5EF4-FFF2-40B4-BE49-F238E27FC236}">
                  <a16:creationId xmlns:a16="http://schemas.microsoft.com/office/drawing/2014/main" id="{DC965E0F-CE85-BD7D-667D-3670456B84F2}"/>
                </a:ext>
              </a:extLst>
            </p:cNvPr>
            <p:cNvSpPr/>
            <p:nvPr/>
          </p:nvSpPr>
          <p:spPr>
            <a:xfrm>
              <a:off x="4537363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1" name="Полилиния 1120">
              <a:extLst>
                <a:ext uri="{FF2B5EF4-FFF2-40B4-BE49-F238E27FC236}">
                  <a16:creationId xmlns:a16="http://schemas.microsoft.com/office/drawing/2014/main" id="{D84191F7-6EA3-9FF9-1E2B-64DFF60E2FD2}"/>
                </a:ext>
              </a:extLst>
            </p:cNvPr>
            <p:cNvSpPr/>
            <p:nvPr/>
          </p:nvSpPr>
          <p:spPr>
            <a:xfrm>
              <a:off x="4745181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2" name="Полилиния 1121">
              <a:extLst>
                <a:ext uri="{FF2B5EF4-FFF2-40B4-BE49-F238E27FC236}">
                  <a16:creationId xmlns:a16="http://schemas.microsoft.com/office/drawing/2014/main" id="{3D25EC72-6119-A359-8F2B-F1D822EC48E1}"/>
                </a:ext>
              </a:extLst>
            </p:cNvPr>
            <p:cNvSpPr/>
            <p:nvPr/>
          </p:nvSpPr>
          <p:spPr>
            <a:xfrm>
              <a:off x="4953000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3" name="Полилиния 1122">
              <a:extLst>
                <a:ext uri="{FF2B5EF4-FFF2-40B4-BE49-F238E27FC236}">
                  <a16:creationId xmlns:a16="http://schemas.microsoft.com/office/drawing/2014/main" id="{B4A2FEA7-167B-49AD-D509-3A7FA749F7FB}"/>
                </a:ext>
              </a:extLst>
            </p:cNvPr>
            <p:cNvSpPr/>
            <p:nvPr/>
          </p:nvSpPr>
          <p:spPr>
            <a:xfrm rot="5400000">
              <a:off x="5160818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4" name="Полилиния 1123">
              <a:extLst>
                <a:ext uri="{FF2B5EF4-FFF2-40B4-BE49-F238E27FC236}">
                  <a16:creationId xmlns:a16="http://schemas.microsoft.com/office/drawing/2014/main" id="{2BCB3263-D368-B84E-1C34-EE2C5140035E}"/>
                </a:ext>
              </a:extLst>
            </p:cNvPr>
            <p:cNvSpPr/>
            <p:nvPr/>
          </p:nvSpPr>
          <p:spPr>
            <a:xfrm rot="5400000">
              <a:off x="6407727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5" name="Полилиния 1124">
              <a:extLst>
                <a:ext uri="{FF2B5EF4-FFF2-40B4-BE49-F238E27FC236}">
                  <a16:creationId xmlns:a16="http://schemas.microsoft.com/office/drawing/2014/main" id="{E6CCFE44-D324-DEEC-F2BD-57997C470CE3}"/>
                </a:ext>
              </a:extLst>
            </p:cNvPr>
            <p:cNvSpPr/>
            <p:nvPr/>
          </p:nvSpPr>
          <p:spPr>
            <a:xfrm>
              <a:off x="6823363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6" name="Полилиния 1125">
              <a:extLst>
                <a:ext uri="{FF2B5EF4-FFF2-40B4-BE49-F238E27FC236}">
                  <a16:creationId xmlns:a16="http://schemas.microsoft.com/office/drawing/2014/main" id="{D63A7FCD-EF9A-C6CC-5FC8-B74C9DF08828}"/>
                </a:ext>
              </a:extLst>
            </p:cNvPr>
            <p:cNvSpPr/>
            <p:nvPr/>
          </p:nvSpPr>
          <p:spPr>
            <a:xfrm rot="-5400000">
              <a:off x="7239000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7" name="Полилиния 1126">
              <a:extLst>
                <a:ext uri="{FF2B5EF4-FFF2-40B4-BE49-F238E27FC236}">
                  <a16:creationId xmlns:a16="http://schemas.microsoft.com/office/drawing/2014/main" id="{568BA92E-A2B7-42DC-441C-016ECA51341D}"/>
                </a:ext>
              </a:extLst>
            </p:cNvPr>
            <p:cNvSpPr/>
            <p:nvPr/>
          </p:nvSpPr>
          <p:spPr>
            <a:xfrm>
              <a:off x="7446818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8" name="Полилиния 1127">
              <a:extLst>
                <a:ext uri="{FF2B5EF4-FFF2-40B4-BE49-F238E27FC236}">
                  <a16:creationId xmlns:a16="http://schemas.microsoft.com/office/drawing/2014/main" id="{F02813D0-C4EF-18B2-0FFF-6695C8C4EEE2}"/>
                </a:ext>
              </a:extLst>
            </p:cNvPr>
            <p:cNvSpPr/>
            <p:nvPr/>
          </p:nvSpPr>
          <p:spPr>
            <a:xfrm>
              <a:off x="8901545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9" name="Полилиния 1128">
              <a:extLst>
                <a:ext uri="{FF2B5EF4-FFF2-40B4-BE49-F238E27FC236}">
                  <a16:creationId xmlns:a16="http://schemas.microsoft.com/office/drawing/2014/main" id="{6A2EC9F1-B0E7-BA4E-D7CA-4062347A194F}"/>
                </a:ext>
              </a:extLst>
            </p:cNvPr>
            <p:cNvSpPr/>
            <p:nvPr/>
          </p:nvSpPr>
          <p:spPr>
            <a:xfrm>
              <a:off x="3290454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0" name="Полилиния 1129">
              <a:extLst>
                <a:ext uri="{FF2B5EF4-FFF2-40B4-BE49-F238E27FC236}">
                  <a16:creationId xmlns:a16="http://schemas.microsoft.com/office/drawing/2014/main" id="{90A0F558-D649-893D-7866-FCF96DA74B59}"/>
                </a:ext>
              </a:extLst>
            </p:cNvPr>
            <p:cNvSpPr/>
            <p:nvPr/>
          </p:nvSpPr>
          <p:spPr>
            <a:xfrm rot="5400000">
              <a:off x="3498272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1" name="Полилиния 1130">
              <a:extLst>
                <a:ext uri="{FF2B5EF4-FFF2-40B4-BE49-F238E27FC236}">
                  <a16:creationId xmlns:a16="http://schemas.microsoft.com/office/drawing/2014/main" id="{FE877E37-06B9-8DD9-3D9B-B8F49410DC5A}"/>
                </a:ext>
              </a:extLst>
            </p:cNvPr>
            <p:cNvSpPr/>
            <p:nvPr/>
          </p:nvSpPr>
          <p:spPr>
            <a:xfrm rot="-5400000">
              <a:off x="3913909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2" name="Полилиния 1131">
              <a:extLst>
                <a:ext uri="{FF2B5EF4-FFF2-40B4-BE49-F238E27FC236}">
                  <a16:creationId xmlns:a16="http://schemas.microsoft.com/office/drawing/2014/main" id="{43FD197F-CDC8-DF27-6ACC-670183D6D998}"/>
                </a:ext>
              </a:extLst>
            </p:cNvPr>
            <p:cNvSpPr/>
            <p:nvPr/>
          </p:nvSpPr>
          <p:spPr>
            <a:xfrm>
              <a:off x="4745181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3" name="Полилиния 1132">
              <a:extLst>
                <a:ext uri="{FF2B5EF4-FFF2-40B4-BE49-F238E27FC236}">
                  <a16:creationId xmlns:a16="http://schemas.microsoft.com/office/drawing/2014/main" id="{653CD771-4C24-11B6-1A3E-FC9A47647357}"/>
                </a:ext>
              </a:extLst>
            </p:cNvPr>
            <p:cNvSpPr/>
            <p:nvPr/>
          </p:nvSpPr>
          <p:spPr>
            <a:xfrm rot="5400000">
              <a:off x="4953000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4" name="Полилиния 1133">
              <a:extLst>
                <a:ext uri="{FF2B5EF4-FFF2-40B4-BE49-F238E27FC236}">
                  <a16:creationId xmlns:a16="http://schemas.microsoft.com/office/drawing/2014/main" id="{9A63CDA6-8C45-C8B4-9EAA-F924E49FAE78}"/>
                </a:ext>
              </a:extLst>
            </p:cNvPr>
            <p:cNvSpPr/>
            <p:nvPr/>
          </p:nvSpPr>
          <p:spPr>
            <a:xfrm rot="5400000">
              <a:off x="5368636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5" name="Полилиния 1134">
              <a:extLst>
                <a:ext uri="{FF2B5EF4-FFF2-40B4-BE49-F238E27FC236}">
                  <a16:creationId xmlns:a16="http://schemas.microsoft.com/office/drawing/2014/main" id="{10AA6F36-A822-2A90-A02D-A2F4457141EF}"/>
                </a:ext>
              </a:extLst>
            </p:cNvPr>
            <p:cNvSpPr/>
            <p:nvPr/>
          </p:nvSpPr>
          <p:spPr>
            <a:xfrm rot="-5400000">
              <a:off x="6199909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6" name="Полилиния 1135">
              <a:extLst>
                <a:ext uri="{FF2B5EF4-FFF2-40B4-BE49-F238E27FC236}">
                  <a16:creationId xmlns:a16="http://schemas.microsoft.com/office/drawing/2014/main" id="{1CECAE04-7893-376D-400F-371F0FE1F1C4}"/>
                </a:ext>
              </a:extLst>
            </p:cNvPr>
            <p:cNvSpPr/>
            <p:nvPr/>
          </p:nvSpPr>
          <p:spPr>
            <a:xfrm rot="-5400000">
              <a:off x="6615545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7" name="Полилиния 1136">
              <a:extLst>
                <a:ext uri="{FF2B5EF4-FFF2-40B4-BE49-F238E27FC236}">
                  <a16:creationId xmlns:a16="http://schemas.microsoft.com/office/drawing/2014/main" id="{C2DE5A8C-725D-6ADF-677E-8DC83DFBC438}"/>
                </a:ext>
              </a:extLst>
            </p:cNvPr>
            <p:cNvSpPr/>
            <p:nvPr/>
          </p:nvSpPr>
          <p:spPr>
            <a:xfrm>
              <a:off x="6823363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8" name="Полилиния 1137">
              <a:extLst>
                <a:ext uri="{FF2B5EF4-FFF2-40B4-BE49-F238E27FC236}">
                  <a16:creationId xmlns:a16="http://schemas.microsoft.com/office/drawing/2014/main" id="{8E4190AD-60C2-D04D-A943-9B2F0FE580C9}"/>
                </a:ext>
              </a:extLst>
            </p:cNvPr>
            <p:cNvSpPr/>
            <p:nvPr/>
          </p:nvSpPr>
          <p:spPr>
            <a:xfrm>
              <a:off x="7031181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9" name="Полилиния 1138">
              <a:extLst>
                <a:ext uri="{FF2B5EF4-FFF2-40B4-BE49-F238E27FC236}">
                  <a16:creationId xmlns:a16="http://schemas.microsoft.com/office/drawing/2014/main" id="{D8AFAD8F-EE44-5B4E-EF84-5395E55801F0}"/>
                </a:ext>
              </a:extLst>
            </p:cNvPr>
            <p:cNvSpPr/>
            <p:nvPr/>
          </p:nvSpPr>
          <p:spPr>
            <a:xfrm>
              <a:off x="7239000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0" name="Полилиния 1139">
              <a:extLst>
                <a:ext uri="{FF2B5EF4-FFF2-40B4-BE49-F238E27FC236}">
                  <a16:creationId xmlns:a16="http://schemas.microsoft.com/office/drawing/2014/main" id="{40CEDFFE-06C8-1CA2-E2B8-67979836BFC3}"/>
                </a:ext>
              </a:extLst>
            </p:cNvPr>
            <p:cNvSpPr/>
            <p:nvPr/>
          </p:nvSpPr>
          <p:spPr>
            <a:xfrm rot="5400000">
              <a:off x="7446818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1" name="Полилиния 1140">
              <a:extLst>
                <a:ext uri="{FF2B5EF4-FFF2-40B4-BE49-F238E27FC236}">
                  <a16:creationId xmlns:a16="http://schemas.microsoft.com/office/drawing/2014/main" id="{6A2FDC08-E9A6-E0F2-1FB7-19F18234132B}"/>
                </a:ext>
              </a:extLst>
            </p:cNvPr>
            <p:cNvSpPr/>
            <p:nvPr/>
          </p:nvSpPr>
          <p:spPr>
            <a:xfrm rot="5400000">
              <a:off x="8070272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2" name="Полилиния 1141">
              <a:extLst>
                <a:ext uri="{FF2B5EF4-FFF2-40B4-BE49-F238E27FC236}">
                  <a16:creationId xmlns:a16="http://schemas.microsoft.com/office/drawing/2014/main" id="{8914B42F-3F4C-4093-08A3-44F717470F7B}"/>
                </a:ext>
              </a:extLst>
            </p:cNvPr>
            <p:cNvSpPr/>
            <p:nvPr/>
          </p:nvSpPr>
          <p:spPr>
            <a:xfrm rot="-5400000">
              <a:off x="8693727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3" name="Полилиния 1142">
              <a:extLst>
                <a:ext uri="{FF2B5EF4-FFF2-40B4-BE49-F238E27FC236}">
                  <a16:creationId xmlns:a16="http://schemas.microsoft.com/office/drawing/2014/main" id="{30E2641E-2B28-E310-31E1-49CE4C3677BC}"/>
                </a:ext>
              </a:extLst>
            </p:cNvPr>
            <p:cNvSpPr/>
            <p:nvPr/>
          </p:nvSpPr>
          <p:spPr>
            <a:xfrm>
              <a:off x="8901545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4" name="Полилиния 1143">
              <a:extLst>
                <a:ext uri="{FF2B5EF4-FFF2-40B4-BE49-F238E27FC236}">
                  <a16:creationId xmlns:a16="http://schemas.microsoft.com/office/drawing/2014/main" id="{73D18FBA-81D6-4870-21D3-1DBF6C0D764E}"/>
                </a:ext>
              </a:extLst>
            </p:cNvPr>
            <p:cNvSpPr/>
            <p:nvPr/>
          </p:nvSpPr>
          <p:spPr>
            <a:xfrm rot="-5400000">
              <a:off x="3082636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5" name="Полилиния 1144">
              <a:extLst>
                <a:ext uri="{FF2B5EF4-FFF2-40B4-BE49-F238E27FC236}">
                  <a16:creationId xmlns:a16="http://schemas.microsoft.com/office/drawing/2014/main" id="{C397B0AA-A060-FCB6-EB32-F4407AD3F411}"/>
                </a:ext>
              </a:extLst>
            </p:cNvPr>
            <p:cNvSpPr/>
            <p:nvPr/>
          </p:nvSpPr>
          <p:spPr>
            <a:xfrm>
              <a:off x="3290454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6" name="Полилиния 1145">
              <a:extLst>
                <a:ext uri="{FF2B5EF4-FFF2-40B4-BE49-F238E27FC236}">
                  <a16:creationId xmlns:a16="http://schemas.microsoft.com/office/drawing/2014/main" id="{E903AEF0-E57C-D63D-4030-209F9050E647}"/>
                </a:ext>
              </a:extLst>
            </p:cNvPr>
            <p:cNvSpPr/>
            <p:nvPr/>
          </p:nvSpPr>
          <p:spPr>
            <a:xfrm>
              <a:off x="3913909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7" name="Полилиния 1146">
              <a:extLst>
                <a:ext uri="{FF2B5EF4-FFF2-40B4-BE49-F238E27FC236}">
                  <a16:creationId xmlns:a16="http://schemas.microsoft.com/office/drawing/2014/main" id="{B5B19D42-5CE0-1DFD-D4CD-98C8322ADCA5}"/>
                </a:ext>
              </a:extLst>
            </p:cNvPr>
            <p:cNvSpPr/>
            <p:nvPr/>
          </p:nvSpPr>
          <p:spPr>
            <a:xfrm rot="5400000">
              <a:off x="4329545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6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8" name="Полилиния 1147">
              <a:extLst>
                <a:ext uri="{FF2B5EF4-FFF2-40B4-BE49-F238E27FC236}">
                  <a16:creationId xmlns:a16="http://schemas.microsoft.com/office/drawing/2014/main" id="{D68798A8-E90E-E4BC-C1EE-D37F26F3CD1F}"/>
                </a:ext>
              </a:extLst>
            </p:cNvPr>
            <p:cNvSpPr/>
            <p:nvPr/>
          </p:nvSpPr>
          <p:spPr>
            <a:xfrm rot="5400000">
              <a:off x="4745181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9" name="Полилиния 1148">
              <a:extLst>
                <a:ext uri="{FF2B5EF4-FFF2-40B4-BE49-F238E27FC236}">
                  <a16:creationId xmlns:a16="http://schemas.microsoft.com/office/drawing/2014/main" id="{5E180B6C-5449-13C9-A4E8-856BE4B22D9B}"/>
                </a:ext>
              </a:extLst>
            </p:cNvPr>
            <p:cNvSpPr/>
            <p:nvPr/>
          </p:nvSpPr>
          <p:spPr>
            <a:xfrm rot="-5400000">
              <a:off x="5160818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0" name="Полилиния 1149">
              <a:extLst>
                <a:ext uri="{FF2B5EF4-FFF2-40B4-BE49-F238E27FC236}">
                  <a16:creationId xmlns:a16="http://schemas.microsoft.com/office/drawing/2014/main" id="{3DACDEAB-8E51-3E2F-90A6-04F6E8B1C350}"/>
                </a:ext>
              </a:extLst>
            </p:cNvPr>
            <p:cNvSpPr/>
            <p:nvPr/>
          </p:nvSpPr>
          <p:spPr>
            <a:xfrm rot="-5400000">
              <a:off x="5576454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1" name="Полилиния 1150">
              <a:extLst>
                <a:ext uri="{FF2B5EF4-FFF2-40B4-BE49-F238E27FC236}">
                  <a16:creationId xmlns:a16="http://schemas.microsoft.com/office/drawing/2014/main" id="{AD642258-6612-EF30-3DA5-2ABC3C2C4BCB}"/>
                </a:ext>
              </a:extLst>
            </p:cNvPr>
            <p:cNvSpPr/>
            <p:nvPr/>
          </p:nvSpPr>
          <p:spPr>
            <a:xfrm rot="5400000">
              <a:off x="5784272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2" name="Полилиния 1151">
              <a:extLst>
                <a:ext uri="{FF2B5EF4-FFF2-40B4-BE49-F238E27FC236}">
                  <a16:creationId xmlns:a16="http://schemas.microsoft.com/office/drawing/2014/main" id="{59EC102C-1CB3-7B64-DD86-FADFC888BE84}"/>
                </a:ext>
              </a:extLst>
            </p:cNvPr>
            <p:cNvSpPr/>
            <p:nvPr/>
          </p:nvSpPr>
          <p:spPr>
            <a:xfrm>
              <a:off x="6199909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3" name="Полилиния 1152">
              <a:extLst>
                <a:ext uri="{FF2B5EF4-FFF2-40B4-BE49-F238E27FC236}">
                  <a16:creationId xmlns:a16="http://schemas.microsoft.com/office/drawing/2014/main" id="{4067E0CE-2FB2-FC39-4F9D-D47435E80B60}"/>
                </a:ext>
              </a:extLst>
            </p:cNvPr>
            <p:cNvSpPr/>
            <p:nvPr/>
          </p:nvSpPr>
          <p:spPr>
            <a:xfrm>
              <a:off x="6407727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4" name="Полилиния 1153">
              <a:extLst>
                <a:ext uri="{FF2B5EF4-FFF2-40B4-BE49-F238E27FC236}">
                  <a16:creationId xmlns:a16="http://schemas.microsoft.com/office/drawing/2014/main" id="{064E44A2-C1B4-AF43-B09E-C5648F465E3C}"/>
                </a:ext>
              </a:extLst>
            </p:cNvPr>
            <p:cNvSpPr/>
            <p:nvPr/>
          </p:nvSpPr>
          <p:spPr>
            <a:xfrm rot="5400000">
              <a:off x="6615545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5" name="Полилиния 1154">
              <a:extLst>
                <a:ext uri="{FF2B5EF4-FFF2-40B4-BE49-F238E27FC236}">
                  <a16:creationId xmlns:a16="http://schemas.microsoft.com/office/drawing/2014/main" id="{B858E02E-9D16-25B0-9AF6-D6CA44FDCAB2}"/>
                </a:ext>
              </a:extLst>
            </p:cNvPr>
            <p:cNvSpPr/>
            <p:nvPr/>
          </p:nvSpPr>
          <p:spPr>
            <a:xfrm rot="5400000">
              <a:off x="7239000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6" name="Полилиния 1155">
              <a:extLst>
                <a:ext uri="{FF2B5EF4-FFF2-40B4-BE49-F238E27FC236}">
                  <a16:creationId xmlns:a16="http://schemas.microsoft.com/office/drawing/2014/main" id="{D81613BE-EB48-5FEB-A8AD-C8E58326BDD4}"/>
                </a:ext>
              </a:extLst>
            </p:cNvPr>
            <p:cNvSpPr/>
            <p:nvPr/>
          </p:nvSpPr>
          <p:spPr>
            <a:xfrm rot="5400000">
              <a:off x="7862454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7" name="Полилиния 1156">
              <a:extLst>
                <a:ext uri="{FF2B5EF4-FFF2-40B4-BE49-F238E27FC236}">
                  <a16:creationId xmlns:a16="http://schemas.microsoft.com/office/drawing/2014/main" id="{5CD4486E-55C9-4168-402B-94A4DF5FDED4}"/>
                </a:ext>
              </a:extLst>
            </p:cNvPr>
            <p:cNvSpPr/>
            <p:nvPr/>
          </p:nvSpPr>
          <p:spPr>
            <a:xfrm rot="5400000">
              <a:off x="8278090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8" name="Полилиния 1157">
              <a:extLst>
                <a:ext uri="{FF2B5EF4-FFF2-40B4-BE49-F238E27FC236}">
                  <a16:creationId xmlns:a16="http://schemas.microsoft.com/office/drawing/2014/main" id="{DDA6AD2A-B5A4-1C02-A397-CC4C2BA102AE}"/>
                </a:ext>
              </a:extLst>
            </p:cNvPr>
            <p:cNvSpPr/>
            <p:nvPr/>
          </p:nvSpPr>
          <p:spPr>
            <a:xfrm>
              <a:off x="8901545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9" name="Полилиния 1158">
              <a:extLst>
                <a:ext uri="{FF2B5EF4-FFF2-40B4-BE49-F238E27FC236}">
                  <a16:creationId xmlns:a16="http://schemas.microsoft.com/office/drawing/2014/main" id="{E1601972-D5BC-6CC0-EB72-CB72A8762E82}"/>
                </a:ext>
              </a:extLst>
            </p:cNvPr>
            <p:cNvSpPr/>
            <p:nvPr/>
          </p:nvSpPr>
          <p:spPr>
            <a:xfrm>
              <a:off x="3082636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0" name="Полилиния 1159">
              <a:extLst>
                <a:ext uri="{FF2B5EF4-FFF2-40B4-BE49-F238E27FC236}">
                  <a16:creationId xmlns:a16="http://schemas.microsoft.com/office/drawing/2014/main" id="{D4E32A9B-409D-ECCA-DA05-91C481355CD8}"/>
                </a:ext>
              </a:extLst>
            </p:cNvPr>
            <p:cNvSpPr/>
            <p:nvPr/>
          </p:nvSpPr>
          <p:spPr>
            <a:xfrm>
              <a:off x="3290454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1" name="Полилиния 1160">
              <a:extLst>
                <a:ext uri="{FF2B5EF4-FFF2-40B4-BE49-F238E27FC236}">
                  <a16:creationId xmlns:a16="http://schemas.microsoft.com/office/drawing/2014/main" id="{438BAB72-1C04-A729-2637-3BCE0F6B19D2}"/>
                </a:ext>
              </a:extLst>
            </p:cNvPr>
            <p:cNvSpPr/>
            <p:nvPr/>
          </p:nvSpPr>
          <p:spPr>
            <a:xfrm>
              <a:off x="3913909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2" name="Полилиния 1161">
              <a:extLst>
                <a:ext uri="{FF2B5EF4-FFF2-40B4-BE49-F238E27FC236}">
                  <a16:creationId xmlns:a16="http://schemas.microsoft.com/office/drawing/2014/main" id="{714CF9F0-F33B-2765-D31F-6642CD261D64}"/>
                </a:ext>
              </a:extLst>
            </p:cNvPr>
            <p:cNvSpPr/>
            <p:nvPr/>
          </p:nvSpPr>
          <p:spPr>
            <a:xfrm rot="5400000">
              <a:off x="4121727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3" name="Полилиния 1162">
              <a:extLst>
                <a:ext uri="{FF2B5EF4-FFF2-40B4-BE49-F238E27FC236}">
                  <a16:creationId xmlns:a16="http://schemas.microsoft.com/office/drawing/2014/main" id="{B2809AD3-28AC-F73A-875C-8DF97269F309}"/>
                </a:ext>
              </a:extLst>
            </p:cNvPr>
            <p:cNvSpPr/>
            <p:nvPr/>
          </p:nvSpPr>
          <p:spPr>
            <a:xfrm rot="-5400000">
              <a:off x="4537363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4" name="Полилиния 1163">
              <a:extLst>
                <a:ext uri="{FF2B5EF4-FFF2-40B4-BE49-F238E27FC236}">
                  <a16:creationId xmlns:a16="http://schemas.microsoft.com/office/drawing/2014/main" id="{A872F417-24C3-410B-6AA2-05AF8EADA71C}"/>
                </a:ext>
              </a:extLst>
            </p:cNvPr>
            <p:cNvSpPr/>
            <p:nvPr/>
          </p:nvSpPr>
          <p:spPr>
            <a:xfrm rot="-5400000">
              <a:off x="4953000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5" name="Полилиния 1164">
              <a:extLst>
                <a:ext uri="{FF2B5EF4-FFF2-40B4-BE49-F238E27FC236}">
                  <a16:creationId xmlns:a16="http://schemas.microsoft.com/office/drawing/2014/main" id="{D2805F23-AFFE-2E9C-7451-87130D9A4709}"/>
                </a:ext>
              </a:extLst>
            </p:cNvPr>
            <p:cNvSpPr/>
            <p:nvPr/>
          </p:nvSpPr>
          <p:spPr>
            <a:xfrm>
              <a:off x="5160818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6" name="Полилиния 1165">
              <a:extLst>
                <a:ext uri="{FF2B5EF4-FFF2-40B4-BE49-F238E27FC236}">
                  <a16:creationId xmlns:a16="http://schemas.microsoft.com/office/drawing/2014/main" id="{570D7CEB-2C1C-BF69-8830-6D5E69223A34}"/>
                </a:ext>
              </a:extLst>
            </p:cNvPr>
            <p:cNvSpPr/>
            <p:nvPr/>
          </p:nvSpPr>
          <p:spPr>
            <a:xfrm>
              <a:off x="5368636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7" name="Полилиния 1166">
              <a:extLst>
                <a:ext uri="{FF2B5EF4-FFF2-40B4-BE49-F238E27FC236}">
                  <a16:creationId xmlns:a16="http://schemas.microsoft.com/office/drawing/2014/main" id="{3F04D263-946B-97EA-81FF-3A7B0AC58D14}"/>
                </a:ext>
              </a:extLst>
            </p:cNvPr>
            <p:cNvSpPr/>
            <p:nvPr/>
          </p:nvSpPr>
          <p:spPr>
            <a:xfrm rot="-5400000">
              <a:off x="5992090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8" name="Полилиния 1167">
              <a:extLst>
                <a:ext uri="{FF2B5EF4-FFF2-40B4-BE49-F238E27FC236}">
                  <a16:creationId xmlns:a16="http://schemas.microsoft.com/office/drawing/2014/main" id="{126881EE-21C7-6E8F-A4EB-9FD864DEF9BF}"/>
                </a:ext>
              </a:extLst>
            </p:cNvPr>
            <p:cNvSpPr/>
            <p:nvPr/>
          </p:nvSpPr>
          <p:spPr>
            <a:xfrm>
              <a:off x="6199909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9" name="Полилиния 1168">
              <a:extLst>
                <a:ext uri="{FF2B5EF4-FFF2-40B4-BE49-F238E27FC236}">
                  <a16:creationId xmlns:a16="http://schemas.microsoft.com/office/drawing/2014/main" id="{BF7E06DC-159F-C598-5E2A-BDC8183AC960}"/>
                </a:ext>
              </a:extLst>
            </p:cNvPr>
            <p:cNvSpPr/>
            <p:nvPr/>
          </p:nvSpPr>
          <p:spPr>
            <a:xfrm>
              <a:off x="6407727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0" name="Полилиния 1169">
              <a:extLst>
                <a:ext uri="{FF2B5EF4-FFF2-40B4-BE49-F238E27FC236}">
                  <a16:creationId xmlns:a16="http://schemas.microsoft.com/office/drawing/2014/main" id="{CF14E0DE-BD52-6DF2-DACB-F324A40F2E55}"/>
                </a:ext>
              </a:extLst>
            </p:cNvPr>
            <p:cNvSpPr/>
            <p:nvPr/>
          </p:nvSpPr>
          <p:spPr>
            <a:xfrm rot="5400000">
              <a:off x="6823363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1" name="Полилиния 1170">
              <a:extLst>
                <a:ext uri="{FF2B5EF4-FFF2-40B4-BE49-F238E27FC236}">
                  <a16:creationId xmlns:a16="http://schemas.microsoft.com/office/drawing/2014/main" id="{B2455AEC-A817-1CF7-5DBB-B370EDFC7113}"/>
                </a:ext>
              </a:extLst>
            </p:cNvPr>
            <p:cNvSpPr/>
            <p:nvPr/>
          </p:nvSpPr>
          <p:spPr>
            <a:xfrm rot="5400000">
              <a:off x="7654636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2" name="Полилиния 1171">
              <a:extLst>
                <a:ext uri="{FF2B5EF4-FFF2-40B4-BE49-F238E27FC236}">
                  <a16:creationId xmlns:a16="http://schemas.microsoft.com/office/drawing/2014/main" id="{6ED7BF3D-8AD7-32EB-3CA1-47E4104AAABC}"/>
                </a:ext>
              </a:extLst>
            </p:cNvPr>
            <p:cNvSpPr/>
            <p:nvPr/>
          </p:nvSpPr>
          <p:spPr>
            <a:xfrm rot="-5400000">
              <a:off x="8070272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3" name="Полилиния 1172">
              <a:extLst>
                <a:ext uri="{FF2B5EF4-FFF2-40B4-BE49-F238E27FC236}">
                  <a16:creationId xmlns:a16="http://schemas.microsoft.com/office/drawing/2014/main" id="{979FD39C-EB21-57D0-D097-238E37EFD18A}"/>
                </a:ext>
              </a:extLst>
            </p:cNvPr>
            <p:cNvSpPr/>
            <p:nvPr/>
          </p:nvSpPr>
          <p:spPr>
            <a:xfrm rot="5400000">
              <a:off x="8485909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4" name="Полилиния 1173">
              <a:extLst>
                <a:ext uri="{FF2B5EF4-FFF2-40B4-BE49-F238E27FC236}">
                  <a16:creationId xmlns:a16="http://schemas.microsoft.com/office/drawing/2014/main" id="{70D5F689-220B-72D2-BD0E-54A9B3A2C4D7}"/>
                </a:ext>
              </a:extLst>
            </p:cNvPr>
            <p:cNvSpPr/>
            <p:nvPr/>
          </p:nvSpPr>
          <p:spPr>
            <a:xfrm>
              <a:off x="8901545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5" name="Полилиния 1174">
              <a:extLst>
                <a:ext uri="{FF2B5EF4-FFF2-40B4-BE49-F238E27FC236}">
                  <a16:creationId xmlns:a16="http://schemas.microsoft.com/office/drawing/2014/main" id="{6D2055BE-4507-3DAB-5E47-003B0FC6C88F}"/>
                </a:ext>
              </a:extLst>
            </p:cNvPr>
            <p:cNvSpPr/>
            <p:nvPr/>
          </p:nvSpPr>
          <p:spPr>
            <a:xfrm>
              <a:off x="3082636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6" name="Полилиния 1175">
              <a:extLst>
                <a:ext uri="{FF2B5EF4-FFF2-40B4-BE49-F238E27FC236}">
                  <a16:creationId xmlns:a16="http://schemas.microsoft.com/office/drawing/2014/main" id="{FFD6D347-CA8A-6942-47B9-ACA527EF16B7}"/>
                </a:ext>
              </a:extLst>
            </p:cNvPr>
            <p:cNvSpPr/>
            <p:nvPr/>
          </p:nvSpPr>
          <p:spPr>
            <a:xfrm>
              <a:off x="3290454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7" name="Полилиния 1176">
              <a:extLst>
                <a:ext uri="{FF2B5EF4-FFF2-40B4-BE49-F238E27FC236}">
                  <a16:creationId xmlns:a16="http://schemas.microsoft.com/office/drawing/2014/main" id="{8F8211B3-D642-4CFA-2330-DBA4F20740D9}"/>
                </a:ext>
              </a:extLst>
            </p:cNvPr>
            <p:cNvSpPr/>
            <p:nvPr/>
          </p:nvSpPr>
          <p:spPr>
            <a:xfrm>
              <a:off x="3498272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8" name="Полилиния 1177">
              <a:extLst>
                <a:ext uri="{FF2B5EF4-FFF2-40B4-BE49-F238E27FC236}">
                  <a16:creationId xmlns:a16="http://schemas.microsoft.com/office/drawing/2014/main" id="{AF2DEE50-6A87-2A9C-91DD-4B0DC24DDA23}"/>
                </a:ext>
              </a:extLst>
            </p:cNvPr>
            <p:cNvSpPr/>
            <p:nvPr/>
          </p:nvSpPr>
          <p:spPr>
            <a:xfrm rot="-5400000">
              <a:off x="4329545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9" name="Полилиния 1178">
              <a:extLst>
                <a:ext uri="{FF2B5EF4-FFF2-40B4-BE49-F238E27FC236}">
                  <a16:creationId xmlns:a16="http://schemas.microsoft.com/office/drawing/2014/main" id="{8D028D04-1ECC-2C8B-D164-9DA6CA7ACE7E}"/>
                </a:ext>
              </a:extLst>
            </p:cNvPr>
            <p:cNvSpPr/>
            <p:nvPr/>
          </p:nvSpPr>
          <p:spPr>
            <a:xfrm>
              <a:off x="4537363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0" name="Полилиния 1179">
              <a:extLst>
                <a:ext uri="{FF2B5EF4-FFF2-40B4-BE49-F238E27FC236}">
                  <a16:creationId xmlns:a16="http://schemas.microsoft.com/office/drawing/2014/main" id="{CA018E0E-D60A-4C3B-BB04-B89EB0771BC0}"/>
                </a:ext>
              </a:extLst>
            </p:cNvPr>
            <p:cNvSpPr/>
            <p:nvPr/>
          </p:nvSpPr>
          <p:spPr>
            <a:xfrm>
              <a:off x="4745181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1" name="Полилиния 1180">
              <a:extLst>
                <a:ext uri="{FF2B5EF4-FFF2-40B4-BE49-F238E27FC236}">
                  <a16:creationId xmlns:a16="http://schemas.microsoft.com/office/drawing/2014/main" id="{B03715CA-37DF-389B-C4BC-7DC62F62F75D}"/>
                </a:ext>
              </a:extLst>
            </p:cNvPr>
            <p:cNvSpPr/>
            <p:nvPr/>
          </p:nvSpPr>
          <p:spPr>
            <a:xfrm>
              <a:off x="4953000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2" name="Полилиния 1181">
              <a:extLst>
                <a:ext uri="{FF2B5EF4-FFF2-40B4-BE49-F238E27FC236}">
                  <a16:creationId xmlns:a16="http://schemas.microsoft.com/office/drawing/2014/main" id="{0D5DA1D7-CB3F-3EFE-344F-A3806693EEE3}"/>
                </a:ext>
              </a:extLst>
            </p:cNvPr>
            <p:cNvSpPr/>
            <p:nvPr/>
          </p:nvSpPr>
          <p:spPr>
            <a:xfrm>
              <a:off x="5368636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3" name="Полилиния 1182">
              <a:extLst>
                <a:ext uri="{FF2B5EF4-FFF2-40B4-BE49-F238E27FC236}">
                  <a16:creationId xmlns:a16="http://schemas.microsoft.com/office/drawing/2014/main" id="{7FDECDD8-C54D-715F-D9A8-49A4B5190361}"/>
                </a:ext>
              </a:extLst>
            </p:cNvPr>
            <p:cNvSpPr/>
            <p:nvPr/>
          </p:nvSpPr>
          <p:spPr>
            <a:xfrm rot="-5400000">
              <a:off x="5784272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4" name="Полилиния 1183">
              <a:extLst>
                <a:ext uri="{FF2B5EF4-FFF2-40B4-BE49-F238E27FC236}">
                  <a16:creationId xmlns:a16="http://schemas.microsoft.com/office/drawing/2014/main" id="{DD4F19C0-0CDA-FEF0-401D-70593B8E1C98}"/>
                </a:ext>
              </a:extLst>
            </p:cNvPr>
            <p:cNvSpPr/>
            <p:nvPr/>
          </p:nvSpPr>
          <p:spPr>
            <a:xfrm>
              <a:off x="5992090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5" name="Полилиния 1184">
              <a:extLst>
                <a:ext uri="{FF2B5EF4-FFF2-40B4-BE49-F238E27FC236}">
                  <a16:creationId xmlns:a16="http://schemas.microsoft.com/office/drawing/2014/main" id="{014A09FA-5403-1F12-B7E5-661FA48B808A}"/>
                </a:ext>
              </a:extLst>
            </p:cNvPr>
            <p:cNvSpPr/>
            <p:nvPr/>
          </p:nvSpPr>
          <p:spPr>
            <a:xfrm>
              <a:off x="6199909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6" name="Полилиния 1185">
              <a:extLst>
                <a:ext uri="{FF2B5EF4-FFF2-40B4-BE49-F238E27FC236}">
                  <a16:creationId xmlns:a16="http://schemas.microsoft.com/office/drawing/2014/main" id="{D70CEDC0-AFD7-213F-51B7-56C4244FEACD}"/>
                </a:ext>
              </a:extLst>
            </p:cNvPr>
            <p:cNvSpPr/>
            <p:nvPr/>
          </p:nvSpPr>
          <p:spPr>
            <a:xfrm>
              <a:off x="6407727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7" name="Полилиния 1186">
              <a:extLst>
                <a:ext uri="{FF2B5EF4-FFF2-40B4-BE49-F238E27FC236}">
                  <a16:creationId xmlns:a16="http://schemas.microsoft.com/office/drawing/2014/main" id="{01F3C85D-E236-6A6F-BBA4-10DD261BE97F}"/>
                </a:ext>
              </a:extLst>
            </p:cNvPr>
            <p:cNvSpPr/>
            <p:nvPr/>
          </p:nvSpPr>
          <p:spPr>
            <a:xfrm>
              <a:off x="6615545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8" name="Полилиния 1187">
              <a:extLst>
                <a:ext uri="{FF2B5EF4-FFF2-40B4-BE49-F238E27FC236}">
                  <a16:creationId xmlns:a16="http://schemas.microsoft.com/office/drawing/2014/main" id="{C01E7987-3227-C7B9-3566-5074050B6AE6}"/>
                </a:ext>
              </a:extLst>
            </p:cNvPr>
            <p:cNvSpPr/>
            <p:nvPr/>
          </p:nvSpPr>
          <p:spPr>
            <a:xfrm rot="5400000">
              <a:off x="7239000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9" name="Полилиния 1188">
              <a:extLst>
                <a:ext uri="{FF2B5EF4-FFF2-40B4-BE49-F238E27FC236}">
                  <a16:creationId xmlns:a16="http://schemas.microsoft.com/office/drawing/2014/main" id="{67ABF110-CD53-EE0D-B738-96D31A4F8105}"/>
                </a:ext>
              </a:extLst>
            </p:cNvPr>
            <p:cNvSpPr/>
            <p:nvPr/>
          </p:nvSpPr>
          <p:spPr>
            <a:xfrm rot="5400000">
              <a:off x="8070272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0" name="Полилиния 1189">
              <a:extLst>
                <a:ext uri="{FF2B5EF4-FFF2-40B4-BE49-F238E27FC236}">
                  <a16:creationId xmlns:a16="http://schemas.microsoft.com/office/drawing/2014/main" id="{022F1B72-3EF9-EE6F-D629-CE0961241AF0}"/>
                </a:ext>
              </a:extLst>
            </p:cNvPr>
            <p:cNvSpPr/>
            <p:nvPr/>
          </p:nvSpPr>
          <p:spPr>
            <a:xfrm>
              <a:off x="8901545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1" name="Полилиния 1190">
              <a:extLst>
                <a:ext uri="{FF2B5EF4-FFF2-40B4-BE49-F238E27FC236}">
                  <a16:creationId xmlns:a16="http://schemas.microsoft.com/office/drawing/2014/main" id="{6705C85A-AA5A-9C8C-9CDD-618208116535}"/>
                </a:ext>
              </a:extLst>
            </p:cNvPr>
            <p:cNvSpPr/>
            <p:nvPr/>
          </p:nvSpPr>
          <p:spPr>
            <a:xfrm rot="5400000">
              <a:off x="3082636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2" name="Полилиния 1191">
              <a:extLst>
                <a:ext uri="{FF2B5EF4-FFF2-40B4-BE49-F238E27FC236}">
                  <a16:creationId xmlns:a16="http://schemas.microsoft.com/office/drawing/2014/main" id="{C2295C2C-110F-9CA4-EB7D-F857E9D12FC6}"/>
                </a:ext>
              </a:extLst>
            </p:cNvPr>
            <p:cNvSpPr/>
            <p:nvPr/>
          </p:nvSpPr>
          <p:spPr>
            <a:xfrm>
              <a:off x="3498272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3" name="Полилиния 1192">
              <a:extLst>
                <a:ext uri="{FF2B5EF4-FFF2-40B4-BE49-F238E27FC236}">
                  <a16:creationId xmlns:a16="http://schemas.microsoft.com/office/drawing/2014/main" id="{95484543-CE33-869F-C6C0-05BC8DE29FA1}"/>
                </a:ext>
              </a:extLst>
            </p:cNvPr>
            <p:cNvSpPr/>
            <p:nvPr/>
          </p:nvSpPr>
          <p:spPr>
            <a:xfrm rot="5400000">
              <a:off x="3913909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6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4" name="Полилиния 1193">
              <a:extLst>
                <a:ext uri="{FF2B5EF4-FFF2-40B4-BE49-F238E27FC236}">
                  <a16:creationId xmlns:a16="http://schemas.microsoft.com/office/drawing/2014/main" id="{BE1E8565-2A03-F7BE-F75E-DC4AEC9303B9}"/>
                </a:ext>
              </a:extLst>
            </p:cNvPr>
            <p:cNvSpPr/>
            <p:nvPr/>
          </p:nvSpPr>
          <p:spPr>
            <a:xfrm>
              <a:off x="4537363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5" name="Полилиния 1194">
              <a:extLst>
                <a:ext uri="{FF2B5EF4-FFF2-40B4-BE49-F238E27FC236}">
                  <a16:creationId xmlns:a16="http://schemas.microsoft.com/office/drawing/2014/main" id="{7283D89D-8008-B79A-744F-F95A66B4C760}"/>
                </a:ext>
              </a:extLst>
            </p:cNvPr>
            <p:cNvSpPr/>
            <p:nvPr/>
          </p:nvSpPr>
          <p:spPr>
            <a:xfrm>
              <a:off x="4953000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6" name="Полилиния 1195">
              <a:extLst>
                <a:ext uri="{FF2B5EF4-FFF2-40B4-BE49-F238E27FC236}">
                  <a16:creationId xmlns:a16="http://schemas.microsoft.com/office/drawing/2014/main" id="{3E60B647-7C1F-D209-521B-A81A251EAACB}"/>
                </a:ext>
              </a:extLst>
            </p:cNvPr>
            <p:cNvSpPr/>
            <p:nvPr/>
          </p:nvSpPr>
          <p:spPr>
            <a:xfrm>
              <a:off x="5160818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7" name="Полилиния 1196">
              <a:extLst>
                <a:ext uri="{FF2B5EF4-FFF2-40B4-BE49-F238E27FC236}">
                  <a16:creationId xmlns:a16="http://schemas.microsoft.com/office/drawing/2014/main" id="{85E635A6-CFCD-22BF-7568-3A522F8ED37F}"/>
                </a:ext>
              </a:extLst>
            </p:cNvPr>
            <p:cNvSpPr/>
            <p:nvPr/>
          </p:nvSpPr>
          <p:spPr>
            <a:xfrm rot="5400000">
              <a:off x="5368636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8" name="Полилиния 1197">
              <a:extLst>
                <a:ext uri="{FF2B5EF4-FFF2-40B4-BE49-F238E27FC236}">
                  <a16:creationId xmlns:a16="http://schemas.microsoft.com/office/drawing/2014/main" id="{78B2C83A-0CEA-4B8C-FBB2-822596464FC3}"/>
                </a:ext>
              </a:extLst>
            </p:cNvPr>
            <p:cNvSpPr/>
            <p:nvPr/>
          </p:nvSpPr>
          <p:spPr>
            <a:xfrm>
              <a:off x="5784272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9" name="Полилиния 1198">
              <a:extLst>
                <a:ext uri="{FF2B5EF4-FFF2-40B4-BE49-F238E27FC236}">
                  <a16:creationId xmlns:a16="http://schemas.microsoft.com/office/drawing/2014/main" id="{12782F50-2EDB-7E6B-7900-2B69A1B57A91}"/>
                </a:ext>
              </a:extLst>
            </p:cNvPr>
            <p:cNvSpPr/>
            <p:nvPr/>
          </p:nvSpPr>
          <p:spPr>
            <a:xfrm>
              <a:off x="5992090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0" name="Полилиния 1199">
              <a:extLst>
                <a:ext uri="{FF2B5EF4-FFF2-40B4-BE49-F238E27FC236}">
                  <a16:creationId xmlns:a16="http://schemas.microsoft.com/office/drawing/2014/main" id="{600E14C0-B3D1-6E83-1A4D-F60CEAD44AFB}"/>
                </a:ext>
              </a:extLst>
            </p:cNvPr>
            <p:cNvSpPr/>
            <p:nvPr/>
          </p:nvSpPr>
          <p:spPr>
            <a:xfrm>
              <a:off x="6199909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1" name="Полилиния 1200">
              <a:extLst>
                <a:ext uri="{FF2B5EF4-FFF2-40B4-BE49-F238E27FC236}">
                  <a16:creationId xmlns:a16="http://schemas.microsoft.com/office/drawing/2014/main" id="{2254FD90-ED2C-0182-5725-0489D06DDC05}"/>
                </a:ext>
              </a:extLst>
            </p:cNvPr>
            <p:cNvSpPr/>
            <p:nvPr/>
          </p:nvSpPr>
          <p:spPr>
            <a:xfrm>
              <a:off x="6407727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2" name="Полилиния 1201">
              <a:extLst>
                <a:ext uri="{FF2B5EF4-FFF2-40B4-BE49-F238E27FC236}">
                  <a16:creationId xmlns:a16="http://schemas.microsoft.com/office/drawing/2014/main" id="{AE4D94E5-FA01-4462-98C9-34E8A596D53F}"/>
                </a:ext>
              </a:extLst>
            </p:cNvPr>
            <p:cNvSpPr/>
            <p:nvPr/>
          </p:nvSpPr>
          <p:spPr>
            <a:xfrm>
              <a:off x="6615545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3" name="Полилиния 1202">
              <a:extLst>
                <a:ext uri="{FF2B5EF4-FFF2-40B4-BE49-F238E27FC236}">
                  <a16:creationId xmlns:a16="http://schemas.microsoft.com/office/drawing/2014/main" id="{7540A7C0-C841-B4BD-34ED-A15F99D1FC95}"/>
                </a:ext>
              </a:extLst>
            </p:cNvPr>
            <p:cNvSpPr/>
            <p:nvPr/>
          </p:nvSpPr>
          <p:spPr>
            <a:xfrm>
              <a:off x="6823363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4" name="Полилиния 1203">
              <a:extLst>
                <a:ext uri="{FF2B5EF4-FFF2-40B4-BE49-F238E27FC236}">
                  <a16:creationId xmlns:a16="http://schemas.microsoft.com/office/drawing/2014/main" id="{F3A79209-F7A7-40A4-4308-E665269B4376}"/>
                </a:ext>
              </a:extLst>
            </p:cNvPr>
            <p:cNvSpPr/>
            <p:nvPr/>
          </p:nvSpPr>
          <p:spPr>
            <a:xfrm rot="5400000">
              <a:off x="7862454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5" name="Полилиния 1204">
              <a:extLst>
                <a:ext uri="{FF2B5EF4-FFF2-40B4-BE49-F238E27FC236}">
                  <a16:creationId xmlns:a16="http://schemas.microsoft.com/office/drawing/2014/main" id="{E892ACB3-9ABF-1167-CAA3-B796E8331158}"/>
                </a:ext>
              </a:extLst>
            </p:cNvPr>
            <p:cNvSpPr/>
            <p:nvPr/>
          </p:nvSpPr>
          <p:spPr>
            <a:xfrm rot="5400000">
              <a:off x="8278090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6" name="Полилиния 1205">
              <a:extLst>
                <a:ext uri="{FF2B5EF4-FFF2-40B4-BE49-F238E27FC236}">
                  <a16:creationId xmlns:a16="http://schemas.microsoft.com/office/drawing/2014/main" id="{E4096F8F-5584-0094-3E9A-5B516F667989}"/>
                </a:ext>
              </a:extLst>
            </p:cNvPr>
            <p:cNvSpPr/>
            <p:nvPr/>
          </p:nvSpPr>
          <p:spPr>
            <a:xfrm rot="5400000">
              <a:off x="8901545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7" name="Полилиния 1206">
              <a:extLst>
                <a:ext uri="{FF2B5EF4-FFF2-40B4-BE49-F238E27FC236}">
                  <a16:creationId xmlns:a16="http://schemas.microsoft.com/office/drawing/2014/main" id="{6C4A8167-E79B-1BAB-4975-C227F2C2A9E3}"/>
                </a:ext>
              </a:extLst>
            </p:cNvPr>
            <p:cNvSpPr/>
            <p:nvPr/>
          </p:nvSpPr>
          <p:spPr>
            <a:xfrm rot="5400000">
              <a:off x="3498272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8" name="Полилиния 1207">
              <a:extLst>
                <a:ext uri="{FF2B5EF4-FFF2-40B4-BE49-F238E27FC236}">
                  <a16:creationId xmlns:a16="http://schemas.microsoft.com/office/drawing/2014/main" id="{79DB6E50-2127-122D-5126-C1D0226B8CF8}"/>
                </a:ext>
              </a:extLst>
            </p:cNvPr>
            <p:cNvSpPr/>
            <p:nvPr/>
          </p:nvSpPr>
          <p:spPr>
            <a:xfrm rot="-5400000">
              <a:off x="4121727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9" name="Полилиния 1208">
              <a:extLst>
                <a:ext uri="{FF2B5EF4-FFF2-40B4-BE49-F238E27FC236}">
                  <a16:creationId xmlns:a16="http://schemas.microsoft.com/office/drawing/2014/main" id="{F0A2F9CB-86FC-C372-A556-6807D740D7B3}"/>
                </a:ext>
              </a:extLst>
            </p:cNvPr>
            <p:cNvSpPr/>
            <p:nvPr/>
          </p:nvSpPr>
          <p:spPr>
            <a:xfrm>
              <a:off x="4329545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0" name="Полилиния 1209">
              <a:extLst>
                <a:ext uri="{FF2B5EF4-FFF2-40B4-BE49-F238E27FC236}">
                  <a16:creationId xmlns:a16="http://schemas.microsoft.com/office/drawing/2014/main" id="{9C84CCD5-696A-17E5-8D5B-6B56AA387918}"/>
                </a:ext>
              </a:extLst>
            </p:cNvPr>
            <p:cNvSpPr/>
            <p:nvPr/>
          </p:nvSpPr>
          <p:spPr>
            <a:xfrm>
              <a:off x="4537363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1" name="Полилиния 1210">
              <a:extLst>
                <a:ext uri="{FF2B5EF4-FFF2-40B4-BE49-F238E27FC236}">
                  <a16:creationId xmlns:a16="http://schemas.microsoft.com/office/drawing/2014/main" id="{1B38F51A-6618-1496-F05C-848F8FDFF77B}"/>
                </a:ext>
              </a:extLst>
            </p:cNvPr>
            <p:cNvSpPr/>
            <p:nvPr/>
          </p:nvSpPr>
          <p:spPr>
            <a:xfrm rot="5400000">
              <a:off x="4745181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2" name="Полилиния 1211">
              <a:extLst>
                <a:ext uri="{FF2B5EF4-FFF2-40B4-BE49-F238E27FC236}">
                  <a16:creationId xmlns:a16="http://schemas.microsoft.com/office/drawing/2014/main" id="{096ACA9B-FE23-01D0-1659-2B3C024895F8}"/>
                </a:ext>
              </a:extLst>
            </p:cNvPr>
            <p:cNvSpPr/>
            <p:nvPr/>
          </p:nvSpPr>
          <p:spPr>
            <a:xfrm rot="5400000">
              <a:off x="5160818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3" name="Полилиния 1212">
              <a:extLst>
                <a:ext uri="{FF2B5EF4-FFF2-40B4-BE49-F238E27FC236}">
                  <a16:creationId xmlns:a16="http://schemas.microsoft.com/office/drawing/2014/main" id="{3F388796-4954-6903-08CD-5672DB356A5A}"/>
                </a:ext>
              </a:extLst>
            </p:cNvPr>
            <p:cNvSpPr/>
            <p:nvPr/>
          </p:nvSpPr>
          <p:spPr>
            <a:xfrm rot="-5400000">
              <a:off x="5576454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4" name="Полилиния 1213">
              <a:extLst>
                <a:ext uri="{FF2B5EF4-FFF2-40B4-BE49-F238E27FC236}">
                  <a16:creationId xmlns:a16="http://schemas.microsoft.com/office/drawing/2014/main" id="{0BCA8811-1F83-2932-3A46-C9BBA0A66AFA}"/>
                </a:ext>
              </a:extLst>
            </p:cNvPr>
            <p:cNvSpPr/>
            <p:nvPr/>
          </p:nvSpPr>
          <p:spPr>
            <a:xfrm>
              <a:off x="5784272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5" name="Полилиния 1214">
              <a:extLst>
                <a:ext uri="{FF2B5EF4-FFF2-40B4-BE49-F238E27FC236}">
                  <a16:creationId xmlns:a16="http://schemas.microsoft.com/office/drawing/2014/main" id="{D8D778D0-F929-B9BA-80B9-DE4A3B3AA89E}"/>
                </a:ext>
              </a:extLst>
            </p:cNvPr>
            <p:cNvSpPr/>
            <p:nvPr/>
          </p:nvSpPr>
          <p:spPr>
            <a:xfrm>
              <a:off x="5992090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6" name="Полилиния 1215">
              <a:extLst>
                <a:ext uri="{FF2B5EF4-FFF2-40B4-BE49-F238E27FC236}">
                  <a16:creationId xmlns:a16="http://schemas.microsoft.com/office/drawing/2014/main" id="{DEFD6C10-73BF-06B4-107C-033FAAB0D3D0}"/>
                </a:ext>
              </a:extLst>
            </p:cNvPr>
            <p:cNvSpPr/>
            <p:nvPr/>
          </p:nvSpPr>
          <p:spPr>
            <a:xfrm rot="5400000">
              <a:off x="6199909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7" name="Полилиния 1216">
              <a:extLst>
                <a:ext uri="{FF2B5EF4-FFF2-40B4-BE49-F238E27FC236}">
                  <a16:creationId xmlns:a16="http://schemas.microsoft.com/office/drawing/2014/main" id="{54CF8B03-ACCB-067F-C47D-D3289EF61769}"/>
                </a:ext>
              </a:extLst>
            </p:cNvPr>
            <p:cNvSpPr/>
            <p:nvPr/>
          </p:nvSpPr>
          <p:spPr>
            <a:xfrm>
              <a:off x="6823363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8" name="Полилиния 1217">
              <a:extLst>
                <a:ext uri="{FF2B5EF4-FFF2-40B4-BE49-F238E27FC236}">
                  <a16:creationId xmlns:a16="http://schemas.microsoft.com/office/drawing/2014/main" id="{977E6000-BFB7-2E80-0395-5827B83282AB}"/>
                </a:ext>
              </a:extLst>
            </p:cNvPr>
            <p:cNvSpPr/>
            <p:nvPr/>
          </p:nvSpPr>
          <p:spPr>
            <a:xfrm>
              <a:off x="7031181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9" name="Полилиния 1218">
              <a:extLst>
                <a:ext uri="{FF2B5EF4-FFF2-40B4-BE49-F238E27FC236}">
                  <a16:creationId xmlns:a16="http://schemas.microsoft.com/office/drawing/2014/main" id="{C0E6AD3E-F732-9ABF-3B70-2E153FE3C25B}"/>
                </a:ext>
              </a:extLst>
            </p:cNvPr>
            <p:cNvSpPr/>
            <p:nvPr/>
          </p:nvSpPr>
          <p:spPr>
            <a:xfrm>
              <a:off x="7239000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0" name="Полилиния 1219">
              <a:extLst>
                <a:ext uri="{FF2B5EF4-FFF2-40B4-BE49-F238E27FC236}">
                  <a16:creationId xmlns:a16="http://schemas.microsoft.com/office/drawing/2014/main" id="{B94CF99B-602E-F4AC-EE8E-C878C67320EE}"/>
                </a:ext>
              </a:extLst>
            </p:cNvPr>
            <p:cNvSpPr/>
            <p:nvPr/>
          </p:nvSpPr>
          <p:spPr>
            <a:xfrm rot="5400000">
              <a:off x="7446818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1" name="Полилиния 1220">
              <a:extLst>
                <a:ext uri="{FF2B5EF4-FFF2-40B4-BE49-F238E27FC236}">
                  <a16:creationId xmlns:a16="http://schemas.microsoft.com/office/drawing/2014/main" id="{758355C4-7A24-6C2C-AD08-A5C2D4281769}"/>
                </a:ext>
              </a:extLst>
            </p:cNvPr>
            <p:cNvSpPr/>
            <p:nvPr/>
          </p:nvSpPr>
          <p:spPr>
            <a:xfrm rot="-5400000">
              <a:off x="3082636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2" name="Полилиния 1221">
              <a:extLst>
                <a:ext uri="{FF2B5EF4-FFF2-40B4-BE49-F238E27FC236}">
                  <a16:creationId xmlns:a16="http://schemas.microsoft.com/office/drawing/2014/main" id="{0AB58624-4BA5-39F4-AC7B-F34355F8A2EE}"/>
                </a:ext>
              </a:extLst>
            </p:cNvPr>
            <p:cNvSpPr/>
            <p:nvPr/>
          </p:nvSpPr>
          <p:spPr>
            <a:xfrm rot="5400000">
              <a:off x="3290454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3" name="Полилиния 1222">
              <a:extLst>
                <a:ext uri="{FF2B5EF4-FFF2-40B4-BE49-F238E27FC236}">
                  <a16:creationId xmlns:a16="http://schemas.microsoft.com/office/drawing/2014/main" id="{46905D82-5A05-9DF4-24DB-FA61CD29AB41}"/>
                </a:ext>
              </a:extLst>
            </p:cNvPr>
            <p:cNvSpPr/>
            <p:nvPr/>
          </p:nvSpPr>
          <p:spPr>
            <a:xfrm rot="-5400000">
              <a:off x="3913909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4" name="Полилиния 1223">
              <a:extLst>
                <a:ext uri="{FF2B5EF4-FFF2-40B4-BE49-F238E27FC236}">
                  <a16:creationId xmlns:a16="http://schemas.microsoft.com/office/drawing/2014/main" id="{364A9E99-AAF9-4530-99D6-F9A64005A7B0}"/>
                </a:ext>
              </a:extLst>
            </p:cNvPr>
            <p:cNvSpPr/>
            <p:nvPr/>
          </p:nvSpPr>
          <p:spPr>
            <a:xfrm>
              <a:off x="4121727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5" name="Полилиния 1224">
              <a:extLst>
                <a:ext uri="{FF2B5EF4-FFF2-40B4-BE49-F238E27FC236}">
                  <a16:creationId xmlns:a16="http://schemas.microsoft.com/office/drawing/2014/main" id="{950F6AB3-1307-5FAC-D64E-96711EA816A5}"/>
                </a:ext>
              </a:extLst>
            </p:cNvPr>
            <p:cNvSpPr/>
            <p:nvPr/>
          </p:nvSpPr>
          <p:spPr>
            <a:xfrm>
              <a:off x="5784272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6" name="Полилиния 1225">
              <a:extLst>
                <a:ext uri="{FF2B5EF4-FFF2-40B4-BE49-F238E27FC236}">
                  <a16:creationId xmlns:a16="http://schemas.microsoft.com/office/drawing/2014/main" id="{C857CEFA-06A9-2A5D-381C-04D3669B0609}"/>
                </a:ext>
              </a:extLst>
            </p:cNvPr>
            <p:cNvSpPr/>
            <p:nvPr/>
          </p:nvSpPr>
          <p:spPr>
            <a:xfrm rot="-5400000">
              <a:off x="6407727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7" name="Полилиния 1226">
              <a:extLst>
                <a:ext uri="{FF2B5EF4-FFF2-40B4-BE49-F238E27FC236}">
                  <a16:creationId xmlns:a16="http://schemas.microsoft.com/office/drawing/2014/main" id="{B75343F6-A3BE-F7C0-D3BC-C71EE6716030}"/>
                </a:ext>
              </a:extLst>
            </p:cNvPr>
            <p:cNvSpPr/>
            <p:nvPr/>
          </p:nvSpPr>
          <p:spPr>
            <a:xfrm rot="5400000">
              <a:off x="6615545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8" name="Полилиния 1227">
              <a:extLst>
                <a:ext uri="{FF2B5EF4-FFF2-40B4-BE49-F238E27FC236}">
                  <a16:creationId xmlns:a16="http://schemas.microsoft.com/office/drawing/2014/main" id="{2067962F-3C45-11C5-3DF2-8E4F7DD98B89}"/>
                </a:ext>
              </a:extLst>
            </p:cNvPr>
            <p:cNvSpPr/>
            <p:nvPr/>
          </p:nvSpPr>
          <p:spPr>
            <a:xfrm rot="-5400000">
              <a:off x="7654636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9" name="Полилиния 1228">
              <a:extLst>
                <a:ext uri="{FF2B5EF4-FFF2-40B4-BE49-F238E27FC236}">
                  <a16:creationId xmlns:a16="http://schemas.microsoft.com/office/drawing/2014/main" id="{922167F7-6EF9-4A08-F945-D03DA12C3C47}"/>
                </a:ext>
              </a:extLst>
            </p:cNvPr>
            <p:cNvSpPr/>
            <p:nvPr/>
          </p:nvSpPr>
          <p:spPr>
            <a:xfrm>
              <a:off x="7862454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0" name="Полилиния 1229">
              <a:extLst>
                <a:ext uri="{FF2B5EF4-FFF2-40B4-BE49-F238E27FC236}">
                  <a16:creationId xmlns:a16="http://schemas.microsoft.com/office/drawing/2014/main" id="{36798135-3EC4-A76F-0962-005F00057BFF}"/>
                </a:ext>
              </a:extLst>
            </p:cNvPr>
            <p:cNvSpPr/>
            <p:nvPr/>
          </p:nvSpPr>
          <p:spPr>
            <a:xfrm>
              <a:off x="8070272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1" name="Полилиния 1230">
              <a:extLst>
                <a:ext uri="{FF2B5EF4-FFF2-40B4-BE49-F238E27FC236}">
                  <a16:creationId xmlns:a16="http://schemas.microsoft.com/office/drawing/2014/main" id="{B46DFE70-BB6F-9CD2-C79A-263930A49571}"/>
                </a:ext>
              </a:extLst>
            </p:cNvPr>
            <p:cNvSpPr/>
            <p:nvPr/>
          </p:nvSpPr>
          <p:spPr>
            <a:xfrm rot="-5400000">
              <a:off x="8901545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2" name="Полилиния 1231">
              <a:extLst>
                <a:ext uri="{FF2B5EF4-FFF2-40B4-BE49-F238E27FC236}">
                  <a16:creationId xmlns:a16="http://schemas.microsoft.com/office/drawing/2014/main" id="{BE25B5B6-A375-C740-158A-55EA1C14CA02}"/>
                </a:ext>
              </a:extLst>
            </p:cNvPr>
            <p:cNvSpPr/>
            <p:nvPr/>
          </p:nvSpPr>
          <p:spPr>
            <a:xfrm>
              <a:off x="4121727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3" name="Полилиния 1232">
              <a:extLst>
                <a:ext uri="{FF2B5EF4-FFF2-40B4-BE49-F238E27FC236}">
                  <a16:creationId xmlns:a16="http://schemas.microsoft.com/office/drawing/2014/main" id="{DA91ADBF-64B1-DF8C-40B5-094F41712C8C}"/>
                </a:ext>
              </a:extLst>
            </p:cNvPr>
            <p:cNvSpPr/>
            <p:nvPr/>
          </p:nvSpPr>
          <p:spPr>
            <a:xfrm>
              <a:off x="4329545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4" name="Полилиния 1233">
              <a:extLst>
                <a:ext uri="{FF2B5EF4-FFF2-40B4-BE49-F238E27FC236}">
                  <a16:creationId xmlns:a16="http://schemas.microsoft.com/office/drawing/2014/main" id="{565E9212-DDDF-F82D-BD2F-4913AA5E8656}"/>
                </a:ext>
              </a:extLst>
            </p:cNvPr>
            <p:cNvSpPr/>
            <p:nvPr/>
          </p:nvSpPr>
          <p:spPr>
            <a:xfrm>
              <a:off x="4537363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5" name="Полилиния 1234">
              <a:extLst>
                <a:ext uri="{FF2B5EF4-FFF2-40B4-BE49-F238E27FC236}">
                  <a16:creationId xmlns:a16="http://schemas.microsoft.com/office/drawing/2014/main" id="{E69DE9B0-96C2-7CE6-EF03-78F44649E087}"/>
                </a:ext>
              </a:extLst>
            </p:cNvPr>
            <p:cNvSpPr/>
            <p:nvPr/>
          </p:nvSpPr>
          <p:spPr>
            <a:xfrm>
              <a:off x="4745181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6" name="Полилиния 1235">
              <a:extLst>
                <a:ext uri="{FF2B5EF4-FFF2-40B4-BE49-F238E27FC236}">
                  <a16:creationId xmlns:a16="http://schemas.microsoft.com/office/drawing/2014/main" id="{903C2788-D012-934E-CF99-5D64EA51A730}"/>
                </a:ext>
              </a:extLst>
            </p:cNvPr>
            <p:cNvSpPr/>
            <p:nvPr/>
          </p:nvSpPr>
          <p:spPr>
            <a:xfrm>
              <a:off x="4953000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7" name="Полилиния 1236">
              <a:extLst>
                <a:ext uri="{FF2B5EF4-FFF2-40B4-BE49-F238E27FC236}">
                  <a16:creationId xmlns:a16="http://schemas.microsoft.com/office/drawing/2014/main" id="{6CDF36B4-77CE-07E9-D7F6-C32B67EA4E06}"/>
                </a:ext>
              </a:extLst>
            </p:cNvPr>
            <p:cNvSpPr/>
            <p:nvPr/>
          </p:nvSpPr>
          <p:spPr>
            <a:xfrm rot="-5400000">
              <a:off x="5368636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8" name="Полилиния 1237">
              <a:extLst>
                <a:ext uri="{FF2B5EF4-FFF2-40B4-BE49-F238E27FC236}">
                  <a16:creationId xmlns:a16="http://schemas.microsoft.com/office/drawing/2014/main" id="{1986E5A7-69BA-8A49-CC39-C1A9FD275939}"/>
                </a:ext>
              </a:extLst>
            </p:cNvPr>
            <p:cNvSpPr/>
            <p:nvPr/>
          </p:nvSpPr>
          <p:spPr>
            <a:xfrm rot="5400000">
              <a:off x="5784272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9" name="Полилиния 1238">
              <a:extLst>
                <a:ext uri="{FF2B5EF4-FFF2-40B4-BE49-F238E27FC236}">
                  <a16:creationId xmlns:a16="http://schemas.microsoft.com/office/drawing/2014/main" id="{E43DE393-AC16-B54D-BDFB-6CAB63FC64D9}"/>
                </a:ext>
              </a:extLst>
            </p:cNvPr>
            <p:cNvSpPr/>
            <p:nvPr/>
          </p:nvSpPr>
          <p:spPr>
            <a:xfrm rot="5400000">
              <a:off x="6407727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0" name="Полилиния 1239">
              <a:extLst>
                <a:ext uri="{FF2B5EF4-FFF2-40B4-BE49-F238E27FC236}">
                  <a16:creationId xmlns:a16="http://schemas.microsoft.com/office/drawing/2014/main" id="{67A90CF4-12D6-AFBB-416B-509F0A5E9421}"/>
                </a:ext>
              </a:extLst>
            </p:cNvPr>
            <p:cNvSpPr/>
            <p:nvPr/>
          </p:nvSpPr>
          <p:spPr>
            <a:xfrm rot="5400000">
              <a:off x="6823363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1" name="Полилиния 1240">
              <a:extLst>
                <a:ext uri="{FF2B5EF4-FFF2-40B4-BE49-F238E27FC236}">
                  <a16:creationId xmlns:a16="http://schemas.microsoft.com/office/drawing/2014/main" id="{9CDB278A-C6F2-E278-4A11-A36E50D275F8}"/>
                </a:ext>
              </a:extLst>
            </p:cNvPr>
            <p:cNvSpPr/>
            <p:nvPr/>
          </p:nvSpPr>
          <p:spPr>
            <a:xfrm>
              <a:off x="8070272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2" name="Полилиния 1241">
              <a:extLst>
                <a:ext uri="{FF2B5EF4-FFF2-40B4-BE49-F238E27FC236}">
                  <a16:creationId xmlns:a16="http://schemas.microsoft.com/office/drawing/2014/main" id="{79F98CB3-790B-1A79-E568-D223184D4BCB}"/>
                </a:ext>
              </a:extLst>
            </p:cNvPr>
            <p:cNvSpPr/>
            <p:nvPr/>
          </p:nvSpPr>
          <p:spPr>
            <a:xfrm rot="5400000">
              <a:off x="8485909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3" name="Полилиния 1242">
              <a:extLst>
                <a:ext uri="{FF2B5EF4-FFF2-40B4-BE49-F238E27FC236}">
                  <a16:creationId xmlns:a16="http://schemas.microsoft.com/office/drawing/2014/main" id="{FAA55EA2-E4B1-2C1D-38DB-7DB52A030BE7}"/>
                </a:ext>
              </a:extLst>
            </p:cNvPr>
            <p:cNvSpPr/>
            <p:nvPr/>
          </p:nvSpPr>
          <p:spPr>
            <a:xfrm rot="5400000">
              <a:off x="8901545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4" name="Полилиния 1243">
              <a:extLst>
                <a:ext uri="{FF2B5EF4-FFF2-40B4-BE49-F238E27FC236}">
                  <a16:creationId xmlns:a16="http://schemas.microsoft.com/office/drawing/2014/main" id="{D92CD046-93D0-E9A2-1935-15428F292718}"/>
                </a:ext>
              </a:extLst>
            </p:cNvPr>
            <p:cNvSpPr/>
            <p:nvPr/>
          </p:nvSpPr>
          <p:spPr>
            <a:xfrm rot="-5400000">
              <a:off x="3913909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5" name="Полилиния 1244">
              <a:extLst>
                <a:ext uri="{FF2B5EF4-FFF2-40B4-BE49-F238E27FC236}">
                  <a16:creationId xmlns:a16="http://schemas.microsoft.com/office/drawing/2014/main" id="{C3B6AA5B-040B-C87B-03A8-355CB9D5D6FA}"/>
                </a:ext>
              </a:extLst>
            </p:cNvPr>
            <p:cNvSpPr/>
            <p:nvPr/>
          </p:nvSpPr>
          <p:spPr>
            <a:xfrm>
              <a:off x="4121727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6" name="Полилиния 1245">
              <a:extLst>
                <a:ext uri="{FF2B5EF4-FFF2-40B4-BE49-F238E27FC236}">
                  <a16:creationId xmlns:a16="http://schemas.microsoft.com/office/drawing/2014/main" id="{167672CA-21C6-3F3D-2459-CADF4B824F85}"/>
                </a:ext>
              </a:extLst>
            </p:cNvPr>
            <p:cNvSpPr/>
            <p:nvPr/>
          </p:nvSpPr>
          <p:spPr>
            <a:xfrm>
              <a:off x="495300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7" name="Полилиния 1246">
              <a:extLst>
                <a:ext uri="{FF2B5EF4-FFF2-40B4-BE49-F238E27FC236}">
                  <a16:creationId xmlns:a16="http://schemas.microsoft.com/office/drawing/2014/main" id="{4AF4AC9C-18D9-9079-F0B8-DF177140D4AD}"/>
                </a:ext>
              </a:extLst>
            </p:cNvPr>
            <p:cNvSpPr/>
            <p:nvPr/>
          </p:nvSpPr>
          <p:spPr>
            <a:xfrm>
              <a:off x="5160818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8" name="Полилиния 1247">
              <a:extLst>
                <a:ext uri="{FF2B5EF4-FFF2-40B4-BE49-F238E27FC236}">
                  <a16:creationId xmlns:a16="http://schemas.microsoft.com/office/drawing/2014/main" id="{7AB71764-F3F7-61AF-2F3A-E9A2AF56BF2E}"/>
                </a:ext>
              </a:extLst>
            </p:cNvPr>
            <p:cNvSpPr/>
            <p:nvPr/>
          </p:nvSpPr>
          <p:spPr>
            <a:xfrm>
              <a:off x="5368636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9" name="Полилиния 1248">
              <a:extLst>
                <a:ext uri="{FF2B5EF4-FFF2-40B4-BE49-F238E27FC236}">
                  <a16:creationId xmlns:a16="http://schemas.microsoft.com/office/drawing/2014/main" id="{80B128A5-C438-95D7-7F57-16C7C3C007C5}"/>
                </a:ext>
              </a:extLst>
            </p:cNvPr>
            <p:cNvSpPr/>
            <p:nvPr/>
          </p:nvSpPr>
          <p:spPr>
            <a:xfrm rot="5400000">
              <a:off x="5576454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0" name="Полилиния 1249">
              <a:extLst>
                <a:ext uri="{FF2B5EF4-FFF2-40B4-BE49-F238E27FC236}">
                  <a16:creationId xmlns:a16="http://schemas.microsoft.com/office/drawing/2014/main" id="{EF6E4FD3-BE51-11E8-7DCD-FD7706BA879A}"/>
                </a:ext>
              </a:extLst>
            </p:cNvPr>
            <p:cNvSpPr/>
            <p:nvPr/>
          </p:nvSpPr>
          <p:spPr>
            <a:xfrm rot="-5400000">
              <a:off x="599209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1" name="Полилиния 1250">
              <a:extLst>
                <a:ext uri="{FF2B5EF4-FFF2-40B4-BE49-F238E27FC236}">
                  <a16:creationId xmlns:a16="http://schemas.microsoft.com/office/drawing/2014/main" id="{0EFF6131-4B2D-A302-D87D-BC9E4BAAA583}"/>
                </a:ext>
              </a:extLst>
            </p:cNvPr>
            <p:cNvSpPr/>
            <p:nvPr/>
          </p:nvSpPr>
          <p:spPr>
            <a:xfrm rot="-5400000">
              <a:off x="6615545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2" name="Полилиния 1251">
              <a:extLst>
                <a:ext uri="{FF2B5EF4-FFF2-40B4-BE49-F238E27FC236}">
                  <a16:creationId xmlns:a16="http://schemas.microsoft.com/office/drawing/2014/main" id="{88E5A820-788C-4305-CA41-FBEB2810BD70}"/>
                </a:ext>
              </a:extLst>
            </p:cNvPr>
            <p:cNvSpPr/>
            <p:nvPr/>
          </p:nvSpPr>
          <p:spPr>
            <a:xfrm rot="-5400000">
              <a:off x="723900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3" name="Полилиния 1252">
              <a:extLst>
                <a:ext uri="{FF2B5EF4-FFF2-40B4-BE49-F238E27FC236}">
                  <a16:creationId xmlns:a16="http://schemas.microsoft.com/office/drawing/2014/main" id="{EC2069B2-12FC-487B-4AF5-1707DB804B17}"/>
                </a:ext>
              </a:extLst>
            </p:cNvPr>
            <p:cNvSpPr/>
            <p:nvPr/>
          </p:nvSpPr>
          <p:spPr>
            <a:xfrm>
              <a:off x="8070272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4" name="Полилиния 1253">
              <a:extLst>
                <a:ext uri="{FF2B5EF4-FFF2-40B4-BE49-F238E27FC236}">
                  <a16:creationId xmlns:a16="http://schemas.microsoft.com/office/drawing/2014/main" id="{4F08EBB2-1320-C0DB-D7F5-357519297614}"/>
                </a:ext>
              </a:extLst>
            </p:cNvPr>
            <p:cNvSpPr/>
            <p:nvPr/>
          </p:nvSpPr>
          <p:spPr>
            <a:xfrm>
              <a:off x="827809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5" name="Полилиния 1254">
              <a:extLst>
                <a:ext uri="{FF2B5EF4-FFF2-40B4-BE49-F238E27FC236}">
                  <a16:creationId xmlns:a16="http://schemas.microsoft.com/office/drawing/2014/main" id="{30D63051-90E9-7C4E-58AE-5E301CDC3AC6}"/>
                </a:ext>
              </a:extLst>
            </p:cNvPr>
            <p:cNvSpPr/>
            <p:nvPr/>
          </p:nvSpPr>
          <p:spPr>
            <a:xfrm rot="-5400000">
              <a:off x="3082636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6" name="Полилиния 1255">
              <a:extLst>
                <a:ext uri="{FF2B5EF4-FFF2-40B4-BE49-F238E27FC236}">
                  <a16:creationId xmlns:a16="http://schemas.microsoft.com/office/drawing/2014/main" id="{21143276-D5AE-6242-0158-EBE1B0EF189F}"/>
                </a:ext>
              </a:extLst>
            </p:cNvPr>
            <p:cNvSpPr/>
            <p:nvPr/>
          </p:nvSpPr>
          <p:spPr>
            <a:xfrm>
              <a:off x="3290454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7" name="Полилиния 1256">
              <a:extLst>
                <a:ext uri="{FF2B5EF4-FFF2-40B4-BE49-F238E27FC236}">
                  <a16:creationId xmlns:a16="http://schemas.microsoft.com/office/drawing/2014/main" id="{B9A7787E-26BE-2A78-850A-338DADA0488F}"/>
                </a:ext>
              </a:extLst>
            </p:cNvPr>
            <p:cNvSpPr/>
            <p:nvPr/>
          </p:nvSpPr>
          <p:spPr>
            <a:xfrm>
              <a:off x="3498272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8" name="Полилиния 1257">
              <a:extLst>
                <a:ext uri="{FF2B5EF4-FFF2-40B4-BE49-F238E27FC236}">
                  <a16:creationId xmlns:a16="http://schemas.microsoft.com/office/drawing/2014/main" id="{3CDB6681-A23A-1F8E-5808-2A54DDA4560D}"/>
                </a:ext>
              </a:extLst>
            </p:cNvPr>
            <p:cNvSpPr/>
            <p:nvPr/>
          </p:nvSpPr>
          <p:spPr>
            <a:xfrm>
              <a:off x="370609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9" name="Полилиния 1258">
              <a:extLst>
                <a:ext uri="{FF2B5EF4-FFF2-40B4-BE49-F238E27FC236}">
                  <a16:creationId xmlns:a16="http://schemas.microsoft.com/office/drawing/2014/main" id="{C31021AC-FB47-1AC6-37D4-EB884FEB2E99}"/>
                </a:ext>
              </a:extLst>
            </p:cNvPr>
            <p:cNvSpPr/>
            <p:nvPr/>
          </p:nvSpPr>
          <p:spPr>
            <a:xfrm>
              <a:off x="3913909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0" name="Полилиния 1259">
              <a:extLst>
                <a:ext uri="{FF2B5EF4-FFF2-40B4-BE49-F238E27FC236}">
                  <a16:creationId xmlns:a16="http://schemas.microsoft.com/office/drawing/2014/main" id="{5891AEA9-6D3C-F916-EF7F-F5C7FC1ED42B}"/>
                </a:ext>
              </a:extLst>
            </p:cNvPr>
            <p:cNvSpPr/>
            <p:nvPr/>
          </p:nvSpPr>
          <p:spPr>
            <a:xfrm>
              <a:off x="4121727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1" name="Полилиния 1260">
              <a:extLst>
                <a:ext uri="{FF2B5EF4-FFF2-40B4-BE49-F238E27FC236}">
                  <a16:creationId xmlns:a16="http://schemas.microsoft.com/office/drawing/2014/main" id="{F6BD888F-8C2C-7906-1D1B-A90228D9E393}"/>
                </a:ext>
              </a:extLst>
            </p:cNvPr>
            <p:cNvSpPr/>
            <p:nvPr/>
          </p:nvSpPr>
          <p:spPr>
            <a:xfrm rot="5400000">
              <a:off x="4329545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2" name="Полилиния 1261">
              <a:extLst>
                <a:ext uri="{FF2B5EF4-FFF2-40B4-BE49-F238E27FC236}">
                  <a16:creationId xmlns:a16="http://schemas.microsoft.com/office/drawing/2014/main" id="{367F03CB-26AF-C6C1-0450-9AD3B8DBF161}"/>
                </a:ext>
              </a:extLst>
            </p:cNvPr>
            <p:cNvSpPr/>
            <p:nvPr/>
          </p:nvSpPr>
          <p:spPr>
            <a:xfrm rot="-5400000">
              <a:off x="4745181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3" name="Полилиния 1262">
              <a:extLst>
                <a:ext uri="{FF2B5EF4-FFF2-40B4-BE49-F238E27FC236}">
                  <a16:creationId xmlns:a16="http://schemas.microsoft.com/office/drawing/2014/main" id="{D0FC8412-B45E-49D0-CA84-CD0933B14574}"/>
                </a:ext>
              </a:extLst>
            </p:cNvPr>
            <p:cNvSpPr/>
            <p:nvPr/>
          </p:nvSpPr>
          <p:spPr>
            <a:xfrm>
              <a:off x="5160818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4" name="Полилиния 1263">
              <a:extLst>
                <a:ext uri="{FF2B5EF4-FFF2-40B4-BE49-F238E27FC236}">
                  <a16:creationId xmlns:a16="http://schemas.microsoft.com/office/drawing/2014/main" id="{19BF7217-74FD-5558-4151-479D03DEA5DF}"/>
                </a:ext>
              </a:extLst>
            </p:cNvPr>
            <p:cNvSpPr/>
            <p:nvPr/>
          </p:nvSpPr>
          <p:spPr>
            <a:xfrm>
              <a:off x="599209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5" name="Полилиния 1264">
              <a:extLst>
                <a:ext uri="{FF2B5EF4-FFF2-40B4-BE49-F238E27FC236}">
                  <a16:creationId xmlns:a16="http://schemas.microsoft.com/office/drawing/2014/main" id="{AB77F7AA-C411-59D1-7FDE-D07AFE10F6B0}"/>
                </a:ext>
              </a:extLst>
            </p:cNvPr>
            <p:cNvSpPr/>
            <p:nvPr/>
          </p:nvSpPr>
          <p:spPr>
            <a:xfrm>
              <a:off x="6199909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6" name="Полилиния 1265">
              <a:extLst>
                <a:ext uri="{FF2B5EF4-FFF2-40B4-BE49-F238E27FC236}">
                  <a16:creationId xmlns:a16="http://schemas.microsoft.com/office/drawing/2014/main" id="{BA7D39C7-F4B6-DFCE-A23F-0ED9D894FC68}"/>
                </a:ext>
              </a:extLst>
            </p:cNvPr>
            <p:cNvSpPr/>
            <p:nvPr/>
          </p:nvSpPr>
          <p:spPr>
            <a:xfrm>
              <a:off x="6615545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7" name="Полилиния 1266">
              <a:extLst>
                <a:ext uri="{FF2B5EF4-FFF2-40B4-BE49-F238E27FC236}">
                  <a16:creationId xmlns:a16="http://schemas.microsoft.com/office/drawing/2014/main" id="{57E3514D-F591-87C3-CECE-21D492F8ED0D}"/>
                </a:ext>
              </a:extLst>
            </p:cNvPr>
            <p:cNvSpPr/>
            <p:nvPr/>
          </p:nvSpPr>
          <p:spPr>
            <a:xfrm>
              <a:off x="723900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8" name="Полилиния 1267">
              <a:extLst>
                <a:ext uri="{FF2B5EF4-FFF2-40B4-BE49-F238E27FC236}">
                  <a16:creationId xmlns:a16="http://schemas.microsoft.com/office/drawing/2014/main" id="{4D466DF4-09BA-6895-B2AD-6F0E8450C517}"/>
                </a:ext>
              </a:extLst>
            </p:cNvPr>
            <p:cNvSpPr/>
            <p:nvPr/>
          </p:nvSpPr>
          <p:spPr>
            <a:xfrm>
              <a:off x="7446818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9" name="Полилиния 1268">
              <a:extLst>
                <a:ext uri="{FF2B5EF4-FFF2-40B4-BE49-F238E27FC236}">
                  <a16:creationId xmlns:a16="http://schemas.microsoft.com/office/drawing/2014/main" id="{5939E464-FAA1-FCF7-48E6-4CC50298E4CE}"/>
                </a:ext>
              </a:extLst>
            </p:cNvPr>
            <p:cNvSpPr/>
            <p:nvPr/>
          </p:nvSpPr>
          <p:spPr>
            <a:xfrm>
              <a:off x="7654636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0" name="Полилиния 1269">
              <a:extLst>
                <a:ext uri="{FF2B5EF4-FFF2-40B4-BE49-F238E27FC236}">
                  <a16:creationId xmlns:a16="http://schemas.microsoft.com/office/drawing/2014/main" id="{2F34BC0B-6712-8DD9-E7CB-95794B056A31}"/>
                </a:ext>
              </a:extLst>
            </p:cNvPr>
            <p:cNvSpPr/>
            <p:nvPr/>
          </p:nvSpPr>
          <p:spPr>
            <a:xfrm>
              <a:off x="7862454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1" name="Полилиния 1270">
              <a:extLst>
                <a:ext uri="{FF2B5EF4-FFF2-40B4-BE49-F238E27FC236}">
                  <a16:creationId xmlns:a16="http://schemas.microsoft.com/office/drawing/2014/main" id="{B766C0E9-4829-54AB-592B-221AF3EFDFF1}"/>
                </a:ext>
              </a:extLst>
            </p:cNvPr>
            <p:cNvSpPr/>
            <p:nvPr/>
          </p:nvSpPr>
          <p:spPr>
            <a:xfrm>
              <a:off x="8070272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2" name="Полилиния 1271">
              <a:extLst>
                <a:ext uri="{FF2B5EF4-FFF2-40B4-BE49-F238E27FC236}">
                  <a16:creationId xmlns:a16="http://schemas.microsoft.com/office/drawing/2014/main" id="{739C90C5-F5C4-8044-AC93-3142AE411C37}"/>
                </a:ext>
              </a:extLst>
            </p:cNvPr>
            <p:cNvSpPr/>
            <p:nvPr/>
          </p:nvSpPr>
          <p:spPr>
            <a:xfrm rot="5400000">
              <a:off x="827809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3" name="Полилиния 1272">
              <a:extLst>
                <a:ext uri="{FF2B5EF4-FFF2-40B4-BE49-F238E27FC236}">
                  <a16:creationId xmlns:a16="http://schemas.microsoft.com/office/drawing/2014/main" id="{509ADD3A-2690-C213-8145-30C50900D716}"/>
                </a:ext>
              </a:extLst>
            </p:cNvPr>
            <p:cNvSpPr/>
            <p:nvPr/>
          </p:nvSpPr>
          <p:spPr>
            <a:xfrm rot="-5400000">
              <a:off x="8901545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4" name="Полилиния 1273">
              <a:extLst>
                <a:ext uri="{FF2B5EF4-FFF2-40B4-BE49-F238E27FC236}">
                  <a16:creationId xmlns:a16="http://schemas.microsoft.com/office/drawing/2014/main" id="{45546BAC-71F0-AD49-DE61-72846BF99591}"/>
                </a:ext>
              </a:extLst>
            </p:cNvPr>
            <p:cNvSpPr/>
            <p:nvPr/>
          </p:nvSpPr>
          <p:spPr>
            <a:xfrm rot="5400000">
              <a:off x="4745181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5" name="Полилиния 1274">
              <a:extLst>
                <a:ext uri="{FF2B5EF4-FFF2-40B4-BE49-F238E27FC236}">
                  <a16:creationId xmlns:a16="http://schemas.microsoft.com/office/drawing/2014/main" id="{0E56B5E9-0CF5-2CE7-335A-C0225B59E18C}"/>
                </a:ext>
              </a:extLst>
            </p:cNvPr>
            <p:cNvSpPr/>
            <p:nvPr/>
          </p:nvSpPr>
          <p:spPr>
            <a:xfrm rot="5400000">
              <a:off x="5160818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6" name="Полилиния 1275">
              <a:extLst>
                <a:ext uri="{FF2B5EF4-FFF2-40B4-BE49-F238E27FC236}">
                  <a16:creationId xmlns:a16="http://schemas.microsoft.com/office/drawing/2014/main" id="{69189E36-2C4F-4AED-ACCB-1D4CCB27E727}"/>
                </a:ext>
              </a:extLst>
            </p:cNvPr>
            <p:cNvSpPr/>
            <p:nvPr/>
          </p:nvSpPr>
          <p:spPr>
            <a:xfrm rot="-5400000">
              <a:off x="5784272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7" name="Полилиния 1276">
              <a:extLst>
                <a:ext uri="{FF2B5EF4-FFF2-40B4-BE49-F238E27FC236}">
                  <a16:creationId xmlns:a16="http://schemas.microsoft.com/office/drawing/2014/main" id="{058767AB-FE9B-44FF-AB01-D2C892FDCA78}"/>
                </a:ext>
              </a:extLst>
            </p:cNvPr>
            <p:cNvSpPr/>
            <p:nvPr/>
          </p:nvSpPr>
          <p:spPr>
            <a:xfrm>
              <a:off x="6199909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8" name="Полилиния 1277">
              <a:extLst>
                <a:ext uri="{FF2B5EF4-FFF2-40B4-BE49-F238E27FC236}">
                  <a16:creationId xmlns:a16="http://schemas.microsoft.com/office/drawing/2014/main" id="{70D7606B-2091-1052-6940-E32A22A50C62}"/>
                </a:ext>
              </a:extLst>
            </p:cNvPr>
            <p:cNvSpPr/>
            <p:nvPr/>
          </p:nvSpPr>
          <p:spPr>
            <a:xfrm>
              <a:off x="6407727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9" name="Полилиния 1278">
              <a:extLst>
                <a:ext uri="{FF2B5EF4-FFF2-40B4-BE49-F238E27FC236}">
                  <a16:creationId xmlns:a16="http://schemas.microsoft.com/office/drawing/2014/main" id="{0EDC8274-23E6-2CCD-1626-ECBA67DFA3D9}"/>
                </a:ext>
              </a:extLst>
            </p:cNvPr>
            <p:cNvSpPr/>
            <p:nvPr/>
          </p:nvSpPr>
          <p:spPr>
            <a:xfrm>
              <a:off x="6615545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0" name="Полилиния 1279">
              <a:extLst>
                <a:ext uri="{FF2B5EF4-FFF2-40B4-BE49-F238E27FC236}">
                  <a16:creationId xmlns:a16="http://schemas.microsoft.com/office/drawing/2014/main" id="{83CFCCAD-84BC-0DDE-3412-AC33A76757C2}"/>
                </a:ext>
              </a:extLst>
            </p:cNvPr>
            <p:cNvSpPr/>
            <p:nvPr/>
          </p:nvSpPr>
          <p:spPr>
            <a:xfrm>
              <a:off x="6823363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1" name="Полилиния 1280">
              <a:extLst>
                <a:ext uri="{FF2B5EF4-FFF2-40B4-BE49-F238E27FC236}">
                  <a16:creationId xmlns:a16="http://schemas.microsoft.com/office/drawing/2014/main" id="{775A2C9F-91FD-DBA2-842F-605D33144301}"/>
                </a:ext>
              </a:extLst>
            </p:cNvPr>
            <p:cNvSpPr/>
            <p:nvPr/>
          </p:nvSpPr>
          <p:spPr>
            <a:xfrm>
              <a:off x="7031181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2" name="Полилиния 1281">
              <a:extLst>
                <a:ext uri="{FF2B5EF4-FFF2-40B4-BE49-F238E27FC236}">
                  <a16:creationId xmlns:a16="http://schemas.microsoft.com/office/drawing/2014/main" id="{C5366672-2547-5EBB-0C4C-07F5E4AF307C}"/>
                </a:ext>
              </a:extLst>
            </p:cNvPr>
            <p:cNvSpPr/>
            <p:nvPr/>
          </p:nvSpPr>
          <p:spPr>
            <a:xfrm>
              <a:off x="7239000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3" name="Полилиния 1282">
              <a:extLst>
                <a:ext uri="{FF2B5EF4-FFF2-40B4-BE49-F238E27FC236}">
                  <a16:creationId xmlns:a16="http://schemas.microsoft.com/office/drawing/2014/main" id="{1AED6588-7C81-38CC-2666-20F5B6CF8CB2}"/>
                </a:ext>
              </a:extLst>
            </p:cNvPr>
            <p:cNvSpPr/>
            <p:nvPr/>
          </p:nvSpPr>
          <p:spPr>
            <a:xfrm>
              <a:off x="8070272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4" name="Полилиния 1283">
              <a:extLst>
                <a:ext uri="{FF2B5EF4-FFF2-40B4-BE49-F238E27FC236}">
                  <a16:creationId xmlns:a16="http://schemas.microsoft.com/office/drawing/2014/main" id="{0F868442-5CB4-6CFC-2EB1-8605B539A88B}"/>
                </a:ext>
              </a:extLst>
            </p:cNvPr>
            <p:cNvSpPr/>
            <p:nvPr/>
          </p:nvSpPr>
          <p:spPr>
            <a:xfrm rot="5400000">
              <a:off x="8485909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5" name="Полилиния 1284">
              <a:extLst>
                <a:ext uri="{FF2B5EF4-FFF2-40B4-BE49-F238E27FC236}">
                  <a16:creationId xmlns:a16="http://schemas.microsoft.com/office/drawing/2014/main" id="{2BB7A003-178B-3407-F8CB-207F817A2AFC}"/>
                </a:ext>
              </a:extLst>
            </p:cNvPr>
            <p:cNvSpPr/>
            <p:nvPr/>
          </p:nvSpPr>
          <p:spPr>
            <a:xfrm>
              <a:off x="8901545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6" name="Полилиния 1285">
              <a:extLst>
                <a:ext uri="{FF2B5EF4-FFF2-40B4-BE49-F238E27FC236}">
                  <a16:creationId xmlns:a16="http://schemas.microsoft.com/office/drawing/2014/main" id="{EC250D07-5FBF-1CAC-9F54-45B6EAC45852}"/>
                </a:ext>
              </a:extLst>
            </p:cNvPr>
            <p:cNvSpPr/>
            <p:nvPr/>
          </p:nvSpPr>
          <p:spPr>
            <a:xfrm rot="-5400000">
              <a:off x="5368636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7" name="Полилиния 1286">
              <a:extLst>
                <a:ext uri="{FF2B5EF4-FFF2-40B4-BE49-F238E27FC236}">
                  <a16:creationId xmlns:a16="http://schemas.microsoft.com/office/drawing/2014/main" id="{9676FC11-9208-8B60-F20C-1A65DDDC96F2}"/>
                </a:ext>
              </a:extLst>
            </p:cNvPr>
            <p:cNvSpPr/>
            <p:nvPr/>
          </p:nvSpPr>
          <p:spPr>
            <a:xfrm>
              <a:off x="5576454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8" name="Полилиния 1287">
              <a:extLst>
                <a:ext uri="{FF2B5EF4-FFF2-40B4-BE49-F238E27FC236}">
                  <a16:creationId xmlns:a16="http://schemas.microsoft.com/office/drawing/2014/main" id="{6B0C17F2-3FF3-EE7F-48C2-1A542D31328B}"/>
                </a:ext>
              </a:extLst>
            </p:cNvPr>
            <p:cNvSpPr/>
            <p:nvPr/>
          </p:nvSpPr>
          <p:spPr>
            <a:xfrm rot="5400000">
              <a:off x="5784272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9" name="Полилиния 1288">
              <a:extLst>
                <a:ext uri="{FF2B5EF4-FFF2-40B4-BE49-F238E27FC236}">
                  <a16:creationId xmlns:a16="http://schemas.microsoft.com/office/drawing/2014/main" id="{AFF64BA3-CCD0-FE08-CF46-10DCC26DD1DF}"/>
                </a:ext>
              </a:extLst>
            </p:cNvPr>
            <p:cNvSpPr/>
            <p:nvPr/>
          </p:nvSpPr>
          <p:spPr>
            <a:xfrm>
              <a:off x="6199909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0" name="Полилиния 1289">
              <a:extLst>
                <a:ext uri="{FF2B5EF4-FFF2-40B4-BE49-F238E27FC236}">
                  <a16:creationId xmlns:a16="http://schemas.microsoft.com/office/drawing/2014/main" id="{263ADFC4-0408-3F25-9689-5CE978B0830A}"/>
                </a:ext>
              </a:extLst>
            </p:cNvPr>
            <p:cNvSpPr/>
            <p:nvPr/>
          </p:nvSpPr>
          <p:spPr>
            <a:xfrm rot="5400000">
              <a:off x="6407727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1" name="Полилиния 1290">
              <a:extLst>
                <a:ext uri="{FF2B5EF4-FFF2-40B4-BE49-F238E27FC236}">
                  <a16:creationId xmlns:a16="http://schemas.microsoft.com/office/drawing/2014/main" id="{18F4467A-3411-2A17-4CC2-2E809D1A4C7F}"/>
                </a:ext>
              </a:extLst>
            </p:cNvPr>
            <p:cNvSpPr/>
            <p:nvPr/>
          </p:nvSpPr>
          <p:spPr>
            <a:xfrm>
              <a:off x="6823363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2" name="Полилиния 1291">
              <a:extLst>
                <a:ext uri="{FF2B5EF4-FFF2-40B4-BE49-F238E27FC236}">
                  <a16:creationId xmlns:a16="http://schemas.microsoft.com/office/drawing/2014/main" id="{642F62DA-D7F1-2902-782A-596240593542}"/>
                </a:ext>
              </a:extLst>
            </p:cNvPr>
            <p:cNvSpPr/>
            <p:nvPr/>
          </p:nvSpPr>
          <p:spPr>
            <a:xfrm>
              <a:off x="7031181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3" name="Полилиния 1292">
              <a:extLst>
                <a:ext uri="{FF2B5EF4-FFF2-40B4-BE49-F238E27FC236}">
                  <a16:creationId xmlns:a16="http://schemas.microsoft.com/office/drawing/2014/main" id="{4C798335-DD0B-0BFD-6A3E-3AE5A5A0D7D3}"/>
                </a:ext>
              </a:extLst>
            </p:cNvPr>
            <p:cNvSpPr/>
            <p:nvPr/>
          </p:nvSpPr>
          <p:spPr>
            <a:xfrm>
              <a:off x="7239000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4" name="Полилиния 1293">
              <a:extLst>
                <a:ext uri="{FF2B5EF4-FFF2-40B4-BE49-F238E27FC236}">
                  <a16:creationId xmlns:a16="http://schemas.microsoft.com/office/drawing/2014/main" id="{244258FD-F416-B65F-DB72-FD352E389517}"/>
                </a:ext>
              </a:extLst>
            </p:cNvPr>
            <p:cNvSpPr/>
            <p:nvPr/>
          </p:nvSpPr>
          <p:spPr>
            <a:xfrm rot="5400000">
              <a:off x="7654636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5" name="Полилиния 1294">
              <a:extLst>
                <a:ext uri="{FF2B5EF4-FFF2-40B4-BE49-F238E27FC236}">
                  <a16:creationId xmlns:a16="http://schemas.microsoft.com/office/drawing/2014/main" id="{4B71272C-21A9-DEBC-E173-91B9C4039E56}"/>
                </a:ext>
              </a:extLst>
            </p:cNvPr>
            <p:cNvSpPr/>
            <p:nvPr/>
          </p:nvSpPr>
          <p:spPr>
            <a:xfrm>
              <a:off x="8070272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6" name="Полилиния 1295">
              <a:extLst>
                <a:ext uri="{FF2B5EF4-FFF2-40B4-BE49-F238E27FC236}">
                  <a16:creationId xmlns:a16="http://schemas.microsoft.com/office/drawing/2014/main" id="{075AA5BB-BC66-1C49-3F4A-8747015F250A}"/>
                </a:ext>
              </a:extLst>
            </p:cNvPr>
            <p:cNvSpPr/>
            <p:nvPr/>
          </p:nvSpPr>
          <p:spPr>
            <a:xfrm>
              <a:off x="8901545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7" name="Полилиния 1296">
              <a:extLst>
                <a:ext uri="{FF2B5EF4-FFF2-40B4-BE49-F238E27FC236}">
                  <a16:creationId xmlns:a16="http://schemas.microsoft.com/office/drawing/2014/main" id="{A21B5C58-B9D6-8896-5166-C8F2BA0853CE}"/>
                </a:ext>
              </a:extLst>
            </p:cNvPr>
            <p:cNvSpPr/>
            <p:nvPr/>
          </p:nvSpPr>
          <p:spPr>
            <a:xfrm rot="-5400000">
              <a:off x="495300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8" name="Полилиния 1297">
              <a:extLst>
                <a:ext uri="{FF2B5EF4-FFF2-40B4-BE49-F238E27FC236}">
                  <a16:creationId xmlns:a16="http://schemas.microsoft.com/office/drawing/2014/main" id="{EC3382CC-9F91-F246-FB39-B0BFEB71DBD8}"/>
                </a:ext>
              </a:extLst>
            </p:cNvPr>
            <p:cNvSpPr/>
            <p:nvPr/>
          </p:nvSpPr>
          <p:spPr>
            <a:xfrm>
              <a:off x="5160818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9" name="Полилиния 1298">
              <a:extLst>
                <a:ext uri="{FF2B5EF4-FFF2-40B4-BE49-F238E27FC236}">
                  <a16:creationId xmlns:a16="http://schemas.microsoft.com/office/drawing/2014/main" id="{FD3D7853-9D01-E121-0D1F-C7D1D29F32AE}"/>
                </a:ext>
              </a:extLst>
            </p:cNvPr>
            <p:cNvSpPr/>
            <p:nvPr/>
          </p:nvSpPr>
          <p:spPr>
            <a:xfrm>
              <a:off x="5368636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0" name="Полилиния 1299">
              <a:extLst>
                <a:ext uri="{FF2B5EF4-FFF2-40B4-BE49-F238E27FC236}">
                  <a16:creationId xmlns:a16="http://schemas.microsoft.com/office/drawing/2014/main" id="{71BE999D-D375-CC77-FCAC-A083DC72D9D9}"/>
                </a:ext>
              </a:extLst>
            </p:cNvPr>
            <p:cNvSpPr/>
            <p:nvPr/>
          </p:nvSpPr>
          <p:spPr>
            <a:xfrm rot="5400000">
              <a:off x="5576454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1" name="Полилиния 1300">
              <a:extLst>
                <a:ext uri="{FF2B5EF4-FFF2-40B4-BE49-F238E27FC236}">
                  <a16:creationId xmlns:a16="http://schemas.microsoft.com/office/drawing/2014/main" id="{733F662A-7B64-E5ED-9A71-2FCE7B48271F}"/>
                </a:ext>
              </a:extLst>
            </p:cNvPr>
            <p:cNvSpPr/>
            <p:nvPr/>
          </p:nvSpPr>
          <p:spPr>
            <a:xfrm rot="-5400000">
              <a:off x="599209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2" name="Полилиния 1301">
              <a:extLst>
                <a:ext uri="{FF2B5EF4-FFF2-40B4-BE49-F238E27FC236}">
                  <a16:creationId xmlns:a16="http://schemas.microsoft.com/office/drawing/2014/main" id="{E98D07A1-3DC1-9291-B936-01730ACF557C}"/>
                </a:ext>
              </a:extLst>
            </p:cNvPr>
            <p:cNvSpPr/>
            <p:nvPr/>
          </p:nvSpPr>
          <p:spPr>
            <a:xfrm>
              <a:off x="7031181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3" name="Полилиния 1302">
              <a:extLst>
                <a:ext uri="{FF2B5EF4-FFF2-40B4-BE49-F238E27FC236}">
                  <a16:creationId xmlns:a16="http://schemas.microsoft.com/office/drawing/2014/main" id="{95C53286-BA4F-763C-E33D-574F512F8C58}"/>
                </a:ext>
              </a:extLst>
            </p:cNvPr>
            <p:cNvSpPr/>
            <p:nvPr/>
          </p:nvSpPr>
          <p:spPr>
            <a:xfrm>
              <a:off x="723900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4" name="Полилиния 1303">
              <a:extLst>
                <a:ext uri="{FF2B5EF4-FFF2-40B4-BE49-F238E27FC236}">
                  <a16:creationId xmlns:a16="http://schemas.microsoft.com/office/drawing/2014/main" id="{6E625E71-C208-9571-5731-A5073A30F125}"/>
                </a:ext>
              </a:extLst>
            </p:cNvPr>
            <p:cNvSpPr/>
            <p:nvPr/>
          </p:nvSpPr>
          <p:spPr>
            <a:xfrm>
              <a:off x="8070272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5" name="Полилиния 1304">
              <a:extLst>
                <a:ext uri="{FF2B5EF4-FFF2-40B4-BE49-F238E27FC236}">
                  <a16:creationId xmlns:a16="http://schemas.microsoft.com/office/drawing/2014/main" id="{1E8F5C2A-2BDA-3492-3D4A-5DA9A782CC79}"/>
                </a:ext>
              </a:extLst>
            </p:cNvPr>
            <p:cNvSpPr/>
            <p:nvPr/>
          </p:nvSpPr>
          <p:spPr>
            <a:xfrm rot="5400000">
              <a:off x="827809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6" name="Полилиния 1305">
              <a:extLst>
                <a:ext uri="{FF2B5EF4-FFF2-40B4-BE49-F238E27FC236}">
                  <a16:creationId xmlns:a16="http://schemas.microsoft.com/office/drawing/2014/main" id="{ABDFBEFD-CC09-372A-2A09-1BF31D117F7F}"/>
                </a:ext>
              </a:extLst>
            </p:cNvPr>
            <p:cNvSpPr/>
            <p:nvPr/>
          </p:nvSpPr>
          <p:spPr>
            <a:xfrm rot="-5400000">
              <a:off x="8693727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7" name="Полилиния 1306">
              <a:extLst>
                <a:ext uri="{FF2B5EF4-FFF2-40B4-BE49-F238E27FC236}">
                  <a16:creationId xmlns:a16="http://schemas.microsoft.com/office/drawing/2014/main" id="{BDF98B86-E5A6-14D6-0B07-6CC46CFB8051}"/>
                </a:ext>
              </a:extLst>
            </p:cNvPr>
            <p:cNvSpPr/>
            <p:nvPr/>
          </p:nvSpPr>
          <p:spPr>
            <a:xfrm>
              <a:off x="8901545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8" name="Полилиния 1307">
              <a:extLst>
                <a:ext uri="{FF2B5EF4-FFF2-40B4-BE49-F238E27FC236}">
                  <a16:creationId xmlns:a16="http://schemas.microsoft.com/office/drawing/2014/main" id="{9FBD936A-2496-844B-2CEF-5BBE0104E204}"/>
                </a:ext>
              </a:extLst>
            </p:cNvPr>
            <p:cNvSpPr/>
            <p:nvPr/>
          </p:nvSpPr>
          <p:spPr>
            <a:xfrm rot="5400000">
              <a:off x="4745181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9" name="Полилиния 1308">
              <a:extLst>
                <a:ext uri="{FF2B5EF4-FFF2-40B4-BE49-F238E27FC236}">
                  <a16:creationId xmlns:a16="http://schemas.microsoft.com/office/drawing/2014/main" id="{4B08E24B-4AC9-55C3-42E6-6DFD90D5E72D}"/>
                </a:ext>
              </a:extLst>
            </p:cNvPr>
            <p:cNvSpPr/>
            <p:nvPr/>
          </p:nvSpPr>
          <p:spPr>
            <a:xfrm rot="-5400000">
              <a:off x="5784272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0" name="Полилиния 1309">
              <a:extLst>
                <a:ext uri="{FF2B5EF4-FFF2-40B4-BE49-F238E27FC236}">
                  <a16:creationId xmlns:a16="http://schemas.microsoft.com/office/drawing/2014/main" id="{2777B648-0462-B0FD-F596-30DDE532D59F}"/>
                </a:ext>
              </a:extLst>
            </p:cNvPr>
            <p:cNvSpPr/>
            <p:nvPr/>
          </p:nvSpPr>
          <p:spPr>
            <a:xfrm rot="5400000">
              <a:off x="5992090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1" name="Полилиния 1310">
              <a:extLst>
                <a:ext uri="{FF2B5EF4-FFF2-40B4-BE49-F238E27FC236}">
                  <a16:creationId xmlns:a16="http://schemas.microsoft.com/office/drawing/2014/main" id="{2CF94FB1-1946-9BA4-ACBE-6FFC273589BF}"/>
                </a:ext>
              </a:extLst>
            </p:cNvPr>
            <p:cNvSpPr/>
            <p:nvPr/>
          </p:nvSpPr>
          <p:spPr>
            <a:xfrm rot="5400000">
              <a:off x="6407727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2" name="Полилиния 1311">
              <a:extLst>
                <a:ext uri="{FF2B5EF4-FFF2-40B4-BE49-F238E27FC236}">
                  <a16:creationId xmlns:a16="http://schemas.microsoft.com/office/drawing/2014/main" id="{D2F5ABD2-8F9B-78F6-09D0-9D35EABDAD46}"/>
                </a:ext>
              </a:extLst>
            </p:cNvPr>
            <p:cNvSpPr/>
            <p:nvPr/>
          </p:nvSpPr>
          <p:spPr>
            <a:xfrm>
              <a:off x="7031181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3" name="Полилиния 1312">
              <a:extLst>
                <a:ext uri="{FF2B5EF4-FFF2-40B4-BE49-F238E27FC236}">
                  <a16:creationId xmlns:a16="http://schemas.microsoft.com/office/drawing/2014/main" id="{7C3C9B11-E020-D5A2-EE9A-4CCA7304489E}"/>
                </a:ext>
              </a:extLst>
            </p:cNvPr>
            <p:cNvSpPr/>
            <p:nvPr/>
          </p:nvSpPr>
          <p:spPr>
            <a:xfrm>
              <a:off x="7239000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4" name="Полилиния 1313">
              <a:extLst>
                <a:ext uri="{FF2B5EF4-FFF2-40B4-BE49-F238E27FC236}">
                  <a16:creationId xmlns:a16="http://schemas.microsoft.com/office/drawing/2014/main" id="{03BC75F8-72B8-928D-A288-D7372BB83464}"/>
                </a:ext>
              </a:extLst>
            </p:cNvPr>
            <p:cNvSpPr/>
            <p:nvPr/>
          </p:nvSpPr>
          <p:spPr>
            <a:xfrm>
              <a:off x="7446818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5" name="Полилиния 1314">
              <a:extLst>
                <a:ext uri="{FF2B5EF4-FFF2-40B4-BE49-F238E27FC236}">
                  <a16:creationId xmlns:a16="http://schemas.microsoft.com/office/drawing/2014/main" id="{6A5A7A14-14E8-CF55-EABC-2069726DFDDB}"/>
                </a:ext>
              </a:extLst>
            </p:cNvPr>
            <p:cNvSpPr/>
            <p:nvPr/>
          </p:nvSpPr>
          <p:spPr>
            <a:xfrm>
              <a:off x="7654636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6" name="Полилиния 1315">
              <a:extLst>
                <a:ext uri="{FF2B5EF4-FFF2-40B4-BE49-F238E27FC236}">
                  <a16:creationId xmlns:a16="http://schemas.microsoft.com/office/drawing/2014/main" id="{3FB1BD07-8A24-098C-AB8F-6CC0D4CCAE8F}"/>
                </a:ext>
              </a:extLst>
            </p:cNvPr>
            <p:cNvSpPr/>
            <p:nvPr/>
          </p:nvSpPr>
          <p:spPr>
            <a:xfrm>
              <a:off x="7862454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7" name="Полилиния 1316">
              <a:extLst>
                <a:ext uri="{FF2B5EF4-FFF2-40B4-BE49-F238E27FC236}">
                  <a16:creationId xmlns:a16="http://schemas.microsoft.com/office/drawing/2014/main" id="{27E1C77D-92CE-34B2-4C03-678A670FA437}"/>
                </a:ext>
              </a:extLst>
            </p:cNvPr>
            <p:cNvSpPr/>
            <p:nvPr/>
          </p:nvSpPr>
          <p:spPr>
            <a:xfrm rot="5400000">
              <a:off x="8070272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8" name="Полилиния 1317">
              <a:extLst>
                <a:ext uri="{FF2B5EF4-FFF2-40B4-BE49-F238E27FC236}">
                  <a16:creationId xmlns:a16="http://schemas.microsoft.com/office/drawing/2014/main" id="{6151A848-40D5-69EA-EA1E-14A3B507FD31}"/>
                </a:ext>
              </a:extLst>
            </p:cNvPr>
            <p:cNvSpPr/>
            <p:nvPr/>
          </p:nvSpPr>
          <p:spPr>
            <a:xfrm>
              <a:off x="8693727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9" name="Полилиния 1318">
              <a:extLst>
                <a:ext uri="{FF2B5EF4-FFF2-40B4-BE49-F238E27FC236}">
                  <a16:creationId xmlns:a16="http://schemas.microsoft.com/office/drawing/2014/main" id="{BE9DAC2B-911D-7ACA-F392-803FC574CE78}"/>
                </a:ext>
              </a:extLst>
            </p:cNvPr>
            <p:cNvSpPr/>
            <p:nvPr/>
          </p:nvSpPr>
          <p:spPr>
            <a:xfrm rot="5400000">
              <a:off x="8901545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0" name="Полилиния 1319">
              <a:extLst>
                <a:ext uri="{FF2B5EF4-FFF2-40B4-BE49-F238E27FC236}">
                  <a16:creationId xmlns:a16="http://schemas.microsoft.com/office/drawing/2014/main" id="{E5D8AAEE-A0F7-4B91-66A6-79E05A962E76}"/>
                </a:ext>
              </a:extLst>
            </p:cNvPr>
            <p:cNvSpPr/>
            <p:nvPr/>
          </p:nvSpPr>
          <p:spPr>
            <a:xfrm rot="-5400000">
              <a:off x="5160818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1" name="Полилиния 1320">
              <a:extLst>
                <a:ext uri="{FF2B5EF4-FFF2-40B4-BE49-F238E27FC236}">
                  <a16:creationId xmlns:a16="http://schemas.microsoft.com/office/drawing/2014/main" id="{2A3A0149-8C7A-7906-68DF-3EE48FD341F4}"/>
                </a:ext>
              </a:extLst>
            </p:cNvPr>
            <p:cNvSpPr/>
            <p:nvPr/>
          </p:nvSpPr>
          <p:spPr>
            <a:xfrm>
              <a:off x="5368636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2" name="Полилиния 1321">
              <a:extLst>
                <a:ext uri="{FF2B5EF4-FFF2-40B4-BE49-F238E27FC236}">
                  <a16:creationId xmlns:a16="http://schemas.microsoft.com/office/drawing/2014/main" id="{F31E2D3B-FBC8-D7F0-B94B-DD5B467DBE17}"/>
                </a:ext>
              </a:extLst>
            </p:cNvPr>
            <p:cNvSpPr/>
            <p:nvPr/>
          </p:nvSpPr>
          <p:spPr>
            <a:xfrm>
              <a:off x="5576454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3" name="Полилиния 1322">
              <a:extLst>
                <a:ext uri="{FF2B5EF4-FFF2-40B4-BE49-F238E27FC236}">
                  <a16:creationId xmlns:a16="http://schemas.microsoft.com/office/drawing/2014/main" id="{3C3F2345-38B5-B7C0-4C85-3168CB17FBF5}"/>
                </a:ext>
              </a:extLst>
            </p:cNvPr>
            <p:cNvSpPr/>
            <p:nvPr/>
          </p:nvSpPr>
          <p:spPr>
            <a:xfrm>
              <a:off x="5784272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4" name="Полилиния 1323">
              <a:extLst>
                <a:ext uri="{FF2B5EF4-FFF2-40B4-BE49-F238E27FC236}">
                  <a16:creationId xmlns:a16="http://schemas.microsoft.com/office/drawing/2014/main" id="{0767A8CA-2218-ED69-84C6-80C892289337}"/>
                </a:ext>
              </a:extLst>
            </p:cNvPr>
            <p:cNvSpPr/>
            <p:nvPr/>
          </p:nvSpPr>
          <p:spPr>
            <a:xfrm rot="-5400000">
              <a:off x="6615545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5" name="Полилиния 1324">
              <a:extLst>
                <a:ext uri="{FF2B5EF4-FFF2-40B4-BE49-F238E27FC236}">
                  <a16:creationId xmlns:a16="http://schemas.microsoft.com/office/drawing/2014/main" id="{FD74B82A-D0A3-45A7-34A9-AE13AFE2ADAD}"/>
                </a:ext>
              </a:extLst>
            </p:cNvPr>
            <p:cNvSpPr/>
            <p:nvPr/>
          </p:nvSpPr>
          <p:spPr>
            <a:xfrm>
              <a:off x="6823363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6" name="Полилиния 1325">
              <a:extLst>
                <a:ext uri="{FF2B5EF4-FFF2-40B4-BE49-F238E27FC236}">
                  <a16:creationId xmlns:a16="http://schemas.microsoft.com/office/drawing/2014/main" id="{33AE262E-7AC6-D826-EC34-4178C33E2E91}"/>
                </a:ext>
              </a:extLst>
            </p:cNvPr>
            <p:cNvSpPr/>
            <p:nvPr/>
          </p:nvSpPr>
          <p:spPr>
            <a:xfrm rot="5400000">
              <a:off x="7862454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7" name="Полилиния 1326">
              <a:extLst>
                <a:ext uri="{FF2B5EF4-FFF2-40B4-BE49-F238E27FC236}">
                  <a16:creationId xmlns:a16="http://schemas.microsoft.com/office/drawing/2014/main" id="{FEF72B5B-B282-B3D2-069E-AC2CA0ED32EF}"/>
                </a:ext>
              </a:extLst>
            </p:cNvPr>
            <p:cNvSpPr/>
            <p:nvPr/>
          </p:nvSpPr>
          <p:spPr>
            <a:xfrm rot="-5400000">
              <a:off x="8278090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8" name="Полилиния 1327">
              <a:extLst>
                <a:ext uri="{FF2B5EF4-FFF2-40B4-BE49-F238E27FC236}">
                  <a16:creationId xmlns:a16="http://schemas.microsoft.com/office/drawing/2014/main" id="{5BF533D1-249F-435F-4D00-BC1B54E62349}"/>
                </a:ext>
              </a:extLst>
            </p:cNvPr>
            <p:cNvSpPr/>
            <p:nvPr/>
          </p:nvSpPr>
          <p:spPr>
            <a:xfrm>
              <a:off x="8485909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9" name="Полилиния 1328">
              <a:extLst>
                <a:ext uri="{FF2B5EF4-FFF2-40B4-BE49-F238E27FC236}">
                  <a16:creationId xmlns:a16="http://schemas.microsoft.com/office/drawing/2014/main" id="{A5CD1C3A-F2DB-7301-41A1-73AE4103718F}"/>
                </a:ext>
              </a:extLst>
            </p:cNvPr>
            <p:cNvSpPr/>
            <p:nvPr/>
          </p:nvSpPr>
          <p:spPr>
            <a:xfrm>
              <a:off x="8693727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0" name="Полилиния 1329">
              <a:extLst>
                <a:ext uri="{FF2B5EF4-FFF2-40B4-BE49-F238E27FC236}">
                  <a16:creationId xmlns:a16="http://schemas.microsoft.com/office/drawing/2014/main" id="{FD5FF199-671F-03B3-D65F-146566D14A79}"/>
                </a:ext>
              </a:extLst>
            </p:cNvPr>
            <p:cNvSpPr/>
            <p:nvPr/>
          </p:nvSpPr>
          <p:spPr>
            <a:xfrm rot="-5400000">
              <a:off x="495300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1" name="Полилиния 1330">
              <a:extLst>
                <a:ext uri="{FF2B5EF4-FFF2-40B4-BE49-F238E27FC236}">
                  <a16:creationId xmlns:a16="http://schemas.microsoft.com/office/drawing/2014/main" id="{A2842DE1-EF45-7A83-DCBB-61A4A21F85EC}"/>
                </a:ext>
              </a:extLst>
            </p:cNvPr>
            <p:cNvSpPr/>
            <p:nvPr/>
          </p:nvSpPr>
          <p:spPr>
            <a:xfrm rot="5400000">
              <a:off x="5160818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2" name="Полилиния 1331">
              <a:extLst>
                <a:ext uri="{FF2B5EF4-FFF2-40B4-BE49-F238E27FC236}">
                  <a16:creationId xmlns:a16="http://schemas.microsoft.com/office/drawing/2014/main" id="{144DBD73-E5E7-098B-A475-2D7261522D2D}"/>
                </a:ext>
              </a:extLst>
            </p:cNvPr>
            <p:cNvSpPr/>
            <p:nvPr/>
          </p:nvSpPr>
          <p:spPr>
            <a:xfrm>
              <a:off x="5784272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3" name="Полилиния 1332">
              <a:extLst>
                <a:ext uri="{FF2B5EF4-FFF2-40B4-BE49-F238E27FC236}">
                  <a16:creationId xmlns:a16="http://schemas.microsoft.com/office/drawing/2014/main" id="{BC38257F-4D96-1B1B-8247-6BDA37666335}"/>
                </a:ext>
              </a:extLst>
            </p:cNvPr>
            <p:cNvSpPr/>
            <p:nvPr/>
          </p:nvSpPr>
          <p:spPr>
            <a:xfrm>
              <a:off x="599209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4" name="Полилиния 1333">
              <a:extLst>
                <a:ext uri="{FF2B5EF4-FFF2-40B4-BE49-F238E27FC236}">
                  <a16:creationId xmlns:a16="http://schemas.microsoft.com/office/drawing/2014/main" id="{7C2809C5-96E0-E9D7-F7C4-956CACFBDBF2}"/>
                </a:ext>
              </a:extLst>
            </p:cNvPr>
            <p:cNvSpPr/>
            <p:nvPr/>
          </p:nvSpPr>
          <p:spPr>
            <a:xfrm>
              <a:off x="6199909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5" name="Полилиния 1334">
              <a:extLst>
                <a:ext uri="{FF2B5EF4-FFF2-40B4-BE49-F238E27FC236}">
                  <a16:creationId xmlns:a16="http://schemas.microsoft.com/office/drawing/2014/main" id="{F807B70A-7A24-774C-DD14-3EF69A394825}"/>
                </a:ext>
              </a:extLst>
            </p:cNvPr>
            <p:cNvSpPr/>
            <p:nvPr/>
          </p:nvSpPr>
          <p:spPr>
            <a:xfrm>
              <a:off x="6823363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6" name="Полилиния 1335">
              <a:extLst>
                <a:ext uri="{FF2B5EF4-FFF2-40B4-BE49-F238E27FC236}">
                  <a16:creationId xmlns:a16="http://schemas.microsoft.com/office/drawing/2014/main" id="{4616C681-C7EB-F147-D3EC-D8B0967476CB}"/>
                </a:ext>
              </a:extLst>
            </p:cNvPr>
            <p:cNvSpPr/>
            <p:nvPr/>
          </p:nvSpPr>
          <p:spPr>
            <a:xfrm>
              <a:off x="7031181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7" name="Полилиния 1336">
              <a:extLst>
                <a:ext uri="{FF2B5EF4-FFF2-40B4-BE49-F238E27FC236}">
                  <a16:creationId xmlns:a16="http://schemas.microsoft.com/office/drawing/2014/main" id="{499765F5-AF39-1A59-E96A-2C9F368C91F3}"/>
                </a:ext>
              </a:extLst>
            </p:cNvPr>
            <p:cNvSpPr/>
            <p:nvPr/>
          </p:nvSpPr>
          <p:spPr>
            <a:xfrm>
              <a:off x="723900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8" name="Полилиния 1337">
              <a:extLst>
                <a:ext uri="{FF2B5EF4-FFF2-40B4-BE49-F238E27FC236}">
                  <a16:creationId xmlns:a16="http://schemas.microsoft.com/office/drawing/2014/main" id="{0201EB66-C1F5-F041-275A-DA0EA7B65E48}"/>
                </a:ext>
              </a:extLst>
            </p:cNvPr>
            <p:cNvSpPr/>
            <p:nvPr/>
          </p:nvSpPr>
          <p:spPr>
            <a:xfrm>
              <a:off x="7446818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9" name="Полилиния 1338">
              <a:extLst>
                <a:ext uri="{FF2B5EF4-FFF2-40B4-BE49-F238E27FC236}">
                  <a16:creationId xmlns:a16="http://schemas.microsoft.com/office/drawing/2014/main" id="{E30C7310-D57A-9E3F-38B0-F9C88170B548}"/>
                </a:ext>
              </a:extLst>
            </p:cNvPr>
            <p:cNvSpPr/>
            <p:nvPr/>
          </p:nvSpPr>
          <p:spPr>
            <a:xfrm>
              <a:off x="827809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0" name="Полилиния 1339">
              <a:extLst>
                <a:ext uri="{FF2B5EF4-FFF2-40B4-BE49-F238E27FC236}">
                  <a16:creationId xmlns:a16="http://schemas.microsoft.com/office/drawing/2014/main" id="{B1A1D6C0-E939-A460-9D67-158FBA880744}"/>
                </a:ext>
              </a:extLst>
            </p:cNvPr>
            <p:cNvSpPr/>
            <p:nvPr/>
          </p:nvSpPr>
          <p:spPr>
            <a:xfrm>
              <a:off x="8485909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1" name="Полилиния 1340">
              <a:extLst>
                <a:ext uri="{FF2B5EF4-FFF2-40B4-BE49-F238E27FC236}">
                  <a16:creationId xmlns:a16="http://schemas.microsoft.com/office/drawing/2014/main" id="{027F3B26-761F-C84F-61CE-DFE4A8E97BD5}"/>
                </a:ext>
              </a:extLst>
            </p:cNvPr>
            <p:cNvSpPr/>
            <p:nvPr/>
          </p:nvSpPr>
          <p:spPr>
            <a:xfrm>
              <a:off x="8693727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2" name="Полилиния 1341">
              <a:extLst>
                <a:ext uri="{FF2B5EF4-FFF2-40B4-BE49-F238E27FC236}">
                  <a16:creationId xmlns:a16="http://schemas.microsoft.com/office/drawing/2014/main" id="{7547FD9E-01DC-4870-D01E-56714F5455CB}"/>
                </a:ext>
              </a:extLst>
            </p:cNvPr>
            <p:cNvSpPr/>
            <p:nvPr/>
          </p:nvSpPr>
          <p:spPr>
            <a:xfrm>
              <a:off x="8901545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3" name="Полилиния 1342">
              <a:extLst>
                <a:ext uri="{FF2B5EF4-FFF2-40B4-BE49-F238E27FC236}">
                  <a16:creationId xmlns:a16="http://schemas.microsoft.com/office/drawing/2014/main" id="{15D8A65E-6D9B-272C-69D8-1E9132D9E8EA}"/>
                </a:ext>
              </a:extLst>
            </p:cNvPr>
            <p:cNvSpPr/>
            <p:nvPr/>
          </p:nvSpPr>
          <p:spPr>
            <a:xfrm rot="-5400000">
              <a:off x="4745181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4" name="Полилиния 1343">
              <a:extLst>
                <a:ext uri="{FF2B5EF4-FFF2-40B4-BE49-F238E27FC236}">
                  <a16:creationId xmlns:a16="http://schemas.microsoft.com/office/drawing/2014/main" id="{36F15388-7F66-5CA8-8C39-C1701E30ED27}"/>
                </a:ext>
              </a:extLst>
            </p:cNvPr>
            <p:cNvSpPr/>
            <p:nvPr/>
          </p:nvSpPr>
          <p:spPr>
            <a:xfrm>
              <a:off x="4953000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5" name="Полилиния 1344">
              <a:extLst>
                <a:ext uri="{FF2B5EF4-FFF2-40B4-BE49-F238E27FC236}">
                  <a16:creationId xmlns:a16="http://schemas.microsoft.com/office/drawing/2014/main" id="{67478D4B-A933-561C-9741-1DA11A7153CC}"/>
                </a:ext>
              </a:extLst>
            </p:cNvPr>
            <p:cNvSpPr/>
            <p:nvPr/>
          </p:nvSpPr>
          <p:spPr>
            <a:xfrm rot="-5400000">
              <a:off x="5368636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6" name="Полилиния 1345">
              <a:extLst>
                <a:ext uri="{FF2B5EF4-FFF2-40B4-BE49-F238E27FC236}">
                  <a16:creationId xmlns:a16="http://schemas.microsoft.com/office/drawing/2014/main" id="{F644FBF7-4A61-2A1E-F68B-72D0A8839F54}"/>
                </a:ext>
              </a:extLst>
            </p:cNvPr>
            <p:cNvSpPr/>
            <p:nvPr/>
          </p:nvSpPr>
          <p:spPr>
            <a:xfrm rot="5400000">
              <a:off x="5576454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7" name="Полилиния 1346">
              <a:extLst>
                <a:ext uri="{FF2B5EF4-FFF2-40B4-BE49-F238E27FC236}">
                  <a16:creationId xmlns:a16="http://schemas.microsoft.com/office/drawing/2014/main" id="{05FCCCAA-2093-1955-43F2-49D33085A9BA}"/>
                </a:ext>
              </a:extLst>
            </p:cNvPr>
            <p:cNvSpPr/>
            <p:nvPr/>
          </p:nvSpPr>
          <p:spPr>
            <a:xfrm>
              <a:off x="6199909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8" name="Полилиния 1347">
              <a:extLst>
                <a:ext uri="{FF2B5EF4-FFF2-40B4-BE49-F238E27FC236}">
                  <a16:creationId xmlns:a16="http://schemas.microsoft.com/office/drawing/2014/main" id="{5C3A2AC8-D33F-8E13-6267-0210DE052851}"/>
                </a:ext>
              </a:extLst>
            </p:cNvPr>
            <p:cNvSpPr/>
            <p:nvPr/>
          </p:nvSpPr>
          <p:spPr>
            <a:xfrm>
              <a:off x="6407727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9" name="Полилиния 1348">
              <a:extLst>
                <a:ext uri="{FF2B5EF4-FFF2-40B4-BE49-F238E27FC236}">
                  <a16:creationId xmlns:a16="http://schemas.microsoft.com/office/drawing/2014/main" id="{06F7A4EB-6E03-1613-986A-FD06E3677900}"/>
                </a:ext>
              </a:extLst>
            </p:cNvPr>
            <p:cNvSpPr/>
            <p:nvPr/>
          </p:nvSpPr>
          <p:spPr>
            <a:xfrm>
              <a:off x="6615545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0" name="Полилиния 1349">
              <a:extLst>
                <a:ext uri="{FF2B5EF4-FFF2-40B4-BE49-F238E27FC236}">
                  <a16:creationId xmlns:a16="http://schemas.microsoft.com/office/drawing/2014/main" id="{B076A7F7-6584-416D-13F5-9D2ECD5BBB1A}"/>
                </a:ext>
              </a:extLst>
            </p:cNvPr>
            <p:cNvSpPr/>
            <p:nvPr/>
          </p:nvSpPr>
          <p:spPr>
            <a:xfrm rot="5400000">
              <a:off x="6823363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1" name="Полилиния 1350">
              <a:extLst>
                <a:ext uri="{FF2B5EF4-FFF2-40B4-BE49-F238E27FC236}">
                  <a16:creationId xmlns:a16="http://schemas.microsoft.com/office/drawing/2014/main" id="{7B622D90-AA4A-B1FF-7D72-4C7576B594B7}"/>
                </a:ext>
              </a:extLst>
            </p:cNvPr>
            <p:cNvSpPr/>
            <p:nvPr/>
          </p:nvSpPr>
          <p:spPr>
            <a:xfrm>
              <a:off x="7239000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2" name="Полилиния 1351">
              <a:extLst>
                <a:ext uri="{FF2B5EF4-FFF2-40B4-BE49-F238E27FC236}">
                  <a16:creationId xmlns:a16="http://schemas.microsoft.com/office/drawing/2014/main" id="{29904435-6FFD-A86F-0ACB-7CC72CBD96D9}"/>
                </a:ext>
              </a:extLst>
            </p:cNvPr>
            <p:cNvSpPr/>
            <p:nvPr/>
          </p:nvSpPr>
          <p:spPr>
            <a:xfrm>
              <a:off x="7446818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3" name="Полилиния 1352">
              <a:extLst>
                <a:ext uri="{FF2B5EF4-FFF2-40B4-BE49-F238E27FC236}">
                  <a16:creationId xmlns:a16="http://schemas.microsoft.com/office/drawing/2014/main" id="{0B5855B4-C4D2-542A-D826-78AC92582DDA}"/>
                </a:ext>
              </a:extLst>
            </p:cNvPr>
            <p:cNvSpPr/>
            <p:nvPr/>
          </p:nvSpPr>
          <p:spPr>
            <a:xfrm>
              <a:off x="7654636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4" name="Полилиния 1353">
              <a:extLst>
                <a:ext uri="{FF2B5EF4-FFF2-40B4-BE49-F238E27FC236}">
                  <a16:creationId xmlns:a16="http://schemas.microsoft.com/office/drawing/2014/main" id="{51FC405D-B076-05C6-D4BE-7B1183902EB9}"/>
                </a:ext>
              </a:extLst>
            </p:cNvPr>
            <p:cNvSpPr/>
            <p:nvPr/>
          </p:nvSpPr>
          <p:spPr>
            <a:xfrm rot="5400000">
              <a:off x="7862454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5" name="Полилиния 1354">
              <a:extLst>
                <a:ext uri="{FF2B5EF4-FFF2-40B4-BE49-F238E27FC236}">
                  <a16:creationId xmlns:a16="http://schemas.microsoft.com/office/drawing/2014/main" id="{7089C439-4C88-99AD-82D6-1E75CE9F7745}"/>
                </a:ext>
              </a:extLst>
            </p:cNvPr>
            <p:cNvSpPr/>
            <p:nvPr/>
          </p:nvSpPr>
          <p:spPr>
            <a:xfrm>
              <a:off x="8278090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6" name="Полилиния 1355">
              <a:extLst>
                <a:ext uri="{FF2B5EF4-FFF2-40B4-BE49-F238E27FC236}">
                  <a16:creationId xmlns:a16="http://schemas.microsoft.com/office/drawing/2014/main" id="{D6676CC3-CFD4-3A29-C9BC-B22C5E806C2B}"/>
                </a:ext>
              </a:extLst>
            </p:cNvPr>
            <p:cNvSpPr/>
            <p:nvPr/>
          </p:nvSpPr>
          <p:spPr>
            <a:xfrm>
              <a:off x="8693727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7" name="Полилиния 1356">
              <a:extLst>
                <a:ext uri="{FF2B5EF4-FFF2-40B4-BE49-F238E27FC236}">
                  <a16:creationId xmlns:a16="http://schemas.microsoft.com/office/drawing/2014/main" id="{C6C38DE8-58C6-6401-D189-8B821B592CAE}"/>
                </a:ext>
              </a:extLst>
            </p:cNvPr>
            <p:cNvSpPr/>
            <p:nvPr/>
          </p:nvSpPr>
          <p:spPr>
            <a:xfrm rot="5400000">
              <a:off x="8901545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8" name="Полилиния 1357">
              <a:extLst>
                <a:ext uri="{FF2B5EF4-FFF2-40B4-BE49-F238E27FC236}">
                  <a16:creationId xmlns:a16="http://schemas.microsoft.com/office/drawing/2014/main" id="{6DDD08EE-DC2E-FEA3-C7BB-EA0078C5A01F}"/>
                </a:ext>
              </a:extLst>
            </p:cNvPr>
            <p:cNvSpPr/>
            <p:nvPr/>
          </p:nvSpPr>
          <p:spPr>
            <a:xfrm>
              <a:off x="4953000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9" name="Полилиния 1358">
              <a:extLst>
                <a:ext uri="{FF2B5EF4-FFF2-40B4-BE49-F238E27FC236}">
                  <a16:creationId xmlns:a16="http://schemas.microsoft.com/office/drawing/2014/main" id="{4F3A99B4-DD7A-9905-EAF0-D2D91E41EE53}"/>
                </a:ext>
              </a:extLst>
            </p:cNvPr>
            <p:cNvSpPr/>
            <p:nvPr/>
          </p:nvSpPr>
          <p:spPr>
            <a:xfrm rot="5400000">
              <a:off x="5160818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0" name="Полилиния 1359">
              <a:extLst>
                <a:ext uri="{FF2B5EF4-FFF2-40B4-BE49-F238E27FC236}">
                  <a16:creationId xmlns:a16="http://schemas.microsoft.com/office/drawing/2014/main" id="{546CFF3C-CC65-4B2F-BDA0-ABEFAB4CDD98}"/>
                </a:ext>
              </a:extLst>
            </p:cNvPr>
            <p:cNvSpPr/>
            <p:nvPr/>
          </p:nvSpPr>
          <p:spPr>
            <a:xfrm>
              <a:off x="6407727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1" name="Полилиния 1360">
              <a:extLst>
                <a:ext uri="{FF2B5EF4-FFF2-40B4-BE49-F238E27FC236}">
                  <a16:creationId xmlns:a16="http://schemas.microsoft.com/office/drawing/2014/main" id="{8DA7A53C-BC25-72EE-E49B-F2BC0B99BF48}"/>
                </a:ext>
              </a:extLst>
            </p:cNvPr>
            <p:cNvSpPr/>
            <p:nvPr/>
          </p:nvSpPr>
          <p:spPr>
            <a:xfrm rot="5400000">
              <a:off x="6615545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2" name="Полилиния 1361">
              <a:extLst>
                <a:ext uri="{FF2B5EF4-FFF2-40B4-BE49-F238E27FC236}">
                  <a16:creationId xmlns:a16="http://schemas.microsoft.com/office/drawing/2014/main" id="{1649DBFB-8A8C-F9BF-624D-C5BFFC8F960D}"/>
                </a:ext>
              </a:extLst>
            </p:cNvPr>
            <p:cNvSpPr/>
            <p:nvPr/>
          </p:nvSpPr>
          <p:spPr>
            <a:xfrm rot="5400000">
              <a:off x="7239000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3" name="Полилиния 1362">
              <a:extLst>
                <a:ext uri="{FF2B5EF4-FFF2-40B4-BE49-F238E27FC236}">
                  <a16:creationId xmlns:a16="http://schemas.microsoft.com/office/drawing/2014/main" id="{2692C9D2-60FA-0AB9-8755-01CBC91FA1BF}"/>
                </a:ext>
              </a:extLst>
            </p:cNvPr>
            <p:cNvSpPr/>
            <p:nvPr/>
          </p:nvSpPr>
          <p:spPr>
            <a:xfrm rot="5400000">
              <a:off x="7654636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4" name="Полилиния 1363">
              <a:extLst>
                <a:ext uri="{FF2B5EF4-FFF2-40B4-BE49-F238E27FC236}">
                  <a16:creationId xmlns:a16="http://schemas.microsoft.com/office/drawing/2014/main" id="{BB514EAC-6870-8003-158F-09DF9D89DF72}"/>
                </a:ext>
              </a:extLst>
            </p:cNvPr>
            <p:cNvSpPr/>
            <p:nvPr/>
          </p:nvSpPr>
          <p:spPr>
            <a:xfrm rot="-5400000">
              <a:off x="8070272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5" name="Полилиния 1364">
              <a:extLst>
                <a:ext uri="{FF2B5EF4-FFF2-40B4-BE49-F238E27FC236}">
                  <a16:creationId xmlns:a16="http://schemas.microsoft.com/office/drawing/2014/main" id="{68051AC8-3C13-108D-08F9-9745866DCAF4}"/>
                </a:ext>
              </a:extLst>
            </p:cNvPr>
            <p:cNvSpPr/>
            <p:nvPr/>
          </p:nvSpPr>
          <p:spPr>
            <a:xfrm rot="5400000">
              <a:off x="8278090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6" name="Полилиния 1365">
              <a:extLst>
                <a:ext uri="{FF2B5EF4-FFF2-40B4-BE49-F238E27FC236}">
                  <a16:creationId xmlns:a16="http://schemas.microsoft.com/office/drawing/2014/main" id="{90E6783F-214E-4F80-91BB-70D217B82059}"/>
                </a:ext>
              </a:extLst>
            </p:cNvPr>
            <p:cNvSpPr/>
            <p:nvPr/>
          </p:nvSpPr>
          <p:spPr>
            <a:xfrm rot="5400000">
              <a:off x="8693727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8902844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2.59259E-6 L 0.06576 2.59259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2.59259E-6 L 0.06575 2.59259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1.11111E-6 L 0.06576 1.11111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1.11111E-6 L 0.06576 1.11111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3.7037E-7 L 0.06576 -3.7037E-7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3.7037E-7 L 0.06575 -3.7037E-7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4820C330-AFE2-A7B7-C987-08EC320A90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C0DCFD">
                  <a:alpha val="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766" name="Скругленный прямоугольник 765">
            <a:extLst>
              <a:ext uri="{FF2B5EF4-FFF2-40B4-BE49-F238E27FC236}">
                <a16:creationId xmlns:a16="http://schemas.microsoft.com/office/drawing/2014/main" id="{44F65321-B113-DEB9-A973-23665819293C}"/>
              </a:ext>
            </a:extLst>
          </p:cNvPr>
          <p:cNvSpPr/>
          <p:nvPr/>
        </p:nvSpPr>
        <p:spPr>
          <a:xfrm>
            <a:off x="4468624" y="1276687"/>
            <a:ext cx="3539147" cy="5217059"/>
          </a:xfrm>
          <a:prstGeom prst="roundRect">
            <a:avLst>
              <a:gd name="adj" fmla="val 10818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Oval 131">
            <a:extLst>
              <a:ext uri="{FF2B5EF4-FFF2-40B4-BE49-F238E27FC236}">
                <a16:creationId xmlns:a16="http://schemas.microsoft.com/office/drawing/2014/main" id="{276EEF5D-F78C-B26E-DECD-C77D3F1482D1}"/>
              </a:ext>
            </a:extLst>
          </p:cNvPr>
          <p:cNvSpPr/>
          <p:nvPr/>
        </p:nvSpPr>
        <p:spPr>
          <a:xfrm>
            <a:off x="7084494" y="-1500448"/>
            <a:ext cx="6485696" cy="6485696"/>
          </a:xfrm>
          <a:prstGeom prst="ellipse">
            <a:avLst/>
          </a:prstGeom>
          <a:gradFill flip="none" rotWithShape="1">
            <a:gsLst>
              <a:gs pos="100000">
                <a:srgbClr val="C0DCFD">
                  <a:alpha val="0"/>
                </a:srgbClr>
              </a:gs>
              <a:gs pos="0">
                <a:srgbClr val="620CFD">
                  <a:alpha val="28632"/>
                </a:srgbClr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9" name="Group 73">
            <a:extLst>
              <a:ext uri="{FF2B5EF4-FFF2-40B4-BE49-F238E27FC236}">
                <a16:creationId xmlns:a16="http://schemas.microsoft.com/office/drawing/2014/main" id="{35E67D2F-B7C3-B295-35E6-FC63796E3A00}"/>
              </a:ext>
            </a:extLst>
          </p:cNvPr>
          <p:cNvGrpSpPr/>
          <p:nvPr/>
        </p:nvGrpSpPr>
        <p:grpSpPr>
          <a:xfrm>
            <a:off x="-557464" y="3543847"/>
            <a:ext cx="13464284" cy="9792204"/>
            <a:chOff x="-2" y="0"/>
            <a:chExt cx="6428641" cy="6858000"/>
          </a:xfrm>
        </p:grpSpPr>
        <p:sp>
          <p:nvSpPr>
            <p:cNvPr id="30" name="Rectangle 36">
              <a:extLst>
                <a:ext uri="{FF2B5EF4-FFF2-40B4-BE49-F238E27FC236}">
                  <a16:creationId xmlns:a16="http://schemas.microsoft.com/office/drawing/2014/main" id="{6B639D09-947B-C295-89E5-D3A7FED4C562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C53A0486-4FEC-606C-49B2-3FDFBA486CDC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CB477ED-8E12-B1BF-B8A7-3C0791AD06EE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941091D-EDDA-A164-26A5-C572323EC7A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200F815-13CC-7E6B-07CF-6C3058F6FC6E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128BDE-2C15-EEFD-DC03-849CC99CC0F5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F04D5FF-393F-4F2F-7D30-44C7741775D5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7" name="Rectangle 37">
              <a:extLst>
                <a:ext uri="{FF2B5EF4-FFF2-40B4-BE49-F238E27FC236}">
                  <a16:creationId xmlns:a16="http://schemas.microsoft.com/office/drawing/2014/main" id="{E77182A8-0D9D-1D4B-7DE2-D3C02E6B9837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8" name="Rectangle 48">
              <a:extLst>
                <a:ext uri="{FF2B5EF4-FFF2-40B4-BE49-F238E27FC236}">
                  <a16:creationId xmlns:a16="http://schemas.microsoft.com/office/drawing/2014/main" id="{2D657C40-FF42-B366-A67D-3943F761017E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9" name="Rectangle 49">
              <a:extLst>
                <a:ext uri="{FF2B5EF4-FFF2-40B4-BE49-F238E27FC236}">
                  <a16:creationId xmlns:a16="http://schemas.microsoft.com/office/drawing/2014/main" id="{A4E5D924-F2E5-0073-3EFE-88569B3773E2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8E2067B-2AE3-38F9-43E7-4B95E4B09078}"/>
              </a:ext>
            </a:extLst>
          </p:cNvPr>
          <p:cNvGrpSpPr/>
          <p:nvPr/>
        </p:nvGrpSpPr>
        <p:grpSpPr>
          <a:xfrm flipV="1">
            <a:off x="15303401" y="8547715"/>
            <a:ext cx="1456851" cy="408879"/>
            <a:chOff x="611777" y="2405270"/>
            <a:chExt cx="4857016" cy="1363166"/>
          </a:xfrm>
        </p:grpSpPr>
        <p:sp>
          <p:nvSpPr>
            <p:cNvPr id="5" name="Скругленный прямоугольник 4">
              <a:extLst>
                <a:ext uri="{FF2B5EF4-FFF2-40B4-BE49-F238E27FC236}">
                  <a16:creationId xmlns:a16="http://schemas.microsoft.com/office/drawing/2014/main" id="{A7F4FB1F-7CB9-0392-E88E-05F8570BD35A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1C36F64-CC19-9AA3-6893-F3FE7D967910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На какие презентации делают ставку компании сегодня</a:t>
              </a: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19197928-64DB-9EA7-85E1-312760B10401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9AFEDB3-80B5-9A2A-AD4C-89FC4DCFFA98}"/>
              </a:ext>
            </a:extLst>
          </p:cNvPr>
          <p:cNvGrpSpPr/>
          <p:nvPr/>
        </p:nvGrpSpPr>
        <p:grpSpPr>
          <a:xfrm flipV="1">
            <a:off x="15667789" y="10092497"/>
            <a:ext cx="1456851" cy="408879"/>
            <a:chOff x="611777" y="2405270"/>
            <a:chExt cx="4857016" cy="1363166"/>
          </a:xfrm>
        </p:grpSpPr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04266423-83B6-B053-32BE-FA22D1949E9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92F0A0F-B8D9-CC2B-4135-042748D7E5ED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ый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и современный визуал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Разбираем терминологию</a:t>
              </a: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BF6A9C1A-6EA0-F8AC-74EC-7FD19A995EBC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5F9BCE64-2736-D050-26B1-B81E3AD61828}"/>
              </a:ext>
            </a:extLst>
          </p:cNvPr>
          <p:cNvGrpSpPr/>
          <p:nvPr/>
        </p:nvGrpSpPr>
        <p:grpSpPr>
          <a:xfrm flipV="1">
            <a:off x="15001953" y="11637279"/>
            <a:ext cx="1456851" cy="408879"/>
            <a:chOff x="611777" y="2405270"/>
            <a:chExt cx="4857016" cy="1363166"/>
          </a:xfrm>
        </p:grpSpPr>
        <p:sp>
          <p:nvSpPr>
            <p:cNvPr id="15" name="Скругленный прямоугольник 14">
              <a:extLst>
                <a:ext uri="{FF2B5EF4-FFF2-40B4-BE49-F238E27FC236}">
                  <a16:creationId xmlns:a16="http://schemas.microsoft.com/office/drawing/2014/main" id="{3BA1765F-B5D6-C20A-0972-59DF1A8D3A1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3006BE3-2E8B-0497-3D07-C701AF6EA6A1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Тренды дизайн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 ближайшее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5-летие </a:t>
              </a: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B87F739B-4D12-3F01-E7F6-8B2159450E25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AEDE9B22-2CD9-D79F-D8C3-683B6E11B10D}"/>
              </a:ext>
            </a:extLst>
          </p:cNvPr>
          <p:cNvGrpSpPr/>
          <p:nvPr/>
        </p:nvGrpSpPr>
        <p:grpSpPr>
          <a:xfrm flipV="1">
            <a:off x="20423132" y="8547715"/>
            <a:ext cx="1456851" cy="408879"/>
            <a:chOff x="611777" y="2405270"/>
            <a:chExt cx="4857016" cy="1363166"/>
          </a:xfrm>
        </p:grpSpPr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CF04D4B2-EFA1-1BE0-9334-A3C11FB0404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8DF981C-58D9-6EFC-B35D-28D92119103A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Азбу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ого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изуала</a:t>
              </a: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D9D36EAF-E32C-E2F6-ECE4-F55205B9259B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2A22449B-F3F2-9012-D8EB-6828B988225F}"/>
              </a:ext>
            </a:extLst>
          </p:cNvPr>
          <p:cNvGrpSpPr/>
          <p:nvPr/>
        </p:nvGrpSpPr>
        <p:grpSpPr>
          <a:xfrm flipV="1">
            <a:off x="20787520" y="10092497"/>
            <a:ext cx="1456851" cy="408879"/>
            <a:chOff x="611777" y="2405270"/>
            <a:chExt cx="4857016" cy="1363166"/>
          </a:xfrm>
        </p:grpSpPr>
        <p:sp>
          <p:nvSpPr>
            <p:cNvPr id="23" name="Скругленный прямоугольник 22">
              <a:extLst>
                <a:ext uri="{FF2B5EF4-FFF2-40B4-BE49-F238E27FC236}">
                  <a16:creationId xmlns:a16="http://schemas.microsoft.com/office/drawing/2014/main" id="{F19019FB-484B-063A-C0F1-75F5F3B3CFD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BBBBF49-432E-C74C-DF03-D20345CEDC74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Методи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оформления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слайдов на практике</a:t>
              </a: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D3399DB1-82A0-B6CF-384C-9EA39DF495AD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0AEB9D68-0AAB-CD6D-25A5-FC460F1FFE21}"/>
              </a:ext>
            </a:extLst>
          </p:cNvPr>
          <p:cNvGrpSpPr/>
          <p:nvPr/>
        </p:nvGrpSpPr>
        <p:grpSpPr>
          <a:xfrm flipV="1">
            <a:off x="20121684" y="11637279"/>
            <a:ext cx="1456851" cy="408879"/>
            <a:chOff x="611777" y="2405270"/>
            <a:chExt cx="4857016" cy="1363166"/>
          </a:xfrm>
        </p:grpSpPr>
        <p:sp>
          <p:nvSpPr>
            <p:cNvPr id="27" name="Скругленный прямоугольник 26">
              <a:extLst>
                <a:ext uri="{FF2B5EF4-FFF2-40B4-BE49-F238E27FC236}">
                  <a16:creationId xmlns:a16="http://schemas.microsoft.com/office/drawing/2014/main" id="{2A288FAD-4AD3-DE3D-94C2-865EDD5A7CE3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A8691D3-AEB8-607D-0A93-0F3654F79B76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резентации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+ </a:t>
              </a:r>
              <a:r>
                <a:rPr lang="ru-RU" sz="2000" dirty="0" err="1">
                  <a:latin typeface="Unbounded" panose="020B0305040102020103" pitchFamily="34" charset="0"/>
                  <a:cs typeface="Times New Roman" panose="02020603050405020304" pitchFamily="18" charset="0"/>
                </a:rPr>
                <a:t>ТенЧат</a:t>
              </a: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= результат</a:t>
              </a:r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9C58F58E-156F-0E6B-4B76-D9E0FBDED56F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1" name="Скругленный прямоугольник 40">
            <a:extLst>
              <a:ext uri="{FF2B5EF4-FFF2-40B4-BE49-F238E27FC236}">
                <a16:creationId xmlns:a16="http://schemas.microsoft.com/office/drawing/2014/main" id="{B2D5F329-37AC-F436-20FB-AD090F27DC43}"/>
              </a:ext>
            </a:extLst>
          </p:cNvPr>
          <p:cNvSpPr/>
          <p:nvPr/>
        </p:nvSpPr>
        <p:spPr>
          <a:xfrm>
            <a:off x="4331457" y="7486218"/>
            <a:ext cx="52098" cy="2475022"/>
          </a:xfrm>
          <a:prstGeom prst="roundRect">
            <a:avLst/>
          </a:prstGeom>
          <a:gradFill>
            <a:gsLst>
              <a:gs pos="100000">
                <a:srgbClr val="C0DCFD">
                  <a:alpha val="4267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0B03D86C-0C8C-7285-0A3C-A4E4022B6418}"/>
              </a:ext>
            </a:extLst>
          </p:cNvPr>
          <p:cNvSpPr/>
          <p:nvPr/>
        </p:nvSpPr>
        <p:spPr>
          <a:xfrm>
            <a:off x="612041" y="1307566"/>
            <a:ext cx="3539147" cy="5217059"/>
          </a:xfrm>
          <a:prstGeom prst="roundRect">
            <a:avLst>
              <a:gd name="adj" fmla="val 10818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6FF4A3-D37D-9E42-6CD4-E7F96A3F3ADB}"/>
              </a:ext>
            </a:extLst>
          </p:cNvPr>
          <p:cNvSpPr txBox="1"/>
          <p:nvPr/>
        </p:nvSpPr>
        <p:spPr>
          <a:xfrm>
            <a:off x="630518" y="751532"/>
            <a:ext cx="3412348" cy="483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1</a:t>
            </a:r>
            <a:endParaRPr lang="ru-RU" sz="2000" b="1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2FADAEE-DBC1-0E32-C25A-F2B902A696D7}"/>
              </a:ext>
            </a:extLst>
          </p:cNvPr>
          <p:cNvSpPr txBox="1"/>
          <p:nvPr/>
        </p:nvSpPr>
        <p:spPr>
          <a:xfrm>
            <a:off x="894075" y="1581949"/>
            <a:ext cx="3297640" cy="1396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оверенные структуры бизнес-презентаций 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од разные задачи</a:t>
            </a:r>
          </a:p>
        </p:txBody>
      </p:sp>
      <p:sp>
        <p:nvSpPr>
          <p:cNvPr id="47" name="Rectangle: Rounded Corners 70">
            <a:extLst>
              <a:ext uri="{FF2B5EF4-FFF2-40B4-BE49-F238E27FC236}">
                <a16:creationId xmlns:a16="http://schemas.microsoft.com/office/drawing/2014/main" id="{B757CB36-0058-A064-BCF0-2CFE89591F63}"/>
              </a:ext>
            </a:extLst>
          </p:cNvPr>
          <p:cNvSpPr/>
          <p:nvPr/>
        </p:nvSpPr>
        <p:spPr>
          <a:xfrm rot="10800000">
            <a:off x="965960" y="3243232"/>
            <a:ext cx="2752824" cy="3050061"/>
          </a:xfrm>
          <a:prstGeom prst="roundRect">
            <a:avLst>
              <a:gd name="adj" fmla="val 13536"/>
            </a:avLst>
          </a:prstGeom>
          <a:solidFill>
            <a:schemeClr val="bg1">
              <a:alpha val="10036"/>
            </a:schemeClr>
          </a:solidFill>
          <a:ln w="15875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AA1DE7CE-024A-A818-C56B-9FF6157E666B}"/>
              </a:ext>
            </a:extLst>
          </p:cNvPr>
          <p:cNvSpPr/>
          <p:nvPr/>
        </p:nvSpPr>
        <p:spPr>
          <a:xfrm>
            <a:off x="818980" y="3233093"/>
            <a:ext cx="3105632" cy="57135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Unbounded" panose="020B0305040102020103" pitchFamily="34" charset="0"/>
              </a:rPr>
              <a:t>antonovlad.com</a:t>
            </a:r>
            <a:r>
              <a:rPr lang="e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" panose="020B0305040102020103" pitchFamily="34" charset="0"/>
              </a:rPr>
              <a:t>/blog</a:t>
            </a:r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latin typeface="Unbounded" panose="020B0305040102020103" pitchFamily="34" charset="0"/>
            </a:endParaRPr>
          </a:p>
        </p:txBody>
      </p:sp>
      <p:grpSp>
        <p:nvGrpSpPr>
          <p:cNvPr id="524" name="Группа 523">
            <a:extLst>
              <a:ext uri="{FF2B5EF4-FFF2-40B4-BE49-F238E27FC236}">
                <a16:creationId xmlns:a16="http://schemas.microsoft.com/office/drawing/2014/main" id="{78C0E030-A6E3-DA9F-F990-A2A216159788}"/>
              </a:ext>
            </a:extLst>
          </p:cNvPr>
          <p:cNvGrpSpPr/>
          <p:nvPr/>
        </p:nvGrpSpPr>
        <p:grpSpPr>
          <a:xfrm>
            <a:off x="4462156" y="751532"/>
            <a:ext cx="3579674" cy="5773093"/>
            <a:chOff x="4462156" y="751532"/>
            <a:chExt cx="3579674" cy="5773093"/>
          </a:xfrm>
        </p:grpSpPr>
        <p:sp>
          <p:nvSpPr>
            <p:cNvPr id="71" name="Скругленный прямоугольник 70">
              <a:extLst>
                <a:ext uri="{FF2B5EF4-FFF2-40B4-BE49-F238E27FC236}">
                  <a16:creationId xmlns:a16="http://schemas.microsoft.com/office/drawing/2014/main" id="{1589DAC4-9F52-365E-0E98-144DC338673C}"/>
                </a:ext>
              </a:extLst>
            </p:cNvPr>
            <p:cNvSpPr/>
            <p:nvPr/>
          </p:nvSpPr>
          <p:spPr>
            <a:xfrm>
              <a:off x="4462156" y="1307566"/>
              <a:ext cx="3539147" cy="5217059"/>
            </a:xfrm>
            <a:prstGeom prst="roundRect">
              <a:avLst>
                <a:gd name="adj" fmla="val 10818"/>
              </a:avLst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F34241FC-F1AF-8326-4C3D-884E8880D9EB}"/>
                </a:ext>
              </a:extLst>
            </p:cNvPr>
            <p:cNvSpPr txBox="1"/>
            <p:nvPr/>
          </p:nvSpPr>
          <p:spPr>
            <a:xfrm>
              <a:off x="4480633" y="751532"/>
              <a:ext cx="3412348" cy="4838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ru-RU" sz="2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БОНУС </a:t>
              </a:r>
              <a:r>
                <a:rPr lang="en-US" sz="2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#2</a:t>
              </a:r>
              <a:endPara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B588D8B3-5206-C001-9BF4-F78C15B8C15E}"/>
                </a:ext>
              </a:extLst>
            </p:cNvPr>
            <p:cNvSpPr txBox="1"/>
            <p:nvPr/>
          </p:nvSpPr>
          <p:spPr>
            <a:xfrm>
              <a:off x="4744190" y="1581949"/>
              <a:ext cx="3297640" cy="1396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dirty="0">
                  <a:solidFill>
                    <a:schemeClr val="bg1"/>
                  </a:solidFill>
                  <a:latin typeface="Unbounded" panose="020B0305040102020103" pitchFamily="34" charset="0"/>
                  <a:cs typeface="Times New Roman" panose="02020603050405020304" pitchFamily="18" charset="0"/>
                </a:rPr>
                <a:t>Как эффективно</a:t>
              </a:r>
              <a:br>
                <a:rPr lang="ru-RU" dirty="0">
                  <a:solidFill>
                    <a:schemeClr val="bg1"/>
                  </a:solidFill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dirty="0">
                  <a:solidFill>
                    <a:schemeClr val="bg1"/>
                  </a:solidFill>
                  <a:latin typeface="Unbounded" panose="020B0305040102020103" pitchFamily="34" charset="0"/>
                  <a:cs typeface="Times New Roman" panose="02020603050405020304" pitchFamily="18" charset="0"/>
                </a:rPr>
                <a:t>применять презентации</a:t>
              </a:r>
              <a:br>
                <a:rPr lang="ru-RU" dirty="0">
                  <a:solidFill>
                    <a:schemeClr val="bg1"/>
                  </a:solidFill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dirty="0">
                  <a:solidFill>
                    <a:schemeClr val="bg1"/>
                  </a:solidFill>
                  <a:latin typeface="Unbounded" panose="020B0305040102020103" pitchFamily="34" charset="0"/>
                  <a:cs typeface="Times New Roman" panose="02020603050405020304" pitchFamily="18" charset="0"/>
                </a:rPr>
                <a:t>компании сегодня</a:t>
              </a:r>
            </a:p>
          </p:txBody>
        </p:sp>
        <p:grpSp>
          <p:nvGrpSpPr>
            <p:cNvPr id="75" name="Группа 74">
              <a:extLst>
                <a:ext uri="{FF2B5EF4-FFF2-40B4-BE49-F238E27FC236}">
                  <a16:creationId xmlns:a16="http://schemas.microsoft.com/office/drawing/2014/main" id="{71DBA9A9-074A-FBD7-F48A-0ACBD21A2225}"/>
                </a:ext>
              </a:extLst>
            </p:cNvPr>
            <p:cNvGrpSpPr/>
            <p:nvPr/>
          </p:nvGrpSpPr>
          <p:grpSpPr>
            <a:xfrm>
              <a:off x="4669095" y="3233093"/>
              <a:ext cx="3105632" cy="3060200"/>
              <a:chOff x="1100253" y="3123154"/>
              <a:chExt cx="3105632" cy="3060200"/>
            </a:xfrm>
          </p:grpSpPr>
          <p:sp>
            <p:nvSpPr>
              <p:cNvPr id="76" name="Rectangle: Rounded Corners 70">
                <a:extLst>
                  <a:ext uri="{FF2B5EF4-FFF2-40B4-BE49-F238E27FC236}">
                    <a16:creationId xmlns:a16="http://schemas.microsoft.com/office/drawing/2014/main" id="{D9593CDC-2A09-EE7C-97D0-5086CCE01681}"/>
                  </a:ext>
                </a:extLst>
              </p:cNvPr>
              <p:cNvSpPr/>
              <p:nvPr/>
            </p:nvSpPr>
            <p:spPr>
              <a:xfrm rot="10800000">
                <a:off x="1247233" y="3133293"/>
                <a:ext cx="2752824" cy="3050061"/>
              </a:xfrm>
              <a:prstGeom prst="roundRect">
                <a:avLst>
                  <a:gd name="adj" fmla="val 13536"/>
                </a:avLst>
              </a:prstGeom>
              <a:solidFill>
                <a:schemeClr val="bg1">
                  <a:alpha val="10036"/>
                </a:schemeClr>
              </a:solidFill>
              <a:ln w="15875">
                <a:solidFill>
                  <a:schemeClr val="bg1"/>
                </a:solidFill>
                <a:round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rgbClr val="435368"/>
                  </a:solidFill>
                </a:endParaRPr>
              </a:p>
            </p:txBody>
          </p:sp>
          <p:sp>
            <p:nvSpPr>
              <p:cNvPr id="77" name="Скругленный прямоугольник 76">
                <a:extLst>
                  <a:ext uri="{FF2B5EF4-FFF2-40B4-BE49-F238E27FC236}">
                    <a16:creationId xmlns:a16="http://schemas.microsoft.com/office/drawing/2014/main" id="{9AD026F2-7594-03EB-243F-D0E47280164F}"/>
                  </a:ext>
                </a:extLst>
              </p:cNvPr>
              <p:cNvSpPr/>
              <p:nvPr/>
            </p:nvSpPr>
            <p:spPr>
              <a:xfrm>
                <a:off x="1100253" y="3123154"/>
                <a:ext cx="3105632" cy="571358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Unbounded" panose="020B0305040102020103" pitchFamily="34" charset="0"/>
                  </a:rPr>
                  <a:t>https://</a:t>
                </a:r>
                <a:r>
                  <a:rPr lang="en" sz="1600" dirty="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Unbounded" panose="020B0305040102020103" pitchFamily="34" charset="0"/>
                  </a:rPr>
                  <a:t>goo.su</a:t>
                </a:r>
                <a:r>
                  <a:rPr lang="en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Unbounded" panose="020B0305040102020103" pitchFamily="34" charset="0"/>
                  </a:rPr>
                  <a:t>/bon_1</a:t>
                </a:r>
                <a:endPara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" panose="020B0305040102020103" pitchFamily="34" charset="0"/>
                </a:endParaRPr>
              </a:p>
            </p:txBody>
          </p:sp>
          <p:grpSp>
            <p:nvGrpSpPr>
              <p:cNvPr id="78" name="Рисунок 167">
                <a:extLst>
                  <a:ext uri="{FF2B5EF4-FFF2-40B4-BE49-F238E27FC236}">
                    <a16:creationId xmlns:a16="http://schemas.microsoft.com/office/drawing/2014/main" id="{27CF889F-0443-5623-8C25-E768BE48636B}"/>
                  </a:ext>
                </a:extLst>
              </p:cNvPr>
              <p:cNvGrpSpPr/>
              <p:nvPr/>
            </p:nvGrpSpPr>
            <p:grpSpPr>
              <a:xfrm>
                <a:off x="1644213" y="4007606"/>
                <a:ext cx="1883766" cy="1883766"/>
                <a:chOff x="1252377" y="3901076"/>
                <a:chExt cx="2279357" cy="2279357"/>
              </a:xfrm>
              <a:solidFill>
                <a:schemeClr val="bg1"/>
              </a:solidFill>
            </p:grpSpPr>
            <p:sp>
              <p:nvSpPr>
                <p:cNvPr id="79" name="Полилиния 78">
                  <a:extLst>
                    <a:ext uri="{FF2B5EF4-FFF2-40B4-BE49-F238E27FC236}">
                      <a16:creationId xmlns:a16="http://schemas.microsoft.com/office/drawing/2014/main" id="{4FE12D17-6DC2-5BC6-8AD4-DE35244AFC75}"/>
                    </a:ext>
                  </a:extLst>
                </p:cNvPr>
                <p:cNvSpPr/>
                <p:nvPr/>
              </p:nvSpPr>
              <p:spPr>
                <a:xfrm rot="-5400000">
                  <a:off x="1434726" y="5724562"/>
                  <a:ext cx="273522" cy="273522"/>
                </a:xfrm>
                <a:custGeom>
                  <a:avLst/>
                  <a:gdLst>
                    <a:gd name="connsiteX0" fmla="*/ 273523 w 273522"/>
                    <a:gd name="connsiteY0" fmla="*/ 136761 h 273522"/>
                    <a:gd name="connsiteX1" fmla="*/ 136761 w 273522"/>
                    <a:gd name="connsiteY1" fmla="*/ 273523 h 273522"/>
                    <a:gd name="connsiteX2" fmla="*/ 0 w 273522"/>
                    <a:gd name="connsiteY2" fmla="*/ 136761 h 273522"/>
                    <a:gd name="connsiteX3" fmla="*/ 136761 w 273522"/>
                    <a:gd name="connsiteY3" fmla="*/ 0 h 273522"/>
                    <a:gd name="connsiteX4" fmla="*/ 273523 w 273522"/>
                    <a:gd name="connsiteY4" fmla="*/ 136761 h 273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3522" h="273522">
                      <a:moveTo>
                        <a:pt x="273523" y="136761"/>
                      </a:moveTo>
                      <a:cubicBezTo>
                        <a:pt x="273523" y="212293"/>
                        <a:pt x="212293" y="273523"/>
                        <a:pt x="136761" y="273523"/>
                      </a:cubicBezTo>
                      <a:cubicBezTo>
                        <a:pt x="61230" y="273523"/>
                        <a:pt x="0" y="212293"/>
                        <a:pt x="0" y="136761"/>
                      </a:cubicBezTo>
                      <a:cubicBezTo>
                        <a:pt x="0" y="61230"/>
                        <a:pt x="61230" y="0"/>
                        <a:pt x="136761" y="0"/>
                      </a:cubicBezTo>
                      <a:cubicBezTo>
                        <a:pt x="212293" y="0"/>
                        <a:pt x="273523" y="61230"/>
                        <a:pt x="273523" y="136761"/>
                      </a:cubicBez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" name="Полилиния 79">
                  <a:extLst>
                    <a:ext uri="{FF2B5EF4-FFF2-40B4-BE49-F238E27FC236}">
                      <a16:creationId xmlns:a16="http://schemas.microsoft.com/office/drawing/2014/main" id="{37720CF3-754E-1091-F8B9-8C9386B74DF3}"/>
                    </a:ext>
                  </a:extLst>
                </p:cNvPr>
                <p:cNvSpPr/>
                <p:nvPr/>
              </p:nvSpPr>
              <p:spPr>
                <a:xfrm rot="-5400000">
                  <a:off x="1252377" y="5542214"/>
                  <a:ext cx="638220" cy="638220"/>
                </a:xfrm>
                <a:custGeom>
                  <a:avLst/>
                  <a:gdLst>
                    <a:gd name="connsiteX0" fmla="*/ 0 w 638220"/>
                    <a:gd name="connsiteY0" fmla="*/ 227936 h 638220"/>
                    <a:gd name="connsiteX1" fmla="*/ 0 w 638220"/>
                    <a:gd name="connsiteY1" fmla="*/ 410284 h 638220"/>
                    <a:gd name="connsiteX2" fmla="*/ 227936 w 638220"/>
                    <a:gd name="connsiteY2" fmla="*/ 638220 h 638220"/>
                    <a:gd name="connsiteX3" fmla="*/ 410284 w 638220"/>
                    <a:gd name="connsiteY3" fmla="*/ 638220 h 638220"/>
                    <a:gd name="connsiteX4" fmla="*/ 638220 w 638220"/>
                    <a:gd name="connsiteY4" fmla="*/ 410284 h 638220"/>
                    <a:gd name="connsiteX5" fmla="*/ 638220 w 638220"/>
                    <a:gd name="connsiteY5" fmla="*/ 227936 h 638220"/>
                    <a:gd name="connsiteX6" fmla="*/ 410284 w 638220"/>
                    <a:gd name="connsiteY6" fmla="*/ 0 h 638220"/>
                    <a:gd name="connsiteX7" fmla="*/ 227936 w 638220"/>
                    <a:gd name="connsiteY7" fmla="*/ 0 h 638220"/>
                    <a:gd name="connsiteX8" fmla="*/ 0 w 638220"/>
                    <a:gd name="connsiteY8" fmla="*/ 227936 h 638220"/>
                    <a:gd name="connsiteX9" fmla="*/ 227936 w 638220"/>
                    <a:gd name="connsiteY9" fmla="*/ 91174 h 638220"/>
                    <a:gd name="connsiteX10" fmla="*/ 410284 w 638220"/>
                    <a:gd name="connsiteY10" fmla="*/ 91174 h 638220"/>
                    <a:gd name="connsiteX11" fmla="*/ 547046 w 638220"/>
                    <a:gd name="connsiteY11" fmla="*/ 227936 h 638220"/>
                    <a:gd name="connsiteX12" fmla="*/ 547046 w 638220"/>
                    <a:gd name="connsiteY12" fmla="*/ 410284 h 638220"/>
                    <a:gd name="connsiteX13" fmla="*/ 410284 w 638220"/>
                    <a:gd name="connsiteY13" fmla="*/ 547046 h 638220"/>
                    <a:gd name="connsiteX14" fmla="*/ 227936 w 638220"/>
                    <a:gd name="connsiteY14" fmla="*/ 547046 h 638220"/>
                    <a:gd name="connsiteX15" fmla="*/ 91174 w 638220"/>
                    <a:gd name="connsiteY15" fmla="*/ 410284 h 638220"/>
                    <a:gd name="connsiteX16" fmla="*/ 91174 w 638220"/>
                    <a:gd name="connsiteY16" fmla="*/ 227936 h 638220"/>
                    <a:gd name="connsiteX17" fmla="*/ 227936 w 638220"/>
                    <a:gd name="connsiteY17" fmla="*/ 91174 h 638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638220" h="638220">
                      <a:moveTo>
                        <a:pt x="0" y="227936"/>
                      </a:moveTo>
                      <a:lnTo>
                        <a:pt x="0" y="410284"/>
                      </a:lnTo>
                      <a:cubicBezTo>
                        <a:pt x="0" y="536170"/>
                        <a:pt x="102050" y="638220"/>
                        <a:pt x="227936" y="638220"/>
                      </a:cubicBezTo>
                      <a:lnTo>
                        <a:pt x="410284" y="638220"/>
                      </a:lnTo>
                      <a:cubicBezTo>
                        <a:pt x="536170" y="638220"/>
                        <a:pt x="638220" y="536170"/>
                        <a:pt x="638220" y="410284"/>
                      </a:cubicBezTo>
                      <a:lnTo>
                        <a:pt x="638220" y="227936"/>
                      </a:lnTo>
                      <a:cubicBezTo>
                        <a:pt x="638220" y="102050"/>
                        <a:pt x="536170" y="0"/>
                        <a:pt x="410284" y="0"/>
                      </a:cubicBezTo>
                      <a:lnTo>
                        <a:pt x="227936" y="0"/>
                      </a:lnTo>
                      <a:cubicBezTo>
                        <a:pt x="102050" y="0"/>
                        <a:pt x="0" y="102050"/>
                        <a:pt x="0" y="227936"/>
                      </a:cubicBezTo>
                      <a:moveTo>
                        <a:pt x="227936" y="91174"/>
                      </a:moveTo>
                      <a:lnTo>
                        <a:pt x="410284" y="91174"/>
                      </a:lnTo>
                      <a:cubicBezTo>
                        <a:pt x="485816" y="91174"/>
                        <a:pt x="547046" y="152405"/>
                        <a:pt x="547046" y="227936"/>
                      </a:cubicBezTo>
                      <a:lnTo>
                        <a:pt x="547046" y="410284"/>
                      </a:lnTo>
                      <a:cubicBezTo>
                        <a:pt x="547046" y="485816"/>
                        <a:pt x="485816" y="547046"/>
                        <a:pt x="410284" y="547046"/>
                      </a:cubicBezTo>
                      <a:lnTo>
                        <a:pt x="227936" y="547046"/>
                      </a:lnTo>
                      <a:cubicBezTo>
                        <a:pt x="152405" y="547046"/>
                        <a:pt x="91174" y="485816"/>
                        <a:pt x="91174" y="410284"/>
                      </a:cubicBezTo>
                      <a:lnTo>
                        <a:pt x="91174" y="227936"/>
                      </a:lnTo>
                      <a:cubicBezTo>
                        <a:pt x="91174" y="152405"/>
                        <a:pt x="152405" y="91174"/>
                        <a:pt x="227936" y="91174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" name="Полилиния 80">
                  <a:extLst>
                    <a:ext uri="{FF2B5EF4-FFF2-40B4-BE49-F238E27FC236}">
                      <a16:creationId xmlns:a16="http://schemas.microsoft.com/office/drawing/2014/main" id="{7D31FE4C-49F1-E80E-0FF3-684310C719D1}"/>
                    </a:ext>
                  </a:extLst>
                </p:cNvPr>
                <p:cNvSpPr/>
                <p:nvPr/>
              </p:nvSpPr>
              <p:spPr>
                <a:xfrm rot="5400000">
                  <a:off x="3075863" y="4083425"/>
                  <a:ext cx="273522" cy="273522"/>
                </a:xfrm>
                <a:custGeom>
                  <a:avLst/>
                  <a:gdLst>
                    <a:gd name="connsiteX0" fmla="*/ 273523 w 273522"/>
                    <a:gd name="connsiteY0" fmla="*/ 136761 h 273522"/>
                    <a:gd name="connsiteX1" fmla="*/ 136761 w 273522"/>
                    <a:gd name="connsiteY1" fmla="*/ 273523 h 273522"/>
                    <a:gd name="connsiteX2" fmla="*/ 0 w 273522"/>
                    <a:gd name="connsiteY2" fmla="*/ 136761 h 273522"/>
                    <a:gd name="connsiteX3" fmla="*/ 136761 w 273522"/>
                    <a:gd name="connsiteY3" fmla="*/ 0 h 273522"/>
                    <a:gd name="connsiteX4" fmla="*/ 273523 w 273522"/>
                    <a:gd name="connsiteY4" fmla="*/ 136761 h 273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3522" h="273522">
                      <a:moveTo>
                        <a:pt x="273523" y="136761"/>
                      </a:moveTo>
                      <a:cubicBezTo>
                        <a:pt x="273523" y="212293"/>
                        <a:pt x="212293" y="273523"/>
                        <a:pt x="136761" y="273523"/>
                      </a:cubicBezTo>
                      <a:cubicBezTo>
                        <a:pt x="61230" y="273523"/>
                        <a:pt x="0" y="212293"/>
                        <a:pt x="0" y="136761"/>
                      </a:cubicBezTo>
                      <a:cubicBezTo>
                        <a:pt x="0" y="61230"/>
                        <a:pt x="61230" y="0"/>
                        <a:pt x="136761" y="0"/>
                      </a:cubicBezTo>
                      <a:cubicBezTo>
                        <a:pt x="212293" y="0"/>
                        <a:pt x="273523" y="61230"/>
                        <a:pt x="273523" y="136761"/>
                      </a:cubicBez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" name="Полилиния 81">
                  <a:extLst>
                    <a:ext uri="{FF2B5EF4-FFF2-40B4-BE49-F238E27FC236}">
                      <a16:creationId xmlns:a16="http://schemas.microsoft.com/office/drawing/2014/main" id="{B0FE8C13-A283-EF8D-BE73-01B452AC2927}"/>
                    </a:ext>
                  </a:extLst>
                </p:cNvPr>
                <p:cNvSpPr/>
                <p:nvPr/>
              </p:nvSpPr>
              <p:spPr>
                <a:xfrm rot="5400000">
                  <a:off x="2893515" y="3901076"/>
                  <a:ext cx="638220" cy="638220"/>
                </a:xfrm>
                <a:custGeom>
                  <a:avLst/>
                  <a:gdLst>
                    <a:gd name="connsiteX0" fmla="*/ 0 w 638220"/>
                    <a:gd name="connsiteY0" fmla="*/ 227936 h 638220"/>
                    <a:gd name="connsiteX1" fmla="*/ 0 w 638220"/>
                    <a:gd name="connsiteY1" fmla="*/ 410284 h 638220"/>
                    <a:gd name="connsiteX2" fmla="*/ 227936 w 638220"/>
                    <a:gd name="connsiteY2" fmla="*/ 638220 h 638220"/>
                    <a:gd name="connsiteX3" fmla="*/ 410284 w 638220"/>
                    <a:gd name="connsiteY3" fmla="*/ 638220 h 638220"/>
                    <a:gd name="connsiteX4" fmla="*/ 638220 w 638220"/>
                    <a:gd name="connsiteY4" fmla="*/ 410284 h 638220"/>
                    <a:gd name="connsiteX5" fmla="*/ 638220 w 638220"/>
                    <a:gd name="connsiteY5" fmla="*/ 227936 h 638220"/>
                    <a:gd name="connsiteX6" fmla="*/ 410284 w 638220"/>
                    <a:gd name="connsiteY6" fmla="*/ 0 h 638220"/>
                    <a:gd name="connsiteX7" fmla="*/ 227936 w 638220"/>
                    <a:gd name="connsiteY7" fmla="*/ 0 h 638220"/>
                    <a:gd name="connsiteX8" fmla="*/ 0 w 638220"/>
                    <a:gd name="connsiteY8" fmla="*/ 227936 h 638220"/>
                    <a:gd name="connsiteX9" fmla="*/ 227936 w 638220"/>
                    <a:gd name="connsiteY9" fmla="*/ 91174 h 638220"/>
                    <a:gd name="connsiteX10" fmla="*/ 410284 w 638220"/>
                    <a:gd name="connsiteY10" fmla="*/ 91174 h 638220"/>
                    <a:gd name="connsiteX11" fmla="*/ 547046 w 638220"/>
                    <a:gd name="connsiteY11" fmla="*/ 227936 h 638220"/>
                    <a:gd name="connsiteX12" fmla="*/ 547046 w 638220"/>
                    <a:gd name="connsiteY12" fmla="*/ 410284 h 638220"/>
                    <a:gd name="connsiteX13" fmla="*/ 410284 w 638220"/>
                    <a:gd name="connsiteY13" fmla="*/ 547046 h 638220"/>
                    <a:gd name="connsiteX14" fmla="*/ 227936 w 638220"/>
                    <a:gd name="connsiteY14" fmla="*/ 547046 h 638220"/>
                    <a:gd name="connsiteX15" fmla="*/ 91174 w 638220"/>
                    <a:gd name="connsiteY15" fmla="*/ 410284 h 638220"/>
                    <a:gd name="connsiteX16" fmla="*/ 91174 w 638220"/>
                    <a:gd name="connsiteY16" fmla="*/ 227936 h 638220"/>
                    <a:gd name="connsiteX17" fmla="*/ 227936 w 638220"/>
                    <a:gd name="connsiteY17" fmla="*/ 91174 h 638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638220" h="638220">
                      <a:moveTo>
                        <a:pt x="0" y="227936"/>
                      </a:moveTo>
                      <a:lnTo>
                        <a:pt x="0" y="410284"/>
                      </a:lnTo>
                      <a:cubicBezTo>
                        <a:pt x="0" y="536170"/>
                        <a:pt x="102050" y="638220"/>
                        <a:pt x="227936" y="638220"/>
                      </a:cubicBezTo>
                      <a:lnTo>
                        <a:pt x="410284" y="638220"/>
                      </a:lnTo>
                      <a:cubicBezTo>
                        <a:pt x="536170" y="638220"/>
                        <a:pt x="638220" y="536170"/>
                        <a:pt x="638220" y="410284"/>
                      </a:cubicBezTo>
                      <a:lnTo>
                        <a:pt x="638220" y="227936"/>
                      </a:lnTo>
                      <a:cubicBezTo>
                        <a:pt x="638220" y="102050"/>
                        <a:pt x="536170" y="0"/>
                        <a:pt x="410284" y="0"/>
                      </a:cubicBezTo>
                      <a:lnTo>
                        <a:pt x="227936" y="0"/>
                      </a:lnTo>
                      <a:cubicBezTo>
                        <a:pt x="102050" y="0"/>
                        <a:pt x="0" y="102050"/>
                        <a:pt x="0" y="227936"/>
                      </a:cubicBezTo>
                      <a:moveTo>
                        <a:pt x="227936" y="91174"/>
                      </a:moveTo>
                      <a:lnTo>
                        <a:pt x="410284" y="91174"/>
                      </a:lnTo>
                      <a:cubicBezTo>
                        <a:pt x="485816" y="91174"/>
                        <a:pt x="547046" y="152405"/>
                        <a:pt x="547046" y="227936"/>
                      </a:cubicBezTo>
                      <a:lnTo>
                        <a:pt x="547046" y="410284"/>
                      </a:lnTo>
                      <a:cubicBezTo>
                        <a:pt x="547046" y="485816"/>
                        <a:pt x="485816" y="547046"/>
                        <a:pt x="410284" y="547046"/>
                      </a:cubicBezTo>
                      <a:lnTo>
                        <a:pt x="227936" y="547046"/>
                      </a:lnTo>
                      <a:cubicBezTo>
                        <a:pt x="152405" y="547046"/>
                        <a:pt x="91174" y="485816"/>
                        <a:pt x="91174" y="410284"/>
                      </a:cubicBezTo>
                      <a:lnTo>
                        <a:pt x="91174" y="227936"/>
                      </a:lnTo>
                      <a:cubicBezTo>
                        <a:pt x="91174" y="152405"/>
                        <a:pt x="152405" y="91174"/>
                        <a:pt x="227936" y="91174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" name="Полилиния 82">
                  <a:extLst>
                    <a:ext uri="{FF2B5EF4-FFF2-40B4-BE49-F238E27FC236}">
                      <a16:creationId xmlns:a16="http://schemas.microsoft.com/office/drawing/2014/main" id="{4766EB68-C193-0135-87AC-CA6E5011CB22}"/>
                    </a:ext>
                  </a:extLst>
                </p:cNvPr>
                <p:cNvSpPr/>
                <p:nvPr/>
              </p:nvSpPr>
              <p:spPr>
                <a:xfrm>
                  <a:off x="1434726" y="4083425"/>
                  <a:ext cx="273522" cy="273522"/>
                </a:xfrm>
                <a:custGeom>
                  <a:avLst/>
                  <a:gdLst>
                    <a:gd name="connsiteX0" fmla="*/ 273523 w 273522"/>
                    <a:gd name="connsiteY0" fmla="*/ 136761 h 273522"/>
                    <a:gd name="connsiteX1" fmla="*/ 136761 w 273522"/>
                    <a:gd name="connsiteY1" fmla="*/ 273523 h 273522"/>
                    <a:gd name="connsiteX2" fmla="*/ 0 w 273522"/>
                    <a:gd name="connsiteY2" fmla="*/ 136761 h 273522"/>
                    <a:gd name="connsiteX3" fmla="*/ 136761 w 273522"/>
                    <a:gd name="connsiteY3" fmla="*/ 0 h 273522"/>
                    <a:gd name="connsiteX4" fmla="*/ 273523 w 273522"/>
                    <a:gd name="connsiteY4" fmla="*/ 136761 h 273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3522" h="273522">
                      <a:moveTo>
                        <a:pt x="273523" y="136761"/>
                      </a:moveTo>
                      <a:cubicBezTo>
                        <a:pt x="273523" y="212293"/>
                        <a:pt x="212293" y="273523"/>
                        <a:pt x="136761" y="273523"/>
                      </a:cubicBezTo>
                      <a:cubicBezTo>
                        <a:pt x="61230" y="273523"/>
                        <a:pt x="0" y="212293"/>
                        <a:pt x="0" y="136761"/>
                      </a:cubicBezTo>
                      <a:cubicBezTo>
                        <a:pt x="0" y="61230"/>
                        <a:pt x="61230" y="0"/>
                        <a:pt x="136761" y="0"/>
                      </a:cubicBezTo>
                      <a:cubicBezTo>
                        <a:pt x="212293" y="0"/>
                        <a:pt x="273523" y="61230"/>
                        <a:pt x="273523" y="136761"/>
                      </a:cubicBez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" name="Полилиния 83">
                  <a:extLst>
                    <a:ext uri="{FF2B5EF4-FFF2-40B4-BE49-F238E27FC236}">
                      <a16:creationId xmlns:a16="http://schemas.microsoft.com/office/drawing/2014/main" id="{85191322-414B-20A8-5DC8-E1BD45F62051}"/>
                    </a:ext>
                  </a:extLst>
                </p:cNvPr>
                <p:cNvSpPr/>
                <p:nvPr/>
              </p:nvSpPr>
              <p:spPr>
                <a:xfrm>
                  <a:off x="1252377" y="3901076"/>
                  <a:ext cx="638220" cy="638220"/>
                </a:xfrm>
                <a:custGeom>
                  <a:avLst/>
                  <a:gdLst>
                    <a:gd name="connsiteX0" fmla="*/ 0 w 638220"/>
                    <a:gd name="connsiteY0" fmla="*/ 227936 h 638220"/>
                    <a:gd name="connsiteX1" fmla="*/ 0 w 638220"/>
                    <a:gd name="connsiteY1" fmla="*/ 410284 h 638220"/>
                    <a:gd name="connsiteX2" fmla="*/ 227936 w 638220"/>
                    <a:gd name="connsiteY2" fmla="*/ 638220 h 638220"/>
                    <a:gd name="connsiteX3" fmla="*/ 410284 w 638220"/>
                    <a:gd name="connsiteY3" fmla="*/ 638220 h 638220"/>
                    <a:gd name="connsiteX4" fmla="*/ 638220 w 638220"/>
                    <a:gd name="connsiteY4" fmla="*/ 410284 h 638220"/>
                    <a:gd name="connsiteX5" fmla="*/ 638220 w 638220"/>
                    <a:gd name="connsiteY5" fmla="*/ 227936 h 638220"/>
                    <a:gd name="connsiteX6" fmla="*/ 410284 w 638220"/>
                    <a:gd name="connsiteY6" fmla="*/ 0 h 638220"/>
                    <a:gd name="connsiteX7" fmla="*/ 227936 w 638220"/>
                    <a:gd name="connsiteY7" fmla="*/ 0 h 638220"/>
                    <a:gd name="connsiteX8" fmla="*/ 0 w 638220"/>
                    <a:gd name="connsiteY8" fmla="*/ 227936 h 638220"/>
                    <a:gd name="connsiteX9" fmla="*/ 227936 w 638220"/>
                    <a:gd name="connsiteY9" fmla="*/ 91174 h 638220"/>
                    <a:gd name="connsiteX10" fmla="*/ 410284 w 638220"/>
                    <a:gd name="connsiteY10" fmla="*/ 91174 h 638220"/>
                    <a:gd name="connsiteX11" fmla="*/ 547046 w 638220"/>
                    <a:gd name="connsiteY11" fmla="*/ 227936 h 638220"/>
                    <a:gd name="connsiteX12" fmla="*/ 547046 w 638220"/>
                    <a:gd name="connsiteY12" fmla="*/ 410284 h 638220"/>
                    <a:gd name="connsiteX13" fmla="*/ 410284 w 638220"/>
                    <a:gd name="connsiteY13" fmla="*/ 547046 h 638220"/>
                    <a:gd name="connsiteX14" fmla="*/ 227936 w 638220"/>
                    <a:gd name="connsiteY14" fmla="*/ 547046 h 638220"/>
                    <a:gd name="connsiteX15" fmla="*/ 91174 w 638220"/>
                    <a:gd name="connsiteY15" fmla="*/ 410284 h 638220"/>
                    <a:gd name="connsiteX16" fmla="*/ 91174 w 638220"/>
                    <a:gd name="connsiteY16" fmla="*/ 227936 h 638220"/>
                    <a:gd name="connsiteX17" fmla="*/ 227936 w 638220"/>
                    <a:gd name="connsiteY17" fmla="*/ 91174 h 638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638220" h="638220">
                      <a:moveTo>
                        <a:pt x="0" y="227936"/>
                      </a:moveTo>
                      <a:lnTo>
                        <a:pt x="0" y="410284"/>
                      </a:lnTo>
                      <a:cubicBezTo>
                        <a:pt x="0" y="536170"/>
                        <a:pt x="102050" y="638220"/>
                        <a:pt x="227936" y="638220"/>
                      </a:cubicBezTo>
                      <a:lnTo>
                        <a:pt x="410284" y="638220"/>
                      </a:lnTo>
                      <a:cubicBezTo>
                        <a:pt x="536170" y="638220"/>
                        <a:pt x="638220" y="536170"/>
                        <a:pt x="638220" y="410284"/>
                      </a:cubicBezTo>
                      <a:lnTo>
                        <a:pt x="638220" y="227936"/>
                      </a:lnTo>
                      <a:cubicBezTo>
                        <a:pt x="638220" y="102050"/>
                        <a:pt x="536170" y="0"/>
                        <a:pt x="410284" y="0"/>
                      </a:cubicBezTo>
                      <a:lnTo>
                        <a:pt x="227936" y="0"/>
                      </a:lnTo>
                      <a:cubicBezTo>
                        <a:pt x="102050" y="0"/>
                        <a:pt x="0" y="102050"/>
                        <a:pt x="0" y="227936"/>
                      </a:cubicBezTo>
                      <a:moveTo>
                        <a:pt x="227936" y="91174"/>
                      </a:moveTo>
                      <a:lnTo>
                        <a:pt x="410284" y="91174"/>
                      </a:lnTo>
                      <a:cubicBezTo>
                        <a:pt x="485816" y="91174"/>
                        <a:pt x="547046" y="152405"/>
                        <a:pt x="547046" y="227936"/>
                      </a:cubicBezTo>
                      <a:lnTo>
                        <a:pt x="547046" y="410284"/>
                      </a:lnTo>
                      <a:cubicBezTo>
                        <a:pt x="547046" y="485816"/>
                        <a:pt x="485816" y="547046"/>
                        <a:pt x="410284" y="547046"/>
                      </a:cubicBezTo>
                      <a:lnTo>
                        <a:pt x="227936" y="547046"/>
                      </a:lnTo>
                      <a:cubicBezTo>
                        <a:pt x="152405" y="547046"/>
                        <a:pt x="91174" y="485816"/>
                        <a:pt x="91174" y="410284"/>
                      </a:cubicBezTo>
                      <a:lnTo>
                        <a:pt x="91174" y="227936"/>
                      </a:lnTo>
                      <a:cubicBezTo>
                        <a:pt x="91174" y="152405"/>
                        <a:pt x="152405" y="91174"/>
                        <a:pt x="227936" y="91174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" name="Полилиния 84">
                  <a:extLst>
                    <a:ext uri="{FF2B5EF4-FFF2-40B4-BE49-F238E27FC236}">
                      <a16:creationId xmlns:a16="http://schemas.microsoft.com/office/drawing/2014/main" id="{EB7F8C7F-E6B1-DA42-21DC-66F0B3A2DB7D}"/>
                    </a:ext>
                  </a:extLst>
                </p:cNvPr>
                <p:cNvSpPr/>
                <p:nvPr/>
              </p:nvSpPr>
              <p:spPr>
                <a:xfrm rot="-5400000">
                  <a:off x="2346469" y="390107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" name="Полилиния 85">
                  <a:extLst>
                    <a:ext uri="{FF2B5EF4-FFF2-40B4-BE49-F238E27FC236}">
                      <a16:creationId xmlns:a16="http://schemas.microsoft.com/office/drawing/2014/main" id="{3198F147-2ACB-A121-AC07-DC2350AFAB94}"/>
                    </a:ext>
                  </a:extLst>
                </p:cNvPr>
                <p:cNvSpPr/>
                <p:nvPr/>
              </p:nvSpPr>
              <p:spPr>
                <a:xfrm rot="5400000">
                  <a:off x="2528817" y="390107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299" name="Полилиния 298">
                  <a:extLst>
                    <a:ext uri="{FF2B5EF4-FFF2-40B4-BE49-F238E27FC236}">
                      <a16:creationId xmlns:a16="http://schemas.microsoft.com/office/drawing/2014/main" id="{97DDEAC4-9E02-8B00-F767-32B828860AB2}"/>
                    </a:ext>
                  </a:extLst>
                </p:cNvPr>
                <p:cNvSpPr/>
                <p:nvPr/>
              </p:nvSpPr>
              <p:spPr>
                <a:xfrm rot="-5400000">
                  <a:off x="1981772" y="399225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00" name="Полилиния 299">
                  <a:extLst>
                    <a:ext uri="{FF2B5EF4-FFF2-40B4-BE49-F238E27FC236}">
                      <a16:creationId xmlns:a16="http://schemas.microsoft.com/office/drawing/2014/main" id="{3151FA1D-705A-903B-4B09-24765EEDD0DB}"/>
                    </a:ext>
                  </a:extLst>
                </p:cNvPr>
                <p:cNvSpPr/>
                <p:nvPr/>
              </p:nvSpPr>
              <p:spPr>
                <a:xfrm>
                  <a:off x="2072946" y="399225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01" name="Полилиния 300">
                  <a:extLst>
                    <a:ext uri="{FF2B5EF4-FFF2-40B4-BE49-F238E27FC236}">
                      <a16:creationId xmlns:a16="http://schemas.microsoft.com/office/drawing/2014/main" id="{36DCBD0B-F50A-0219-E897-4650D42D76BD}"/>
                    </a:ext>
                  </a:extLst>
                </p:cNvPr>
                <p:cNvSpPr/>
                <p:nvPr/>
              </p:nvSpPr>
              <p:spPr>
                <a:xfrm>
                  <a:off x="2164120" y="399225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02" name="Полилиния 301">
                  <a:extLst>
                    <a:ext uri="{FF2B5EF4-FFF2-40B4-BE49-F238E27FC236}">
                      <a16:creationId xmlns:a16="http://schemas.microsoft.com/office/drawing/2014/main" id="{86271D56-1D5D-347D-D828-B92CD1C9A34F}"/>
                    </a:ext>
                  </a:extLst>
                </p:cNvPr>
                <p:cNvSpPr/>
                <p:nvPr/>
              </p:nvSpPr>
              <p:spPr>
                <a:xfrm rot="5400000">
                  <a:off x="2346469" y="399225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03" name="Полилиния 302">
                  <a:extLst>
                    <a:ext uri="{FF2B5EF4-FFF2-40B4-BE49-F238E27FC236}">
                      <a16:creationId xmlns:a16="http://schemas.microsoft.com/office/drawing/2014/main" id="{BC72DE8E-1179-7E7F-09A5-3DEDA7A2BE2A}"/>
                    </a:ext>
                  </a:extLst>
                </p:cNvPr>
                <p:cNvSpPr/>
                <p:nvPr/>
              </p:nvSpPr>
              <p:spPr>
                <a:xfrm rot="5400000">
                  <a:off x="2711166" y="399225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04" name="Полилиния 303">
                  <a:extLst>
                    <a:ext uri="{FF2B5EF4-FFF2-40B4-BE49-F238E27FC236}">
                      <a16:creationId xmlns:a16="http://schemas.microsoft.com/office/drawing/2014/main" id="{B746DEDB-75E5-4609-9EF3-CAAC18EE95E4}"/>
                    </a:ext>
                  </a:extLst>
                </p:cNvPr>
                <p:cNvSpPr/>
                <p:nvPr/>
              </p:nvSpPr>
              <p:spPr>
                <a:xfrm>
                  <a:off x="2072946" y="408342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05" name="Полилиния 304">
                  <a:extLst>
                    <a:ext uri="{FF2B5EF4-FFF2-40B4-BE49-F238E27FC236}">
                      <a16:creationId xmlns:a16="http://schemas.microsoft.com/office/drawing/2014/main" id="{794CABE8-65EC-E3EC-3622-D99E5082A465}"/>
                    </a:ext>
                  </a:extLst>
                </p:cNvPr>
                <p:cNvSpPr/>
                <p:nvPr/>
              </p:nvSpPr>
              <p:spPr>
                <a:xfrm>
                  <a:off x="2164120" y="408342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06" name="Полилиния 305">
                  <a:extLst>
                    <a:ext uri="{FF2B5EF4-FFF2-40B4-BE49-F238E27FC236}">
                      <a16:creationId xmlns:a16="http://schemas.microsoft.com/office/drawing/2014/main" id="{031D672E-95CF-5D16-9312-3C00E893653A}"/>
                    </a:ext>
                  </a:extLst>
                </p:cNvPr>
                <p:cNvSpPr/>
                <p:nvPr/>
              </p:nvSpPr>
              <p:spPr>
                <a:xfrm rot="5400000">
                  <a:off x="2437643" y="408342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07" name="Полилиния 306">
                  <a:extLst>
                    <a:ext uri="{FF2B5EF4-FFF2-40B4-BE49-F238E27FC236}">
                      <a16:creationId xmlns:a16="http://schemas.microsoft.com/office/drawing/2014/main" id="{8EDAEE29-5021-597E-3A73-BA598CABBCFD}"/>
                    </a:ext>
                  </a:extLst>
                </p:cNvPr>
                <p:cNvSpPr/>
                <p:nvPr/>
              </p:nvSpPr>
              <p:spPr>
                <a:xfrm rot="-5400000">
                  <a:off x="1981772" y="417459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08" name="Полилиния 307">
                  <a:extLst>
                    <a:ext uri="{FF2B5EF4-FFF2-40B4-BE49-F238E27FC236}">
                      <a16:creationId xmlns:a16="http://schemas.microsoft.com/office/drawing/2014/main" id="{54012DBA-3920-4A16-2D5B-4F5E97B5FCF1}"/>
                    </a:ext>
                  </a:extLst>
                </p:cNvPr>
                <p:cNvSpPr/>
                <p:nvPr/>
              </p:nvSpPr>
              <p:spPr>
                <a:xfrm rot="5400000">
                  <a:off x="2164120" y="417459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09" name="Полилиния 308">
                  <a:extLst>
                    <a:ext uri="{FF2B5EF4-FFF2-40B4-BE49-F238E27FC236}">
                      <a16:creationId xmlns:a16="http://schemas.microsoft.com/office/drawing/2014/main" id="{1B57F4F6-5525-D3E6-1949-A4C676AEDFB3}"/>
                    </a:ext>
                  </a:extLst>
                </p:cNvPr>
                <p:cNvSpPr/>
                <p:nvPr/>
              </p:nvSpPr>
              <p:spPr>
                <a:xfrm rot="-5400000">
                  <a:off x="2619992" y="417459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10" name="Полилиния 309">
                  <a:extLst>
                    <a:ext uri="{FF2B5EF4-FFF2-40B4-BE49-F238E27FC236}">
                      <a16:creationId xmlns:a16="http://schemas.microsoft.com/office/drawing/2014/main" id="{8356D55D-9912-10D3-828D-6E140DB85A86}"/>
                    </a:ext>
                  </a:extLst>
                </p:cNvPr>
                <p:cNvSpPr/>
                <p:nvPr/>
              </p:nvSpPr>
              <p:spPr>
                <a:xfrm>
                  <a:off x="2711166" y="417459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11" name="Полилиния 310">
                  <a:extLst>
                    <a:ext uri="{FF2B5EF4-FFF2-40B4-BE49-F238E27FC236}">
                      <a16:creationId xmlns:a16="http://schemas.microsoft.com/office/drawing/2014/main" id="{502145C1-5FFB-959E-C6AB-141DCA09FD0A}"/>
                    </a:ext>
                  </a:extLst>
                </p:cNvPr>
                <p:cNvSpPr/>
                <p:nvPr/>
              </p:nvSpPr>
              <p:spPr>
                <a:xfrm>
                  <a:off x="1981772" y="4265773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12" name="Полилиния 311">
                  <a:extLst>
                    <a:ext uri="{FF2B5EF4-FFF2-40B4-BE49-F238E27FC236}">
                      <a16:creationId xmlns:a16="http://schemas.microsoft.com/office/drawing/2014/main" id="{36BD6F42-7883-46E9-DAFF-16E5373AABF0}"/>
                    </a:ext>
                  </a:extLst>
                </p:cNvPr>
                <p:cNvSpPr/>
                <p:nvPr/>
              </p:nvSpPr>
              <p:spPr>
                <a:xfrm rot="5400000">
                  <a:off x="2072946" y="4265773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13" name="Полилиния 312">
                  <a:extLst>
                    <a:ext uri="{FF2B5EF4-FFF2-40B4-BE49-F238E27FC236}">
                      <a16:creationId xmlns:a16="http://schemas.microsoft.com/office/drawing/2014/main" id="{F175EE0A-704E-AE6A-A79B-178221CEF729}"/>
                    </a:ext>
                  </a:extLst>
                </p:cNvPr>
                <p:cNvSpPr/>
                <p:nvPr/>
              </p:nvSpPr>
              <p:spPr>
                <a:xfrm rot="-5400000">
                  <a:off x="2346469" y="4265773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14" name="Полилиния 313">
                  <a:extLst>
                    <a:ext uri="{FF2B5EF4-FFF2-40B4-BE49-F238E27FC236}">
                      <a16:creationId xmlns:a16="http://schemas.microsoft.com/office/drawing/2014/main" id="{AB62814D-EB50-8113-35A5-ABB3697120EE}"/>
                    </a:ext>
                  </a:extLst>
                </p:cNvPr>
                <p:cNvSpPr/>
                <p:nvPr/>
              </p:nvSpPr>
              <p:spPr>
                <a:xfrm>
                  <a:off x="2437643" y="4265773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15" name="Полилиния 314">
                  <a:extLst>
                    <a:ext uri="{FF2B5EF4-FFF2-40B4-BE49-F238E27FC236}">
                      <a16:creationId xmlns:a16="http://schemas.microsoft.com/office/drawing/2014/main" id="{2F9DEBDA-6AB6-8D4F-2C81-99C7FD1F54D7}"/>
                    </a:ext>
                  </a:extLst>
                </p:cNvPr>
                <p:cNvSpPr/>
                <p:nvPr/>
              </p:nvSpPr>
              <p:spPr>
                <a:xfrm>
                  <a:off x="2711166" y="4265773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16" name="Полилиния 315">
                  <a:extLst>
                    <a:ext uri="{FF2B5EF4-FFF2-40B4-BE49-F238E27FC236}">
                      <a16:creationId xmlns:a16="http://schemas.microsoft.com/office/drawing/2014/main" id="{441044BD-1443-C711-F7BF-FE90F8AFCE51}"/>
                    </a:ext>
                  </a:extLst>
                </p:cNvPr>
                <p:cNvSpPr/>
                <p:nvPr/>
              </p:nvSpPr>
              <p:spPr>
                <a:xfrm rot="-5400000">
                  <a:off x="2164120" y="435694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17" name="Полилиния 316">
                  <a:extLst>
                    <a:ext uri="{FF2B5EF4-FFF2-40B4-BE49-F238E27FC236}">
                      <a16:creationId xmlns:a16="http://schemas.microsoft.com/office/drawing/2014/main" id="{DBCEB108-1CCB-3726-9F81-F007326D9A36}"/>
                    </a:ext>
                  </a:extLst>
                </p:cNvPr>
                <p:cNvSpPr/>
                <p:nvPr/>
              </p:nvSpPr>
              <p:spPr>
                <a:xfrm>
                  <a:off x="2346469" y="435694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18" name="Полилиния 317">
                  <a:extLst>
                    <a:ext uri="{FF2B5EF4-FFF2-40B4-BE49-F238E27FC236}">
                      <a16:creationId xmlns:a16="http://schemas.microsoft.com/office/drawing/2014/main" id="{8C1E2FD1-6DB2-737F-8526-BF73EA738511}"/>
                    </a:ext>
                  </a:extLst>
                </p:cNvPr>
                <p:cNvSpPr/>
                <p:nvPr/>
              </p:nvSpPr>
              <p:spPr>
                <a:xfrm>
                  <a:off x="2437643" y="435694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19" name="Полилиния 318">
                  <a:extLst>
                    <a:ext uri="{FF2B5EF4-FFF2-40B4-BE49-F238E27FC236}">
                      <a16:creationId xmlns:a16="http://schemas.microsoft.com/office/drawing/2014/main" id="{755769B6-3D21-D381-21E4-5A09D43CBA20}"/>
                    </a:ext>
                  </a:extLst>
                </p:cNvPr>
                <p:cNvSpPr/>
                <p:nvPr/>
              </p:nvSpPr>
              <p:spPr>
                <a:xfrm>
                  <a:off x="2528817" y="435694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20" name="Полилиния 319">
                  <a:extLst>
                    <a:ext uri="{FF2B5EF4-FFF2-40B4-BE49-F238E27FC236}">
                      <a16:creationId xmlns:a16="http://schemas.microsoft.com/office/drawing/2014/main" id="{B2A4A6AD-6B25-B37C-2BAB-9922E64AA4FA}"/>
                    </a:ext>
                  </a:extLst>
                </p:cNvPr>
                <p:cNvSpPr/>
                <p:nvPr/>
              </p:nvSpPr>
              <p:spPr>
                <a:xfrm>
                  <a:off x="2711166" y="435694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21" name="Полилиния 320">
                  <a:extLst>
                    <a:ext uri="{FF2B5EF4-FFF2-40B4-BE49-F238E27FC236}">
                      <a16:creationId xmlns:a16="http://schemas.microsoft.com/office/drawing/2014/main" id="{E0B9E9FB-D945-D03B-6CE9-1D2DE94CF65C}"/>
                    </a:ext>
                  </a:extLst>
                </p:cNvPr>
                <p:cNvSpPr/>
                <p:nvPr/>
              </p:nvSpPr>
              <p:spPr>
                <a:xfrm rot="-5400000">
                  <a:off x="1981772" y="444812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22" name="Полилиния 321">
                  <a:extLst>
                    <a:ext uri="{FF2B5EF4-FFF2-40B4-BE49-F238E27FC236}">
                      <a16:creationId xmlns:a16="http://schemas.microsoft.com/office/drawing/2014/main" id="{CE549126-BB0A-B5C1-C29C-174C33ADD274}"/>
                    </a:ext>
                  </a:extLst>
                </p:cNvPr>
                <p:cNvSpPr/>
                <p:nvPr/>
              </p:nvSpPr>
              <p:spPr>
                <a:xfrm rot="5400000">
                  <a:off x="2164120" y="444812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23" name="Полилиния 322">
                  <a:extLst>
                    <a:ext uri="{FF2B5EF4-FFF2-40B4-BE49-F238E27FC236}">
                      <a16:creationId xmlns:a16="http://schemas.microsoft.com/office/drawing/2014/main" id="{4BC17FD5-A302-D9E4-53DF-8435847942D1}"/>
                    </a:ext>
                  </a:extLst>
                </p:cNvPr>
                <p:cNvSpPr/>
                <p:nvPr/>
              </p:nvSpPr>
              <p:spPr>
                <a:xfrm>
                  <a:off x="2346469" y="444812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24" name="Полилиния 323">
                  <a:extLst>
                    <a:ext uri="{FF2B5EF4-FFF2-40B4-BE49-F238E27FC236}">
                      <a16:creationId xmlns:a16="http://schemas.microsoft.com/office/drawing/2014/main" id="{14517038-5FF3-7755-F559-F5C1DE276CA6}"/>
                    </a:ext>
                  </a:extLst>
                </p:cNvPr>
                <p:cNvSpPr/>
                <p:nvPr/>
              </p:nvSpPr>
              <p:spPr>
                <a:xfrm rot="5400000">
                  <a:off x="2528817" y="444812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25" name="Полилиния 324">
                  <a:extLst>
                    <a:ext uri="{FF2B5EF4-FFF2-40B4-BE49-F238E27FC236}">
                      <a16:creationId xmlns:a16="http://schemas.microsoft.com/office/drawing/2014/main" id="{04CFB4EE-E03E-E3E8-ACA5-90B538BE8442}"/>
                    </a:ext>
                  </a:extLst>
                </p:cNvPr>
                <p:cNvSpPr/>
                <p:nvPr/>
              </p:nvSpPr>
              <p:spPr>
                <a:xfrm rot="5400000">
                  <a:off x="2711166" y="444812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26" name="Полилиния 325">
                  <a:extLst>
                    <a:ext uri="{FF2B5EF4-FFF2-40B4-BE49-F238E27FC236}">
                      <a16:creationId xmlns:a16="http://schemas.microsoft.com/office/drawing/2014/main" id="{0D7A3E5D-1014-E022-FA02-2D7742217142}"/>
                    </a:ext>
                  </a:extLst>
                </p:cNvPr>
                <p:cNvSpPr/>
                <p:nvPr/>
              </p:nvSpPr>
              <p:spPr>
                <a:xfrm>
                  <a:off x="1981772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27" name="Полилиния 326">
                  <a:extLst>
                    <a:ext uri="{FF2B5EF4-FFF2-40B4-BE49-F238E27FC236}">
                      <a16:creationId xmlns:a16="http://schemas.microsoft.com/office/drawing/2014/main" id="{756BF7ED-3083-FF2A-5F6B-DDFB72BADA82}"/>
                    </a:ext>
                  </a:extLst>
                </p:cNvPr>
                <p:cNvSpPr/>
                <p:nvPr/>
              </p:nvSpPr>
              <p:spPr>
                <a:xfrm rot="5400000">
                  <a:off x="2072946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28" name="Полилиния 327">
                  <a:extLst>
                    <a:ext uri="{FF2B5EF4-FFF2-40B4-BE49-F238E27FC236}">
                      <a16:creationId xmlns:a16="http://schemas.microsoft.com/office/drawing/2014/main" id="{62CB8B5D-B13C-1A04-19C3-8D71B9E0ADCC}"/>
                    </a:ext>
                  </a:extLst>
                </p:cNvPr>
                <p:cNvSpPr/>
                <p:nvPr/>
              </p:nvSpPr>
              <p:spPr>
                <a:xfrm rot="-5400000">
                  <a:off x="2255295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29" name="Полилиния 328">
                  <a:extLst>
                    <a:ext uri="{FF2B5EF4-FFF2-40B4-BE49-F238E27FC236}">
                      <a16:creationId xmlns:a16="http://schemas.microsoft.com/office/drawing/2014/main" id="{5901638E-171E-1827-23B4-AAAA5731B2DB}"/>
                    </a:ext>
                  </a:extLst>
                </p:cNvPr>
                <p:cNvSpPr/>
                <p:nvPr/>
              </p:nvSpPr>
              <p:spPr>
                <a:xfrm>
                  <a:off x="2346469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30" name="Полилиния 329">
                  <a:extLst>
                    <a:ext uri="{FF2B5EF4-FFF2-40B4-BE49-F238E27FC236}">
                      <a16:creationId xmlns:a16="http://schemas.microsoft.com/office/drawing/2014/main" id="{D330DC18-95BB-D387-4648-6078237B3A71}"/>
                    </a:ext>
                  </a:extLst>
                </p:cNvPr>
                <p:cNvSpPr/>
                <p:nvPr/>
              </p:nvSpPr>
              <p:spPr>
                <a:xfrm rot="5400000">
                  <a:off x="2437643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31" name="Полилиния 330">
                  <a:extLst>
                    <a:ext uri="{FF2B5EF4-FFF2-40B4-BE49-F238E27FC236}">
                      <a16:creationId xmlns:a16="http://schemas.microsoft.com/office/drawing/2014/main" id="{E9845464-772E-34E3-4E61-2273CB2C17C1}"/>
                    </a:ext>
                  </a:extLst>
                </p:cNvPr>
                <p:cNvSpPr/>
                <p:nvPr/>
              </p:nvSpPr>
              <p:spPr>
                <a:xfrm rot="-5400000">
                  <a:off x="2619992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32" name="Полилиния 331">
                  <a:extLst>
                    <a:ext uri="{FF2B5EF4-FFF2-40B4-BE49-F238E27FC236}">
                      <a16:creationId xmlns:a16="http://schemas.microsoft.com/office/drawing/2014/main" id="{7DDCC008-D1B1-3178-9A1B-6FC95F244FBE}"/>
                    </a:ext>
                  </a:extLst>
                </p:cNvPr>
                <p:cNvSpPr/>
                <p:nvPr/>
              </p:nvSpPr>
              <p:spPr>
                <a:xfrm rot="-5400000">
                  <a:off x="1343551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33" name="Полилиния 332">
                  <a:extLst>
                    <a:ext uri="{FF2B5EF4-FFF2-40B4-BE49-F238E27FC236}">
                      <a16:creationId xmlns:a16="http://schemas.microsoft.com/office/drawing/2014/main" id="{BAA6631F-0E90-B8E5-8E27-01FF853918D0}"/>
                    </a:ext>
                  </a:extLst>
                </p:cNvPr>
                <p:cNvSpPr/>
                <p:nvPr/>
              </p:nvSpPr>
              <p:spPr>
                <a:xfrm rot="-5400000">
                  <a:off x="1525900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34" name="Полилиния 333">
                  <a:extLst>
                    <a:ext uri="{FF2B5EF4-FFF2-40B4-BE49-F238E27FC236}">
                      <a16:creationId xmlns:a16="http://schemas.microsoft.com/office/drawing/2014/main" id="{F8EEC2ED-86B8-3A90-86ED-4E80B2E03D02}"/>
                    </a:ext>
                  </a:extLst>
                </p:cNvPr>
                <p:cNvSpPr/>
                <p:nvPr/>
              </p:nvSpPr>
              <p:spPr>
                <a:xfrm>
                  <a:off x="1617074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35" name="Полилиния 334">
                  <a:extLst>
                    <a:ext uri="{FF2B5EF4-FFF2-40B4-BE49-F238E27FC236}">
                      <a16:creationId xmlns:a16="http://schemas.microsoft.com/office/drawing/2014/main" id="{B95B9E92-4434-9485-4FDA-63AB61D727DA}"/>
                    </a:ext>
                  </a:extLst>
                </p:cNvPr>
                <p:cNvSpPr/>
                <p:nvPr/>
              </p:nvSpPr>
              <p:spPr>
                <a:xfrm>
                  <a:off x="1708249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36" name="Полилиния 335">
                  <a:extLst>
                    <a:ext uri="{FF2B5EF4-FFF2-40B4-BE49-F238E27FC236}">
                      <a16:creationId xmlns:a16="http://schemas.microsoft.com/office/drawing/2014/main" id="{58A2CBD5-5C6F-97A6-6981-6FEC6FA9A0F9}"/>
                    </a:ext>
                  </a:extLst>
                </p:cNvPr>
                <p:cNvSpPr/>
                <p:nvPr/>
              </p:nvSpPr>
              <p:spPr>
                <a:xfrm rot="5400000">
                  <a:off x="1799423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37" name="Полилиния 336">
                  <a:extLst>
                    <a:ext uri="{FF2B5EF4-FFF2-40B4-BE49-F238E27FC236}">
                      <a16:creationId xmlns:a16="http://schemas.microsoft.com/office/drawing/2014/main" id="{847AF4D7-D7E2-1A84-D035-CF07FDF1EE7D}"/>
                    </a:ext>
                  </a:extLst>
                </p:cNvPr>
                <p:cNvSpPr/>
                <p:nvPr/>
              </p:nvSpPr>
              <p:spPr>
                <a:xfrm rot="5400000">
                  <a:off x="1981772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38" name="Полилиния 337">
                  <a:extLst>
                    <a:ext uri="{FF2B5EF4-FFF2-40B4-BE49-F238E27FC236}">
                      <a16:creationId xmlns:a16="http://schemas.microsoft.com/office/drawing/2014/main" id="{F0C6066B-9C3C-6317-B141-6B8CBD55165D}"/>
                    </a:ext>
                  </a:extLst>
                </p:cNvPr>
                <p:cNvSpPr/>
                <p:nvPr/>
              </p:nvSpPr>
              <p:spPr>
                <a:xfrm>
                  <a:off x="2619992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39" name="Полилиния 338">
                  <a:extLst>
                    <a:ext uri="{FF2B5EF4-FFF2-40B4-BE49-F238E27FC236}">
                      <a16:creationId xmlns:a16="http://schemas.microsoft.com/office/drawing/2014/main" id="{8234BACE-B330-9611-335A-0770E725E5CA}"/>
                    </a:ext>
                  </a:extLst>
                </p:cNvPr>
                <p:cNvSpPr/>
                <p:nvPr/>
              </p:nvSpPr>
              <p:spPr>
                <a:xfrm>
                  <a:off x="2711166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40" name="Полилиния 339">
                  <a:extLst>
                    <a:ext uri="{FF2B5EF4-FFF2-40B4-BE49-F238E27FC236}">
                      <a16:creationId xmlns:a16="http://schemas.microsoft.com/office/drawing/2014/main" id="{546C14A2-6620-97F7-5943-301280BDB70A}"/>
                    </a:ext>
                  </a:extLst>
                </p:cNvPr>
                <p:cNvSpPr/>
                <p:nvPr/>
              </p:nvSpPr>
              <p:spPr>
                <a:xfrm>
                  <a:off x="2802340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41" name="Полилиния 340">
                  <a:extLst>
                    <a:ext uri="{FF2B5EF4-FFF2-40B4-BE49-F238E27FC236}">
                      <a16:creationId xmlns:a16="http://schemas.microsoft.com/office/drawing/2014/main" id="{EA8E2488-98D1-F11B-2E2C-D4E8354F1EFD}"/>
                    </a:ext>
                  </a:extLst>
                </p:cNvPr>
                <p:cNvSpPr/>
                <p:nvPr/>
              </p:nvSpPr>
              <p:spPr>
                <a:xfrm rot="5400000">
                  <a:off x="2893515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42" name="Полилиния 341">
                  <a:extLst>
                    <a:ext uri="{FF2B5EF4-FFF2-40B4-BE49-F238E27FC236}">
                      <a16:creationId xmlns:a16="http://schemas.microsoft.com/office/drawing/2014/main" id="{5B270AC3-6B4B-962D-E491-24AAD7898354}"/>
                    </a:ext>
                  </a:extLst>
                </p:cNvPr>
                <p:cNvSpPr/>
                <p:nvPr/>
              </p:nvSpPr>
              <p:spPr>
                <a:xfrm rot="-5400000">
                  <a:off x="3075863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43" name="Полилиния 342">
                  <a:extLst>
                    <a:ext uri="{FF2B5EF4-FFF2-40B4-BE49-F238E27FC236}">
                      <a16:creationId xmlns:a16="http://schemas.microsoft.com/office/drawing/2014/main" id="{32E274B4-81A5-FC0E-AA5E-09B4EC596ACE}"/>
                    </a:ext>
                  </a:extLst>
                </p:cNvPr>
                <p:cNvSpPr/>
                <p:nvPr/>
              </p:nvSpPr>
              <p:spPr>
                <a:xfrm>
                  <a:off x="3167038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44" name="Полилиния 343">
                  <a:extLst>
                    <a:ext uri="{FF2B5EF4-FFF2-40B4-BE49-F238E27FC236}">
                      <a16:creationId xmlns:a16="http://schemas.microsoft.com/office/drawing/2014/main" id="{2CD4DF86-720B-0EB4-E1A1-60F7712D25BC}"/>
                    </a:ext>
                  </a:extLst>
                </p:cNvPr>
                <p:cNvSpPr/>
                <p:nvPr/>
              </p:nvSpPr>
              <p:spPr>
                <a:xfrm rot="-5400000">
                  <a:off x="3349386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45" name="Полилиния 344">
                  <a:extLst>
                    <a:ext uri="{FF2B5EF4-FFF2-40B4-BE49-F238E27FC236}">
                      <a16:creationId xmlns:a16="http://schemas.microsoft.com/office/drawing/2014/main" id="{5EA88B48-CBD8-3BB0-92F7-AC7B2D1E8D0E}"/>
                    </a:ext>
                  </a:extLst>
                </p:cNvPr>
                <p:cNvSpPr/>
                <p:nvPr/>
              </p:nvSpPr>
              <p:spPr>
                <a:xfrm rot="-5400000">
                  <a:off x="1252377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46" name="Полилиния 345">
                  <a:extLst>
                    <a:ext uri="{FF2B5EF4-FFF2-40B4-BE49-F238E27FC236}">
                      <a16:creationId xmlns:a16="http://schemas.microsoft.com/office/drawing/2014/main" id="{7370B146-A6A7-F53B-D3EF-BD054DC3F282}"/>
                    </a:ext>
                  </a:extLst>
                </p:cNvPr>
                <p:cNvSpPr/>
                <p:nvPr/>
              </p:nvSpPr>
              <p:spPr>
                <a:xfrm>
                  <a:off x="1343551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47" name="Полилиния 346">
                  <a:extLst>
                    <a:ext uri="{FF2B5EF4-FFF2-40B4-BE49-F238E27FC236}">
                      <a16:creationId xmlns:a16="http://schemas.microsoft.com/office/drawing/2014/main" id="{90FC5138-3042-D7DE-7430-FCEEAA8DEB61}"/>
                    </a:ext>
                  </a:extLst>
                </p:cNvPr>
                <p:cNvSpPr/>
                <p:nvPr/>
              </p:nvSpPr>
              <p:spPr>
                <a:xfrm>
                  <a:off x="1434726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48" name="Полилиния 347">
                  <a:extLst>
                    <a:ext uri="{FF2B5EF4-FFF2-40B4-BE49-F238E27FC236}">
                      <a16:creationId xmlns:a16="http://schemas.microsoft.com/office/drawing/2014/main" id="{B1D01319-D3E3-D4C5-A311-F8A3C2858E8E}"/>
                    </a:ext>
                  </a:extLst>
                </p:cNvPr>
                <p:cNvSpPr/>
                <p:nvPr/>
              </p:nvSpPr>
              <p:spPr>
                <a:xfrm>
                  <a:off x="1525900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49" name="Полилиния 348">
                  <a:extLst>
                    <a:ext uri="{FF2B5EF4-FFF2-40B4-BE49-F238E27FC236}">
                      <a16:creationId xmlns:a16="http://schemas.microsoft.com/office/drawing/2014/main" id="{1668DB04-AAF2-51AE-3E00-3043F5FD04F0}"/>
                    </a:ext>
                  </a:extLst>
                </p:cNvPr>
                <p:cNvSpPr/>
                <p:nvPr/>
              </p:nvSpPr>
              <p:spPr>
                <a:xfrm>
                  <a:off x="1617074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50" name="Полилиния 349">
                  <a:extLst>
                    <a:ext uri="{FF2B5EF4-FFF2-40B4-BE49-F238E27FC236}">
                      <a16:creationId xmlns:a16="http://schemas.microsoft.com/office/drawing/2014/main" id="{4799F1A8-4D47-3EDA-763C-470931F63896}"/>
                    </a:ext>
                  </a:extLst>
                </p:cNvPr>
                <p:cNvSpPr/>
                <p:nvPr/>
              </p:nvSpPr>
              <p:spPr>
                <a:xfrm>
                  <a:off x="1708249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51" name="Полилиния 350">
                  <a:extLst>
                    <a:ext uri="{FF2B5EF4-FFF2-40B4-BE49-F238E27FC236}">
                      <a16:creationId xmlns:a16="http://schemas.microsoft.com/office/drawing/2014/main" id="{4FF3F77E-192C-0DA3-58E2-92BBBFEE7288}"/>
                    </a:ext>
                  </a:extLst>
                </p:cNvPr>
                <p:cNvSpPr/>
                <p:nvPr/>
              </p:nvSpPr>
              <p:spPr>
                <a:xfrm rot="-5400000">
                  <a:off x="1890597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52" name="Полилиния 351">
                  <a:extLst>
                    <a:ext uri="{FF2B5EF4-FFF2-40B4-BE49-F238E27FC236}">
                      <a16:creationId xmlns:a16="http://schemas.microsoft.com/office/drawing/2014/main" id="{EBFF41ED-A52E-F4B1-ED35-123CD1446DCA}"/>
                    </a:ext>
                  </a:extLst>
                </p:cNvPr>
                <p:cNvSpPr/>
                <p:nvPr/>
              </p:nvSpPr>
              <p:spPr>
                <a:xfrm rot="-5400000">
                  <a:off x="2072946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53" name="Полилиния 352">
                  <a:extLst>
                    <a:ext uri="{FF2B5EF4-FFF2-40B4-BE49-F238E27FC236}">
                      <a16:creationId xmlns:a16="http://schemas.microsoft.com/office/drawing/2014/main" id="{BB33F682-4FAB-5E85-2929-AB804155772D}"/>
                    </a:ext>
                  </a:extLst>
                </p:cNvPr>
                <p:cNvSpPr/>
                <p:nvPr/>
              </p:nvSpPr>
              <p:spPr>
                <a:xfrm rot="5400000">
                  <a:off x="2164120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54" name="Полилиния 353">
                  <a:extLst>
                    <a:ext uri="{FF2B5EF4-FFF2-40B4-BE49-F238E27FC236}">
                      <a16:creationId xmlns:a16="http://schemas.microsoft.com/office/drawing/2014/main" id="{EA7B75D5-5EF5-5619-AF84-D4AFCE5E3E46}"/>
                    </a:ext>
                  </a:extLst>
                </p:cNvPr>
                <p:cNvSpPr/>
                <p:nvPr/>
              </p:nvSpPr>
              <p:spPr>
                <a:xfrm rot="-5400000">
                  <a:off x="2346469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55" name="Полилиния 354">
                  <a:extLst>
                    <a:ext uri="{FF2B5EF4-FFF2-40B4-BE49-F238E27FC236}">
                      <a16:creationId xmlns:a16="http://schemas.microsoft.com/office/drawing/2014/main" id="{BF0A7D32-0899-3C8A-BE26-9487F00EEF6B}"/>
                    </a:ext>
                  </a:extLst>
                </p:cNvPr>
                <p:cNvSpPr/>
                <p:nvPr/>
              </p:nvSpPr>
              <p:spPr>
                <a:xfrm>
                  <a:off x="2619992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56" name="Полилиния 355">
                  <a:extLst>
                    <a:ext uri="{FF2B5EF4-FFF2-40B4-BE49-F238E27FC236}">
                      <a16:creationId xmlns:a16="http://schemas.microsoft.com/office/drawing/2014/main" id="{5E1FA04D-74E4-C1F9-3A05-1AFE0CBCBEDA}"/>
                    </a:ext>
                  </a:extLst>
                </p:cNvPr>
                <p:cNvSpPr/>
                <p:nvPr/>
              </p:nvSpPr>
              <p:spPr>
                <a:xfrm rot="-5400000">
                  <a:off x="2984689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57" name="Полилиния 356">
                  <a:extLst>
                    <a:ext uri="{FF2B5EF4-FFF2-40B4-BE49-F238E27FC236}">
                      <a16:creationId xmlns:a16="http://schemas.microsoft.com/office/drawing/2014/main" id="{41251890-C1B6-4E05-408E-3DDD2BFADD4E}"/>
                    </a:ext>
                  </a:extLst>
                </p:cNvPr>
                <p:cNvSpPr/>
                <p:nvPr/>
              </p:nvSpPr>
              <p:spPr>
                <a:xfrm>
                  <a:off x="3075863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58" name="Полилиния 357">
                  <a:extLst>
                    <a:ext uri="{FF2B5EF4-FFF2-40B4-BE49-F238E27FC236}">
                      <a16:creationId xmlns:a16="http://schemas.microsoft.com/office/drawing/2014/main" id="{8065DB9C-1A10-6625-2B3C-7E87A67BDE83}"/>
                    </a:ext>
                  </a:extLst>
                </p:cNvPr>
                <p:cNvSpPr/>
                <p:nvPr/>
              </p:nvSpPr>
              <p:spPr>
                <a:xfrm>
                  <a:off x="3167038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59" name="Полилиния 358">
                  <a:extLst>
                    <a:ext uri="{FF2B5EF4-FFF2-40B4-BE49-F238E27FC236}">
                      <a16:creationId xmlns:a16="http://schemas.microsoft.com/office/drawing/2014/main" id="{3B54B7FA-A4FA-8B31-8205-4241D02D5662}"/>
                    </a:ext>
                  </a:extLst>
                </p:cNvPr>
                <p:cNvSpPr/>
                <p:nvPr/>
              </p:nvSpPr>
              <p:spPr>
                <a:xfrm>
                  <a:off x="3258212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60" name="Полилиния 359">
                  <a:extLst>
                    <a:ext uri="{FF2B5EF4-FFF2-40B4-BE49-F238E27FC236}">
                      <a16:creationId xmlns:a16="http://schemas.microsoft.com/office/drawing/2014/main" id="{5A7C4834-C59F-6C7B-8470-8F3E000E6ECE}"/>
                    </a:ext>
                  </a:extLst>
                </p:cNvPr>
                <p:cNvSpPr/>
                <p:nvPr/>
              </p:nvSpPr>
              <p:spPr>
                <a:xfrm rot="5400000">
                  <a:off x="3349386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61" name="Полилиния 360">
                  <a:extLst>
                    <a:ext uri="{FF2B5EF4-FFF2-40B4-BE49-F238E27FC236}">
                      <a16:creationId xmlns:a16="http://schemas.microsoft.com/office/drawing/2014/main" id="{511622B4-36B2-8EF4-6B32-778693DA07B7}"/>
                    </a:ext>
                  </a:extLst>
                </p:cNvPr>
                <p:cNvSpPr/>
                <p:nvPr/>
              </p:nvSpPr>
              <p:spPr>
                <a:xfrm rot="5400000">
                  <a:off x="1525900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62" name="Полилиния 361">
                  <a:extLst>
                    <a:ext uri="{FF2B5EF4-FFF2-40B4-BE49-F238E27FC236}">
                      <a16:creationId xmlns:a16="http://schemas.microsoft.com/office/drawing/2014/main" id="{E5E15B35-5ECC-F9F0-EBD6-B91BE727F9F3}"/>
                    </a:ext>
                  </a:extLst>
                </p:cNvPr>
                <p:cNvSpPr/>
                <p:nvPr/>
              </p:nvSpPr>
              <p:spPr>
                <a:xfrm>
                  <a:off x="1708249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63" name="Полилиния 362">
                  <a:extLst>
                    <a:ext uri="{FF2B5EF4-FFF2-40B4-BE49-F238E27FC236}">
                      <a16:creationId xmlns:a16="http://schemas.microsoft.com/office/drawing/2014/main" id="{1699204E-3E9A-D2DB-CDE8-46C189847095}"/>
                    </a:ext>
                  </a:extLst>
                </p:cNvPr>
                <p:cNvSpPr/>
                <p:nvPr/>
              </p:nvSpPr>
              <p:spPr>
                <a:xfrm>
                  <a:off x="1799423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64" name="Полилиния 363">
                  <a:extLst>
                    <a:ext uri="{FF2B5EF4-FFF2-40B4-BE49-F238E27FC236}">
                      <a16:creationId xmlns:a16="http://schemas.microsoft.com/office/drawing/2014/main" id="{D9329439-A6EE-5856-F77E-7D8385A77A7B}"/>
                    </a:ext>
                  </a:extLst>
                </p:cNvPr>
                <p:cNvSpPr/>
                <p:nvPr/>
              </p:nvSpPr>
              <p:spPr>
                <a:xfrm>
                  <a:off x="1890597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65" name="Полилиния 364">
                  <a:extLst>
                    <a:ext uri="{FF2B5EF4-FFF2-40B4-BE49-F238E27FC236}">
                      <a16:creationId xmlns:a16="http://schemas.microsoft.com/office/drawing/2014/main" id="{C14A3352-AA20-E1E3-D338-F28BFD05EED2}"/>
                    </a:ext>
                  </a:extLst>
                </p:cNvPr>
                <p:cNvSpPr/>
                <p:nvPr/>
              </p:nvSpPr>
              <p:spPr>
                <a:xfrm rot="-5400000">
                  <a:off x="2255295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66" name="Полилиния 365">
                  <a:extLst>
                    <a:ext uri="{FF2B5EF4-FFF2-40B4-BE49-F238E27FC236}">
                      <a16:creationId xmlns:a16="http://schemas.microsoft.com/office/drawing/2014/main" id="{D24B3984-8132-25EC-9EE5-5640E207770B}"/>
                    </a:ext>
                  </a:extLst>
                </p:cNvPr>
                <p:cNvSpPr/>
                <p:nvPr/>
              </p:nvSpPr>
              <p:spPr>
                <a:xfrm rot="5400000">
                  <a:off x="2346469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67" name="Полилиния 366">
                  <a:extLst>
                    <a:ext uri="{FF2B5EF4-FFF2-40B4-BE49-F238E27FC236}">
                      <a16:creationId xmlns:a16="http://schemas.microsoft.com/office/drawing/2014/main" id="{39E13C85-96AE-3232-3C40-043D1507EA69}"/>
                    </a:ext>
                  </a:extLst>
                </p:cNvPr>
                <p:cNvSpPr/>
                <p:nvPr/>
              </p:nvSpPr>
              <p:spPr>
                <a:xfrm rot="-5400000">
                  <a:off x="2528817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68" name="Полилиния 367">
                  <a:extLst>
                    <a:ext uri="{FF2B5EF4-FFF2-40B4-BE49-F238E27FC236}">
                      <a16:creationId xmlns:a16="http://schemas.microsoft.com/office/drawing/2014/main" id="{479CDEEE-1D07-CC69-CE41-D956BB04D094}"/>
                    </a:ext>
                  </a:extLst>
                </p:cNvPr>
                <p:cNvSpPr/>
                <p:nvPr/>
              </p:nvSpPr>
              <p:spPr>
                <a:xfrm>
                  <a:off x="2619992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69" name="Полилиния 368">
                  <a:extLst>
                    <a:ext uri="{FF2B5EF4-FFF2-40B4-BE49-F238E27FC236}">
                      <a16:creationId xmlns:a16="http://schemas.microsoft.com/office/drawing/2014/main" id="{1777FB23-C951-626C-9A33-CEAF89C5945C}"/>
                    </a:ext>
                  </a:extLst>
                </p:cNvPr>
                <p:cNvSpPr/>
                <p:nvPr/>
              </p:nvSpPr>
              <p:spPr>
                <a:xfrm rot="5400000">
                  <a:off x="2711166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70" name="Полилиния 369">
                  <a:extLst>
                    <a:ext uri="{FF2B5EF4-FFF2-40B4-BE49-F238E27FC236}">
                      <a16:creationId xmlns:a16="http://schemas.microsoft.com/office/drawing/2014/main" id="{FAEC838F-071B-2005-5D93-96E27CC6E632}"/>
                    </a:ext>
                  </a:extLst>
                </p:cNvPr>
                <p:cNvSpPr/>
                <p:nvPr/>
              </p:nvSpPr>
              <p:spPr>
                <a:xfrm>
                  <a:off x="2984689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71" name="Полилиния 370">
                  <a:extLst>
                    <a:ext uri="{FF2B5EF4-FFF2-40B4-BE49-F238E27FC236}">
                      <a16:creationId xmlns:a16="http://schemas.microsoft.com/office/drawing/2014/main" id="{697AEA21-D996-1023-B12D-9B8C687D5197}"/>
                    </a:ext>
                  </a:extLst>
                </p:cNvPr>
                <p:cNvSpPr/>
                <p:nvPr/>
              </p:nvSpPr>
              <p:spPr>
                <a:xfrm>
                  <a:off x="3167038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72" name="Полилиния 371">
                  <a:extLst>
                    <a:ext uri="{FF2B5EF4-FFF2-40B4-BE49-F238E27FC236}">
                      <a16:creationId xmlns:a16="http://schemas.microsoft.com/office/drawing/2014/main" id="{5F870608-B66C-73EF-076F-A942022429F8}"/>
                    </a:ext>
                  </a:extLst>
                </p:cNvPr>
                <p:cNvSpPr/>
                <p:nvPr/>
              </p:nvSpPr>
              <p:spPr>
                <a:xfrm rot="-5400000">
                  <a:off x="3440561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73" name="Полилиния 372">
                  <a:extLst>
                    <a:ext uri="{FF2B5EF4-FFF2-40B4-BE49-F238E27FC236}">
                      <a16:creationId xmlns:a16="http://schemas.microsoft.com/office/drawing/2014/main" id="{10A814B6-D89E-57CA-A468-324B7F931939}"/>
                    </a:ext>
                  </a:extLst>
                </p:cNvPr>
                <p:cNvSpPr/>
                <p:nvPr/>
              </p:nvSpPr>
              <p:spPr>
                <a:xfrm rot="-5400000">
                  <a:off x="1343551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74" name="Полилиния 373">
                  <a:extLst>
                    <a:ext uri="{FF2B5EF4-FFF2-40B4-BE49-F238E27FC236}">
                      <a16:creationId xmlns:a16="http://schemas.microsoft.com/office/drawing/2014/main" id="{64E4683F-B3F1-B362-905F-82A8E8983246}"/>
                    </a:ext>
                  </a:extLst>
                </p:cNvPr>
                <p:cNvSpPr/>
                <p:nvPr/>
              </p:nvSpPr>
              <p:spPr>
                <a:xfrm>
                  <a:off x="1434726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75" name="Полилиния 374">
                  <a:extLst>
                    <a:ext uri="{FF2B5EF4-FFF2-40B4-BE49-F238E27FC236}">
                      <a16:creationId xmlns:a16="http://schemas.microsoft.com/office/drawing/2014/main" id="{F1EC3D97-B884-8270-6D0B-9B3E0B00E8E0}"/>
                    </a:ext>
                  </a:extLst>
                </p:cNvPr>
                <p:cNvSpPr/>
                <p:nvPr/>
              </p:nvSpPr>
              <p:spPr>
                <a:xfrm rot="5400000">
                  <a:off x="1617074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76" name="Полилиния 375">
                  <a:extLst>
                    <a:ext uri="{FF2B5EF4-FFF2-40B4-BE49-F238E27FC236}">
                      <a16:creationId xmlns:a16="http://schemas.microsoft.com/office/drawing/2014/main" id="{D51B360C-A5CF-968D-2D2E-48D9C93D3938}"/>
                    </a:ext>
                  </a:extLst>
                </p:cNvPr>
                <p:cNvSpPr/>
                <p:nvPr/>
              </p:nvSpPr>
              <p:spPr>
                <a:xfrm>
                  <a:off x="1890597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77" name="Полилиния 376">
                  <a:extLst>
                    <a:ext uri="{FF2B5EF4-FFF2-40B4-BE49-F238E27FC236}">
                      <a16:creationId xmlns:a16="http://schemas.microsoft.com/office/drawing/2014/main" id="{2D8536AA-75E8-45E9-D3B1-274633A2FAC3}"/>
                    </a:ext>
                  </a:extLst>
                </p:cNvPr>
                <p:cNvSpPr/>
                <p:nvPr/>
              </p:nvSpPr>
              <p:spPr>
                <a:xfrm>
                  <a:off x="1981772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78" name="Полилиния 377">
                  <a:extLst>
                    <a:ext uri="{FF2B5EF4-FFF2-40B4-BE49-F238E27FC236}">
                      <a16:creationId xmlns:a16="http://schemas.microsoft.com/office/drawing/2014/main" id="{6CC8C081-B4C1-67D4-96AC-31367F7E92CE}"/>
                    </a:ext>
                  </a:extLst>
                </p:cNvPr>
                <p:cNvSpPr/>
                <p:nvPr/>
              </p:nvSpPr>
              <p:spPr>
                <a:xfrm rot="5400000">
                  <a:off x="2072946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79" name="Полилиния 378">
                  <a:extLst>
                    <a:ext uri="{FF2B5EF4-FFF2-40B4-BE49-F238E27FC236}">
                      <a16:creationId xmlns:a16="http://schemas.microsoft.com/office/drawing/2014/main" id="{0DFA9573-1808-F960-FC71-4C165828E94B}"/>
                    </a:ext>
                  </a:extLst>
                </p:cNvPr>
                <p:cNvSpPr/>
                <p:nvPr/>
              </p:nvSpPr>
              <p:spPr>
                <a:xfrm>
                  <a:off x="2528817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80" name="Полилиния 379">
                  <a:extLst>
                    <a:ext uri="{FF2B5EF4-FFF2-40B4-BE49-F238E27FC236}">
                      <a16:creationId xmlns:a16="http://schemas.microsoft.com/office/drawing/2014/main" id="{DAE9D94B-379F-0FF6-2598-2EC5DF31E39D}"/>
                    </a:ext>
                  </a:extLst>
                </p:cNvPr>
                <p:cNvSpPr/>
                <p:nvPr/>
              </p:nvSpPr>
              <p:spPr>
                <a:xfrm rot="5400000">
                  <a:off x="2619992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81" name="Полилиния 380">
                  <a:extLst>
                    <a:ext uri="{FF2B5EF4-FFF2-40B4-BE49-F238E27FC236}">
                      <a16:creationId xmlns:a16="http://schemas.microsoft.com/office/drawing/2014/main" id="{537B4F89-8837-DE45-8C43-2DAB8E2B3D2C}"/>
                    </a:ext>
                  </a:extLst>
                </p:cNvPr>
                <p:cNvSpPr/>
                <p:nvPr/>
              </p:nvSpPr>
              <p:spPr>
                <a:xfrm>
                  <a:off x="2984689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82" name="Полилиния 381">
                  <a:extLst>
                    <a:ext uri="{FF2B5EF4-FFF2-40B4-BE49-F238E27FC236}">
                      <a16:creationId xmlns:a16="http://schemas.microsoft.com/office/drawing/2014/main" id="{7F5A8AD8-953F-1652-AE8E-F9AD79AD7FDC}"/>
                    </a:ext>
                  </a:extLst>
                </p:cNvPr>
                <p:cNvSpPr/>
                <p:nvPr/>
              </p:nvSpPr>
              <p:spPr>
                <a:xfrm>
                  <a:off x="3167038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83" name="Полилиния 382">
                  <a:extLst>
                    <a:ext uri="{FF2B5EF4-FFF2-40B4-BE49-F238E27FC236}">
                      <a16:creationId xmlns:a16="http://schemas.microsoft.com/office/drawing/2014/main" id="{D2A07368-FF0A-AD82-52B4-B9578CEA64B0}"/>
                    </a:ext>
                  </a:extLst>
                </p:cNvPr>
                <p:cNvSpPr/>
                <p:nvPr/>
              </p:nvSpPr>
              <p:spPr>
                <a:xfrm>
                  <a:off x="3258212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84" name="Полилиния 383">
                  <a:extLst>
                    <a:ext uri="{FF2B5EF4-FFF2-40B4-BE49-F238E27FC236}">
                      <a16:creationId xmlns:a16="http://schemas.microsoft.com/office/drawing/2014/main" id="{AD0C4CC4-B9C4-C361-DC3B-F66F5870A508}"/>
                    </a:ext>
                  </a:extLst>
                </p:cNvPr>
                <p:cNvSpPr/>
                <p:nvPr/>
              </p:nvSpPr>
              <p:spPr>
                <a:xfrm>
                  <a:off x="3349386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85" name="Полилиния 384">
                  <a:extLst>
                    <a:ext uri="{FF2B5EF4-FFF2-40B4-BE49-F238E27FC236}">
                      <a16:creationId xmlns:a16="http://schemas.microsoft.com/office/drawing/2014/main" id="{50BD3AB7-4471-4390-3D47-E314A9EFAF9E}"/>
                    </a:ext>
                  </a:extLst>
                </p:cNvPr>
                <p:cNvSpPr/>
                <p:nvPr/>
              </p:nvSpPr>
              <p:spPr>
                <a:xfrm>
                  <a:off x="3440561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86" name="Полилиния 385">
                  <a:extLst>
                    <a:ext uri="{FF2B5EF4-FFF2-40B4-BE49-F238E27FC236}">
                      <a16:creationId xmlns:a16="http://schemas.microsoft.com/office/drawing/2014/main" id="{920D5CDD-A8F9-D075-DFED-3B9DD8BCD9A2}"/>
                    </a:ext>
                  </a:extLst>
                </p:cNvPr>
                <p:cNvSpPr/>
                <p:nvPr/>
              </p:nvSpPr>
              <p:spPr>
                <a:xfrm rot="-5400000">
                  <a:off x="1252377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87" name="Полилиния 386">
                  <a:extLst>
                    <a:ext uri="{FF2B5EF4-FFF2-40B4-BE49-F238E27FC236}">
                      <a16:creationId xmlns:a16="http://schemas.microsoft.com/office/drawing/2014/main" id="{407C8188-B352-8D87-966A-0F3D3E9BAB80}"/>
                    </a:ext>
                  </a:extLst>
                </p:cNvPr>
                <p:cNvSpPr/>
                <p:nvPr/>
              </p:nvSpPr>
              <p:spPr>
                <a:xfrm>
                  <a:off x="1343551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88" name="Полилиния 387">
                  <a:extLst>
                    <a:ext uri="{FF2B5EF4-FFF2-40B4-BE49-F238E27FC236}">
                      <a16:creationId xmlns:a16="http://schemas.microsoft.com/office/drawing/2014/main" id="{84DCEE82-E6DE-866B-341D-5808DECB84A9}"/>
                    </a:ext>
                  </a:extLst>
                </p:cNvPr>
                <p:cNvSpPr/>
                <p:nvPr/>
              </p:nvSpPr>
              <p:spPr>
                <a:xfrm>
                  <a:off x="1434726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89" name="Полилиния 388">
                  <a:extLst>
                    <a:ext uri="{FF2B5EF4-FFF2-40B4-BE49-F238E27FC236}">
                      <a16:creationId xmlns:a16="http://schemas.microsoft.com/office/drawing/2014/main" id="{9D73BA3B-6F45-067C-EB8A-1329235EED6A}"/>
                    </a:ext>
                  </a:extLst>
                </p:cNvPr>
                <p:cNvSpPr/>
                <p:nvPr/>
              </p:nvSpPr>
              <p:spPr>
                <a:xfrm rot="5400000">
                  <a:off x="1799423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90" name="Полилиния 389">
                  <a:extLst>
                    <a:ext uri="{FF2B5EF4-FFF2-40B4-BE49-F238E27FC236}">
                      <a16:creationId xmlns:a16="http://schemas.microsoft.com/office/drawing/2014/main" id="{E885B7CF-F2B8-ED97-DD9D-8136E56A9D39}"/>
                    </a:ext>
                  </a:extLst>
                </p:cNvPr>
                <p:cNvSpPr/>
                <p:nvPr/>
              </p:nvSpPr>
              <p:spPr>
                <a:xfrm rot="5400000">
                  <a:off x="1981772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91" name="Полилиния 390">
                  <a:extLst>
                    <a:ext uri="{FF2B5EF4-FFF2-40B4-BE49-F238E27FC236}">
                      <a16:creationId xmlns:a16="http://schemas.microsoft.com/office/drawing/2014/main" id="{F8933820-D7C3-4B28-3F3E-E1925D0884B7}"/>
                    </a:ext>
                  </a:extLst>
                </p:cNvPr>
                <p:cNvSpPr/>
                <p:nvPr/>
              </p:nvSpPr>
              <p:spPr>
                <a:xfrm rot="5400000">
                  <a:off x="2255295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92" name="Полилиния 391">
                  <a:extLst>
                    <a:ext uri="{FF2B5EF4-FFF2-40B4-BE49-F238E27FC236}">
                      <a16:creationId xmlns:a16="http://schemas.microsoft.com/office/drawing/2014/main" id="{CADEE86F-8D64-C8CA-9780-7851202A96DE}"/>
                    </a:ext>
                  </a:extLst>
                </p:cNvPr>
                <p:cNvSpPr/>
                <p:nvPr/>
              </p:nvSpPr>
              <p:spPr>
                <a:xfrm rot="-5400000">
                  <a:off x="2437643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93" name="Полилиния 392">
                  <a:extLst>
                    <a:ext uri="{FF2B5EF4-FFF2-40B4-BE49-F238E27FC236}">
                      <a16:creationId xmlns:a16="http://schemas.microsoft.com/office/drawing/2014/main" id="{99FF901F-9BC0-F826-7B18-CCCB3770BF54}"/>
                    </a:ext>
                  </a:extLst>
                </p:cNvPr>
                <p:cNvSpPr/>
                <p:nvPr/>
              </p:nvSpPr>
              <p:spPr>
                <a:xfrm>
                  <a:off x="2528817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94" name="Полилиния 393">
                  <a:extLst>
                    <a:ext uri="{FF2B5EF4-FFF2-40B4-BE49-F238E27FC236}">
                      <a16:creationId xmlns:a16="http://schemas.microsoft.com/office/drawing/2014/main" id="{377A9E04-8F00-971E-B250-B594E4A677D6}"/>
                    </a:ext>
                  </a:extLst>
                </p:cNvPr>
                <p:cNvSpPr/>
                <p:nvPr/>
              </p:nvSpPr>
              <p:spPr>
                <a:xfrm rot="5400000">
                  <a:off x="2711166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95" name="Полилиния 394">
                  <a:extLst>
                    <a:ext uri="{FF2B5EF4-FFF2-40B4-BE49-F238E27FC236}">
                      <a16:creationId xmlns:a16="http://schemas.microsoft.com/office/drawing/2014/main" id="{66C55E7E-D8ED-7C40-FF5C-1472A84E9F9E}"/>
                    </a:ext>
                  </a:extLst>
                </p:cNvPr>
                <p:cNvSpPr/>
                <p:nvPr/>
              </p:nvSpPr>
              <p:spPr>
                <a:xfrm rot="-5400000">
                  <a:off x="2893515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96" name="Полилиния 395">
                  <a:extLst>
                    <a:ext uri="{FF2B5EF4-FFF2-40B4-BE49-F238E27FC236}">
                      <a16:creationId xmlns:a16="http://schemas.microsoft.com/office/drawing/2014/main" id="{F5D29B89-0A9F-6BF8-7061-D45AC9552166}"/>
                    </a:ext>
                  </a:extLst>
                </p:cNvPr>
                <p:cNvSpPr/>
                <p:nvPr/>
              </p:nvSpPr>
              <p:spPr>
                <a:xfrm rot="5400000">
                  <a:off x="2984689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97" name="Полилиния 396">
                  <a:extLst>
                    <a:ext uri="{FF2B5EF4-FFF2-40B4-BE49-F238E27FC236}">
                      <a16:creationId xmlns:a16="http://schemas.microsoft.com/office/drawing/2014/main" id="{C33B736E-841B-CCD2-83FE-714F445EED79}"/>
                    </a:ext>
                  </a:extLst>
                </p:cNvPr>
                <p:cNvSpPr/>
                <p:nvPr/>
              </p:nvSpPr>
              <p:spPr>
                <a:xfrm rot="5400000">
                  <a:off x="3440561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98" name="Полилиния 397">
                  <a:extLst>
                    <a:ext uri="{FF2B5EF4-FFF2-40B4-BE49-F238E27FC236}">
                      <a16:creationId xmlns:a16="http://schemas.microsoft.com/office/drawing/2014/main" id="{FD27AA51-9DE1-502C-DC37-A3DAF39B831E}"/>
                    </a:ext>
                  </a:extLst>
                </p:cNvPr>
                <p:cNvSpPr/>
                <p:nvPr/>
              </p:nvSpPr>
              <p:spPr>
                <a:xfrm>
                  <a:off x="1252377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99" name="Полилиния 398">
                  <a:extLst>
                    <a:ext uri="{FF2B5EF4-FFF2-40B4-BE49-F238E27FC236}">
                      <a16:creationId xmlns:a16="http://schemas.microsoft.com/office/drawing/2014/main" id="{04C296A4-1CFA-53A6-C15D-0949629C960F}"/>
                    </a:ext>
                  </a:extLst>
                </p:cNvPr>
                <p:cNvSpPr/>
                <p:nvPr/>
              </p:nvSpPr>
              <p:spPr>
                <a:xfrm>
                  <a:off x="1343551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00" name="Полилиния 399">
                  <a:extLst>
                    <a:ext uri="{FF2B5EF4-FFF2-40B4-BE49-F238E27FC236}">
                      <a16:creationId xmlns:a16="http://schemas.microsoft.com/office/drawing/2014/main" id="{997F24EB-F87C-A941-0AFC-75AC26A69885}"/>
                    </a:ext>
                  </a:extLst>
                </p:cNvPr>
                <p:cNvSpPr/>
                <p:nvPr/>
              </p:nvSpPr>
              <p:spPr>
                <a:xfrm>
                  <a:off x="1434726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01" name="Полилиния 400">
                  <a:extLst>
                    <a:ext uri="{FF2B5EF4-FFF2-40B4-BE49-F238E27FC236}">
                      <a16:creationId xmlns:a16="http://schemas.microsoft.com/office/drawing/2014/main" id="{9E6528F4-EA01-2361-B7CE-E5526CDC2562}"/>
                    </a:ext>
                  </a:extLst>
                </p:cNvPr>
                <p:cNvSpPr/>
                <p:nvPr/>
              </p:nvSpPr>
              <p:spPr>
                <a:xfrm rot="5400000">
                  <a:off x="1708249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02" name="Полилиния 401">
                  <a:extLst>
                    <a:ext uri="{FF2B5EF4-FFF2-40B4-BE49-F238E27FC236}">
                      <a16:creationId xmlns:a16="http://schemas.microsoft.com/office/drawing/2014/main" id="{E7B63799-9A41-E2B3-0B2E-F8E0419DF241}"/>
                    </a:ext>
                  </a:extLst>
                </p:cNvPr>
                <p:cNvSpPr/>
                <p:nvPr/>
              </p:nvSpPr>
              <p:spPr>
                <a:xfrm rot="5400000">
                  <a:off x="1890597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03" name="Полилиния 402">
                  <a:extLst>
                    <a:ext uri="{FF2B5EF4-FFF2-40B4-BE49-F238E27FC236}">
                      <a16:creationId xmlns:a16="http://schemas.microsoft.com/office/drawing/2014/main" id="{2C07C8F7-60FA-D511-EA38-93941BBF0707}"/>
                    </a:ext>
                  </a:extLst>
                </p:cNvPr>
                <p:cNvSpPr/>
                <p:nvPr/>
              </p:nvSpPr>
              <p:spPr>
                <a:xfrm rot="5400000">
                  <a:off x="2072946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04" name="Полилиния 403">
                  <a:extLst>
                    <a:ext uri="{FF2B5EF4-FFF2-40B4-BE49-F238E27FC236}">
                      <a16:creationId xmlns:a16="http://schemas.microsoft.com/office/drawing/2014/main" id="{251FC07A-D8B9-E9EC-C752-088F60C2FF77}"/>
                    </a:ext>
                  </a:extLst>
                </p:cNvPr>
                <p:cNvSpPr/>
                <p:nvPr/>
              </p:nvSpPr>
              <p:spPr>
                <a:xfrm rot="-5400000">
                  <a:off x="2346469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05" name="Полилиния 404">
                  <a:extLst>
                    <a:ext uri="{FF2B5EF4-FFF2-40B4-BE49-F238E27FC236}">
                      <a16:creationId xmlns:a16="http://schemas.microsoft.com/office/drawing/2014/main" id="{5B24A9AD-FA16-F050-C061-5B6791AD62C9}"/>
                    </a:ext>
                  </a:extLst>
                </p:cNvPr>
                <p:cNvSpPr/>
                <p:nvPr/>
              </p:nvSpPr>
              <p:spPr>
                <a:xfrm>
                  <a:off x="2437643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06" name="Полилиния 405">
                  <a:extLst>
                    <a:ext uri="{FF2B5EF4-FFF2-40B4-BE49-F238E27FC236}">
                      <a16:creationId xmlns:a16="http://schemas.microsoft.com/office/drawing/2014/main" id="{80E95F02-44FA-FC44-1AE3-DB94F709FAEB}"/>
                    </a:ext>
                  </a:extLst>
                </p:cNvPr>
                <p:cNvSpPr/>
                <p:nvPr/>
              </p:nvSpPr>
              <p:spPr>
                <a:xfrm>
                  <a:off x="2528817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07" name="Полилиния 406">
                  <a:extLst>
                    <a:ext uri="{FF2B5EF4-FFF2-40B4-BE49-F238E27FC236}">
                      <a16:creationId xmlns:a16="http://schemas.microsoft.com/office/drawing/2014/main" id="{B669CE76-5FC2-D58F-9EB9-0C8B99F9F142}"/>
                    </a:ext>
                  </a:extLst>
                </p:cNvPr>
                <p:cNvSpPr/>
                <p:nvPr/>
              </p:nvSpPr>
              <p:spPr>
                <a:xfrm>
                  <a:off x="2619992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08" name="Полилиния 407">
                  <a:extLst>
                    <a:ext uri="{FF2B5EF4-FFF2-40B4-BE49-F238E27FC236}">
                      <a16:creationId xmlns:a16="http://schemas.microsoft.com/office/drawing/2014/main" id="{D82AD311-5E0E-EB1A-6FB7-01B5A7B2A103}"/>
                    </a:ext>
                  </a:extLst>
                </p:cNvPr>
                <p:cNvSpPr/>
                <p:nvPr/>
              </p:nvSpPr>
              <p:spPr>
                <a:xfrm rot="-5400000">
                  <a:off x="3075863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09" name="Полилиния 408">
                  <a:extLst>
                    <a:ext uri="{FF2B5EF4-FFF2-40B4-BE49-F238E27FC236}">
                      <a16:creationId xmlns:a16="http://schemas.microsoft.com/office/drawing/2014/main" id="{3251734A-5912-D77F-5065-40FE46997240}"/>
                    </a:ext>
                  </a:extLst>
                </p:cNvPr>
                <p:cNvSpPr/>
                <p:nvPr/>
              </p:nvSpPr>
              <p:spPr>
                <a:xfrm rot="-5400000">
                  <a:off x="3349386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10" name="Полилиния 409">
                  <a:extLst>
                    <a:ext uri="{FF2B5EF4-FFF2-40B4-BE49-F238E27FC236}">
                      <a16:creationId xmlns:a16="http://schemas.microsoft.com/office/drawing/2014/main" id="{E7666395-B770-7854-B6C1-3292D9D68FD1}"/>
                    </a:ext>
                  </a:extLst>
                </p:cNvPr>
                <p:cNvSpPr/>
                <p:nvPr/>
              </p:nvSpPr>
              <p:spPr>
                <a:xfrm>
                  <a:off x="1252377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11" name="Полилиния 410">
                  <a:extLst>
                    <a:ext uri="{FF2B5EF4-FFF2-40B4-BE49-F238E27FC236}">
                      <a16:creationId xmlns:a16="http://schemas.microsoft.com/office/drawing/2014/main" id="{46549A61-CEFE-49D7-C7AB-6276D3D322F1}"/>
                    </a:ext>
                  </a:extLst>
                </p:cNvPr>
                <p:cNvSpPr/>
                <p:nvPr/>
              </p:nvSpPr>
              <p:spPr>
                <a:xfrm>
                  <a:off x="1343551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12" name="Полилиния 411">
                  <a:extLst>
                    <a:ext uri="{FF2B5EF4-FFF2-40B4-BE49-F238E27FC236}">
                      <a16:creationId xmlns:a16="http://schemas.microsoft.com/office/drawing/2014/main" id="{E94BB023-A5DB-9495-E8F7-4326853C6251}"/>
                    </a:ext>
                  </a:extLst>
                </p:cNvPr>
                <p:cNvSpPr/>
                <p:nvPr/>
              </p:nvSpPr>
              <p:spPr>
                <a:xfrm>
                  <a:off x="1434726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13" name="Полилиния 412">
                  <a:extLst>
                    <a:ext uri="{FF2B5EF4-FFF2-40B4-BE49-F238E27FC236}">
                      <a16:creationId xmlns:a16="http://schemas.microsoft.com/office/drawing/2014/main" id="{912DFFF0-67FF-7285-A653-834D925F20C6}"/>
                    </a:ext>
                  </a:extLst>
                </p:cNvPr>
                <p:cNvSpPr/>
                <p:nvPr/>
              </p:nvSpPr>
              <p:spPr>
                <a:xfrm rot="5400000">
                  <a:off x="1617074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14" name="Полилиния 413">
                  <a:extLst>
                    <a:ext uri="{FF2B5EF4-FFF2-40B4-BE49-F238E27FC236}">
                      <a16:creationId xmlns:a16="http://schemas.microsoft.com/office/drawing/2014/main" id="{AF6BAA4E-78A9-7ECF-04EE-6F231567E8D0}"/>
                    </a:ext>
                  </a:extLst>
                </p:cNvPr>
                <p:cNvSpPr/>
                <p:nvPr/>
              </p:nvSpPr>
              <p:spPr>
                <a:xfrm rot="5400000">
                  <a:off x="1799423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15" name="Полилиния 414">
                  <a:extLst>
                    <a:ext uri="{FF2B5EF4-FFF2-40B4-BE49-F238E27FC236}">
                      <a16:creationId xmlns:a16="http://schemas.microsoft.com/office/drawing/2014/main" id="{8652F349-6885-7C9A-32D5-DF336BDCE9A3}"/>
                    </a:ext>
                  </a:extLst>
                </p:cNvPr>
                <p:cNvSpPr/>
                <p:nvPr/>
              </p:nvSpPr>
              <p:spPr>
                <a:xfrm rot="-5400000">
                  <a:off x="2164120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16" name="Полилиния 415">
                  <a:extLst>
                    <a:ext uri="{FF2B5EF4-FFF2-40B4-BE49-F238E27FC236}">
                      <a16:creationId xmlns:a16="http://schemas.microsoft.com/office/drawing/2014/main" id="{D0C96901-BC56-4335-890B-2DBF7246AFB8}"/>
                    </a:ext>
                  </a:extLst>
                </p:cNvPr>
                <p:cNvSpPr/>
                <p:nvPr/>
              </p:nvSpPr>
              <p:spPr>
                <a:xfrm rot="5400000">
                  <a:off x="2346469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17" name="Полилиния 416">
                  <a:extLst>
                    <a:ext uri="{FF2B5EF4-FFF2-40B4-BE49-F238E27FC236}">
                      <a16:creationId xmlns:a16="http://schemas.microsoft.com/office/drawing/2014/main" id="{E32009BF-5208-7384-F9AC-F8CF90F67C57}"/>
                    </a:ext>
                  </a:extLst>
                </p:cNvPr>
                <p:cNvSpPr/>
                <p:nvPr/>
              </p:nvSpPr>
              <p:spPr>
                <a:xfrm>
                  <a:off x="2528817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18" name="Полилиния 417">
                  <a:extLst>
                    <a:ext uri="{FF2B5EF4-FFF2-40B4-BE49-F238E27FC236}">
                      <a16:creationId xmlns:a16="http://schemas.microsoft.com/office/drawing/2014/main" id="{EE310F78-F12D-2FD4-C926-531683D8F7DA}"/>
                    </a:ext>
                  </a:extLst>
                </p:cNvPr>
                <p:cNvSpPr/>
                <p:nvPr/>
              </p:nvSpPr>
              <p:spPr>
                <a:xfrm rot="5400000">
                  <a:off x="2619992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19" name="Полилиния 418">
                  <a:extLst>
                    <a:ext uri="{FF2B5EF4-FFF2-40B4-BE49-F238E27FC236}">
                      <a16:creationId xmlns:a16="http://schemas.microsoft.com/office/drawing/2014/main" id="{63CA6FE1-EAD8-22D6-EE9A-4CAEDD44D1DD}"/>
                    </a:ext>
                  </a:extLst>
                </p:cNvPr>
                <p:cNvSpPr/>
                <p:nvPr/>
              </p:nvSpPr>
              <p:spPr>
                <a:xfrm rot="-5400000">
                  <a:off x="2802340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20" name="Полилиния 419">
                  <a:extLst>
                    <a:ext uri="{FF2B5EF4-FFF2-40B4-BE49-F238E27FC236}">
                      <a16:creationId xmlns:a16="http://schemas.microsoft.com/office/drawing/2014/main" id="{EBB48BA1-408C-304C-83A0-A349F40B82E2}"/>
                    </a:ext>
                  </a:extLst>
                </p:cNvPr>
                <p:cNvSpPr/>
                <p:nvPr/>
              </p:nvSpPr>
              <p:spPr>
                <a:xfrm>
                  <a:off x="3075863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21" name="Полилиния 420">
                  <a:extLst>
                    <a:ext uri="{FF2B5EF4-FFF2-40B4-BE49-F238E27FC236}">
                      <a16:creationId xmlns:a16="http://schemas.microsoft.com/office/drawing/2014/main" id="{2C862FE6-39DE-AE9D-EB6E-6B322C693F9B}"/>
                    </a:ext>
                  </a:extLst>
                </p:cNvPr>
                <p:cNvSpPr/>
                <p:nvPr/>
              </p:nvSpPr>
              <p:spPr>
                <a:xfrm>
                  <a:off x="3167038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22" name="Полилиния 421">
                  <a:extLst>
                    <a:ext uri="{FF2B5EF4-FFF2-40B4-BE49-F238E27FC236}">
                      <a16:creationId xmlns:a16="http://schemas.microsoft.com/office/drawing/2014/main" id="{C8BEAA2F-7D8D-7584-5A13-AA12FA0E1CAB}"/>
                    </a:ext>
                  </a:extLst>
                </p:cNvPr>
                <p:cNvSpPr/>
                <p:nvPr/>
              </p:nvSpPr>
              <p:spPr>
                <a:xfrm>
                  <a:off x="3258212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23" name="Полилиния 422">
                  <a:extLst>
                    <a:ext uri="{FF2B5EF4-FFF2-40B4-BE49-F238E27FC236}">
                      <a16:creationId xmlns:a16="http://schemas.microsoft.com/office/drawing/2014/main" id="{419C0731-13F3-74EF-D97B-8A319E32335E}"/>
                    </a:ext>
                  </a:extLst>
                </p:cNvPr>
                <p:cNvSpPr/>
                <p:nvPr/>
              </p:nvSpPr>
              <p:spPr>
                <a:xfrm>
                  <a:off x="3349386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24" name="Полилиния 423">
                  <a:extLst>
                    <a:ext uri="{FF2B5EF4-FFF2-40B4-BE49-F238E27FC236}">
                      <a16:creationId xmlns:a16="http://schemas.microsoft.com/office/drawing/2014/main" id="{D24BAF2F-0F40-BD71-45F0-5BEB672536BA}"/>
                    </a:ext>
                  </a:extLst>
                </p:cNvPr>
                <p:cNvSpPr/>
                <p:nvPr/>
              </p:nvSpPr>
              <p:spPr>
                <a:xfrm>
                  <a:off x="3440561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25" name="Полилиния 424">
                  <a:extLst>
                    <a:ext uri="{FF2B5EF4-FFF2-40B4-BE49-F238E27FC236}">
                      <a16:creationId xmlns:a16="http://schemas.microsoft.com/office/drawing/2014/main" id="{C876C599-21B5-D9BD-7986-6B2EFD22A799}"/>
                    </a:ext>
                  </a:extLst>
                </p:cNvPr>
                <p:cNvSpPr/>
                <p:nvPr/>
              </p:nvSpPr>
              <p:spPr>
                <a:xfrm>
                  <a:off x="1252377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26" name="Полилиния 425">
                  <a:extLst>
                    <a:ext uri="{FF2B5EF4-FFF2-40B4-BE49-F238E27FC236}">
                      <a16:creationId xmlns:a16="http://schemas.microsoft.com/office/drawing/2014/main" id="{2FA32010-B7E5-2651-9EF6-8D3923B68D70}"/>
                    </a:ext>
                  </a:extLst>
                </p:cNvPr>
                <p:cNvSpPr/>
                <p:nvPr/>
              </p:nvSpPr>
              <p:spPr>
                <a:xfrm>
                  <a:off x="1434726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27" name="Полилиния 426">
                  <a:extLst>
                    <a:ext uri="{FF2B5EF4-FFF2-40B4-BE49-F238E27FC236}">
                      <a16:creationId xmlns:a16="http://schemas.microsoft.com/office/drawing/2014/main" id="{BF6F4805-4B1C-E90A-A4BB-96587E8F64BC}"/>
                    </a:ext>
                  </a:extLst>
                </p:cNvPr>
                <p:cNvSpPr/>
                <p:nvPr/>
              </p:nvSpPr>
              <p:spPr>
                <a:xfrm rot="5400000">
                  <a:off x="1525900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28" name="Полилиния 427">
                  <a:extLst>
                    <a:ext uri="{FF2B5EF4-FFF2-40B4-BE49-F238E27FC236}">
                      <a16:creationId xmlns:a16="http://schemas.microsoft.com/office/drawing/2014/main" id="{65A9EAF1-D28F-745F-ADCD-E68CA01D0D53}"/>
                    </a:ext>
                  </a:extLst>
                </p:cNvPr>
                <p:cNvSpPr/>
                <p:nvPr/>
              </p:nvSpPr>
              <p:spPr>
                <a:xfrm rot="5400000">
                  <a:off x="2164120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29" name="Полилиния 428">
                  <a:extLst>
                    <a:ext uri="{FF2B5EF4-FFF2-40B4-BE49-F238E27FC236}">
                      <a16:creationId xmlns:a16="http://schemas.microsoft.com/office/drawing/2014/main" id="{DFA42159-49DF-B35D-E4AE-43A5758EBAAF}"/>
                    </a:ext>
                  </a:extLst>
                </p:cNvPr>
                <p:cNvSpPr/>
                <p:nvPr/>
              </p:nvSpPr>
              <p:spPr>
                <a:xfrm rot="-5400000">
                  <a:off x="2437643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30" name="Полилиния 429">
                  <a:extLst>
                    <a:ext uri="{FF2B5EF4-FFF2-40B4-BE49-F238E27FC236}">
                      <a16:creationId xmlns:a16="http://schemas.microsoft.com/office/drawing/2014/main" id="{52EE79E3-6A79-78AB-738C-7C18D313B490}"/>
                    </a:ext>
                  </a:extLst>
                </p:cNvPr>
                <p:cNvSpPr/>
                <p:nvPr/>
              </p:nvSpPr>
              <p:spPr>
                <a:xfrm>
                  <a:off x="2802340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31" name="Полилиния 430">
                  <a:extLst>
                    <a:ext uri="{FF2B5EF4-FFF2-40B4-BE49-F238E27FC236}">
                      <a16:creationId xmlns:a16="http://schemas.microsoft.com/office/drawing/2014/main" id="{2B1BD3E6-54D9-6302-D089-69750D080804}"/>
                    </a:ext>
                  </a:extLst>
                </p:cNvPr>
                <p:cNvSpPr/>
                <p:nvPr/>
              </p:nvSpPr>
              <p:spPr>
                <a:xfrm rot="-5400000">
                  <a:off x="2984689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32" name="Полилиния 431">
                  <a:extLst>
                    <a:ext uri="{FF2B5EF4-FFF2-40B4-BE49-F238E27FC236}">
                      <a16:creationId xmlns:a16="http://schemas.microsoft.com/office/drawing/2014/main" id="{6AE7025C-933D-928C-4460-6BA2481701DA}"/>
                    </a:ext>
                  </a:extLst>
                </p:cNvPr>
                <p:cNvSpPr/>
                <p:nvPr/>
              </p:nvSpPr>
              <p:spPr>
                <a:xfrm>
                  <a:off x="3167038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33" name="Полилиния 432">
                  <a:extLst>
                    <a:ext uri="{FF2B5EF4-FFF2-40B4-BE49-F238E27FC236}">
                      <a16:creationId xmlns:a16="http://schemas.microsoft.com/office/drawing/2014/main" id="{D102FADC-9566-757C-2A5A-B148AD02662A}"/>
                    </a:ext>
                  </a:extLst>
                </p:cNvPr>
                <p:cNvSpPr/>
                <p:nvPr/>
              </p:nvSpPr>
              <p:spPr>
                <a:xfrm>
                  <a:off x="3258212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34" name="Полилиния 433">
                  <a:extLst>
                    <a:ext uri="{FF2B5EF4-FFF2-40B4-BE49-F238E27FC236}">
                      <a16:creationId xmlns:a16="http://schemas.microsoft.com/office/drawing/2014/main" id="{8BFAD92A-A200-B51C-2849-EE2BFB0A7BBA}"/>
                    </a:ext>
                  </a:extLst>
                </p:cNvPr>
                <p:cNvSpPr/>
                <p:nvPr/>
              </p:nvSpPr>
              <p:spPr>
                <a:xfrm rot="5400000">
                  <a:off x="3440561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35" name="Полилиния 434">
                  <a:extLst>
                    <a:ext uri="{FF2B5EF4-FFF2-40B4-BE49-F238E27FC236}">
                      <a16:creationId xmlns:a16="http://schemas.microsoft.com/office/drawing/2014/main" id="{C703038E-7240-26F2-1D54-D54154786110}"/>
                    </a:ext>
                  </a:extLst>
                </p:cNvPr>
                <p:cNvSpPr/>
                <p:nvPr/>
              </p:nvSpPr>
              <p:spPr>
                <a:xfrm rot="5400000">
                  <a:off x="1252377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36" name="Полилиния 435">
                  <a:extLst>
                    <a:ext uri="{FF2B5EF4-FFF2-40B4-BE49-F238E27FC236}">
                      <a16:creationId xmlns:a16="http://schemas.microsoft.com/office/drawing/2014/main" id="{78CBA57A-934F-4386-7FF3-44708B42CDCA}"/>
                    </a:ext>
                  </a:extLst>
                </p:cNvPr>
                <p:cNvSpPr/>
                <p:nvPr/>
              </p:nvSpPr>
              <p:spPr>
                <a:xfrm rot="-5400000">
                  <a:off x="1617074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37" name="Полилиния 436">
                  <a:extLst>
                    <a:ext uri="{FF2B5EF4-FFF2-40B4-BE49-F238E27FC236}">
                      <a16:creationId xmlns:a16="http://schemas.microsoft.com/office/drawing/2014/main" id="{7159A73E-6630-1283-F601-2F0C5E24B8CF}"/>
                    </a:ext>
                  </a:extLst>
                </p:cNvPr>
                <p:cNvSpPr/>
                <p:nvPr/>
              </p:nvSpPr>
              <p:spPr>
                <a:xfrm>
                  <a:off x="1708249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38" name="Полилиния 437">
                  <a:extLst>
                    <a:ext uri="{FF2B5EF4-FFF2-40B4-BE49-F238E27FC236}">
                      <a16:creationId xmlns:a16="http://schemas.microsoft.com/office/drawing/2014/main" id="{D1AC469A-1CDD-9EBC-EB0A-5F04B3C45981}"/>
                    </a:ext>
                  </a:extLst>
                </p:cNvPr>
                <p:cNvSpPr/>
                <p:nvPr/>
              </p:nvSpPr>
              <p:spPr>
                <a:xfrm rot="5400000">
                  <a:off x="1799423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39" name="Полилиния 438">
                  <a:extLst>
                    <a:ext uri="{FF2B5EF4-FFF2-40B4-BE49-F238E27FC236}">
                      <a16:creationId xmlns:a16="http://schemas.microsoft.com/office/drawing/2014/main" id="{DFC29E96-9621-131B-BED4-40CB02F76AB2}"/>
                    </a:ext>
                  </a:extLst>
                </p:cNvPr>
                <p:cNvSpPr/>
                <p:nvPr/>
              </p:nvSpPr>
              <p:spPr>
                <a:xfrm rot="5400000">
                  <a:off x="2072946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40" name="Полилиния 439">
                  <a:extLst>
                    <a:ext uri="{FF2B5EF4-FFF2-40B4-BE49-F238E27FC236}">
                      <a16:creationId xmlns:a16="http://schemas.microsoft.com/office/drawing/2014/main" id="{1BB111E2-5585-2154-763E-BF72314D3069}"/>
                    </a:ext>
                  </a:extLst>
                </p:cNvPr>
                <p:cNvSpPr/>
                <p:nvPr/>
              </p:nvSpPr>
              <p:spPr>
                <a:xfrm rot="-5400000">
                  <a:off x="2255295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41" name="Полилиния 440">
                  <a:extLst>
                    <a:ext uri="{FF2B5EF4-FFF2-40B4-BE49-F238E27FC236}">
                      <a16:creationId xmlns:a16="http://schemas.microsoft.com/office/drawing/2014/main" id="{C076D3C6-DE9F-4781-CBAD-F62B7052ABF2}"/>
                    </a:ext>
                  </a:extLst>
                </p:cNvPr>
                <p:cNvSpPr/>
                <p:nvPr/>
              </p:nvSpPr>
              <p:spPr>
                <a:xfrm>
                  <a:off x="2437643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42" name="Полилиния 441">
                  <a:extLst>
                    <a:ext uri="{FF2B5EF4-FFF2-40B4-BE49-F238E27FC236}">
                      <a16:creationId xmlns:a16="http://schemas.microsoft.com/office/drawing/2014/main" id="{953562C6-EE2A-EDC6-5DE0-6D620F68A149}"/>
                    </a:ext>
                  </a:extLst>
                </p:cNvPr>
                <p:cNvSpPr/>
                <p:nvPr/>
              </p:nvSpPr>
              <p:spPr>
                <a:xfrm>
                  <a:off x="2528817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43" name="Полилиния 442">
                  <a:extLst>
                    <a:ext uri="{FF2B5EF4-FFF2-40B4-BE49-F238E27FC236}">
                      <a16:creationId xmlns:a16="http://schemas.microsoft.com/office/drawing/2014/main" id="{BAB48E41-EB23-6EA5-2B1A-5AD829553F6C}"/>
                    </a:ext>
                  </a:extLst>
                </p:cNvPr>
                <p:cNvSpPr/>
                <p:nvPr/>
              </p:nvSpPr>
              <p:spPr>
                <a:xfrm>
                  <a:off x="2619992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44" name="Полилиния 443">
                  <a:extLst>
                    <a:ext uri="{FF2B5EF4-FFF2-40B4-BE49-F238E27FC236}">
                      <a16:creationId xmlns:a16="http://schemas.microsoft.com/office/drawing/2014/main" id="{B650F7BD-31D4-D38A-7336-95B2009FDF59}"/>
                    </a:ext>
                  </a:extLst>
                </p:cNvPr>
                <p:cNvSpPr/>
                <p:nvPr/>
              </p:nvSpPr>
              <p:spPr>
                <a:xfrm>
                  <a:off x="2711166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45" name="Полилиния 444">
                  <a:extLst>
                    <a:ext uri="{FF2B5EF4-FFF2-40B4-BE49-F238E27FC236}">
                      <a16:creationId xmlns:a16="http://schemas.microsoft.com/office/drawing/2014/main" id="{F0A2E01B-E02C-669F-2399-414BC984D631}"/>
                    </a:ext>
                  </a:extLst>
                </p:cNvPr>
                <p:cNvSpPr/>
                <p:nvPr/>
              </p:nvSpPr>
              <p:spPr>
                <a:xfrm>
                  <a:off x="2802340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46" name="Полилиния 445">
                  <a:extLst>
                    <a:ext uri="{FF2B5EF4-FFF2-40B4-BE49-F238E27FC236}">
                      <a16:creationId xmlns:a16="http://schemas.microsoft.com/office/drawing/2014/main" id="{4889D106-DA32-17BB-AF62-CB87A884B48C}"/>
                    </a:ext>
                  </a:extLst>
                </p:cNvPr>
                <p:cNvSpPr/>
                <p:nvPr/>
              </p:nvSpPr>
              <p:spPr>
                <a:xfrm>
                  <a:off x="2893515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47" name="Полилиния 446">
                  <a:extLst>
                    <a:ext uri="{FF2B5EF4-FFF2-40B4-BE49-F238E27FC236}">
                      <a16:creationId xmlns:a16="http://schemas.microsoft.com/office/drawing/2014/main" id="{669A016B-EFAC-4A56-F414-01092F128C7F}"/>
                    </a:ext>
                  </a:extLst>
                </p:cNvPr>
                <p:cNvSpPr/>
                <p:nvPr/>
              </p:nvSpPr>
              <p:spPr>
                <a:xfrm>
                  <a:off x="2984689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48" name="Полилиния 447">
                  <a:extLst>
                    <a:ext uri="{FF2B5EF4-FFF2-40B4-BE49-F238E27FC236}">
                      <a16:creationId xmlns:a16="http://schemas.microsoft.com/office/drawing/2014/main" id="{3CDFEBA5-AA6D-DBE3-DE4E-09463DDFD8D3}"/>
                    </a:ext>
                  </a:extLst>
                </p:cNvPr>
                <p:cNvSpPr/>
                <p:nvPr/>
              </p:nvSpPr>
              <p:spPr>
                <a:xfrm>
                  <a:off x="3075863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49" name="Полилиния 448">
                  <a:extLst>
                    <a:ext uri="{FF2B5EF4-FFF2-40B4-BE49-F238E27FC236}">
                      <a16:creationId xmlns:a16="http://schemas.microsoft.com/office/drawing/2014/main" id="{AD649132-AF7F-99BD-8A98-1AF74CCCEA85}"/>
                    </a:ext>
                  </a:extLst>
                </p:cNvPr>
                <p:cNvSpPr/>
                <p:nvPr/>
              </p:nvSpPr>
              <p:spPr>
                <a:xfrm>
                  <a:off x="3258212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50" name="Полилиния 449">
                  <a:extLst>
                    <a:ext uri="{FF2B5EF4-FFF2-40B4-BE49-F238E27FC236}">
                      <a16:creationId xmlns:a16="http://schemas.microsoft.com/office/drawing/2014/main" id="{34308917-6228-E0E4-650A-7CACCB6FE59A}"/>
                    </a:ext>
                  </a:extLst>
                </p:cNvPr>
                <p:cNvSpPr/>
                <p:nvPr/>
              </p:nvSpPr>
              <p:spPr>
                <a:xfrm>
                  <a:off x="3349386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51" name="Полилиния 450">
                  <a:extLst>
                    <a:ext uri="{FF2B5EF4-FFF2-40B4-BE49-F238E27FC236}">
                      <a16:creationId xmlns:a16="http://schemas.microsoft.com/office/drawing/2014/main" id="{E5F30049-B13B-6C42-0A8D-15652CCBFA06}"/>
                    </a:ext>
                  </a:extLst>
                </p:cNvPr>
                <p:cNvSpPr/>
                <p:nvPr/>
              </p:nvSpPr>
              <p:spPr>
                <a:xfrm rot="5400000">
                  <a:off x="1981772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52" name="Полилиния 451">
                  <a:extLst>
                    <a:ext uri="{FF2B5EF4-FFF2-40B4-BE49-F238E27FC236}">
                      <a16:creationId xmlns:a16="http://schemas.microsoft.com/office/drawing/2014/main" id="{199FCD85-390B-A254-2DBB-1066F16F5BC9}"/>
                    </a:ext>
                  </a:extLst>
                </p:cNvPr>
                <p:cNvSpPr/>
                <p:nvPr/>
              </p:nvSpPr>
              <p:spPr>
                <a:xfrm>
                  <a:off x="2255295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53" name="Полилиния 452">
                  <a:extLst>
                    <a:ext uri="{FF2B5EF4-FFF2-40B4-BE49-F238E27FC236}">
                      <a16:creationId xmlns:a16="http://schemas.microsoft.com/office/drawing/2014/main" id="{897F4CB9-A783-433F-285C-BFFBC9DF7B46}"/>
                    </a:ext>
                  </a:extLst>
                </p:cNvPr>
                <p:cNvSpPr/>
                <p:nvPr/>
              </p:nvSpPr>
              <p:spPr>
                <a:xfrm rot="5400000">
                  <a:off x="2346469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54" name="Полилиния 453">
                  <a:extLst>
                    <a:ext uri="{FF2B5EF4-FFF2-40B4-BE49-F238E27FC236}">
                      <a16:creationId xmlns:a16="http://schemas.microsoft.com/office/drawing/2014/main" id="{6EF6FD3D-5C18-62DC-0BAC-46FBC7C11E42}"/>
                    </a:ext>
                  </a:extLst>
                </p:cNvPr>
                <p:cNvSpPr/>
                <p:nvPr/>
              </p:nvSpPr>
              <p:spPr>
                <a:xfrm>
                  <a:off x="2619992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55" name="Полилиния 454">
                  <a:extLst>
                    <a:ext uri="{FF2B5EF4-FFF2-40B4-BE49-F238E27FC236}">
                      <a16:creationId xmlns:a16="http://schemas.microsoft.com/office/drawing/2014/main" id="{D690B4C6-DC86-7063-44E2-2A5BEF2EE192}"/>
                    </a:ext>
                  </a:extLst>
                </p:cNvPr>
                <p:cNvSpPr/>
                <p:nvPr/>
              </p:nvSpPr>
              <p:spPr>
                <a:xfrm>
                  <a:off x="2711166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56" name="Полилиния 455">
                  <a:extLst>
                    <a:ext uri="{FF2B5EF4-FFF2-40B4-BE49-F238E27FC236}">
                      <a16:creationId xmlns:a16="http://schemas.microsoft.com/office/drawing/2014/main" id="{34D51D5E-1D29-94FF-DFEA-BB9AAE22C0A7}"/>
                    </a:ext>
                  </a:extLst>
                </p:cNvPr>
                <p:cNvSpPr/>
                <p:nvPr/>
              </p:nvSpPr>
              <p:spPr>
                <a:xfrm>
                  <a:off x="3075863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57" name="Полилиния 456">
                  <a:extLst>
                    <a:ext uri="{FF2B5EF4-FFF2-40B4-BE49-F238E27FC236}">
                      <a16:creationId xmlns:a16="http://schemas.microsoft.com/office/drawing/2014/main" id="{6572BEEC-E59C-49CA-E937-16718DF4D7E4}"/>
                    </a:ext>
                  </a:extLst>
                </p:cNvPr>
                <p:cNvSpPr/>
                <p:nvPr/>
              </p:nvSpPr>
              <p:spPr>
                <a:xfrm>
                  <a:off x="3258212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58" name="Полилиния 457">
                  <a:extLst>
                    <a:ext uri="{FF2B5EF4-FFF2-40B4-BE49-F238E27FC236}">
                      <a16:creationId xmlns:a16="http://schemas.microsoft.com/office/drawing/2014/main" id="{4DA3ABB5-36B3-4308-FCC0-F4B7D2706011}"/>
                    </a:ext>
                  </a:extLst>
                </p:cNvPr>
                <p:cNvSpPr/>
                <p:nvPr/>
              </p:nvSpPr>
              <p:spPr>
                <a:xfrm rot="5400000">
                  <a:off x="3349386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59" name="Полилиния 458">
                  <a:extLst>
                    <a:ext uri="{FF2B5EF4-FFF2-40B4-BE49-F238E27FC236}">
                      <a16:creationId xmlns:a16="http://schemas.microsoft.com/office/drawing/2014/main" id="{C17DC178-931B-4230-E3A0-F9F4CA7C72D7}"/>
                    </a:ext>
                  </a:extLst>
                </p:cNvPr>
                <p:cNvSpPr/>
                <p:nvPr/>
              </p:nvSpPr>
              <p:spPr>
                <a:xfrm>
                  <a:off x="2255295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60" name="Полилиния 459">
                  <a:extLst>
                    <a:ext uri="{FF2B5EF4-FFF2-40B4-BE49-F238E27FC236}">
                      <a16:creationId xmlns:a16="http://schemas.microsoft.com/office/drawing/2014/main" id="{2DC0F305-7D3C-C03C-D654-A5D228CB14BE}"/>
                    </a:ext>
                  </a:extLst>
                </p:cNvPr>
                <p:cNvSpPr/>
                <p:nvPr/>
              </p:nvSpPr>
              <p:spPr>
                <a:xfrm rot="5400000">
                  <a:off x="2437643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61" name="Полилиния 460">
                  <a:extLst>
                    <a:ext uri="{FF2B5EF4-FFF2-40B4-BE49-F238E27FC236}">
                      <a16:creationId xmlns:a16="http://schemas.microsoft.com/office/drawing/2014/main" id="{D484C7AD-3008-B4C2-E9E1-31D95B0B35CC}"/>
                    </a:ext>
                  </a:extLst>
                </p:cNvPr>
                <p:cNvSpPr/>
                <p:nvPr/>
              </p:nvSpPr>
              <p:spPr>
                <a:xfrm>
                  <a:off x="2711166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62" name="Полилиния 461">
                  <a:extLst>
                    <a:ext uri="{FF2B5EF4-FFF2-40B4-BE49-F238E27FC236}">
                      <a16:creationId xmlns:a16="http://schemas.microsoft.com/office/drawing/2014/main" id="{34CFF3F7-38E5-6128-86B4-D89A3ADA78A0}"/>
                    </a:ext>
                  </a:extLst>
                </p:cNvPr>
                <p:cNvSpPr/>
                <p:nvPr/>
              </p:nvSpPr>
              <p:spPr>
                <a:xfrm rot="5400000">
                  <a:off x="2893515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63" name="Полилиния 462">
                  <a:extLst>
                    <a:ext uri="{FF2B5EF4-FFF2-40B4-BE49-F238E27FC236}">
                      <a16:creationId xmlns:a16="http://schemas.microsoft.com/office/drawing/2014/main" id="{52C0F8CA-49F0-9FAD-0298-5DAB915BE166}"/>
                    </a:ext>
                  </a:extLst>
                </p:cNvPr>
                <p:cNvSpPr/>
                <p:nvPr/>
              </p:nvSpPr>
              <p:spPr>
                <a:xfrm>
                  <a:off x="3075863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64" name="Полилиния 463">
                  <a:extLst>
                    <a:ext uri="{FF2B5EF4-FFF2-40B4-BE49-F238E27FC236}">
                      <a16:creationId xmlns:a16="http://schemas.microsoft.com/office/drawing/2014/main" id="{DCA18E87-BE2A-FFD6-AB92-DBD6B0DB2904}"/>
                    </a:ext>
                  </a:extLst>
                </p:cNvPr>
                <p:cNvSpPr/>
                <p:nvPr/>
              </p:nvSpPr>
              <p:spPr>
                <a:xfrm rot="-5400000">
                  <a:off x="3440561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65" name="Полилиния 464">
                  <a:extLst>
                    <a:ext uri="{FF2B5EF4-FFF2-40B4-BE49-F238E27FC236}">
                      <a16:creationId xmlns:a16="http://schemas.microsoft.com/office/drawing/2014/main" id="{24C9776B-AF91-F1C4-44EC-BDB40BA4D979}"/>
                    </a:ext>
                  </a:extLst>
                </p:cNvPr>
                <p:cNvSpPr/>
                <p:nvPr/>
              </p:nvSpPr>
              <p:spPr>
                <a:xfrm rot="-5400000">
                  <a:off x="1981772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66" name="Полилиния 465">
                  <a:extLst>
                    <a:ext uri="{FF2B5EF4-FFF2-40B4-BE49-F238E27FC236}">
                      <a16:creationId xmlns:a16="http://schemas.microsoft.com/office/drawing/2014/main" id="{A79A59C8-FC07-1E93-79E3-2E1BD653D266}"/>
                    </a:ext>
                  </a:extLst>
                </p:cNvPr>
                <p:cNvSpPr/>
                <p:nvPr/>
              </p:nvSpPr>
              <p:spPr>
                <a:xfrm>
                  <a:off x="2255295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67" name="Полилиния 466">
                  <a:extLst>
                    <a:ext uri="{FF2B5EF4-FFF2-40B4-BE49-F238E27FC236}">
                      <a16:creationId xmlns:a16="http://schemas.microsoft.com/office/drawing/2014/main" id="{DC9B74A7-3E5C-2DBA-1995-EE50737C8E9C}"/>
                    </a:ext>
                  </a:extLst>
                </p:cNvPr>
                <p:cNvSpPr/>
                <p:nvPr/>
              </p:nvSpPr>
              <p:spPr>
                <a:xfrm rot="-5400000">
                  <a:off x="2619992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68" name="Полилиния 467">
                  <a:extLst>
                    <a:ext uri="{FF2B5EF4-FFF2-40B4-BE49-F238E27FC236}">
                      <a16:creationId xmlns:a16="http://schemas.microsoft.com/office/drawing/2014/main" id="{F0E9ABA5-2561-852F-792C-75CB1BE55433}"/>
                    </a:ext>
                  </a:extLst>
                </p:cNvPr>
                <p:cNvSpPr/>
                <p:nvPr/>
              </p:nvSpPr>
              <p:spPr>
                <a:xfrm>
                  <a:off x="2711166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69" name="Полилиния 468">
                  <a:extLst>
                    <a:ext uri="{FF2B5EF4-FFF2-40B4-BE49-F238E27FC236}">
                      <a16:creationId xmlns:a16="http://schemas.microsoft.com/office/drawing/2014/main" id="{7D98AACC-4720-4DB8-F2B3-813567B86AEA}"/>
                    </a:ext>
                  </a:extLst>
                </p:cNvPr>
                <p:cNvSpPr/>
                <p:nvPr/>
              </p:nvSpPr>
              <p:spPr>
                <a:xfrm>
                  <a:off x="3075863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70" name="Полилиния 469">
                  <a:extLst>
                    <a:ext uri="{FF2B5EF4-FFF2-40B4-BE49-F238E27FC236}">
                      <a16:creationId xmlns:a16="http://schemas.microsoft.com/office/drawing/2014/main" id="{866F18DE-CDB9-8034-95C9-DBB4612BDE56}"/>
                    </a:ext>
                  </a:extLst>
                </p:cNvPr>
                <p:cNvSpPr/>
                <p:nvPr/>
              </p:nvSpPr>
              <p:spPr>
                <a:xfrm>
                  <a:off x="3440561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71" name="Полилиния 470">
                  <a:extLst>
                    <a:ext uri="{FF2B5EF4-FFF2-40B4-BE49-F238E27FC236}">
                      <a16:creationId xmlns:a16="http://schemas.microsoft.com/office/drawing/2014/main" id="{E0152B05-038F-39F4-A9F5-E44C098498E3}"/>
                    </a:ext>
                  </a:extLst>
                </p:cNvPr>
                <p:cNvSpPr/>
                <p:nvPr/>
              </p:nvSpPr>
              <p:spPr>
                <a:xfrm>
                  <a:off x="1981772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72" name="Полилиния 471">
                  <a:extLst>
                    <a:ext uri="{FF2B5EF4-FFF2-40B4-BE49-F238E27FC236}">
                      <a16:creationId xmlns:a16="http://schemas.microsoft.com/office/drawing/2014/main" id="{E7755184-16B4-5A40-D522-7996F9195BC3}"/>
                    </a:ext>
                  </a:extLst>
                </p:cNvPr>
                <p:cNvSpPr/>
                <p:nvPr/>
              </p:nvSpPr>
              <p:spPr>
                <a:xfrm rot="-5400000">
                  <a:off x="2164120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73" name="Полилиния 472">
                  <a:extLst>
                    <a:ext uri="{FF2B5EF4-FFF2-40B4-BE49-F238E27FC236}">
                      <a16:creationId xmlns:a16="http://schemas.microsoft.com/office/drawing/2014/main" id="{79C5D166-E17D-6FDB-7011-A81E95EC737C}"/>
                    </a:ext>
                  </a:extLst>
                </p:cNvPr>
                <p:cNvSpPr/>
                <p:nvPr/>
              </p:nvSpPr>
              <p:spPr>
                <a:xfrm>
                  <a:off x="2255295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74" name="Полилиния 473">
                  <a:extLst>
                    <a:ext uri="{FF2B5EF4-FFF2-40B4-BE49-F238E27FC236}">
                      <a16:creationId xmlns:a16="http://schemas.microsoft.com/office/drawing/2014/main" id="{54FD2701-6BEC-6DEA-6C23-C83C680FD4A8}"/>
                    </a:ext>
                  </a:extLst>
                </p:cNvPr>
                <p:cNvSpPr/>
                <p:nvPr/>
              </p:nvSpPr>
              <p:spPr>
                <a:xfrm>
                  <a:off x="2346469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75" name="Полилиния 474">
                  <a:extLst>
                    <a:ext uri="{FF2B5EF4-FFF2-40B4-BE49-F238E27FC236}">
                      <a16:creationId xmlns:a16="http://schemas.microsoft.com/office/drawing/2014/main" id="{2E9171CE-2CB3-C303-94EE-A4FD86E57674}"/>
                    </a:ext>
                  </a:extLst>
                </p:cNvPr>
                <p:cNvSpPr/>
                <p:nvPr/>
              </p:nvSpPr>
              <p:spPr>
                <a:xfrm>
                  <a:off x="2437643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76" name="Полилиния 475">
                  <a:extLst>
                    <a:ext uri="{FF2B5EF4-FFF2-40B4-BE49-F238E27FC236}">
                      <a16:creationId xmlns:a16="http://schemas.microsoft.com/office/drawing/2014/main" id="{108CA8F8-9CA7-5CC7-2ADA-57D255E0947F}"/>
                    </a:ext>
                  </a:extLst>
                </p:cNvPr>
                <p:cNvSpPr/>
                <p:nvPr/>
              </p:nvSpPr>
              <p:spPr>
                <a:xfrm>
                  <a:off x="2528817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77" name="Полилиния 476">
                  <a:extLst>
                    <a:ext uri="{FF2B5EF4-FFF2-40B4-BE49-F238E27FC236}">
                      <a16:creationId xmlns:a16="http://schemas.microsoft.com/office/drawing/2014/main" id="{CF23870E-24D2-7011-255E-6A517090A6D2}"/>
                    </a:ext>
                  </a:extLst>
                </p:cNvPr>
                <p:cNvSpPr/>
                <p:nvPr/>
              </p:nvSpPr>
              <p:spPr>
                <a:xfrm>
                  <a:off x="2619992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78" name="Полилиния 477">
                  <a:extLst>
                    <a:ext uri="{FF2B5EF4-FFF2-40B4-BE49-F238E27FC236}">
                      <a16:creationId xmlns:a16="http://schemas.microsoft.com/office/drawing/2014/main" id="{8DD2981B-E673-A43E-27DB-995E36AA3DCA}"/>
                    </a:ext>
                  </a:extLst>
                </p:cNvPr>
                <p:cNvSpPr/>
                <p:nvPr/>
              </p:nvSpPr>
              <p:spPr>
                <a:xfrm>
                  <a:off x="2711166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79" name="Полилиния 478">
                  <a:extLst>
                    <a:ext uri="{FF2B5EF4-FFF2-40B4-BE49-F238E27FC236}">
                      <a16:creationId xmlns:a16="http://schemas.microsoft.com/office/drawing/2014/main" id="{AFE53074-252F-CBBD-6413-1F44408A022E}"/>
                    </a:ext>
                  </a:extLst>
                </p:cNvPr>
                <p:cNvSpPr/>
                <p:nvPr/>
              </p:nvSpPr>
              <p:spPr>
                <a:xfrm>
                  <a:off x="2802340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80" name="Полилиния 479">
                  <a:extLst>
                    <a:ext uri="{FF2B5EF4-FFF2-40B4-BE49-F238E27FC236}">
                      <a16:creationId xmlns:a16="http://schemas.microsoft.com/office/drawing/2014/main" id="{01815390-9747-EA6A-6CBB-3D797156414D}"/>
                    </a:ext>
                  </a:extLst>
                </p:cNvPr>
                <p:cNvSpPr/>
                <p:nvPr/>
              </p:nvSpPr>
              <p:spPr>
                <a:xfrm>
                  <a:off x="2893515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81" name="Полилиния 480">
                  <a:extLst>
                    <a:ext uri="{FF2B5EF4-FFF2-40B4-BE49-F238E27FC236}">
                      <a16:creationId xmlns:a16="http://schemas.microsoft.com/office/drawing/2014/main" id="{E675C74F-A788-827E-2E02-13E73144996F}"/>
                    </a:ext>
                  </a:extLst>
                </p:cNvPr>
                <p:cNvSpPr/>
                <p:nvPr/>
              </p:nvSpPr>
              <p:spPr>
                <a:xfrm>
                  <a:off x="2984689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82" name="Полилиния 481">
                  <a:extLst>
                    <a:ext uri="{FF2B5EF4-FFF2-40B4-BE49-F238E27FC236}">
                      <a16:creationId xmlns:a16="http://schemas.microsoft.com/office/drawing/2014/main" id="{C88322FD-5695-01CF-8205-0E7F2BAD8741}"/>
                    </a:ext>
                  </a:extLst>
                </p:cNvPr>
                <p:cNvSpPr/>
                <p:nvPr/>
              </p:nvSpPr>
              <p:spPr>
                <a:xfrm rot="5400000">
                  <a:off x="3075863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83" name="Полилиния 482">
                  <a:extLst>
                    <a:ext uri="{FF2B5EF4-FFF2-40B4-BE49-F238E27FC236}">
                      <a16:creationId xmlns:a16="http://schemas.microsoft.com/office/drawing/2014/main" id="{4DF93B8E-BB90-9D96-0040-F6587820336E}"/>
                    </a:ext>
                  </a:extLst>
                </p:cNvPr>
                <p:cNvSpPr/>
                <p:nvPr/>
              </p:nvSpPr>
              <p:spPr>
                <a:xfrm rot="-5400000">
                  <a:off x="3349386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84" name="Полилиния 483">
                  <a:extLst>
                    <a:ext uri="{FF2B5EF4-FFF2-40B4-BE49-F238E27FC236}">
                      <a16:creationId xmlns:a16="http://schemas.microsoft.com/office/drawing/2014/main" id="{D1252B90-EDAD-E7D1-D2C0-66BCBB2417A1}"/>
                    </a:ext>
                  </a:extLst>
                </p:cNvPr>
                <p:cNvSpPr/>
                <p:nvPr/>
              </p:nvSpPr>
              <p:spPr>
                <a:xfrm>
                  <a:off x="3440561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85" name="Полилиния 484">
                  <a:extLst>
                    <a:ext uri="{FF2B5EF4-FFF2-40B4-BE49-F238E27FC236}">
                      <a16:creationId xmlns:a16="http://schemas.microsoft.com/office/drawing/2014/main" id="{B13B014E-EB05-BD56-BFEB-82E354EB9019}"/>
                    </a:ext>
                  </a:extLst>
                </p:cNvPr>
                <p:cNvSpPr/>
                <p:nvPr/>
              </p:nvSpPr>
              <p:spPr>
                <a:xfrm>
                  <a:off x="1981772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86" name="Полилиния 485">
                  <a:extLst>
                    <a:ext uri="{FF2B5EF4-FFF2-40B4-BE49-F238E27FC236}">
                      <a16:creationId xmlns:a16="http://schemas.microsoft.com/office/drawing/2014/main" id="{4C02BB96-F8A9-AEBF-3787-4F3C3E2BD816}"/>
                    </a:ext>
                  </a:extLst>
                </p:cNvPr>
                <p:cNvSpPr/>
                <p:nvPr/>
              </p:nvSpPr>
              <p:spPr>
                <a:xfrm>
                  <a:off x="2072946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87" name="Полилиния 486">
                  <a:extLst>
                    <a:ext uri="{FF2B5EF4-FFF2-40B4-BE49-F238E27FC236}">
                      <a16:creationId xmlns:a16="http://schemas.microsoft.com/office/drawing/2014/main" id="{C55E7972-D1DD-44EE-94BD-498F93C8498F}"/>
                    </a:ext>
                  </a:extLst>
                </p:cNvPr>
                <p:cNvSpPr/>
                <p:nvPr/>
              </p:nvSpPr>
              <p:spPr>
                <a:xfrm>
                  <a:off x="2528817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88" name="Полилиния 487">
                  <a:extLst>
                    <a:ext uri="{FF2B5EF4-FFF2-40B4-BE49-F238E27FC236}">
                      <a16:creationId xmlns:a16="http://schemas.microsoft.com/office/drawing/2014/main" id="{05A82B6C-06EE-6A72-E683-B61DE58CCC4C}"/>
                    </a:ext>
                  </a:extLst>
                </p:cNvPr>
                <p:cNvSpPr/>
                <p:nvPr/>
              </p:nvSpPr>
              <p:spPr>
                <a:xfrm>
                  <a:off x="2619992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89" name="Полилиния 488">
                  <a:extLst>
                    <a:ext uri="{FF2B5EF4-FFF2-40B4-BE49-F238E27FC236}">
                      <a16:creationId xmlns:a16="http://schemas.microsoft.com/office/drawing/2014/main" id="{0E3B68D5-B457-688B-791C-D162351C46FE}"/>
                    </a:ext>
                  </a:extLst>
                </p:cNvPr>
                <p:cNvSpPr/>
                <p:nvPr/>
              </p:nvSpPr>
              <p:spPr>
                <a:xfrm rot="5400000">
                  <a:off x="2893515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90" name="Полилиния 489">
                  <a:extLst>
                    <a:ext uri="{FF2B5EF4-FFF2-40B4-BE49-F238E27FC236}">
                      <a16:creationId xmlns:a16="http://schemas.microsoft.com/office/drawing/2014/main" id="{4F83A436-F153-D6ED-9C2F-39A2ED7B0B77}"/>
                    </a:ext>
                  </a:extLst>
                </p:cNvPr>
                <p:cNvSpPr/>
                <p:nvPr/>
              </p:nvSpPr>
              <p:spPr>
                <a:xfrm>
                  <a:off x="3349386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91" name="Полилиния 490">
                  <a:extLst>
                    <a:ext uri="{FF2B5EF4-FFF2-40B4-BE49-F238E27FC236}">
                      <a16:creationId xmlns:a16="http://schemas.microsoft.com/office/drawing/2014/main" id="{88FA2268-7E93-DAD3-0FE8-BB0DFCC33D16}"/>
                    </a:ext>
                  </a:extLst>
                </p:cNvPr>
                <p:cNvSpPr/>
                <p:nvPr/>
              </p:nvSpPr>
              <p:spPr>
                <a:xfrm>
                  <a:off x="3440561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92" name="Полилиния 491">
                  <a:extLst>
                    <a:ext uri="{FF2B5EF4-FFF2-40B4-BE49-F238E27FC236}">
                      <a16:creationId xmlns:a16="http://schemas.microsoft.com/office/drawing/2014/main" id="{6C87D783-88A7-DA8D-DF48-30EB0E2E5A04}"/>
                    </a:ext>
                  </a:extLst>
                </p:cNvPr>
                <p:cNvSpPr/>
                <p:nvPr/>
              </p:nvSpPr>
              <p:spPr>
                <a:xfrm>
                  <a:off x="2072946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93" name="Полилиния 492">
                  <a:extLst>
                    <a:ext uri="{FF2B5EF4-FFF2-40B4-BE49-F238E27FC236}">
                      <a16:creationId xmlns:a16="http://schemas.microsoft.com/office/drawing/2014/main" id="{D0C919A0-66E6-93CA-78E2-21F9A2A60B0D}"/>
                    </a:ext>
                  </a:extLst>
                </p:cNvPr>
                <p:cNvSpPr/>
                <p:nvPr/>
              </p:nvSpPr>
              <p:spPr>
                <a:xfrm>
                  <a:off x="2164120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94" name="Полилиния 493">
                  <a:extLst>
                    <a:ext uri="{FF2B5EF4-FFF2-40B4-BE49-F238E27FC236}">
                      <a16:creationId xmlns:a16="http://schemas.microsoft.com/office/drawing/2014/main" id="{7D750347-A9E4-32DD-D532-CD0D13AFC6F9}"/>
                    </a:ext>
                  </a:extLst>
                </p:cNvPr>
                <p:cNvSpPr/>
                <p:nvPr/>
              </p:nvSpPr>
              <p:spPr>
                <a:xfrm>
                  <a:off x="2255295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95" name="Полилиния 494">
                  <a:extLst>
                    <a:ext uri="{FF2B5EF4-FFF2-40B4-BE49-F238E27FC236}">
                      <a16:creationId xmlns:a16="http://schemas.microsoft.com/office/drawing/2014/main" id="{14762672-DF5F-1D2E-0CD2-C98C93764B65}"/>
                    </a:ext>
                  </a:extLst>
                </p:cNvPr>
                <p:cNvSpPr/>
                <p:nvPr/>
              </p:nvSpPr>
              <p:spPr>
                <a:xfrm>
                  <a:off x="2346469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96" name="Полилиния 495">
                  <a:extLst>
                    <a:ext uri="{FF2B5EF4-FFF2-40B4-BE49-F238E27FC236}">
                      <a16:creationId xmlns:a16="http://schemas.microsoft.com/office/drawing/2014/main" id="{55E9FB11-65FD-EEAD-8B91-0B61626BA5AE}"/>
                    </a:ext>
                  </a:extLst>
                </p:cNvPr>
                <p:cNvSpPr/>
                <p:nvPr/>
              </p:nvSpPr>
              <p:spPr>
                <a:xfrm>
                  <a:off x="2437643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97" name="Полилиния 496">
                  <a:extLst>
                    <a:ext uri="{FF2B5EF4-FFF2-40B4-BE49-F238E27FC236}">
                      <a16:creationId xmlns:a16="http://schemas.microsoft.com/office/drawing/2014/main" id="{26E62171-9606-0B54-F71D-F7A060E96C33}"/>
                    </a:ext>
                  </a:extLst>
                </p:cNvPr>
                <p:cNvSpPr/>
                <p:nvPr/>
              </p:nvSpPr>
              <p:spPr>
                <a:xfrm>
                  <a:off x="2528817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98" name="Полилиния 497">
                  <a:extLst>
                    <a:ext uri="{FF2B5EF4-FFF2-40B4-BE49-F238E27FC236}">
                      <a16:creationId xmlns:a16="http://schemas.microsoft.com/office/drawing/2014/main" id="{E5580749-9E5C-D641-5AD9-000B9EC458A3}"/>
                    </a:ext>
                  </a:extLst>
                </p:cNvPr>
                <p:cNvSpPr/>
                <p:nvPr/>
              </p:nvSpPr>
              <p:spPr>
                <a:xfrm>
                  <a:off x="2619992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99" name="Полилиния 498">
                  <a:extLst>
                    <a:ext uri="{FF2B5EF4-FFF2-40B4-BE49-F238E27FC236}">
                      <a16:creationId xmlns:a16="http://schemas.microsoft.com/office/drawing/2014/main" id="{F0541000-A2F3-D11D-804A-CDE0BC582B58}"/>
                    </a:ext>
                  </a:extLst>
                </p:cNvPr>
                <p:cNvSpPr/>
                <p:nvPr/>
              </p:nvSpPr>
              <p:spPr>
                <a:xfrm rot="5400000">
                  <a:off x="2802340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00" name="Полилиния 499">
                  <a:extLst>
                    <a:ext uri="{FF2B5EF4-FFF2-40B4-BE49-F238E27FC236}">
                      <a16:creationId xmlns:a16="http://schemas.microsoft.com/office/drawing/2014/main" id="{D880A999-7C6B-4FFE-79E9-F34F8C848D10}"/>
                    </a:ext>
                  </a:extLst>
                </p:cNvPr>
                <p:cNvSpPr/>
                <p:nvPr/>
              </p:nvSpPr>
              <p:spPr>
                <a:xfrm rot="-5400000">
                  <a:off x="3075863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01" name="Полилиния 500">
                  <a:extLst>
                    <a:ext uri="{FF2B5EF4-FFF2-40B4-BE49-F238E27FC236}">
                      <a16:creationId xmlns:a16="http://schemas.microsoft.com/office/drawing/2014/main" id="{DD62985C-5C23-2BCE-4244-21526BA2C362}"/>
                    </a:ext>
                  </a:extLst>
                </p:cNvPr>
                <p:cNvSpPr/>
                <p:nvPr/>
              </p:nvSpPr>
              <p:spPr>
                <a:xfrm>
                  <a:off x="3167038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02" name="Полилиния 501">
                  <a:extLst>
                    <a:ext uri="{FF2B5EF4-FFF2-40B4-BE49-F238E27FC236}">
                      <a16:creationId xmlns:a16="http://schemas.microsoft.com/office/drawing/2014/main" id="{18365F41-EF5C-C133-8BDD-6919B1E90E3C}"/>
                    </a:ext>
                  </a:extLst>
                </p:cNvPr>
                <p:cNvSpPr/>
                <p:nvPr/>
              </p:nvSpPr>
              <p:spPr>
                <a:xfrm>
                  <a:off x="3258212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03" name="Полилиния 502">
                  <a:extLst>
                    <a:ext uri="{FF2B5EF4-FFF2-40B4-BE49-F238E27FC236}">
                      <a16:creationId xmlns:a16="http://schemas.microsoft.com/office/drawing/2014/main" id="{CD57BE02-17C6-D8D6-E0C7-C6666D1E78FA}"/>
                    </a:ext>
                  </a:extLst>
                </p:cNvPr>
                <p:cNvSpPr/>
                <p:nvPr/>
              </p:nvSpPr>
              <p:spPr>
                <a:xfrm>
                  <a:off x="3349386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04" name="Полилиния 503">
                  <a:extLst>
                    <a:ext uri="{FF2B5EF4-FFF2-40B4-BE49-F238E27FC236}">
                      <a16:creationId xmlns:a16="http://schemas.microsoft.com/office/drawing/2014/main" id="{00F1E238-1CCE-9B34-C10A-417C6ED2CE15}"/>
                    </a:ext>
                  </a:extLst>
                </p:cNvPr>
                <p:cNvSpPr/>
                <p:nvPr/>
              </p:nvSpPr>
              <p:spPr>
                <a:xfrm>
                  <a:off x="3440561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05" name="Полилиния 504">
                  <a:extLst>
                    <a:ext uri="{FF2B5EF4-FFF2-40B4-BE49-F238E27FC236}">
                      <a16:creationId xmlns:a16="http://schemas.microsoft.com/office/drawing/2014/main" id="{90A3B3BB-26E2-ADD3-C01E-C4C0B8649F93}"/>
                    </a:ext>
                  </a:extLst>
                </p:cNvPr>
                <p:cNvSpPr/>
                <p:nvPr/>
              </p:nvSpPr>
              <p:spPr>
                <a:xfrm rot="5400000">
                  <a:off x="1981772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06" name="Полилиния 505">
                  <a:extLst>
                    <a:ext uri="{FF2B5EF4-FFF2-40B4-BE49-F238E27FC236}">
                      <a16:creationId xmlns:a16="http://schemas.microsoft.com/office/drawing/2014/main" id="{DBF85EA7-C34D-10E6-C838-8F7B3321831A}"/>
                    </a:ext>
                  </a:extLst>
                </p:cNvPr>
                <p:cNvSpPr/>
                <p:nvPr/>
              </p:nvSpPr>
              <p:spPr>
                <a:xfrm>
                  <a:off x="2164120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07" name="Полилиния 506">
                  <a:extLst>
                    <a:ext uri="{FF2B5EF4-FFF2-40B4-BE49-F238E27FC236}">
                      <a16:creationId xmlns:a16="http://schemas.microsoft.com/office/drawing/2014/main" id="{F116B557-4549-97B7-2043-77360E0D2930}"/>
                    </a:ext>
                  </a:extLst>
                </p:cNvPr>
                <p:cNvSpPr/>
                <p:nvPr/>
              </p:nvSpPr>
              <p:spPr>
                <a:xfrm>
                  <a:off x="2255295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08" name="Полилиния 507">
                  <a:extLst>
                    <a:ext uri="{FF2B5EF4-FFF2-40B4-BE49-F238E27FC236}">
                      <a16:creationId xmlns:a16="http://schemas.microsoft.com/office/drawing/2014/main" id="{2994BB5D-A96A-0B14-22ED-30991E2E1380}"/>
                    </a:ext>
                  </a:extLst>
                </p:cNvPr>
                <p:cNvSpPr/>
                <p:nvPr/>
              </p:nvSpPr>
              <p:spPr>
                <a:xfrm>
                  <a:off x="2437643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09" name="Полилиния 508">
                  <a:extLst>
                    <a:ext uri="{FF2B5EF4-FFF2-40B4-BE49-F238E27FC236}">
                      <a16:creationId xmlns:a16="http://schemas.microsoft.com/office/drawing/2014/main" id="{F9C56E89-C959-EA38-65C2-772FCE23A2FB}"/>
                    </a:ext>
                  </a:extLst>
                </p:cNvPr>
                <p:cNvSpPr/>
                <p:nvPr/>
              </p:nvSpPr>
              <p:spPr>
                <a:xfrm rot="5400000">
                  <a:off x="2619992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10" name="Полилиния 509">
                  <a:extLst>
                    <a:ext uri="{FF2B5EF4-FFF2-40B4-BE49-F238E27FC236}">
                      <a16:creationId xmlns:a16="http://schemas.microsoft.com/office/drawing/2014/main" id="{BC86A4F9-F70E-D451-9C32-ED80AE7833D4}"/>
                    </a:ext>
                  </a:extLst>
                </p:cNvPr>
                <p:cNvSpPr/>
                <p:nvPr/>
              </p:nvSpPr>
              <p:spPr>
                <a:xfrm rot="-5400000">
                  <a:off x="2984689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11" name="Полилиния 510">
                  <a:extLst>
                    <a:ext uri="{FF2B5EF4-FFF2-40B4-BE49-F238E27FC236}">
                      <a16:creationId xmlns:a16="http://schemas.microsoft.com/office/drawing/2014/main" id="{CEFA5ED3-CE76-3814-0E6D-F329577050BE}"/>
                    </a:ext>
                  </a:extLst>
                </p:cNvPr>
                <p:cNvSpPr/>
                <p:nvPr/>
              </p:nvSpPr>
              <p:spPr>
                <a:xfrm rot="5400000">
                  <a:off x="3075863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12" name="Полилиния 511">
                  <a:extLst>
                    <a:ext uri="{FF2B5EF4-FFF2-40B4-BE49-F238E27FC236}">
                      <a16:creationId xmlns:a16="http://schemas.microsoft.com/office/drawing/2014/main" id="{4CB75454-87F6-B97F-5B9E-FD907A4F314D}"/>
                    </a:ext>
                  </a:extLst>
                </p:cNvPr>
                <p:cNvSpPr/>
                <p:nvPr/>
              </p:nvSpPr>
              <p:spPr>
                <a:xfrm>
                  <a:off x="3258212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13" name="Полилиния 512">
                  <a:extLst>
                    <a:ext uri="{FF2B5EF4-FFF2-40B4-BE49-F238E27FC236}">
                      <a16:creationId xmlns:a16="http://schemas.microsoft.com/office/drawing/2014/main" id="{350959DB-254A-23BC-722F-F7EFD42AA006}"/>
                    </a:ext>
                  </a:extLst>
                </p:cNvPr>
                <p:cNvSpPr/>
                <p:nvPr/>
              </p:nvSpPr>
              <p:spPr>
                <a:xfrm>
                  <a:off x="3349386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14" name="Полилиния 513">
                  <a:extLst>
                    <a:ext uri="{FF2B5EF4-FFF2-40B4-BE49-F238E27FC236}">
                      <a16:creationId xmlns:a16="http://schemas.microsoft.com/office/drawing/2014/main" id="{8C79C025-98DC-968C-069D-B4D271503694}"/>
                    </a:ext>
                  </a:extLst>
                </p:cNvPr>
                <p:cNvSpPr/>
                <p:nvPr/>
              </p:nvSpPr>
              <p:spPr>
                <a:xfrm>
                  <a:off x="3440561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15" name="Полилиния 514">
                  <a:extLst>
                    <a:ext uri="{FF2B5EF4-FFF2-40B4-BE49-F238E27FC236}">
                      <a16:creationId xmlns:a16="http://schemas.microsoft.com/office/drawing/2014/main" id="{41E59584-58D4-F7D8-95FE-C86C07678359}"/>
                    </a:ext>
                  </a:extLst>
                </p:cNvPr>
                <p:cNvSpPr/>
                <p:nvPr/>
              </p:nvSpPr>
              <p:spPr>
                <a:xfrm rot="-5400000">
                  <a:off x="2072946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16" name="Полилиния 515">
                  <a:extLst>
                    <a:ext uri="{FF2B5EF4-FFF2-40B4-BE49-F238E27FC236}">
                      <a16:creationId xmlns:a16="http://schemas.microsoft.com/office/drawing/2014/main" id="{4FA70879-D609-563F-6F57-D80A7CD3E74A}"/>
                    </a:ext>
                  </a:extLst>
                </p:cNvPr>
                <p:cNvSpPr/>
                <p:nvPr/>
              </p:nvSpPr>
              <p:spPr>
                <a:xfrm>
                  <a:off x="2164120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17" name="Полилиния 516">
                  <a:extLst>
                    <a:ext uri="{FF2B5EF4-FFF2-40B4-BE49-F238E27FC236}">
                      <a16:creationId xmlns:a16="http://schemas.microsoft.com/office/drawing/2014/main" id="{4D426BFB-11BD-A059-13F3-5C6BE63E6C03}"/>
                    </a:ext>
                  </a:extLst>
                </p:cNvPr>
                <p:cNvSpPr/>
                <p:nvPr/>
              </p:nvSpPr>
              <p:spPr>
                <a:xfrm rot="5400000">
                  <a:off x="2255295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18" name="Полилиния 517">
                  <a:extLst>
                    <a:ext uri="{FF2B5EF4-FFF2-40B4-BE49-F238E27FC236}">
                      <a16:creationId xmlns:a16="http://schemas.microsoft.com/office/drawing/2014/main" id="{7C82CD7C-34B0-F30D-2DC0-8C500890C54B}"/>
                    </a:ext>
                  </a:extLst>
                </p:cNvPr>
                <p:cNvSpPr/>
                <p:nvPr/>
              </p:nvSpPr>
              <p:spPr>
                <a:xfrm>
                  <a:off x="2437643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19" name="Полилиния 518">
                  <a:extLst>
                    <a:ext uri="{FF2B5EF4-FFF2-40B4-BE49-F238E27FC236}">
                      <a16:creationId xmlns:a16="http://schemas.microsoft.com/office/drawing/2014/main" id="{068C8640-41AB-567A-1BB4-8E47A7F6F6D4}"/>
                    </a:ext>
                  </a:extLst>
                </p:cNvPr>
                <p:cNvSpPr/>
                <p:nvPr/>
              </p:nvSpPr>
              <p:spPr>
                <a:xfrm rot="5400000">
                  <a:off x="2528817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20" name="Полилиния 519">
                  <a:extLst>
                    <a:ext uri="{FF2B5EF4-FFF2-40B4-BE49-F238E27FC236}">
                      <a16:creationId xmlns:a16="http://schemas.microsoft.com/office/drawing/2014/main" id="{524EC73E-B56A-B715-A9EB-095F903FC6A8}"/>
                    </a:ext>
                  </a:extLst>
                </p:cNvPr>
                <p:cNvSpPr/>
                <p:nvPr/>
              </p:nvSpPr>
              <p:spPr>
                <a:xfrm rot="-5400000">
                  <a:off x="2711166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21" name="Полилиния 520">
                  <a:extLst>
                    <a:ext uri="{FF2B5EF4-FFF2-40B4-BE49-F238E27FC236}">
                      <a16:creationId xmlns:a16="http://schemas.microsoft.com/office/drawing/2014/main" id="{CBD2BB3B-3076-498F-E907-BE0C84A9F256}"/>
                    </a:ext>
                  </a:extLst>
                </p:cNvPr>
                <p:cNvSpPr/>
                <p:nvPr/>
              </p:nvSpPr>
              <p:spPr>
                <a:xfrm rot="5400000">
                  <a:off x="2802340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22" name="Полилиния 521">
                  <a:extLst>
                    <a:ext uri="{FF2B5EF4-FFF2-40B4-BE49-F238E27FC236}">
                      <a16:creationId xmlns:a16="http://schemas.microsoft.com/office/drawing/2014/main" id="{E3F96F26-0E97-F888-FCE0-E3108D8082CE}"/>
                    </a:ext>
                  </a:extLst>
                </p:cNvPr>
                <p:cNvSpPr/>
                <p:nvPr/>
              </p:nvSpPr>
              <p:spPr>
                <a:xfrm rot="5400000">
                  <a:off x="3167038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23" name="Полилиния 522">
                  <a:extLst>
                    <a:ext uri="{FF2B5EF4-FFF2-40B4-BE49-F238E27FC236}">
                      <a16:creationId xmlns:a16="http://schemas.microsoft.com/office/drawing/2014/main" id="{ABAFAC0D-87CD-06CC-0CC8-E5AB4EFE0ED7}"/>
                    </a:ext>
                  </a:extLst>
                </p:cNvPr>
                <p:cNvSpPr/>
                <p:nvPr/>
              </p:nvSpPr>
              <p:spPr>
                <a:xfrm rot="5400000">
                  <a:off x="3440561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</p:grpSp>
      <p:grpSp>
        <p:nvGrpSpPr>
          <p:cNvPr id="767" name="Рисунок 1327">
            <a:extLst>
              <a:ext uri="{FF2B5EF4-FFF2-40B4-BE49-F238E27FC236}">
                <a16:creationId xmlns:a16="http://schemas.microsoft.com/office/drawing/2014/main" id="{1A8418BF-CC27-A03A-587E-7D3D051A00D0}"/>
              </a:ext>
            </a:extLst>
          </p:cNvPr>
          <p:cNvGrpSpPr/>
          <p:nvPr/>
        </p:nvGrpSpPr>
        <p:grpSpPr>
          <a:xfrm>
            <a:off x="1420219" y="4166809"/>
            <a:ext cx="1850145" cy="1850145"/>
            <a:chOff x="3082636" y="415636"/>
            <a:chExt cx="6026727" cy="6026727"/>
          </a:xfrm>
          <a:solidFill>
            <a:schemeClr val="bg1"/>
          </a:solidFill>
        </p:grpSpPr>
        <p:sp>
          <p:nvSpPr>
            <p:cNvPr id="768" name="Полилиния 767">
              <a:extLst>
                <a:ext uri="{FF2B5EF4-FFF2-40B4-BE49-F238E27FC236}">
                  <a16:creationId xmlns:a16="http://schemas.microsoft.com/office/drawing/2014/main" id="{2CAF8AC1-4CB3-12A6-923A-AF9DA0AAD039}"/>
                </a:ext>
              </a:extLst>
            </p:cNvPr>
            <p:cNvSpPr/>
            <p:nvPr/>
          </p:nvSpPr>
          <p:spPr>
            <a:xfrm rot="-5400000">
              <a:off x="3498272" y="5403272"/>
              <a:ext cx="623454" cy="623454"/>
            </a:xfrm>
            <a:custGeom>
              <a:avLst/>
              <a:gdLst>
                <a:gd name="connsiteX0" fmla="*/ 623455 w 623454"/>
                <a:gd name="connsiteY0" fmla="*/ 311727 h 623454"/>
                <a:gd name="connsiteX1" fmla="*/ 311727 w 623454"/>
                <a:gd name="connsiteY1" fmla="*/ 623455 h 623454"/>
                <a:gd name="connsiteX2" fmla="*/ 0 w 623454"/>
                <a:gd name="connsiteY2" fmla="*/ 311727 h 623454"/>
                <a:gd name="connsiteX3" fmla="*/ 311727 w 623454"/>
                <a:gd name="connsiteY3" fmla="*/ 0 h 623454"/>
                <a:gd name="connsiteX4" fmla="*/ 623455 w 623454"/>
                <a:gd name="connsiteY4" fmla="*/ 311727 h 62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54" h="623454">
                  <a:moveTo>
                    <a:pt x="623455" y="311727"/>
                  </a:moveTo>
                  <a:cubicBezTo>
                    <a:pt x="623455" y="483890"/>
                    <a:pt x="483889" y="623455"/>
                    <a:pt x="311727" y="623455"/>
                  </a:cubicBezTo>
                  <a:cubicBezTo>
                    <a:pt x="139565" y="623455"/>
                    <a:pt x="0" y="483890"/>
                    <a:pt x="0" y="311727"/>
                  </a:cubicBezTo>
                  <a:cubicBezTo>
                    <a:pt x="0" y="139565"/>
                    <a:pt x="139565" y="0"/>
                    <a:pt x="311727" y="0"/>
                  </a:cubicBezTo>
                  <a:cubicBezTo>
                    <a:pt x="483889" y="0"/>
                    <a:pt x="623455" y="139565"/>
                    <a:pt x="623455" y="311727"/>
                  </a:cubicBez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9" name="Полилиния 768">
              <a:extLst>
                <a:ext uri="{FF2B5EF4-FFF2-40B4-BE49-F238E27FC236}">
                  <a16:creationId xmlns:a16="http://schemas.microsoft.com/office/drawing/2014/main" id="{BC58CE7B-6A26-983F-9CA6-D3BCA15EA153}"/>
                </a:ext>
              </a:extLst>
            </p:cNvPr>
            <p:cNvSpPr/>
            <p:nvPr/>
          </p:nvSpPr>
          <p:spPr>
            <a:xfrm rot="-5400000">
              <a:off x="3082636" y="4987636"/>
              <a:ext cx="1454727" cy="1454727"/>
            </a:xfrm>
            <a:custGeom>
              <a:avLst/>
              <a:gdLst>
                <a:gd name="connsiteX0" fmla="*/ 0 w 1454727"/>
                <a:gd name="connsiteY0" fmla="*/ 519545 h 1454727"/>
                <a:gd name="connsiteX1" fmla="*/ 0 w 1454727"/>
                <a:gd name="connsiteY1" fmla="*/ 935182 h 1454727"/>
                <a:gd name="connsiteX2" fmla="*/ 519545 w 1454727"/>
                <a:gd name="connsiteY2" fmla="*/ 1454727 h 1454727"/>
                <a:gd name="connsiteX3" fmla="*/ 935182 w 1454727"/>
                <a:gd name="connsiteY3" fmla="*/ 1454727 h 1454727"/>
                <a:gd name="connsiteX4" fmla="*/ 1454727 w 1454727"/>
                <a:gd name="connsiteY4" fmla="*/ 935182 h 1454727"/>
                <a:gd name="connsiteX5" fmla="*/ 1454727 w 1454727"/>
                <a:gd name="connsiteY5" fmla="*/ 519545 h 1454727"/>
                <a:gd name="connsiteX6" fmla="*/ 935182 w 1454727"/>
                <a:gd name="connsiteY6" fmla="*/ 0 h 1454727"/>
                <a:gd name="connsiteX7" fmla="*/ 519545 w 1454727"/>
                <a:gd name="connsiteY7" fmla="*/ 0 h 1454727"/>
                <a:gd name="connsiteX8" fmla="*/ 0 w 1454727"/>
                <a:gd name="connsiteY8" fmla="*/ 519545 h 1454727"/>
                <a:gd name="connsiteX9" fmla="*/ 519545 w 1454727"/>
                <a:gd name="connsiteY9" fmla="*/ 207818 h 1454727"/>
                <a:gd name="connsiteX10" fmla="*/ 935182 w 1454727"/>
                <a:gd name="connsiteY10" fmla="*/ 207818 h 1454727"/>
                <a:gd name="connsiteX11" fmla="*/ 1246909 w 1454727"/>
                <a:gd name="connsiteY11" fmla="*/ 519545 h 1454727"/>
                <a:gd name="connsiteX12" fmla="*/ 1246909 w 1454727"/>
                <a:gd name="connsiteY12" fmla="*/ 935182 h 1454727"/>
                <a:gd name="connsiteX13" fmla="*/ 935182 w 1454727"/>
                <a:gd name="connsiteY13" fmla="*/ 1246909 h 1454727"/>
                <a:gd name="connsiteX14" fmla="*/ 519545 w 1454727"/>
                <a:gd name="connsiteY14" fmla="*/ 1246909 h 1454727"/>
                <a:gd name="connsiteX15" fmla="*/ 207818 w 1454727"/>
                <a:gd name="connsiteY15" fmla="*/ 935182 h 1454727"/>
                <a:gd name="connsiteX16" fmla="*/ 207818 w 1454727"/>
                <a:gd name="connsiteY16" fmla="*/ 519545 h 1454727"/>
                <a:gd name="connsiteX17" fmla="*/ 519545 w 1454727"/>
                <a:gd name="connsiteY17" fmla="*/ 207818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4727" h="1454727">
                  <a:moveTo>
                    <a:pt x="0" y="519545"/>
                  </a:moveTo>
                  <a:lnTo>
                    <a:pt x="0" y="935182"/>
                  </a:lnTo>
                  <a:cubicBezTo>
                    <a:pt x="0" y="1222119"/>
                    <a:pt x="232608" y="1454727"/>
                    <a:pt x="519545" y="1454727"/>
                  </a:cubicBezTo>
                  <a:lnTo>
                    <a:pt x="935182" y="1454727"/>
                  </a:lnTo>
                  <a:cubicBezTo>
                    <a:pt x="1222119" y="1454727"/>
                    <a:pt x="1454727" y="1222119"/>
                    <a:pt x="1454727" y="935182"/>
                  </a:cubicBezTo>
                  <a:lnTo>
                    <a:pt x="1454727" y="519545"/>
                  </a:lnTo>
                  <a:cubicBezTo>
                    <a:pt x="1454727" y="232609"/>
                    <a:pt x="1222119" y="0"/>
                    <a:pt x="935182" y="0"/>
                  </a:cubicBezTo>
                  <a:lnTo>
                    <a:pt x="519545" y="0"/>
                  </a:lnTo>
                  <a:cubicBezTo>
                    <a:pt x="232608" y="0"/>
                    <a:pt x="0" y="232609"/>
                    <a:pt x="0" y="519545"/>
                  </a:cubicBezTo>
                  <a:moveTo>
                    <a:pt x="519545" y="207818"/>
                  </a:moveTo>
                  <a:lnTo>
                    <a:pt x="935182" y="207818"/>
                  </a:lnTo>
                  <a:cubicBezTo>
                    <a:pt x="1107344" y="207818"/>
                    <a:pt x="1246909" y="347383"/>
                    <a:pt x="1246909" y="519545"/>
                  </a:cubicBezTo>
                  <a:lnTo>
                    <a:pt x="1246909" y="935182"/>
                  </a:lnTo>
                  <a:cubicBezTo>
                    <a:pt x="1246909" y="1107344"/>
                    <a:pt x="1107344" y="1246909"/>
                    <a:pt x="935182" y="1246909"/>
                  </a:cubicBezTo>
                  <a:lnTo>
                    <a:pt x="519545" y="1246909"/>
                  </a:lnTo>
                  <a:cubicBezTo>
                    <a:pt x="347383" y="1246909"/>
                    <a:pt x="207818" y="1107344"/>
                    <a:pt x="207818" y="935182"/>
                  </a:cubicBezTo>
                  <a:lnTo>
                    <a:pt x="207818" y="519545"/>
                  </a:lnTo>
                  <a:cubicBezTo>
                    <a:pt x="207818" y="347383"/>
                    <a:pt x="347383" y="207818"/>
                    <a:pt x="519545" y="207818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0" name="Полилиния 769">
              <a:extLst>
                <a:ext uri="{FF2B5EF4-FFF2-40B4-BE49-F238E27FC236}">
                  <a16:creationId xmlns:a16="http://schemas.microsoft.com/office/drawing/2014/main" id="{60234602-5257-9F17-8C70-AF50006C6048}"/>
                </a:ext>
              </a:extLst>
            </p:cNvPr>
            <p:cNvSpPr/>
            <p:nvPr/>
          </p:nvSpPr>
          <p:spPr>
            <a:xfrm rot="5400000">
              <a:off x="8070272" y="831272"/>
              <a:ext cx="623454" cy="623454"/>
            </a:xfrm>
            <a:custGeom>
              <a:avLst/>
              <a:gdLst>
                <a:gd name="connsiteX0" fmla="*/ 623455 w 623454"/>
                <a:gd name="connsiteY0" fmla="*/ 311727 h 623454"/>
                <a:gd name="connsiteX1" fmla="*/ 311727 w 623454"/>
                <a:gd name="connsiteY1" fmla="*/ 623455 h 623454"/>
                <a:gd name="connsiteX2" fmla="*/ 0 w 623454"/>
                <a:gd name="connsiteY2" fmla="*/ 311727 h 623454"/>
                <a:gd name="connsiteX3" fmla="*/ 311727 w 623454"/>
                <a:gd name="connsiteY3" fmla="*/ 0 h 623454"/>
                <a:gd name="connsiteX4" fmla="*/ 623455 w 623454"/>
                <a:gd name="connsiteY4" fmla="*/ 311727 h 62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54" h="623454">
                  <a:moveTo>
                    <a:pt x="623455" y="311727"/>
                  </a:moveTo>
                  <a:cubicBezTo>
                    <a:pt x="623455" y="483889"/>
                    <a:pt x="483890" y="623455"/>
                    <a:pt x="311727" y="623455"/>
                  </a:cubicBezTo>
                  <a:cubicBezTo>
                    <a:pt x="139565" y="623455"/>
                    <a:pt x="0" y="483889"/>
                    <a:pt x="0" y="311727"/>
                  </a:cubicBezTo>
                  <a:cubicBezTo>
                    <a:pt x="0" y="139565"/>
                    <a:pt x="139565" y="0"/>
                    <a:pt x="311727" y="0"/>
                  </a:cubicBezTo>
                  <a:cubicBezTo>
                    <a:pt x="483890" y="0"/>
                    <a:pt x="623455" y="139565"/>
                    <a:pt x="623455" y="311727"/>
                  </a:cubicBez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1" name="Полилиния 770">
              <a:extLst>
                <a:ext uri="{FF2B5EF4-FFF2-40B4-BE49-F238E27FC236}">
                  <a16:creationId xmlns:a16="http://schemas.microsoft.com/office/drawing/2014/main" id="{E5BCE2B2-8732-9453-4EBD-B7603B886467}"/>
                </a:ext>
              </a:extLst>
            </p:cNvPr>
            <p:cNvSpPr/>
            <p:nvPr/>
          </p:nvSpPr>
          <p:spPr>
            <a:xfrm rot="5400000">
              <a:off x="7654636" y="415636"/>
              <a:ext cx="1454727" cy="1454727"/>
            </a:xfrm>
            <a:custGeom>
              <a:avLst/>
              <a:gdLst>
                <a:gd name="connsiteX0" fmla="*/ 0 w 1454727"/>
                <a:gd name="connsiteY0" fmla="*/ 519545 h 1454727"/>
                <a:gd name="connsiteX1" fmla="*/ 0 w 1454727"/>
                <a:gd name="connsiteY1" fmla="*/ 935182 h 1454727"/>
                <a:gd name="connsiteX2" fmla="*/ 519545 w 1454727"/>
                <a:gd name="connsiteY2" fmla="*/ 1454727 h 1454727"/>
                <a:gd name="connsiteX3" fmla="*/ 935182 w 1454727"/>
                <a:gd name="connsiteY3" fmla="*/ 1454727 h 1454727"/>
                <a:gd name="connsiteX4" fmla="*/ 1454727 w 1454727"/>
                <a:gd name="connsiteY4" fmla="*/ 935182 h 1454727"/>
                <a:gd name="connsiteX5" fmla="*/ 1454727 w 1454727"/>
                <a:gd name="connsiteY5" fmla="*/ 519545 h 1454727"/>
                <a:gd name="connsiteX6" fmla="*/ 935182 w 1454727"/>
                <a:gd name="connsiteY6" fmla="*/ 0 h 1454727"/>
                <a:gd name="connsiteX7" fmla="*/ 519545 w 1454727"/>
                <a:gd name="connsiteY7" fmla="*/ 0 h 1454727"/>
                <a:gd name="connsiteX8" fmla="*/ 0 w 1454727"/>
                <a:gd name="connsiteY8" fmla="*/ 519545 h 1454727"/>
                <a:gd name="connsiteX9" fmla="*/ 519545 w 1454727"/>
                <a:gd name="connsiteY9" fmla="*/ 207818 h 1454727"/>
                <a:gd name="connsiteX10" fmla="*/ 935182 w 1454727"/>
                <a:gd name="connsiteY10" fmla="*/ 207818 h 1454727"/>
                <a:gd name="connsiteX11" fmla="*/ 1246909 w 1454727"/>
                <a:gd name="connsiteY11" fmla="*/ 519545 h 1454727"/>
                <a:gd name="connsiteX12" fmla="*/ 1246909 w 1454727"/>
                <a:gd name="connsiteY12" fmla="*/ 935182 h 1454727"/>
                <a:gd name="connsiteX13" fmla="*/ 935182 w 1454727"/>
                <a:gd name="connsiteY13" fmla="*/ 1246909 h 1454727"/>
                <a:gd name="connsiteX14" fmla="*/ 519545 w 1454727"/>
                <a:gd name="connsiteY14" fmla="*/ 1246909 h 1454727"/>
                <a:gd name="connsiteX15" fmla="*/ 207818 w 1454727"/>
                <a:gd name="connsiteY15" fmla="*/ 935182 h 1454727"/>
                <a:gd name="connsiteX16" fmla="*/ 207818 w 1454727"/>
                <a:gd name="connsiteY16" fmla="*/ 519545 h 1454727"/>
                <a:gd name="connsiteX17" fmla="*/ 519545 w 1454727"/>
                <a:gd name="connsiteY17" fmla="*/ 207818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4727" h="1454727">
                  <a:moveTo>
                    <a:pt x="0" y="519545"/>
                  </a:moveTo>
                  <a:lnTo>
                    <a:pt x="0" y="935182"/>
                  </a:lnTo>
                  <a:cubicBezTo>
                    <a:pt x="0" y="1222119"/>
                    <a:pt x="232609" y="1454727"/>
                    <a:pt x="519545" y="1454727"/>
                  </a:cubicBezTo>
                  <a:lnTo>
                    <a:pt x="935182" y="1454727"/>
                  </a:lnTo>
                  <a:cubicBezTo>
                    <a:pt x="1222119" y="1454727"/>
                    <a:pt x="1454727" y="1222119"/>
                    <a:pt x="1454727" y="935182"/>
                  </a:cubicBezTo>
                  <a:lnTo>
                    <a:pt x="1454727" y="519545"/>
                  </a:lnTo>
                  <a:cubicBezTo>
                    <a:pt x="1454727" y="232608"/>
                    <a:pt x="1222119" y="0"/>
                    <a:pt x="935182" y="0"/>
                  </a:cubicBezTo>
                  <a:lnTo>
                    <a:pt x="519545" y="0"/>
                  </a:lnTo>
                  <a:cubicBezTo>
                    <a:pt x="232609" y="0"/>
                    <a:pt x="0" y="232608"/>
                    <a:pt x="0" y="519545"/>
                  </a:cubicBezTo>
                  <a:moveTo>
                    <a:pt x="519545" y="207818"/>
                  </a:moveTo>
                  <a:lnTo>
                    <a:pt x="935182" y="207818"/>
                  </a:lnTo>
                  <a:cubicBezTo>
                    <a:pt x="1107344" y="207818"/>
                    <a:pt x="1246909" y="347383"/>
                    <a:pt x="1246909" y="519545"/>
                  </a:cubicBezTo>
                  <a:lnTo>
                    <a:pt x="1246909" y="935182"/>
                  </a:lnTo>
                  <a:cubicBezTo>
                    <a:pt x="1246909" y="1107344"/>
                    <a:pt x="1107344" y="1246909"/>
                    <a:pt x="935182" y="1246909"/>
                  </a:cubicBezTo>
                  <a:lnTo>
                    <a:pt x="519545" y="1246909"/>
                  </a:lnTo>
                  <a:cubicBezTo>
                    <a:pt x="347383" y="1246909"/>
                    <a:pt x="207818" y="1107344"/>
                    <a:pt x="207818" y="935182"/>
                  </a:cubicBezTo>
                  <a:lnTo>
                    <a:pt x="207818" y="519545"/>
                  </a:lnTo>
                  <a:cubicBezTo>
                    <a:pt x="207818" y="347383"/>
                    <a:pt x="347383" y="207818"/>
                    <a:pt x="519545" y="207818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2" name="Полилиния 771">
              <a:extLst>
                <a:ext uri="{FF2B5EF4-FFF2-40B4-BE49-F238E27FC236}">
                  <a16:creationId xmlns:a16="http://schemas.microsoft.com/office/drawing/2014/main" id="{0C047305-320C-F3F1-FD5A-1D9F8461FEB8}"/>
                </a:ext>
              </a:extLst>
            </p:cNvPr>
            <p:cNvSpPr/>
            <p:nvPr/>
          </p:nvSpPr>
          <p:spPr>
            <a:xfrm>
              <a:off x="3498272" y="831272"/>
              <a:ext cx="623454" cy="623454"/>
            </a:xfrm>
            <a:custGeom>
              <a:avLst/>
              <a:gdLst>
                <a:gd name="connsiteX0" fmla="*/ 623455 w 623454"/>
                <a:gd name="connsiteY0" fmla="*/ 311727 h 623454"/>
                <a:gd name="connsiteX1" fmla="*/ 311727 w 623454"/>
                <a:gd name="connsiteY1" fmla="*/ 623455 h 623454"/>
                <a:gd name="connsiteX2" fmla="*/ 0 w 623454"/>
                <a:gd name="connsiteY2" fmla="*/ 311727 h 623454"/>
                <a:gd name="connsiteX3" fmla="*/ 311727 w 623454"/>
                <a:gd name="connsiteY3" fmla="*/ 0 h 623454"/>
                <a:gd name="connsiteX4" fmla="*/ 623455 w 623454"/>
                <a:gd name="connsiteY4" fmla="*/ 311727 h 62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54" h="623454">
                  <a:moveTo>
                    <a:pt x="623455" y="311727"/>
                  </a:moveTo>
                  <a:cubicBezTo>
                    <a:pt x="623455" y="483889"/>
                    <a:pt x="483889" y="623455"/>
                    <a:pt x="311727" y="623455"/>
                  </a:cubicBezTo>
                  <a:cubicBezTo>
                    <a:pt x="139565" y="623455"/>
                    <a:pt x="0" y="483889"/>
                    <a:pt x="0" y="311727"/>
                  </a:cubicBezTo>
                  <a:cubicBezTo>
                    <a:pt x="0" y="139565"/>
                    <a:pt x="139565" y="0"/>
                    <a:pt x="311727" y="0"/>
                  </a:cubicBezTo>
                  <a:cubicBezTo>
                    <a:pt x="483889" y="0"/>
                    <a:pt x="623455" y="139565"/>
                    <a:pt x="623455" y="311727"/>
                  </a:cubicBez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3" name="Полилиния 772">
              <a:extLst>
                <a:ext uri="{FF2B5EF4-FFF2-40B4-BE49-F238E27FC236}">
                  <a16:creationId xmlns:a16="http://schemas.microsoft.com/office/drawing/2014/main" id="{ABDD1306-BAE8-A2B3-EF7B-D567E4BCBEDE}"/>
                </a:ext>
              </a:extLst>
            </p:cNvPr>
            <p:cNvSpPr/>
            <p:nvPr/>
          </p:nvSpPr>
          <p:spPr>
            <a:xfrm>
              <a:off x="3082636" y="415636"/>
              <a:ext cx="1454727" cy="1454727"/>
            </a:xfrm>
            <a:custGeom>
              <a:avLst/>
              <a:gdLst>
                <a:gd name="connsiteX0" fmla="*/ 0 w 1454727"/>
                <a:gd name="connsiteY0" fmla="*/ 519545 h 1454727"/>
                <a:gd name="connsiteX1" fmla="*/ 0 w 1454727"/>
                <a:gd name="connsiteY1" fmla="*/ 935182 h 1454727"/>
                <a:gd name="connsiteX2" fmla="*/ 519545 w 1454727"/>
                <a:gd name="connsiteY2" fmla="*/ 1454727 h 1454727"/>
                <a:gd name="connsiteX3" fmla="*/ 935182 w 1454727"/>
                <a:gd name="connsiteY3" fmla="*/ 1454727 h 1454727"/>
                <a:gd name="connsiteX4" fmla="*/ 1454727 w 1454727"/>
                <a:gd name="connsiteY4" fmla="*/ 935182 h 1454727"/>
                <a:gd name="connsiteX5" fmla="*/ 1454727 w 1454727"/>
                <a:gd name="connsiteY5" fmla="*/ 519545 h 1454727"/>
                <a:gd name="connsiteX6" fmla="*/ 935182 w 1454727"/>
                <a:gd name="connsiteY6" fmla="*/ 0 h 1454727"/>
                <a:gd name="connsiteX7" fmla="*/ 519545 w 1454727"/>
                <a:gd name="connsiteY7" fmla="*/ 0 h 1454727"/>
                <a:gd name="connsiteX8" fmla="*/ 0 w 1454727"/>
                <a:gd name="connsiteY8" fmla="*/ 519545 h 1454727"/>
                <a:gd name="connsiteX9" fmla="*/ 519545 w 1454727"/>
                <a:gd name="connsiteY9" fmla="*/ 207818 h 1454727"/>
                <a:gd name="connsiteX10" fmla="*/ 935182 w 1454727"/>
                <a:gd name="connsiteY10" fmla="*/ 207818 h 1454727"/>
                <a:gd name="connsiteX11" fmla="*/ 1246909 w 1454727"/>
                <a:gd name="connsiteY11" fmla="*/ 519545 h 1454727"/>
                <a:gd name="connsiteX12" fmla="*/ 1246909 w 1454727"/>
                <a:gd name="connsiteY12" fmla="*/ 935182 h 1454727"/>
                <a:gd name="connsiteX13" fmla="*/ 935182 w 1454727"/>
                <a:gd name="connsiteY13" fmla="*/ 1246909 h 1454727"/>
                <a:gd name="connsiteX14" fmla="*/ 519545 w 1454727"/>
                <a:gd name="connsiteY14" fmla="*/ 1246909 h 1454727"/>
                <a:gd name="connsiteX15" fmla="*/ 207818 w 1454727"/>
                <a:gd name="connsiteY15" fmla="*/ 935182 h 1454727"/>
                <a:gd name="connsiteX16" fmla="*/ 207818 w 1454727"/>
                <a:gd name="connsiteY16" fmla="*/ 519545 h 1454727"/>
                <a:gd name="connsiteX17" fmla="*/ 519545 w 1454727"/>
                <a:gd name="connsiteY17" fmla="*/ 207818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4727" h="1454727">
                  <a:moveTo>
                    <a:pt x="0" y="519545"/>
                  </a:moveTo>
                  <a:lnTo>
                    <a:pt x="0" y="935182"/>
                  </a:lnTo>
                  <a:cubicBezTo>
                    <a:pt x="0" y="1222119"/>
                    <a:pt x="232608" y="1454727"/>
                    <a:pt x="519545" y="1454727"/>
                  </a:cubicBezTo>
                  <a:lnTo>
                    <a:pt x="935182" y="1454727"/>
                  </a:lnTo>
                  <a:cubicBezTo>
                    <a:pt x="1222119" y="1454727"/>
                    <a:pt x="1454727" y="1222119"/>
                    <a:pt x="1454727" y="935182"/>
                  </a:cubicBezTo>
                  <a:lnTo>
                    <a:pt x="1454727" y="519545"/>
                  </a:lnTo>
                  <a:cubicBezTo>
                    <a:pt x="1454727" y="232608"/>
                    <a:pt x="1222119" y="0"/>
                    <a:pt x="935182" y="0"/>
                  </a:cubicBezTo>
                  <a:lnTo>
                    <a:pt x="519545" y="0"/>
                  </a:lnTo>
                  <a:cubicBezTo>
                    <a:pt x="232608" y="0"/>
                    <a:pt x="0" y="232608"/>
                    <a:pt x="0" y="519545"/>
                  </a:cubicBezTo>
                  <a:moveTo>
                    <a:pt x="519545" y="207818"/>
                  </a:moveTo>
                  <a:lnTo>
                    <a:pt x="935182" y="207818"/>
                  </a:lnTo>
                  <a:cubicBezTo>
                    <a:pt x="1107344" y="207818"/>
                    <a:pt x="1246909" y="347383"/>
                    <a:pt x="1246909" y="519545"/>
                  </a:cubicBezTo>
                  <a:lnTo>
                    <a:pt x="1246909" y="935182"/>
                  </a:lnTo>
                  <a:cubicBezTo>
                    <a:pt x="1246909" y="1107344"/>
                    <a:pt x="1107344" y="1246909"/>
                    <a:pt x="935182" y="1246909"/>
                  </a:cubicBezTo>
                  <a:lnTo>
                    <a:pt x="519545" y="1246909"/>
                  </a:lnTo>
                  <a:cubicBezTo>
                    <a:pt x="347383" y="1246909"/>
                    <a:pt x="207818" y="1107344"/>
                    <a:pt x="207818" y="935182"/>
                  </a:cubicBezTo>
                  <a:lnTo>
                    <a:pt x="207818" y="519545"/>
                  </a:lnTo>
                  <a:cubicBezTo>
                    <a:pt x="207818" y="347383"/>
                    <a:pt x="347383" y="207818"/>
                    <a:pt x="519545" y="207818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4" name="Полилиния 773">
              <a:extLst>
                <a:ext uri="{FF2B5EF4-FFF2-40B4-BE49-F238E27FC236}">
                  <a16:creationId xmlns:a16="http://schemas.microsoft.com/office/drawing/2014/main" id="{C90D6B1C-F0D2-63BA-4F79-3104EED68E58}"/>
                </a:ext>
              </a:extLst>
            </p:cNvPr>
            <p:cNvSpPr/>
            <p:nvPr/>
          </p:nvSpPr>
          <p:spPr>
            <a:xfrm rot="-5400000">
              <a:off x="5368636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5" name="Полилиния 774">
              <a:extLst>
                <a:ext uri="{FF2B5EF4-FFF2-40B4-BE49-F238E27FC236}">
                  <a16:creationId xmlns:a16="http://schemas.microsoft.com/office/drawing/2014/main" id="{DB4EE426-6EDF-4133-11FC-BA4CF0D2BD92}"/>
                </a:ext>
              </a:extLst>
            </p:cNvPr>
            <p:cNvSpPr/>
            <p:nvPr/>
          </p:nvSpPr>
          <p:spPr>
            <a:xfrm rot="5400000">
              <a:off x="5784272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6" name="Полилиния 775">
              <a:extLst>
                <a:ext uri="{FF2B5EF4-FFF2-40B4-BE49-F238E27FC236}">
                  <a16:creationId xmlns:a16="http://schemas.microsoft.com/office/drawing/2014/main" id="{98580719-3761-C02C-D80F-9AF9B240CFE7}"/>
                </a:ext>
              </a:extLst>
            </p:cNvPr>
            <p:cNvSpPr/>
            <p:nvPr/>
          </p:nvSpPr>
          <p:spPr>
            <a:xfrm rot="-5400000">
              <a:off x="6199909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7" name="Полилиния 776">
              <a:extLst>
                <a:ext uri="{FF2B5EF4-FFF2-40B4-BE49-F238E27FC236}">
                  <a16:creationId xmlns:a16="http://schemas.microsoft.com/office/drawing/2014/main" id="{94566A89-4421-AA41-EB1C-7C7152EBE310}"/>
                </a:ext>
              </a:extLst>
            </p:cNvPr>
            <p:cNvSpPr/>
            <p:nvPr/>
          </p:nvSpPr>
          <p:spPr>
            <a:xfrm rot="-5400000">
              <a:off x="6823363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8" name="Полилиния 777">
              <a:extLst>
                <a:ext uri="{FF2B5EF4-FFF2-40B4-BE49-F238E27FC236}">
                  <a16:creationId xmlns:a16="http://schemas.microsoft.com/office/drawing/2014/main" id="{75E8AF9A-5615-BC1A-0ADE-BEAC21B6E748}"/>
                </a:ext>
              </a:extLst>
            </p:cNvPr>
            <p:cNvSpPr/>
            <p:nvPr/>
          </p:nvSpPr>
          <p:spPr>
            <a:xfrm>
              <a:off x="7031181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9" name="Полилиния 778">
              <a:extLst>
                <a:ext uri="{FF2B5EF4-FFF2-40B4-BE49-F238E27FC236}">
                  <a16:creationId xmlns:a16="http://schemas.microsoft.com/office/drawing/2014/main" id="{90275954-2DF7-060B-FA5F-B65F62BB5D2F}"/>
                </a:ext>
              </a:extLst>
            </p:cNvPr>
            <p:cNvSpPr/>
            <p:nvPr/>
          </p:nvSpPr>
          <p:spPr>
            <a:xfrm rot="5400000">
              <a:off x="7239000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0" name="Полилиния 779">
              <a:extLst>
                <a:ext uri="{FF2B5EF4-FFF2-40B4-BE49-F238E27FC236}">
                  <a16:creationId xmlns:a16="http://schemas.microsoft.com/office/drawing/2014/main" id="{2CEF3894-A09E-9BA5-B847-28FF73D94294}"/>
                </a:ext>
              </a:extLst>
            </p:cNvPr>
            <p:cNvSpPr/>
            <p:nvPr/>
          </p:nvSpPr>
          <p:spPr>
            <a:xfrm rot="-5400000">
              <a:off x="5160818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1" name="Полилиния 780">
              <a:extLst>
                <a:ext uri="{FF2B5EF4-FFF2-40B4-BE49-F238E27FC236}">
                  <a16:creationId xmlns:a16="http://schemas.microsoft.com/office/drawing/2014/main" id="{3BBF2277-FCCF-846E-3DC8-2680783DA866}"/>
                </a:ext>
              </a:extLst>
            </p:cNvPr>
            <p:cNvSpPr/>
            <p:nvPr/>
          </p:nvSpPr>
          <p:spPr>
            <a:xfrm>
              <a:off x="5368636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2" name="Полилиния 781">
              <a:extLst>
                <a:ext uri="{FF2B5EF4-FFF2-40B4-BE49-F238E27FC236}">
                  <a16:creationId xmlns:a16="http://schemas.microsoft.com/office/drawing/2014/main" id="{93985EAF-BC31-F7D1-26F3-24B4515A86CD}"/>
                </a:ext>
              </a:extLst>
            </p:cNvPr>
            <p:cNvSpPr/>
            <p:nvPr/>
          </p:nvSpPr>
          <p:spPr>
            <a:xfrm>
              <a:off x="5576454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3" name="Полилиния 782">
              <a:extLst>
                <a:ext uri="{FF2B5EF4-FFF2-40B4-BE49-F238E27FC236}">
                  <a16:creationId xmlns:a16="http://schemas.microsoft.com/office/drawing/2014/main" id="{17041B53-6D1C-8395-14AB-A17B1C596F59}"/>
                </a:ext>
              </a:extLst>
            </p:cNvPr>
            <p:cNvSpPr/>
            <p:nvPr/>
          </p:nvSpPr>
          <p:spPr>
            <a:xfrm>
              <a:off x="6199909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4" name="Полилиния 783">
              <a:extLst>
                <a:ext uri="{FF2B5EF4-FFF2-40B4-BE49-F238E27FC236}">
                  <a16:creationId xmlns:a16="http://schemas.microsoft.com/office/drawing/2014/main" id="{02415724-9F9D-A607-FE01-C70CF6A3BE51}"/>
                </a:ext>
              </a:extLst>
            </p:cNvPr>
            <p:cNvSpPr/>
            <p:nvPr/>
          </p:nvSpPr>
          <p:spPr>
            <a:xfrm>
              <a:off x="6407727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5" name="Полилиния 784">
              <a:extLst>
                <a:ext uri="{FF2B5EF4-FFF2-40B4-BE49-F238E27FC236}">
                  <a16:creationId xmlns:a16="http://schemas.microsoft.com/office/drawing/2014/main" id="{CD50F826-F0DE-B7A5-F71F-10BD111C7CFD}"/>
                </a:ext>
              </a:extLst>
            </p:cNvPr>
            <p:cNvSpPr/>
            <p:nvPr/>
          </p:nvSpPr>
          <p:spPr>
            <a:xfrm>
              <a:off x="7031181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6" name="Полилиния 785">
              <a:extLst>
                <a:ext uri="{FF2B5EF4-FFF2-40B4-BE49-F238E27FC236}">
                  <a16:creationId xmlns:a16="http://schemas.microsoft.com/office/drawing/2014/main" id="{53758B6E-AAC5-7116-7601-EF6F92C4B92E}"/>
                </a:ext>
              </a:extLst>
            </p:cNvPr>
            <p:cNvSpPr/>
            <p:nvPr/>
          </p:nvSpPr>
          <p:spPr>
            <a:xfrm rot="-5400000">
              <a:off x="4745181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7" name="Полилиния 786">
              <a:extLst>
                <a:ext uri="{FF2B5EF4-FFF2-40B4-BE49-F238E27FC236}">
                  <a16:creationId xmlns:a16="http://schemas.microsoft.com/office/drawing/2014/main" id="{7F78A2CF-9CB6-3CAB-C51D-D2FCD979513A}"/>
                </a:ext>
              </a:extLst>
            </p:cNvPr>
            <p:cNvSpPr/>
            <p:nvPr/>
          </p:nvSpPr>
          <p:spPr>
            <a:xfrm>
              <a:off x="4953000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8" name="Полилиния 787">
              <a:extLst>
                <a:ext uri="{FF2B5EF4-FFF2-40B4-BE49-F238E27FC236}">
                  <a16:creationId xmlns:a16="http://schemas.microsoft.com/office/drawing/2014/main" id="{66D30948-723C-51FE-73C0-4DF135AD6745}"/>
                </a:ext>
              </a:extLst>
            </p:cNvPr>
            <p:cNvSpPr/>
            <p:nvPr/>
          </p:nvSpPr>
          <p:spPr>
            <a:xfrm>
              <a:off x="5160818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9" name="Полилиния 788">
              <a:extLst>
                <a:ext uri="{FF2B5EF4-FFF2-40B4-BE49-F238E27FC236}">
                  <a16:creationId xmlns:a16="http://schemas.microsoft.com/office/drawing/2014/main" id="{3B2F47F3-8877-1E92-7381-25BEE64B9DB2}"/>
                </a:ext>
              </a:extLst>
            </p:cNvPr>
            <p:cNvSpPr/>
            <p:nvPr/>
          </p:nvSpPr>
          <p:spPr>
            <a:xfrm>
              <a:off x="5368636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0" name="Полилиния 789">
              <a:extLst>
                <a:ext uri="{FF2B5EF4-FFF2-40B4-BE49-F238E27FC236}">
                  <a16:creationId xmlns:a16="http://schemas.microsoft.com/office/drawing/2014/main" id="{4E22D20C-1142-D6E9-EE32-15E6D3C0A609}"/>
                </a:ext>
              </a:extLst>
            </p:cNvPr>
            <p:cNvSpPr/>
            <p:nvPr/>
          </p:nvSpPr>
          <p:spPr>
            <a:xfrm>
              <a:off x="5576454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1" name="Полилиния 790">
              <a:extLst>
                <a:ext uri="{FF2B5EF4-FFF2-40B4-BE49-F238E27FC236}">
                  <a16:creationId xmlns:a16="http://schemas.microsoft.com/office/drawing/2014/main" id="{AFEB4AAD-D264-1DBB-BBEE-158676973807}"/>
                </a:ext>
              </a:extLst>
            </p:cNvPr>
            <p:cNvSpPr/>
            <p:nvPr/>
          </p:nvSpPr>
          <p:spPr>
            <a:xfrm rot="-5400000">
              <a:off x="5992090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2" name="Полилиния 791">
              <a:extLst>
                <a:ext uri="{FF2B5EF4-FFF2-40B4-BE49-F238E27FC236}">
                  <a16:creationId xmlns:a16="http://schemas.microsoft.com/office/drawing/2014/main" id="{6D0F42E5-20AD-405E-6513-C43B22F60050}"/>
                </a:ext>
              </a:extLst>
            </p:cNvPr>
            <p:cNvSpPr/>
            <p:nvPr/>
          </p:nvSpPr>
          <p:spPr>
            <a:xfrm>
              <a:off x="6199909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3" name="Полилиния 792">
              <a:extLst>
                <a:ext uri="{FF2B5EF4-FFF2-40B4-BE49-F238E27FC236}">
                  <a16:creationId xmlns:a16="http://schemas.microsoft.com/office/drawing/2014/main" id="{FEE8FF6F-B859-0C19-5F80-F5F9D701C6B9}"/>
                </a:ext>
              </a:extLst>
            </p:cNvPr>
            <p:cNvSpPr/>
            <p:nvPr/>
          </p:nvSpPr>
          <p:spPr>
            <a:xfrm>
              <a:off x="6407727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4" name="Полилиния 793">
              <a:extLst>
                <a:ext uri="{FF2B5EF4-FFF2-40B4-BE49-F238E27FC236}">
                  <a16:creationId xmlns:a16="http://schemas.microsoft.com/office/drawing/2014/main" id="{0F49E24C-ABC4-01CC-D06F-B70B4A0274E6}"/>
                </a:ext>
              </a:extLst>
            </p:cNvPr>
            <p:cNvSpPr/>
            <p:nvPr/>
          </p:nvSpPr>
          <p:spPr>
            <a:xfrm rot="5400000">
              <a:off x="6615545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5" name="Полилиния 794">
              <a:extLst>
                <a:ext uri="{FF2B5EF4-FFF2-40B4-BE49-F238E27FC236}">
                  <a16:creationId xmlns:a16="http://schemas.microsoft.com/office/drawing/2014/main" id="{EE45D5E7-33D1-0EAE-B8BF-AF0BDA122862}"/>
                </a:ext>
              </a:extLst>
            </p:cNvPr>
            <p:cNvSpPr/>
            <p:nvPr/>
          </p:nvSpPr>
          <p:spPr>
            <a:xfrm>
              <a:off x="7031181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6" name="Полилиния 795">
              <a:extLst>
                <a:ext uri="{FF2B5EF4-FFF2-40B4-BE49-F238E27FC236}">
                  <a16:creationId xmlns:a16="http://schemas.microsoft.com/office/drawing/2014/main" id="{887B4656-258C-89E1-FCDF-71647FBC4BB8}"/>
                </a:ext>
              </a:extLst>
            </p:cNvPr>
            <p:cNvSpPr/>
            <p:nvPr/>
          </p:nvSpPr>
          <p:spPr>
            <a:xfrm>
              <a:off x="7239000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7" name="Полилиния 796">
              <a:extLst>
                <a:ext uri="{FF2B5EF4-FFF2-40B4-BE49-F238E27FC236}">
                  <a16:creationId xmlns:a16="http://schemas.microsoft.com/office/drawing/2014/main" id="{DCA66C93-E3E8-F365-8B71-F0E2F58ED8F6}"/>
                </a:ext>
              </a:extLst>
            </p:cNvPr>
            <p:cNvSpPr/>
            <p:nvPr/>
          </p:nvSpPr>
          <p:spPr>
            <a:xfrm>
              <a:off x="5576454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8" name="Полилиния 797">
              <a:extLst>
                <a:ext uri="{FF2B5EF4-FFF2-40B4-BE49-F238E27FC236}">
                  <a16:creationId xmlns:a16="http://schemas.microsoft.com/office/drawing/2014/main" id="{DB2087DD-301A-1D42-F29E-70A40CED75BA}"/>
                </a:ext>
              </a:extLst>
            </p:cNvPr>
            <p:cNvSpPr/>
            <p:nvPr/>
          </p:nvSpPr>
          <p:spPr>
            <a:xfrm rot="5400000">
              <a:off x="6407727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9" name="Полилиния 798">
              <a:extLst>
                <a:ext uri="{FF2B5EF4-FFF2-40B4-BE49-F238E27FC236}">
                  <a16:creationId xmlns:a16="http://schemas.microsoft.com/office/drawing/2014/main" id="{AE6956AE-3AEA-2578-BA44-6D19B883F0FA}"/>
                </a:ext>
              </a:extLst>
            </p:cNvPr>
            <p:cNvSpPr/>
            <p:nvPr/>
          </p:nvSpPr>
          <p:spPr>
            <a:xfrm rot="-5400000">
              <a:off x="6823363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0" name="Полилиния 799">
              <a:extLst>
                <a:ext uri="{FF2B5EF4-FFF2-40B4-BE49-F238E27FC236}">
                  <a16:creationId xmlns:a16="http://schemas.microsoft.com/office/drawing/2014/main" id="{44D948F4-A6C8-6D43-5FD0-0B70EFFD416F}"/>
                </a:ext>
              </a:extLst>
            </p:cNvPr>
            <p:cNvSpPr/>
            <p:nvPr/>
          </p:nvSpPr>
          <p:spPr>
            <a:xfrm rot="5400000">
              <a:off x="7239000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1" name="Полилиния 800">
              <a:extLst>
                <a:ext uri="{FF2B5EF4-FFF2-40B4-BE49-F238E27FC236}">
                  <a16:creationId xmlns:a16="http://schemas.microsoft.com/office/drawing/2014/main" id="{F1F515C5-0A5B-910A-8BA9-00CE77FCBE9A}"/>
                </a:ext>
              </a:extLst>
            </p:cNvPr>
            <p:cNvSpPr/>
            <p:nvPr/>
          </p:nvSpPr>
          <p:spPr>
            <a:xfrm rot="-5400000">
              <a:off x="4745181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2" name="Полилиния 801">
              <a:extLst>
                <a:ext uri="{FF2B5EF4-FFF2-40B4-BE49-F238E27FC236}">
                  <a16:creationId xmlns:a16="http://schemas.microsoft.com/office/drawing/2014/main" id="{6BAD874F-745E-55C7-A931-EF198572DB69}"/>
                </a:ext>
              </a:extLst>
            </p:cNvPr>
            <p:cNvSpPr/>
            <p:nvPr/>
          </p:nvSpPr>
          <p:spPr>
            <a:xfrm rot="5400000">
              <a:off x="4953000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3" name="Полилиния 802">
              <a:extLst>
                <a:ext uri="{FF2B5EF4-FFF2-40B4-BE49-F238E27FC236}">
                  <a16:creationId xmlns:a16="http://schemas.microsoft.com/office/drawing/2014/main" id="{2320B636-36AA-F91F-F612-4569A6B72C4B}"/>
                </a:ext>
              </a:extLst>
            </p:cNvPr>
            <p:cNvSpPr/>
            <p:nvPr/>
          </p:nvSpPr>
          <p:spPr>
            <a:xfrm>
              <a:off x="5576454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4" name="Полилиния 803">
              <a:extLst>
                <a:ext uri="{FF2B5EF4-FFF2-40B4-BE49-F238E27FC236}">
                  <a16:creationId xmlns:a16="http://schemas.microsoft.com/office/drawing/2014/main" id="{3F05A3E1-7556-3E05-D960-4230C0432E19}"/>
                </a:ext>
              </a:extLst>
            </p:cNvPr>
            <p:cNvSpPr/>
            <p:nvPr/>
          </p:nvSpPr>
          <p:spPr>
            <a:xfrm>
              <a:off x="5784272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5" name="Полилиния 804">
              <a:extLst>
                <a:ext uri="{FF2B5EF4-FFF2-40B4-BE49-F238E27FC236}">
                  <a16:creationId xmlns:a16="http://schemas.microsoft.com/office/drawing/2014/main" id="{D745A510-9A6F-B755-8670-11FC1613C493}"/>
                </a:ext>
              </a:extLst>
            </p:cNvPr>
            <p:cNvSpPr/>
            <p:nvPr/>
          </p:nvSpPr>
          <p:spPr>
            <a:xfrm rot="-5400000">
              <a:off x="6199909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6" name="Полилиния 805">
              <a:extLst>
                <a:ext uri="{FF2B5EF4-FFF2-40B4-BE49-F238E27FC236}">
                  <a16:creationId xmlns:a16="http://schemas.microsoft.com/office/drawing/2014/main" id="{8F511DF4-F63F-A9E8-3718-5C4EFDE6266B}"/>
                </a:ext>
              </a:extLst>
            </p:cNvPr>
            <p:cNvSpPr/>
            <p:nvPr/>
          </p:nvSpPr>
          <p:spPr>
            <a:xfrm rot="-5400000">
              <a:off x="6615545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7" name="Полилиния 806">
              <a:extLst>
                <a:ext uri="{FF2B5EF4-FFF2-40B4-BE49-F238E27FC236}">
                  <a16:creationId xmlns:a16="http://schemas.microsoft.com/office/drawing/2014/main" id="{6A6C8D89-5850-D11B-A75C-C9863AB36887}"/>
                </a:ext>
              </a:extLst>
            </p:cNvPr>
            <p:cNvSpPr/>
            <p:nvPr/>
          </p:nvSpPr>
          <p:spPr>
            <a:xfrm rot="5400000">
              <a:off x="6823363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8" name="Полилиния 807">
              <a:extLst>
                <a:ext uri="{FF2B5EF4-FFF2-40B4-BE49-F238E27FC236}">
                  <a16:creationId xmlns:a16="http://schemas.microsoft.com/office/drawing/2014/main" id="{D7E6CEBA-65A4-DCED-7330-9DAE56E35661}"/>
                </a:ext>
              </a:extLst>
            </p:cNvPr>
            <p:cNvSpPr/>
            <p:nvPr/>
          </p:nvSpPr>
          <p:spPr>
            <a:xfrm>
              <a:off x="4745181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9" name="Полилиния 808">
              <a:extLst>
                <a:ext uri="{FF2B5EF4-FFF2-40B4-BE49-F238E27FC236}">
                  <a16:creationId xmlns:a16="http://schemas.microsoft.com/office/drawing/2014/main" id="{DF275D1B-D733-AD1D-AA7E-04719EDD2EBC}"/>
                </a:ext>
              </a:extLst>
            </p:cNvPr>
            <p:cNvSpPr/>
            <p:nvPr/>
          </p:nvSpPr>
          <p:spPr>
            <a:xfrm rot="-5400000">
              <a:off x="5368636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0" name="Полилиния 809">
              <a:extLst>
                <a:ext uri="{FF2B5EF4-FFF2-40B4-BE49-F238E27FC236}">
                  <a16:creationId xmlns:a16="http://schemas.microsoft.com/office/drawing/2014/main" id="{A5F6F666-825F-BA14-6798-B464BD62B616}"/>
                </a:ext>
              </a:extLst>
            </p:cNvPr>
            <p:cNvSpPr/>
            <p:nvPr/>
          </p:nvSpPr>
          <p:spPr>
            <a:xfrm>
              <a:off x="5576454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1" name="Полилиния 810">
              <a:extLst>
                <a:ext uri="{FF2B5EF4-FFF2-40B4-BE49-F238E27FC236}">
                  <a16:creationId xmlns:a16="http://schemas.microsoft.com/office/drawing/2014/main" id="{2AFB21AF-3E12-6E06-06F2-7EAEECBCDFAE}"/>
                </a:ext>
              </a:extLst>
            </p:cNvPr>
            <p:cNvSpPr/>
            <p:nvPr/>
          </p:nvSpPr>
          <p:spPr>
            <a:xfrm>
              <a:off x="5784272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2" name="Полилиния 811">
              <a:extLst>
                <a:ext uri="{FF2B5EF4-FFF2-40B4-BE49-F238E27FC236}">
                  <a16:creationId xmlns:a16="http://schemas.microsoft.com/office/drawing/2014/main" id="{4BFD3DB2-0F44-73B8-EA26-4A93717AD79C}"/>
                </a:ext>
              </a:extLst>
            </p:cNvPr>
            <p:cNvSpPr/>
            <p:nvPr/>
          </p:nvSpPr>
          <p:spPr>
            <a:xfrm>
              <a:off x="5992090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3" name="Полилиния 812">
              <a:extLst>
                <a:ext uri="{FF2B5EF4-FFF2-40B4-BE49-F238E27FC236}">
                  <a16:creationId xmlns:a16="http://schemas.microsoft.com/office/drawing/2014/main" id="{A75ADB45-D63D-B488-283D-6411029E6675}"/>
                </a:ext>
              </a:extLst>
            </p:cNvPr>
            <p:cNvSpPr/>
            <p:nvPr/>
          </p:nvSpPr>
          <p:spPr>
            <a:xfrm rot="5400000">
              <a:off x="6199909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4" name="Полилиния 813">
              <a:extLst>
                <a:ext uri="{FF2B5EF4-FFF2-40B4-BE49-F238E27FC236}">
                  <a16:creationId xmlns:a16="http://schemas.microsoft.com/office/drawing/2014/main" id="{F0131204-237C-57FF-EE19-6B46129BC4B5}"/>
                </a:ext>
              </a:extLst>
            </p:cNvPr>
            <p:cNvSpPr/>
            <p:nvPr/>
          </p:nvSpPr>
          <p:spPr>
            <a:xfrm rot="5400000">
              <a:off x="6615545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5" name="Полилиния 814">
              <a:extLst>
                <a:ext uri="{FF2B5EF4-FFF2-40B4-BE49-F238E27FC236}">
                  <a16:creationId xmlns:a16="http://schemas.microsoft.com/office/drawing/2014/main" id="{985F6576-FA0A-E4DC-71D7-2C3E08B038F7}"/>
                </a:ext>
              </a:extLst>
            </p:cNvPr>
            <p:cNvSpPr/>
            <p:nvPr/>
          </p:nvSpPr>
          <p:spPr>
            <a:xfrm rot="-5400000">
              <a:off x="7031181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6" name="Полилиния 815">
              <a:extLst>
                <a:ext uri="{FF2B5EF4-FFF2-40B4-BE49-F238E27FC236}">
                  <a16:creationId xmlns:a16="http://schemas.microsoft.com/office/drawing/2014/main" id="{298BE015-E40A-BF32-CF89-1FE4344CCB31}"/>
                </a:ext>
              </a:extLst>
            </p:cNvPr>
            <p:cNvSpPr/>
            <p:nvPr/>
          </p:nvSpPr>
          <p:spPr>
            <a:xfrm>
              <a:off x="7239000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7" name="Полилиния 816">
              <a:extLst>
                <a:ext uri="{FF2B5EF4-FFF2-40B4-BE49-F238E27FC236}">
                  <a16:creationId xmlns:a16="http://schemas.microsoft.com/office/drawing/2014/main" id="{FA8EFBA6-C2CC-4C57-BE67-18BF82339F2E}"/>
                </a:ext>
              </a:extLst>
            </p:cNvPr>
            <p:cNvSpPr/>
            <p:nvPr/>
          </p:nvSpPr>
          <p:spPr>
            <a:xfrm rot="5400000">
              <a:off x="4745181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8" name="Полилиния 817">
              <a:extLst>
                <a:ext uri="{FF2B5EF4-FFF2-40B4-BE49-F238E27FC236}">
                  <a16:creationId xmlns:a16="http://schemas.microsoft.com/office/drawing/2014/main" id="{C3EA09DB-4CA0-A941-07D3-25881013BCC3}"/>
                </a:ext>
              </a:extLst>
            </p:cNvPr>
            <p:cNvSpPr/>
            <p:nvPr/>
          </p:nvSpPr>
          <p:spPr>
            <a:xfrm rot="-5400000">
              <a:off x="5160818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9" name="Полилиния 818">
              <a:extLst>
                <a:ext uri="{FF2B5EF4-FFF2-40B4-BE49-F238E27FC236}">
                  <a16:creationId xmlns:a16="http://schemas.microsoft.com/office/drawing/2014/main" id="{3ED9925E-CEA5-0545-4716-EF19EF11E276}"/>
                </a:ext>
              </a:extLst>
            </p:cNvPr>
            <p:cNvSpPr/>
            <p:nvPr/>
          </p:nvSpPr>
          <p:spPr>
            <a:xfrm>
              <a:off x="5576454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0" name="Полилиния 819">
              <a:extLst>
                <a:ext uri="{FF2B5EF4-FFF2-40B4-BE49-F238E27FC236}">
                  <a16:creationId xmlns:a16="http://schemas.microsoft.com/office/drawing/2014/main" id="{0FBA7865-16D1-E4FF-0A1D-0A8F78E8FC96}"/>
                </a:ext>
              </a:extLst>
            </p:cNvPr>
            <p:cNvSpPr/>
            <p:nvPr/>
          </p:nvSpPr>
          <p:spPr>
            <a:xfrm rot="5400000">
              <a:off x="5992090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1" name="Полилиния 820">
              <a:extLst>
                <a:ext uri="{FF2B5EF4-FFF2-40B4-BE49-F238E27FC236}">
                  <a16:creationId xmlns:a16="http://schemas.microsoft.com/office/drawing/2014/main" id="{2A188386-53A0-229F-A7BB-A48270ECEE9F}"/>
                </a:ext>
              </a:extLst>
            </p:cNvPr>
            <p:cNvSpPr/>
            <p:nvPr/>
          </p:nvSpPr>
          <p:spPr>
            <a:xfrm rot="-5400000">
              <a:off x="6407727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2" name="Полилиния 821">
              <a:extLst>
                <a:ext uri="{FF2B5EF4-FFF2-40B4-BE49-F238E27FC236}">
                  <a16:creationId xmlns:a16="http://schemas.microsoft.com/office/drawing/2014/main" id="{158D4A6C-966A-284D-7562-6ADF7FF9562D}"/>
                </a:ext>
              </a:extLst>
            </p:cNvPr>
            <p:cNvSpPr/>
            <p:nvPr/>
          </p:nvSpPr>
          <p:spPr>
            <a:xfrm rot="5400000">
              <a:off x="6823363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6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3" name="Полилиния 822">
              <a:extLst>
                <a:ext uri="{FF2B5EF4-FFF2-40B4-BE49-F238E27FC236}">
                  <a16:creationId xmlns:a16="http://schemas.microsoft.com/office/drawing/2014/main" id="{2D9ACC97-2C72-970E-7FBF-FA840D3B11DF}"/>
                </a:ext>
              </a:extLst>
            </p:cNvPr>
            <p:cNvSpPr/>
            <p:nvPr/>
          </p:nvSpPr>
          <p:spPr>
            <a:xfrm>
              <a:off x="7239000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4" name="Полилиния 823">
              <a:extLst>
                <a:ext uri="{FF2B5EF4-FFF2-40B4-BE49-F238E27FC236}">
                  <a16:creationId xmlns:a16="http://schemas.microsoft.com/office/drawing/2014/main" id="{4BFFEF30-D06C-7F15-B4F4-69D76FE5FB0C}"/>
                </a:ext>
              </a:extLst>
            </p:cNvPr>
            <p:cNvSpPr/>
            <p:nvPr/>
          </p:nvSpPr>
          <p:spPr>
            <a:xfrm>
              <a:off x="5160818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5" name="Полилиния 824">
              <a:extLst>
                <a:ext uri="{FF2B5EF4-FFF2-40B4-BE49-F238E27FC236}">
                  <a16:creationId xmlns:a16="http://schemas.microsoft.com/office/drawing/2014/main" id="{6620DB78-103B-EEF3-0077-4CC90BA7AF97}"/>
                </a:ext>
              </a:extLst>
            </p:cNvPr>
            <p:cNvSpPr/>
            <p:nvPr/>
          </p:nvSpPr>
          <p:spPr>
            <a:xfrm>
              <a:off x="5368636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6" name="Полилиния 825">
              <a:extLst>
                <a:ext uri="{FF2B5EF4-FFF2-40B4-BE49-F238E27FC236}">
                  <a16:creationId xmlns:a16="http://schemas.microsoft.com/office/drawing/2014/main" id="{9BF3D11B-3F38-CBE2-7D93-AEDF7BE3777F}"/>
                </a:ext>
              </a:extLst>
            </p:cNvPr>
            <p:cNvSpPr/>
            <p:nvPr/>
          </p:nvSpPr>
          <p:spPr>
            <a:xfrm>
              <a:off x="5576454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7" name="Полилиния 826">
              <a:extLst>
                <a:ext uri="{FF2B5EF4-FFF2-40B4-BE49-F238E27FC236}">
                  <a16:creationId xmlns:a16="http://schemas.microsoft.com/office/drawing/2014/main" id="{4D589D17-6021-C588-B35B-A22ABCA69829}"/>
                </a:ext>
              </a:extLst>
            </p:cNvPr>
            <p:cNvSpPr/>
            <p:nvPr/>
          </p:nvSpPr>
          <p:spPr>
            <a:xfrm rot="-5400000">
              <a:off x="6199909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8" name="Полилиния 827">
              <a:extLst>
                <a:ext uri="{FF2B5EF4-FFF2-40B4-BE49-F238E27FC236}">
                  <a16:creationId xmlns:a16="http://schemas.microsoft.com/office/drawing/2014/main" id="{7CBDB2AA-4267-6FFC-8920-201C584A96E2}"/>
                </a:ext>
              </a:extLst>
            </p:cNvPr>
            <p:cNvSpPr/>
            <p:nvPr/>
          </p:nvSpPr>
          <p:spPr>
            <a:xfrm>
              <a:off x="6407727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9" name="Полилиния 828">
              <a:extLst>
                <a:ext uri="{FF2B5EF4-FFF2-40B4-BE49-F238E27FC236}">
                  <a16:creationId xmlns:a16="http://schemas.microsoft.com/office/drawing/2014/main" id="{5379BE4B-E499-831F-1447-002063A8F1AA}"/>
                </a:ext>
              </a:extLst>
            </p:cNvPr>
            <p:cNvSpPr/>
            <p:nvPr/>
          </p:nvSpPr>
          <p:spPr>
            <a:xfrm rot="-5400000">
              <a:off x="7031181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0" name="Полилиния 829">
              <a:extLst>
                <a:ext uri="{FF2B5EF4-FFF2-40B4-BE49-F238E27FC236}">
                  <a16:creationId xmlns:a16="http://schemas.microsoft.com/office/drawing/2014/main" id="{F265E7B1-033B-36F8-04CA-AD70394F7557}"/>
                </a:ext>
              </a:extLst>
            </p:cNvPr>
            <p:cNvSpPr/>
            <p:nvPr/>
          </p:nvSpPr>
          <p:spPr>
            <a:xfrm>
              <a:off x="7239000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1" name="Полилиния 830">
              <a:extLst>
                <a:ext uri="{FF2B5EF4-FFF2-40B4-BE49-F238E27FC236}">
                  <a16:creationId xmlns:a16="http://schemas.microsoft.com/office/drawing/2014/main" id="{9676627C-D804-E42B-41EF-DBB9FAC34859}"/>
                </a:ext>
              </a:extLst>
            </p:cNvPr>
            <p:cNvSpPr/>
            <p:nvPr/>
          </p:nvSpPr>
          <p:spPr>
            <a:xfrm rot="5400000">
              <a:off x="3290454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2" name="Полилиния 831">
              <a:extLst>
                <a:ext uri="{FF2B5EF4-FFF2-40B4-BE49-F238E27FC236}">
                  <a16:creationId xmlns:a16="http://schemas.microsoft.com/office/drawing/2014/main" id="{2748D587-23E7-97FC-7F31-9DDF355F3EC3}"/>
                </a:ext>
              </a:extLst>
            </p:cNvPr>
            <p:cNvSpPr/>
            <p:nvPr/>
          </p:nvSpPr>
          <p:spPr>
            <a:xfrm rot="-5400000">
              <a:off x="3913909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3" name="Полилиния 832">
              <a:extLst>
                <a:ext uri="{FF2B5EF4-FFF2-40B4-BE49-F238E27FC236}">
                  <a16:creationId xmlns:a16="http://schemas.microsoft.com/office/drawing/2014/main" id="{FE9E212F-33B8-A908-60B9-F925C1AEF6A0}"/>
                </a:ext>
              </a:extLst>
            </p:cNvPr>
            <p:cNvSpPr/>
            <p:nvPr/>
          </p:nvSpPr>
          <p:spPr>
            <a:xfrm rot="5400000">
              <a:off x="4329545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6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4" name="Полилиния 833">
              <a:extLst>
                <a:ext uri="{FF2B5EF4-FFF2-40B4-BE49-F238E27FC236}">
                  <a16:creationId xmlns:a16="http://schemas.microsoft.com/office/drawing/2014/main" id="{A8B00FBC-1CA5-A0CF-8E85-B942E202011D}"/>
                </a:ext>
              </a:extLst>
            </p:cNvPr>
            <p:cNvSpPr/>
            <p:nvPr/>
          </p:nvSpPr>
          <p:spPr>
            <a:xfrm rot="-5400000">
              <a:off x="4745181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5" name="Полилиния 834">
              <a:extLst>
                <a:ext uri="{FF2B5EF4-FFF2-40B4-BE49-F238E27FC236}">
                  <a16:creationId xmlns:a16="http://schemas.microsoft.com/office/drawing/2014/main" id="{9E9F264F-104A-1249-79CB-BC44D8B9250D}"/>
                </a:ext>
              </a:extLst>
            </p:cNvPr>
            <p:cNvSpPr/>
            <p:nvPr/>
          </p:nvSpPr>
          <p:spPr>
            <a:xfrm>
              <a:off x="4953000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6" name="Полилиния 835">
              <a:extLst>
                <a:ext uri="{FF2B5EF4-FFF2-40B4-BE49-F238E27FC236}">
                  <a16:creationId xmlns:a16="http://schemas.microsoft.com/office/drawing/2014/main" id="{D9345B82-38B3-96D5-4462-0611EE6D7AED}"/>
                </a:ext>
              </a:extLst>
            </p:cNvPr>
            <p:cNvSpPr/>
            <p:nvPr/>
          </p:nvSpPr>
          <p:spPr>
            <a:xfrm>
              <a:off x="5160818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7" name="Полилиния 836">
              <a:extLst>
                <a:ext uri="{FF2B5EF4-FFF2-40B4-BE49-F238E27FC236}">
                  <a16:creationId xmlns:a16="http://schemas.microsoft.com/office/drawing/2014/main" id="{7BE77649-45A8-4A71-6A98-961AC84298F3}"/>
                </a:ext>
              </a:extLst>
            </p:cNvPr>
            <p:cNvSpPr/>
            <p:nvPr/>
          </p:nvSpPr>
          <p:spPr>
            <a:xfrm>
              <a:off x="5368636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8" name="Полилиния 837">
              <a:extLst>
                <a:ext uri="{FF2B5EF4-FFF2-40B4-BE49-F238E27FC236}">
                  <a16:creationId xmlns:a16="http://schemas.microsoft.com/office/drawing/2014/main" id="{096503B5-A743-4770-1085-9F7F1591D3F6}"/>
                </a:ext>
              </a:extLst>
            </p:cNvPr>
            <p:cNvSpPr/>
            <p:nvPr/>
          </p:nvSpPr>
          <p:spPr>
            <a:xfrm>
              <a:off x="5576454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9" name="Полилиния 838">
              <a:extLst>
                <a:ext uri="{FF2B5EF4-FFF2-40B4-BE49-F238E27FC236}">
                  <a16:creationId xmlns:a16="http://schemas.microsoft.com/office/drawing/2014/main" id="{6994EB8C-5166-2B56-1DA2-37D85178A085}"/>
                </a:ext>
              </a:extLst>
            </p:cNvPr>
            <p:cNvSpPr/>
            <p:nvPr/>
          </p:nvSpPr>
          <p:spPr>
            <a:xfrm rot="5400000">
              <a:off x="5784272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0" name="Полилиния 839">
              <a:extLst>
                <a:ext uri="{FF2B5EF4-FFF2-40B4-BE49-F238E27FC236}">
                  <a16:creationId xmlns:a16="http://schemas.microsoft.com/office/drawing/2014/main" id="{0883C637-CBC1-0184-5859-1FC62A0277E2}"/>
                </a:ext>
              </a:extLst>
            </p:cNvPr>
            <p:cNvSpPr/>
            <p:nvPr/>
          </p:nvSpPr>
          <p:spPr>
            <a:xfrm rot="5400000">
              <a:off x="6407727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1" name="Полилиния 840">
              <a:extLst>
                <a:ext uri="{FF2B5EF4-FFF2-40B4-BE49-F238E27FC236}">
                  <a16:creationId xmlns:a16="http://schemas.microsoft.com/office/drawing/2014/main" id="{1C5E14A0-6963-86AE-5D9C-5FD1C7FD1DA6}"/>
                </a:ext>
              </a:extLst>
            </p:cNvPr>
            <p:cNvSpPr/>
            <p:nvPr/>
          </p:nvSpPr>
          <p:spPr>
            <a:xfrm>
              <a:off x="7239000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2" name="Полилиния 841">
              <a:extLst>
                <a:ext uri="{FF2B5EF4-FFF2-40B4-BE49-F238E27FC236}">
                  <a16:creationId xmlns:a16="http://schemas.microsoft.com/office/drawing/2014/main" id="{FC5AB1CA-FA46-62AD-6237-D624A00B183D}"/>
                </a:ext>
              </a:extLst>
            </p:cNvPr>
            <p:cNvSpPr/>
            <p:nvPr/>
          </p:nvSpPr>
          <p:spPr>
            <a:xfrm rot="5400000">
              <a:off x="7446818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3" name="Полилиния 842">
              <a:extLst>
                <a:ext uri="{FF2B5EF4-FFF2-40B4-BE49-F238E27FC236}">
                  <a16:creationId xmlns:a16="http://schemas.microsoft.com/office/drawing/2014/main" id="{2B3AA81F-A1FA-00FD-1517-476981C775F2}"/>
                </a:ext>
              </a:extLst>
            </p:cNvPr>
            <p:cNvSpPr/>
            <p:nvPr/>
          </p:nvSpPr>
          <p:spPr>
            <a:xfrm rot="-5400000">
              <a:off x="7862454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4" name="Полилиния 843">
              <a:extLst>
                <a:ext uri="{FF2B5EF4-FFF2-40B4-BE49-F238E27FC236}">
                  <a16:creationId xmlns:a16="http://schemas.microsoft.com/office/drawing/2014/main" id="{8531EA30-5DB2-3C88-0668-6EA81BABD0AE}"/>
                </a:ext>
              </a:extLst>
            </p:cNvPr>
            <p:cNvSpPr/>
            <p:nvPr/>
          </p:nvSpPr>
          <p:spPr>
            <a:xfrm>
              <a:off x="8070272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5" name="Полилиния 844">
              <a:extLst>
                <a:ext uri="{FF2B5EF4-FFF2-40B4-BE49-F238E27FC236}">
                  <a16:creationId xmlns:a16="http://schemas.microsoft.com/office/drawing/2014/main" id="{A4B0C185-1302-6578-6DE5-08995E63D628}"/>
                </a:ext>
              </a:extLst>
            </p:cNvPr>
            <p:cNvSpPr/>
            <p:nvPr/>
          </p:nvSpPr>
          <p:spPr>
            <a:xfrm rot="-5400000">
              <a:off x="8485909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6" name="Полилиния 845">
              <a:extLst>
                <a:ext uri="{FF2B5EF4-FFF2-40B4-BE49-F238E27FC236}">
                  <a16:creationId xmlns:a16="http://schemas.microsoft.com/office/drawing/2014/main" id="{5083D282-8846-BF90-1A91-B2D2BF00D747}"/>
                </a:ext>
              </a:extLst>
            </p:cNvPr>
            <p:cNvSpPr/>
            <p:nvPr/>
          </p:nvSpPr>
          <p:spPr>
            <a:xfrm rot="-5400000">
              <a:off x="3082636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7" name="Полилиния 846">
              <a:extLst>
                <a:ext uri="{FF2B5EF4-FFF2-40B4-BE49-F238E27FC236}">
                  <a16:creationId xmlns:a16="http://schemas.microsoft.com/office/drawing/2014/main" id="{21F255FC-B9B2-E259-B27A-5C82A9974775}"/>
                </a:ext>
              </a:extLst>
            </p:cNvPr>
            <p:cNvSpPr/>
            <p:nvPr/>
          </p:nvSpPr>
          <p:spPr>
            <a:xfrm rot="-5400000">
              <a:off x="3498272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8" name="Полилиния 847">
              <a:extLst>
                <a:ext uri="{FF2B5EF4-FFF2-40B4-BE49-F238E27FC236}">
                  <a16:creationId xmlns:a16="http://schemas.microsoft.com/office/drawing/2014/main" id="{CCCA3A9A-584B-CF06-E142-CC61FEE1343F}"/>
                </a:ext>
              </a:extLst>
            </p:cNvPr>
            <p:cNvSpPr/>
            <p:nvPr/>
          </p:nvSpPr>
          <p:spPr>
            <a:xfrm>
              <a:off x="3913909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9" name="Полилиния 848">
              <a:extLst>
                <a:ext uri="{FF2B5EF4-FFF2-40B4-BE49-F238E27FC236}">
                  <a16:creationId xmlns:a16="http://schemas.microsoft.com/office/drawing/2014/main" id="{2B34DA73-B88F-43FF-C8B3-6E62A3F7EEB6}"/>
                </a:ext>
              </a:extLst>
            </p:cNvPr>
            <p:cNvSpPr/>
            <p:nvPr/>
          </p:nvSpPr>
          <p:spPr>
            <a:xfrm rot="5400000">
              <a:off x="4121727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0" name="Полилиния 849">
              <a:extLst>
                <a:ext uri="{FF2B5EF4-FFF2-40B4-BE49-F238E27FC236}">
                  <a16:creationId xmlns:a16="http://schemas.microsoft.com/office/drawing/2014/main" id="{10CFCF34-85CA-85A2-F5D7-489D831687E7}"/>
                </a:ext>
              </a:extLst>
            </p:cNvPr>
            <p:cNvSpPr/>
            <p:nvPr/>
          </p:nvSpPr>
          <p:spPr>
            <a:xfrm rot="-5400000">
              <a:off x="4537363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1" name="Полилиния 850">
              <a:extLst>
                <a:ext uri="{FF2B5EF4-FFF2-40B4-BE49-F238E27FC236}">
                  <a16:creationId xmlns:a16="http://schemas.microsoft.com/office/drawing/2014/main" id="{CAEC93F9-DD4B-CE92-3E4A-87F9C40987C8}"/>
                </a:ext>
              </a:extLst>
            </p:cNvPr>
            <p:cNvSpPr/>
            <p:nvPr/>
          </p:nvSpPr>
          <p:spPr>
            <a:xfrm rot="-5400000">
              <a:off x="6615545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2" name="Полилиния 851">
              <a:extLst>
                <a:ext uri="{FF2B5EF4-FFF2-40B4-BE49-F238E27FC236}">
                  <a16:creationId xmlns:a16="http://schemas.microsoft.com/office/drawing/2014/main" id="{A6595954-F8CC-425D-4FEB-7C9EE3959E35}"/>
                </a:ext>
              </a:extLst>
            </p:cNvPr>
            <p:cNvSpPr/>
            <p:nvPr/>
          </p:nvSpPr>
          <p:spPr>
            <a:xfrm>
              <a:off x="6823363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3" name="Полилиния 852">
              <a:extLst>
                <a:ext uri="{FF2B5EF4-FFF2-40B4-BE49-F238E27FC236}">
                  <a16:creationId xmlns:a16="http://schemas.microsoft.com/office/drawing/2014/main" id="{A886ECA6-7B04-F98B-0557-AA504E10108B}"/>
                </a:ext>
              </a:extLst>
            </p:cNvPr>
            <p:cNvSpPr/>
            <p:nvPr/>
          </p:nvSpPr>
          <p:spPr>
            <a:xfrm rot="5400000">
              <a:off x="7654636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4" name="Полилиния 853">
              <a:extLst>
                <a:ext uri="{FF2B5EF4-FFF2-40B4-BE49-F238E27FC236}">
                  <a16:creationId xmlns:a16="http://schemas.microsoft.com/office/drawing/2014/main" id="{292FE602-D43B-4A01-9F81-3B060D307669}"/>
                </a:ext>
              </a:extLst>
            </p:cNvPr>
            <p:cNvSpPr/>
            <p:nvPr/>
          </p:nvSpPr>
          <p:spPr>
            <a:xfrm rot="5400000">
              <a:off x="8070272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5" name="Полилиния 854">
              <a:extLst>
                <a:ext uri="{FF2B5EF4-FFF2-40B4-BE49-F238E27FC236}">
                  <a16:creationId xmlns:a16="http://schemas.microsoft.com/office/drawing/2014/main" id="{6AD69AD8-B09D-0027-25F3-C1325CC975B9}"/>
                </a:ext>
              </a:extLst>
            </p:cNvPr>
            <p:cNvSpPr/>
            <p:nvPr/>
          </p:nvSpPr>
          <p:spPr>
            <a:xfrm>
              <a:off x="8485909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6" name="Полилиния 855">
              <a:extLst>
                <a:ext uri="{FF2B5EF4-FFF2-40B4-BE49-F238E27FC236}">
                  <a16:creationId xmlns:a16="http://schemas.microsoft.com/office/drawing/2014/main" id="{4A2D0FA5-8FEF-E506-BB6E-0E6FE1FAA913}"/>
                </a:ext>
              </a:extLst>
            </p:cNvPr>
            <p:cNvSpPr/>
            <p:nvPr/>
          </p:nvSpPr>
          <p:spPr>
            <a:xfrm>
              <a:off x="8693727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7" name="Полилиния 856">
              <a:extLst>
                <a:ext uri="{FF2B5EF4-FFF2-40B4-BE49-F238E27FC236}">
                  <a16:creationId xmlns:a16="http://schemas.microsoft.com/office/drawing/2014/main" id="{670B8189-926D-8518-C2D2-9967F0AA70FD}"/>
                </a:ext>
              </a:extLst>
            </p:cNvPr>
            <p:cNvSpPr/>
            <p:nvPr/>
          </p:nvSpPr>
          <p:spPr>
            <a:xfrm>
              <a:off x="8901545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8" name="Полилиния 857">
              <a:extLst>
                <a:ext uri="{FF2B5EF4-FFF2-40B4-BE49-F238E27FC236}">
                  <a16:creationId xmlns:a16="http://schemas.microsoft.com/office/drawing/2014/main" id="{B4288CF1-1239-5E31-6690-BC76F4F3DDE0}"/>
                </a:ext>
              </a:extLst>
            </p:cNvPr>
            <p:cNvSpPr/>
            <p:nvPr/>
          </p:nvSpPr>
          <p:spPr>
            <a:xfrm>
              <a:off x="3082636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9" name="Полилиния 858">
              <a:extLst>
                <a:ext uri="{FF2B5EF4-FFF2-40B4-BE49-F238E27FC236}">
                  <a16:creationId xmlns:a16="http://schemas.microsoft.com/office/drawing/2014/main" id="{5709EA02-EE1C-098A-E220-ABC60FF15DEA}"/>
                </a:ext>
              </a:extLst>
            </p:cNvPr>
            <p:cNvSpPr/>
            <p:nvPr/>
          </p:nvSpPr>
          <p:spPr>
            <a:xfrm>
              <a:off x="3290454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0" name="Полилиния 859">
              <a:extLst>
                <a:ext uri="{FF2B5EF4-FFF2-40B4-BE49-F238E27FC236}">
                  <a16:creationId xmlns:a16="http://schemas.microsoft.com/office/drawing/2014/main" id="{62D4CA70-5F2A-64EF-B264-558123C2C120}"/>
                </a:ext>
              </a:extLst>
            </p:cNvPr>
            <p:cNvSpPr/>
            <p:nvPr/>
          </p:nvSpPr>
          <p:spPr>
            <a:xfrm>
              <a:off x="3498272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1" name="Полилиния 860">
              <a:extLst>
                <a:ext uri="{FF2B5EF4-FFF2-40B4-BE49-F238E27FC236}">
                  <a16:creationId xmlns:a16="http://schemas.microsoft.com/office/drawing/2014/main" id="{3D505AF4-79A9-7BD0-F167-4FE25A4FA613}"/>
                </a:ext>
              </a:extLst>
            </p:cNvPr>
            <p:cNvSpPr/>
            <p:nvPr/>
          </p:nvSpPr>
          <p:spPr>
            <a:xfrm rot="5400000">
              <a:off x="3706090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2" name="Полилиния 861">
              <a:extLst>
                <a:ext uri="{FF2B5EF4-FFF2-40B4-BE49-F238E27FC236}">
                  <a16:creationId xmlns:a16="http://schemas.microsoft.com/office/drawing/2014/main" id="{31F5005C-3328-D53C-187F-01E618421F48}"/>
                </a:ext>
              </a:extLst>
            </p:cNvPr>
            <p:cNvSpPr/>
            <p:nvPr/>
          </p:nvSpPr>
          <p:spPr>
            <a:xfrm rot="-5400000">
              <a:off x="4329545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3" name="Полилиния 862">
              <a:extLst>
                <a:ext uri="{FF2B5EF4-FFF2-40B4-BE49-F238E27FC236}">
                  <a16:creationId xmlns:a16="http://schemas.microsoft.com/office/drawing/2014/main" id="{AE3C35FB-1863-CCA2-2E84-BA18F090DE0F}"/>
                </a:ext>
              </a:extLst>
            </p:cNvPr>
            <p:cNvSpPr/>
            <p:nvPr/>
          </p:nvSpPr>
          <p:spPr>
            <a:xfrm>
              <a:off x="4537363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4" name="Полилиния 863">
              <a:extLst>
                <a:ext uri="{FF2B5EF4-FFF2-40B4-BE49-F238E27FC236}">
                  <a16:creationId xmlns:a16="http://schemas.microsoft.com/office/drawing/2014/main" id="{FDAFCDA0-45B7-888C-5EA8-3AF437F3350D}"/>
                </a:ext>
              </a:extLst>
            </p:cNvPr>
            <p:cNvSpPr/>
            <p:nvPr/>
          </p:nvSpPr>
          <p:spPr>
            <a:xfrm>
              <a:off x="4745181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5" name="Полилиния 864">
              <a:extLst>
                <a:ext uri="{FF2B5EF4-FFF2-40B4-BE49-F238E27FC236}">
                  <a16:creationId xmlns:a16="http://schemas.microsoft.com/office/drawing/2014/main" id="{A1F548DF-36BF-6DF5-33AD-AE4653629903}"/>
                </a:ext>
              </a:extLst>
            </p:cNvPr>
            <p:cNvSpPr/>
            <p:nvPr/>
          </p:nvSpPr>
          <p:spPr>
            <a:xfrm>
              <a:off x="4953000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6" name="Полилиния 865">
              <a:extLst>
                <a:ext uri="{FF2B5EF4-FFF2-40B4-BE49-F238E27FC236}">
                  <a16:creationId xmlns:a16="http://schemas.microsoft.com/office/drawing/2014/main" id="{598FF49B-6E01-944B-9F59-894EBBC961BB}"/>
                </a:ext>
              </a:extLst>
            </p:cNvPr>
            <p:cNvSpPr/>
            <p:nvPr/>
          </p:nvSpPr>
          <p:spPr>
            <a:xfrm rot="5400000">
              <a:off x="5160818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7" name="Полилиния 866">
              <a:extLst>
                <a:ext uri="{FF2B5EF4-FFF2-40B4-BE49-F238E27FC236}">
                  <a16:creationId xmlns:a16="http://schemas.microsoft.com/office/drawing/2014/main" id="{0430D814-7A1E-9ED7-E1F9-D4B0C421CCD6}"/>
                </a:ext>
              </a:extLst>
            </p:cNvPr>
            <p:cNvSpPr/>
            <p:nvPr/>
          </p:nvSpPr>
          <p:spPr>
            <a:xfrm rot="5400000">
              <a:off x="6407727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8" name="Полилиния 867">
              <a:extLst>
                <a:ext uri="{FF2B5EF4-FFF2-40B4-BE49-F238E27FC236}">
                  <a16:creationId xmlns:a16="http://schemas.microsoft.com/office/drawing/2014/main" id="{1A40EDCC-B4E2-0428-BB46-B49F628B4C86}"/>
                </a:ext>
              </a:extLst>
            </p:cNvPr>
            <p:cNvSpPr/>
            <p:nvPr/>
          </p:nvSpPr>
          <p:spPr>
            <a:xfrm>
              <a:off x="6823363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9" name="Полилиния 868">
              <a:extLst>
                <a:ext uri="{FF2B5EF4-FFF2-40B4-BE49-F238E27FC236}">
                  <a16:creationId xmlns:a16="http://schemas.microsoft.com/office/drawing/2014/main" id="{30789F73-8C24-7086-EB01-1BE94AD3E478}"/>
                </a:ext>
              </a:extLst>
            </p:cNvPr>
            <p:cNvSpPr/>
            <p:nvPr/>
          </p:nvSpPr>
          <p:spPr>
            <a:xfrm rot="-5400000">
              <a:off x="7239000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0" name="Полилиния 869">
              <a:extLst>
                <a:ext uri="{FF2B5EF4-FFF2-40B4-BE49-F238E27FC236}">
                  <a16:creationId xmlns:a16="http://schemas.microsoft.com/office/drawing/2014/main" id="{95973163-4F50-0B87-1A2C-D3A5AACBC515}"/>
                </a:ext>
              </a:extLst>
            </p:cNvPr>
            <p:cNvSpPr/>
            <p:nvPr/>
          </p:nvSpPr>
          <p:spPr>
            <a:xfrm>
              <a:off x="7446818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1" name="Полилиния 870">
              <a:extLst>
                <a:ext uri="{FF2B5EF4-FFF2-40B4-BE49-F238E27FC236}">
                  <a16:creationId xmlns:a16="http://schemas.microsoft.com/office/drawing/2014/main" id="{294F9ACA-37CB-F086-26A0-EFCC1017E8F4}"/>
                </a:ext>
              </a:extLst>
            </p:cNvPr>
            <p:cNvSpPr/>
            <p:nvPr/>
          </p:nvSpPr>
          <p:spPr>
            <a:xfrm>
              <a:off x="8901545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2" name="Полилиния 871">
              <a:extLst>
                <a:ext uri="{FF2B5EF4-FFF2-40B4-BE49-F238E27FC236}">
                  <a16:creationId xmlns:a16="http://schemas.microsoft.com/office/drawing/2014/main" id="{D34D027E-C803-2995-F2B6-6D6FD1825FFF}"/>
                </a:ext>
              </a:extLst>
            </p:cNvPr>
            <p:cNvSpPr/>
            <p:nvPr/>
          </p:nvSpPr>
          <p:spPr>
            <a:xfrm>
              <a:off x="3290454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3" name="Полилиния 872">
              <a:extLst>
                <a:ext uri="{FF2B5EF4-FFF2-40B4-BE49-F238E27FC236}">
                  <a16:creationId xmlns:a16="http://schemas.microsoft.com/office/drawing/2014/main" id="{721F388F-CFE7-E2E8-EE6B-333A7C9F83ED}"/>
                </a:ext>
              </a:extLst>
            </p:cNvPr>
            <p:cNvSpPr/>
            <p:nvPr/>
          </p:nvSpPr>
          <p:spPr>
            <a:xfrm rot="5400000">
              <a:off x="3498272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4" name="Полилиния 873">
              <a:extLst>
                <a:ext uri="{FF2B5EF4-FFF2-40B4-BE49-F238E27FC236}">
                  <a16:creationId xmlns:a16="http://schemas.microsoft.com/office/drawing/2014/main" id="{68F0A4B0-2EE6-83AC-47B1-7DCA68817BA3}"/>
                </a:ext>
              </a:extLst>
            </p:cNvPr>
            <p:cNvSpPr/>
            <p:nvPr/>
          </p:nvSpPr>
          <p:spPr>
            <a:xfrm rot="-5400000">
              <a:off x="3913909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5" name="Полилиния 874">
              <a:extLst>
                <a:ext uri="{FF2B5EF4-FFF2-40B4-BE49-F238E27FC236}">
                  <a16:creationId xmlns:a16="http://schemas.microsoft.com/office/drawing/2014/main" id="{B1607E11-855A-4941-AB8C-DD6384A9C378}"/>
                </a:ext>
              </a:extLst>
            </p:cNvPr>
            <p:cNvSpPr/>
            <p:nvPr/>
          </p:nvSpPr>
          <p:spPr>
            <a:xfrm>
              <a:off x="4745181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6" name="Полилиния 875">
              <a:extLst>
                <a:ext uri="{FF2B5EF4-FFF2-40B4-BE49-F238E27FC236}">
                  <a16:creationId xmlns:a16="http://schemas.microsoft.com/office/drawing/2014/main" id="{ADFB283B-2FD4-85E2-5F4A-4E7F5709E615}"/>
                </a:ext>
              </a:extLst>
            </p:cNvPr>
            <p:cNvSpPr/>
            <p:nvPr/>
          </p:nvSpPr>
          <p:spPr>
            <a:xfrm rot="5400000">
              <a:off x="4953000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7" name="Полилиния 876">
              <a:extLst>
                <a:ext uri="{FF2B5EF4-FFF2-40B4-BE49-F238E27FC236}">
                  <a16:creationId xmlns:a16="http://schemas.microsoft.com/office/drawing/2014/main" id="{AC0034A9-7319-BF80-36AB-5390D2FDF38B}"/>
                </a:ext>
              </a:extLst>
            </p:cNvPr>
            <p:cNvSpPr/>
            <p:nvPr/>
          </p:nvSpPr>
          <p:spPr>
            <a:xfrm rot="5400000">
              <a:off x="5368636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8" name="Полилиния 877">
              <a:extLst>
                <a:ext uri="{FF2B5EF4-FFF2-40B4-BE49-F238E27FC236}">
                  <a16:creationId xmlns:a16="http://schemas.microsoft.com/office/drawing/2014/main" id="{5FDE15D3-D0F5-B5F4-C16A-12DFB6B297CB}"/>
                </a:ext>
              </a:extLst>
            </p:cNvPr>
            <p:cNvSpPr/>
            <p:nvPr/>
          </p:nvSpPr>
          <p:spPr>
            <a:xfrm rot="-5400000">
              <a:off x="6199909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9" name="Полилиния 878">
              <a:extLst>
                <a:ext uri="{FF2B5EF4-FFF2-40B4-BE49-F238E27FC236}">
                  <a16:creationId xmlns:a16="http://schemas.microsoft.com/office/drawing/2014/main" id="{BA21DA8B-59A9-460C-4340-67C2F91E4FBC}"/>
                </a:ext>
              </a:extLst>
            </p:cNvPr>
            <p:cNvSpPr/>
            <p:nvPr/>
          </p:nvSpPr>
          <p:spPr>
            <a:xfrm rot="-5400000">
              <a:off x="6615545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0" name="Полилиния 879">
              <a:extLst>
                <a:ext uri="{FF2B5EF4-FFF2-40B4-BE49-F238E27FC236}">
                  <a16:creationId xmlns:a16="http://schemas.microsoft.com/office/drawing/2014/main" id="{5B9DF644-59CA-CA16-74DF-3FE494033F7A}"/>
                </a:ext>
              </a:extLst>
            </p:cNvPr>
            <p:cNvSpPr/>
            <p:nvPr/>
          </p:nvSpPr>
          <p:spPr>
            <a:xfrm>
              <a:off x="6823363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1" name="Полилиния 880">
              <a:extLst>
                <a:ext uri="{FF2B5EF4-FFF2-40B4-BE49-F238E27FC236}">
                  <a16:creationId xmlns:a16="http://schemas.microsoft.com/office/drawing/2014/main" id="{6E8273B3-150F-0017-84AF-6F17635011C2}"/>
                </a:ext>
              </a:extLst>
            </p:cNvPr>
            <p:cNvSpPr/>
            <p:nvPr/>
          </p:nvSpPr>
          <p:spPr>
            <a:xfrm>
              <a:off x="7031181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2" name="Полилиния 881">
              <a:extLst>
                <a:ext uri="{FF2B5EF4-FFF2-40B4-BE49-F238E27FC236}">
                  <a16:creationId xmlns:a16="http://schemas.microsoft.com/office/drawing/2014/main" id="{FEAB76EE-1AF4-FE00-6144-12B7202069B9}"/>
                </a:ext>
              </a:extLst>
            </p:cNvPr>
            <p:cNvSpPr/>
            <p:nvPr/>
          </p:nvSpPr>
          <p:spPr>
            <a:xfrm>
              <a:off x="7239000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3" name="Полилиния 882">
              <a:extLst>
                <a:ext uri="{FF2B5EF4-FFF2-40B4-BE49-F238E27FC236}">
                  <a16:creationId xmlns:a16="http://schemas.microsoft.com/office/drawing/2014/main" id="{47F67FAF-A895-D271-E31E-677E1DE84946}"/>
                </a:ext>
              </a:extLst>
            </p:cNvPr>
            <p:cNvSpPr/>
            <p:nvPr/>
          </p:nvSpPr>
          <p:spPr>
            <a:xfrm rot="5400000">
              <a:off x="7446818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4" name="Полилиния 883">
              <a:extLst>
                <a:ext uri="{FF2B5EF4-FFF2-40B4-BE49-F238E27FC236}">
                  <a16:creationId xmlns:a16="http://schemas.microsoft.com/office/drawing/2014/main" id="{4FB8C460-05FF-6FB6-0229-351AB5C08D08}"/>
                </a:ext>
              </a:extLst>
            </p:cNvPr>
            <p:cNvSpPr/>
            <p:nvPr/>
          </p:nvSpPr>
          <p:spPr>
            <a:xfrm rot="5400000">
              <a:off x="8070272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5" name="Полилиния 884">
              <a:extLst>
                <a:ext uri="{FF2B5EF4-FFF2-40B4-BE49-F238E27FC236}">
                  <a16:creationId xmlns:a16="http://schemas.microsoft.com/office/drawing/2014/main" id="{A306A601-7605-1876-8C91-5A9D7F29C31B}"/>
                </a:ext>
              </a:extLst>
            </p:cNvPr>
            <p:cNvSpPr/>
            <p:nvPr/>
          </p:nvSpPr>
          <p:spPr>
            <a:xfrm rot="-5400000">
              <a:off x="8693727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6" name="Полилиния 885">
              <a:extLst>
                <a:ext uri="{FF2B5EF4-FFF2-40B4-BE49-F238E27FC236}">
                  <a16:creationId xmlns:a16="http://schemas.microsoft.com/office/drawing/2014/main" id="{42CC1AD6-0D94-CE6E-3608-14DF848EEF66}"/>
                </a:ext>
              </a:extLst>
            </p:cNvPr>
            <p:cNvSpPr/>
            <p:nvPr/>
          </p:nvSpPr>
          <p:spPr>
            <a:xfrm>
              <a:off x="8901545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7" name="Полилиния 886">
              <a:extLst>
                <a:ext uri="{FF2B5EF4-FFF2-40B4-BE49-F238E27FC236}">
                  <a16:creationId xmlns:a16="http://schemas.microsoft.com/office/drawing/2014/main" id="{6595C43A-D2CA-614B-809E-4452F39379C2}"/>
                </a:ext>
              </a:extLst>
            </p:cNvPr>
            <p:cNvSpPr/>
            <p:nvPr/>
          </p:nvSpPr>
          <p:spPr>
            <a:xfrm rot="-5400000">
              <a:off x="3082636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8" name="Полилиния 887">
              <a:extLst>
                <a:ext uri="{FF2B5EF4-FFF2-40B4-BE49-F238E27FC236}">
                  <a16:creationId xmlns:a16="http://schemas.microsoft.com/office/drawing/2014/main" id="{A5DA31B4-7D29-5625-CB44-1B23C6B9679D}"/>
                </a:ext>
              </a:extLst>
            </p:cNvPr>
            <p:cNvSpPr/>
            <p:nvPr/>
          </p:nvSpPr>
          <p:spPr>
            <a:xfrm>
              <a:off x="3290454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9" name="Полилиния 888">
              <a:extLst>
                <a:ext uri="{FF2B5EF4-FFF2-40B4-BE49-F238E27FC236}">
                  <a16:creationId xmlns:a16="http://schemas.microsoft.com/office/drawing/2014/main" id="{511B1596-570A-0882-4D96-AB7E5E5CF813}"/>
                </a:ext>
              </a:extLst>
            </p:cNvPr>
            <p:cNvSpPr/>
            <p:nvPr/>
          </p:nvSpPr>
          <p:spPr>
            <a:xfrm>
              <a:off x="3913909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0" name="Полилиния 889">
              <a:extLst>
                <a:ext uri="{FF2B5EF4-FFF2-40B4-BE49-F238E27FC236}">
                  <a16:creationId xmlns:a16="http://schemas.microsoft.com/office/drawing/2014/main" id="{07CA3402-4EB9-1A3C-512E-1BD9DF11ED41}"/>
                </a:ext>
              </a:extLst>
            </p:cNvPr>
            <p:cNvSpPr/>
            <p:nvPr/>
          </p:nvSpPr>
          <p:spPr>
            <a:xfrm rot="5400000">
              <a:off x="4329545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6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1" name="Полилиния 890">
              <a:extLst>
                <a:ext uri="{FF2B5EF4-FFF2-40B4-BE49-F238E27FC236}">
                  <a16:creationId xmlns:a16="http://schemas.microsoft.com/office/drawing/2014/main" id="{EB2DB45D-3274-6C4B-F90C-A9FFC62CDD24}"/>
                </a:ext>
              </a:extLst>
            </p:cNvPr>
            <p:cNvSpPr/>
            <p:nvPr/>
          </p:nvSpPr>
          <p:spPr>
            <a:xfrm rot="5400000">
              <a:off x="4745181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2" name="Полилиния 891">
              <a:extLst>
                <a:ext uri="{FF2B5EF4-FFF2-40B4-BE49-F238E27FC236}">
                  <a16:creationId xmlns:a16="http://schemas.microsoft.com/office/drawing/2014/main" id="{37BCB717-3ACC-EEA1-4669-BB99E4AB1F45}"/>
                </a:ext>
              </a:extLst>
            </p:cNvPr>
            <p:cNvSpPr/>
            <p:nvPr/>
          </p:nvSpPr>
          <p:spPr>
            <a:xfrm rot="-5400000">
              <a:off x="5160818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3" name="Полилиния 892">
              <a:extLst>
                <a:ext uri="{FF2B5EF4-FFF2-40B4-BE49-F238E27FC236}">
                  <a16:creationId xmlns:a16="http://schemas.microsoft.com/office/drawing/2014/main" id="{17D6E52A-1D77-256F-44B6-9C509B56C5CB}"/>
                </a:ext>
              </a:extLst>
            </p:cNvPr>
            <p:cNvSpPr/>
            <p:nvPr/>
          </p:nvSpPr>
          <p:spPr>
            <a:xfrm rot="-5400000">
              <a:off x="5576454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4" name="Полилиния 893">
              <a:extLst>
                <a:ext uri="{FF2B5EF4-FFF2-40B4-BE49-F238E27FC236}">
                  <a16:creationId xmlns:a16="http://schemas.microsoft.com/office/drawing/2014/main" id="{6B072849-FDD9-D90D-8E0D-33AF3F9AC940}"/>
                </a:ext>
              </a:extLst>
            </p:cNvPr>
            <p:cNvSpPr/>
            <p:nvPr/>
          </p:nvSpPr>
          <p:spPr>
            <a:xfrm rot="5400000">
              <a:off x="5784272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5" name="Полилиния 894">
              <a:extLst>
                <a:ext uri="{FF2B5EF4-FFF2-40B4-BE49-F238E27FC236}">
                  <a16:creationId xmlns:a16="http://schemas.microsoft.com/office/drawing/2014/main" id="{50616235-BE98-FD7D-CA88-FEFF52DEAFD7}"/>
                </a:ext>
              </a:extLst>
            </p:cNvPr>
            <p:cNvSpPr/>
            <p:nvPr/>
          </p:nvSpPr>
          <p:spPr>
            <a:xfrm>
              <a:off x="6199909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6" name="Полилиния 895">
              <a:extLst>
                <a:ext uri="{FF2B5EF4-FFF2-40B4-BE49-F238E27FC236}">
                  <a16:creationId xmlns:a16="http://schemas.microsoft.com/office/drawing/2014/main" id="{60936004-5C27-EBB6-8562-4D3BDDCD2E06}"/>
                </a:ext>
              </a:extLst>
            </p:cNvPr>
            <p:cNvSpPr/>
            <p:nvPr/>
          </p:nvSpPr>
          <p:spPr>
            <a:xfrm>
              <a:off x="6407727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7" name="Полилиния 896">
              <a:extLst>
                <a:ext uri="{FF2B5EF4-FFF2-40B4-BE49-F238E27FC236}">
                  <a16:creationId xmlns:a16="http://schemas.microsoft.com/office/drawing/2014/main" id="{B0BD8A9D-C109-152A-464C-171A646A486F}"/>
                </a:ext>
              </a:extLst>
            </p:cNvPr>
            <p:cNvSpPr/>
            <p:nvPr/>
          </p:nvSpPr>
          <p:spPr>
            <a:xfrm rot="5400000">
              <a:off x="6615545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8" name="Полилиния 897">
              <a:extLst>
                <a:ext uri="{FF2B5EF4-FFF2-40B4-BE49-F238E27FC236}">
                  <a16:creationId xmlns:a16="http://schemas.microsoft.com/office/drawing/2014/main" id="{D44C2510-5814-4483-A38E-33E0D90B2C56}"/>
                </a:ext>
              </a:extLst>
            </p:cNvPr>
            <p:cNvSpPr/>
            <p:nvPr/>
          </p:nvSpPr>
          <p:spPr>
            <a:xfrm rot="5400000">
              <a:off x="7239000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9" name="Полилиния 898">
              <a:extLst>
                <a:ext uri="{FF2B5EF4-FFF2-40B4-BE49-F238E27FC236}">
                  <a16:creationId xmlns:a16="http://schemas.microsoft.com/office/drawing/2014/main" id="{B3F92815-F2DE-5FFC-10D2-1D5D162F71FA}"/>
                </a:ext>
              </a:extLst>
            </p:cNvPr>
            <p:cNvSpPr/>
            <p:nvPr/>
          </p:nvSpPr>
          <p:spPr>
            <a:xfrm rot="5400000">
              <a:off x="7862454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0" name="Полилиния 899">
              <a:extLst>
                <a:ext uri="{FF2B5EF4-FFF2-40B4-BE49-F238E27FC236}">
                  <a16:creationId xmlns:a16="http://schemas.microsoft.com/office/drawing/2014/main" id="{4115661E-C2FA-13EC-C57B-F6BE9902EC0F}"/>
                </a:ext>
              </a:extLst>
            </p:cNvPr>
            <p:cNvSpPr/>
            <p:nvPr/>
          </p:nvSpPr>
          <p:spPr>
            <a:xfrm rot="5400000">
              <a:off x="8278090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1" name="Полилиния 900">
              <a:extLst>
                <a:ext uri="{FF2B5EF4-FFF2-40B4-BE49-F238E27FC236}">
                  <a16:creationId xmlns:a16="http://schemas.microsoft.com/office/drawing/2014/main" id="{9FE64948-AB71-2ED5-D3BE-5639A5C2B717}"/>
                </a:ext>
              </a:extLst>
            </p:cNvPr>
            <p:cNvSpPr/>
            <p:nvPr/>
          </p:nvSpPr>
          <p:spPr>
            <a:xfrm>
              <a:off x="8901545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2" name="Полилиния 901">
              <a:extLst>
                <a:ext uri="{FF2B5EF4-FFF2-40B4-BE49-F238E27FC236}">
                  <a16:creationId xmlns:a16="http://schemas.microsoft.com/office/drawing/2014/main" id="{6864CC28-585A-38A6-EA9F-42A5E29BC488}"/>
                </a:ext>
              </a:extLst>
            </p:cNvPr>
            <p:cNvSpPr/>
            <p:nvPr/>
          </p:nvSpPr>
          <p:spPr>
            <a:xfrm>
              <a:off x="3082636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3" name="Полилиния 902">
              <a:extLst>
                <a:ext uri="{FF2B5EF4-FFF2-40B4-BE49-F238E27FC236}">
                  <a16:creationId xmlns:a16="http://schemas.microsoft.com/office/drawing/2014/main" id="{DAA788E3-2D18-4BDC-8727-96607A893BE0}"/>
                </a:ext>
              </a:extLst>
            </p:cNvPr>
            <p:cNvSpPr/>
            <p:nvPr/>
          </p:nvSpPr>
          <p:spPr>
            <a:xfrm>
              <a:off x="3290454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4" name="Полилиния 903">
              <a:extLst>
                <a:ext uri="{FF2B5EF4-FFF2-40B4-BE49-F238E27FC236}">
                  <a16:creationId xmlns:a16="http://schemas.microsoft.com/office/drawing/2014/main" id="{5AF4FFD9-94E9-3D0F-8E25-B510AFCAE570}"/>
                </a:ext>
              </a:extLst>
            </p:cNvPr>
            <p:cNvSpPr/>
            <p:nvPr/>
          </p:nvSpPr>
          <p:spPr>
            <a:xfrm>
              <a:off x="3913909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5" name="Полилиния 904">
              <a:extLst>
                <a:ext uri="{FF2B5EF4-FFF2-40B4-BE49-F238E27FC236}">
                  <a16:creationId xmlns:a16="http://schemas.microsoft.com/office/drawing/2014/main" id="{F0E84DFA-5BC6-F200-F610-1738445B038C}"/>
                </a:ext>
              </a:extLst>
            </p:cNvPr>
            <p:cNvSpPr/>
            <p:nvPr/>
          </p:nvSpPr>
          <p:spPr>
            <a:xfrm rot="5400000">
              <a:off x="4121727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6" name="Полилиния 905">
              <a:extLst>
                <a:ext uri="{FF2B5EF4-FFF2-40B4-BE49-F238E27FC236}">
                  <a16:creationId xmlns:a16="http://schemas.microsoft.com/office/drawing/2014/main" id="{99846832-8D82-DD28-45C8-8E35E1EDBFE5}"/>
                </a:ext>
              </a:extLst>
            </p:cNvPr>
            <p:cNvSpPr/>
            <p:nvPr/>
          </p:nvSpPr>
          <p:spPr>
            <a:xfrm rot="-5400000">
              <a:off x="4537363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7" name="Полилиния 906">
              <a:extLst>
                <a:ext uri="{FF2B5EF4-FFF2-40B4-BE49-F238E27FC236}">
                  <a16:creationId xmlns:a16="http://schemas.microsoft.com/office/drawing/2014/main" id="{CE090028-3D18-C91F-2DB9-AD0F8DD16127}"/>
                </a:ext>
              </a:extLst>
            </p:cNvPr>
            <p:cNvSpPr/>
            <p:nvPr/>
          </p:nvSpPr>
          <p:spPr>
            <a:xfrm rot="-5400000">
              <a:off x="4953000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8" name="Полилиния 907">
              <a:extLst>
                <a:ext uri="{FF2B5EF4-FFF2-40B4-BE49-F238E27FC236}">
                  <a16:creationId xmlns:a16="http://schemas.microsoft.com/office/drawing/2014/main" id="{F9962594-92AE-605B-1063-0172D29034D2}"/>
                </a:ext>
              </a:extLst>
            </p:cNvPr>
            <p:cNvSpPr/>
            <p:nvPr/>
          </p:nvSpPr>
          <p:spPr>
            <a:xfrm>
              <a:off x="5160818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9" name="Полилиния 908">
              <a:extLst>
                <a:ext uri="{FF2B5EF4-FFF2-40B4-BE49-F238E27FC236}">
                  <a16:creationId xmlns:a16="http://schemas.microsoft.com/office/drawing/2014/main" id="{6D1C8BB5-F7D0-AB07-6DEB-3C922017C6F9}"/>
                </a:ext>
              </a:extLst>
            </p:cNvPr>
            <p:cNvSpPr/>
            <p:nvPr/>
          </p:nvSpPr>
          <p:spPr>
            <a:xfrm>
              <a:off x="5368636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0" name="Полилиния 909">
              <a:extLst>
                <a:ext uri="{FF2B5EF4-FFF2-40B4-BE49-F238E27FC236}">
                  <a16:creationId xmlns:a16="http://schemas.microsoft.com/office/drawing/2014/main" id="{21A2E010-9596-753B-4AE0-20115D1EA531}"/>
                </a:ext>
              </a:extLst>
            </p:cNvPr>
            <p:cNvSpPr/>
            <p:nvPr/>
          </p:nvSpPr>
          <p:spPr>
            <a:xfrm rot="-5400000">
              <a:off x="5992090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1" name="Полилиния 910">
              <a:extLst>
                <a:ext uri="{FF2B5EF4-FFF2-40B4-BE49-F238E27FC236}">
                  <a16:creationId xmlns:a16="http://schemas.microsoft.com/office/drawing/2014/main" id="{5B266DFC-BD21-E9E8-3CEA-880DEC4C27DA}"/>
                </a:ext>
              </a:extLst>
            </p:cNvPr>
            <p:cNvSpPr/>
            <p:nvPr/>
          </p:nvSpPr>
          <p:spPr>
            <a:xfrm>
              <a:off x="6199909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2" name="Полилиния 911">
              <a:extLst>
                <a:ext uri="{FF2B5EF4-FFF2-40B4-BE49-F238E27FC236}">
                  <a16:creationId xmlns:a16="http://schemas.microsoft.com/office/drawing/2014/main" id="{643B7560-83C6-0BF9-9573-BB23713A80C4}"/>
                </a:ext>
              </a:extLst>
            </p:cNvPr>
            <p:cNvSpPr/>
            <p:nvPr/>
          </p:nvSpPr>
          <p:spPr>
            <a:xfrm>
              <a:off x="6407727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3" name="Полилиния 912">
              <a:extLst>
                <a:ext uri="{FF2B5EF4-FFF2-40B4-BE49-F238E27FC236}">
                  <a16:creationId xmlns:a16="http://schemas.microsoft.com/office/drawing/2014/main" id="{D9839CD6-531B-2577-F12E-491A3B03B55A}"/>
                </a:ext>
              </a:extLst>
            </p:cNvPr>
            <p:cNvSpPr/>
            <p:nvPr/>
          </p:nvSpPr>
          <p:spPr>
            <a:xfrm rot="5400000">
              <a:off x="6823363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4" name="Полилиния 913">
              <a:extLst>
                <a:ext uri="{FF2B5EF4-FFF2-40B4-BE49-F238E27FC236}">
                  <a16:creationId xmlns:a16="http://schemas.microsoft.com/office/drawing/2014/main" id="{0E717CF8-66B8-6006-D011-00DD59CDDFD2}"/>
                </a:ext>
              </a:extLst>
            </p:cNvPr>
            <p:cNvSpPr/>
            <p:nvPr/>
          </p:nvSpPr>
          <p:spPr>
            <a:xfrm rot="5400000">
              <a:off x="7654636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5" name="Полилиния 914">
              <a:extLst>
                <a:ext uri="{FF2B5EF4-FFF2-40B4-BE49-F238E27FC236}">
                  <a16:creationId xmlns:a16="http://schemas.microsoft.com/office/drawing/2014/main" id="{0316FA70-AA5C-19EE-A352-86BE298E0086}"/>
                </a:ext>
              </a:extLst>
            </p:cNvPr>
            <p:cNvSpPr/>
            <p:nvPr/>
          </p:nvSpPr>
          <p:spPr>
            <a:xfrm rot="-5400000">
              <a:off x="8070272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6" name="Полилиния 915">
              <a:extLst>
                <a:ext uri="{FF2B5EF4-FFF2-40B4-BE49-F238E27FC236}">
                  <a16:creationId xmlns:a16="http://schemas.microsoft.com/office/drawing/2014/main" id="{31B8B085-7382-74B0-51F3-32E683FFBD75}"/>
                </a:ext>
              </a:extLst>
            </p:cNvPr>
            <p:cNvSpPr/>
            <p:nvPr/>
          </p:nvSpPr>
          <p:spPr>
            <a:xfrm rot="5400000">
              <a:off x="8485909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7" name="Полилиния 916">
              <a:extLst>
                <a:ext uri="{FF2B5EF4-FFF2-40B4-BE49-F238E27FC236}">
                  <a16:creationId xmlns:a16="http://schemas.microsoft.com/office/drawing/2014/main" id="{C663A652-0B97-2E0A-B198-D4583E893870}"/>
                </a:ext>
              </a:extLst>
            </p:cNvPr>
            <p:cNvSpPr/>
            <p:nvPr/>
          </p:nvSpPr>
          <p:spPr>
            <a:xfrm>
              <a:off x="8901545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8" name="Полилиния 917">
              <a:extLst>
                <a:ext uri="{FF2B5EF4-FFF2-40B4-BE49-F238E27FC236}">
                  <a16:creationId xmlns:a16="http://schemas.microsoft.com/office/drawing/2014/main" id="{7BDC2568-383B-E73D-077D-73458324F7C0}"/>
                </a:ext>
              </a:extLst>
            </p:cNvPr>
            <p:cNvSpPr/>
            <p:nvPr/>
          </p:nvSpPr>
          <p:spPr>
            <a:xfrm>
              <a:off x="3082636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9" name="Полилиния 918">
              <a:extLst>
                <a:ext uri="{FF2B5EF4-FFF2-40B4-BE49-F238E27FC236}">
                  <a16:creationId xmlns:a16="http://schemas.microsoft.com/office/drawing/2014/main" id="{6E6C29F8-C5CD-D91E-06E4-B72D11595CB6}"/>
                </a:ext>
              </a:extLst>
            </p:cNvPr>
            <p:cNvSpPr/>
            <p:nvPr/>
          </p:nvSpPr>
          <p:spPr>
            <a:xfrm>
              <a:off x="3290454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0" name="Полилиния 919">
              <a:extLst>
                <a:ext uri="{FF2B5EF4-FFF2-40B4-BE49-F238E27FC236}">
                  <a16:creationId xmlns:a16="http://schemas.microsoft.com/office/drawing/2014/main" id="{1FC37B07-B5DA-05DF-1BA1-BD08738EABCC}"/>
                </a:ext>
              </a:extLst>
            </p:cNvPr>
            <p:cNvSpPr/>
            <p:nvPr/>
          </p:nvSpPr>
          <p:spPr>
            <a:xfrm>
              <a:off x="3498272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1" name="Полилиния 920">
              <a:extLst>
                <a:ext uri="{FF2B5EF4-FFF2-40B4-BE49-F238E27FC236}">
                  <a16:creationId xmlns:a16="http://schemas.microsoft.com/office/drawing/2014/main" id="{3EB57EDD-A8A4-813D-3C66-F07F5FA5B81D}"/>
                </a:ext>
              </a:extLst>
            </p:cNvPr>
            <p:cNvSpPr/>
            <p:nvPr/>
          </p:nvSpPr>
          <p:spPr>
            <a:xfrm rot="-5400000">
              <a:off x="4329545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2" name="Полилиния 921">
              <a:extLst>
                <a:ext uri="{FF2B5EF4-FFF2-40B4-BE49-F238E27FC236}">
                  <a16:creationId xmlns:a16="http://schemas.microsoft.com/office/drawing/2014/main" id="{8905E870-3475-BF29-A290-29B8239464E5}"/>
                </a:ext>
              </a:extLst>
            </p:cNvPr>
            <p:cNvSpPr/>
            <p:nvPr/>
          </p:nvSpPr>
          <p:spPr>
            <a:xfrm>
              <a:off x="4537363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3" name="Полилиния 922">
              <a:extLst>
                <a:ext uri="{FF2B5EF4-FFF2-40B4-BE49-F238E27FC236}">
                  <a16:creationId xmlns:a16="http://schemas.microsoft.com/office/drawing/2014/main" id="{649CB925-E9A4-0B46-D903-910D256A7503}"/>
                </a:ext>
              </a:extLst>
            </p:cNvPr>
            <p:cNvSpPr/>
            <p:nvPr/>
          </p:nvSpPr>
          <p:spPr>
            <a:xfrm>
              <a:off x="4745181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4" name="Полилиния 923">
              <a:extLst>
                <a:ext uri="{FF2B5EF4-FFF2-40B4-BE49-F238E27FC236}">
                  <a16:creationId xmlns:a16="http://schemas.microsoft.com/office/drawing/2014/main" id="{76121AA8-C417-1AF0-AFC7-6FFDDEEA979E}"/>
                </a:ext>
              </a:extLst>
            </p:cNvPr>
            <p:cNvSpPr/>
            <p:nvPr/>
          </p:nvSpPr>
          <p:spPr>
            <a:xfrm>
              <a:off x="4953000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5" name="Полилиния 924">
              <a:extLst>
                <a:ext uri="{FF2B5EF4-FFF2-40B4-BE49-F238E27FC236}">
                  <a16:creationId xmlns:a16="http://schemas.microsoft.com/office/drawing/2014/main" id="{98186BF8-935A-8596-2BBE-ECEF0A4E60D7}"/>
                </a:ext>
              </a:extLst>
            </p:cNvPr>
            <p:cNvSpPr/>
            <p:nvPr/>
          </p:nvSpPr>
          <p:spPr>
            <a:xfrm>
              <a:off x="5368636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6" name="Полилиния 925">
              <a:extLst>
                <a:ext uri="{FF2B5EF4-FFF2-40B4-BE49-F238E27FC236}">
                  <a16:creationId xmlns:a16="http://schemas.microsoft.com/office/drawing/2014/main" id="{C919F8B7-8CD1-5532-4E04-C60EFEFDB757}"/>
                </a:ext>
              </a:extLst>
            </p:cNvPr>
            <p:cNvSpPr/>
            <p:nvPr/>
          </p:nvSpPr>
          <p:spPr>
            <a:xfrm rot="-5400000">
              <a:off x="5784272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7" name="Полилиния 926">
              <a:extLst>
                <a:ext uri="{FF2B5EF4-FFF2-40B4-BE49-F238E27FC236}">
                  <a16:creationId xmlns:a16="http://schemas.microsoft.com/office/drawing/2014/main" id="{4837475C-1DD3-DEFC-AD41-FF02997BF611}"/>
                </a:ext>
              </a:extLst>
            </p:cNvPr>
            <p:cNvSpPr/>
            <p:nvPr/>
          </p:nvSpPr>
          <p:spPr>
            <a:xfrm>
              <a:off x="5992090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8" name="Полилиния 927">
              <a:extLst>
                <a:ext uri="{FF2B5EF4-FFF2-40B4-BE49-F238E27FC236}">
                  <a16:creationId xmlns:a16="http://schemas.microsoft.com/office/drawing/2014/main" id="{29088B08-65AB-DEB7-13BF-76C1708035A1}"/>
                </a:ext>
              </a:extLst>
            </p:cNvPr>
            <p:cNvSpPr/>
            <p:nvPr/>
          </p:nvSpPr>
          <p:spPr>
            <a:xfrm>
              <a:off x="6199909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9" name="Полилиния 928">
              <a:extLst>
                <a:ext uri="{FF2B5EF4-FFF2-40B4-BE49-F238E27FC236}">
                  <a16:creationId xmlns:a16="http://schemas.microsoft.com/office/drawing/2014/main" id="{D0AEC97E-4DA7-8E4A-A3E8-77B8DE742034}"/>
                </a:ext>
              </a:extLst>
            </p:cNvPr>
            <p:cNvSpPr/>
            <p:nvPr/>
          </p:nvSpPr>
          <p:spPr>
            <a:xfrm>
              <a:off x="6407727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0" name="Полилиния 929">
              <a:extLst>
                <a:ext uri="{FF2B5EF4-FFF2-40B4-BE49-F238E27FC236}">
                  <a16:creationId xmlns:a16="http://schemas.microsoft.com/office/drawing/2014/main" id="{06398B17-D082-CA9E-0E69-959D3B99C3DA}"/>
                </a:ext>
              </a:extLst>
            </p:cNvPr>
            <p:cNvSpPr/>
            <p:nvPr/>
          </p:nvSpPr>
          <p:spPr>
            <a:xfrm>
              <a:off x="6615545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1" name="Полилиния 930">
              <a:extLst>
                <a:ext uri="{FF2B5EF4-FFF2-40B4-BE49-F238E27FC236}">
                  <a16:creationId xmlns:a16="http://schemas.microsoft.com/office/drawing/2014/main" id="{6E1BC4F0-A3D6-665D-D22D-1F6737852105}"/>
                </a:ext>
              </a:extLst>
            </p:cNvPr>
            <p:cNvSpPr/>
            <p:nvPr/>
          </p:nvSpPr>
          <p:spPr>
            <a:xfrm rot="5400000">
              <a:off x="7239000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2" name="Полилиния 931">
              <a:extLst>
                <a:ext uri="{FF2B5EF4-FFF2-40B4-BE49-F238E27FC236}">
                  <a16:creationId xmlns:a16="http://schemas.microsoft.com/office/drawing/2014/main" id="{927B5EFF-911B-AA12-635F-2006982DEED8}"/>
                </a:ext>
              </a:extLst>
            </p:cNvPr>
            <p:cNvSpPr/>
            <p:nvPr/>
          </p:nvSpPr>
          <p:spPr>
            <a:xfrm rot="5400000">
              <a:off x="8070272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3" name="Полилиния 932">
              <a:extLst>
                <a:ext uri="{FF2B5EF4-FFF2-40B4-BE49-F238E27FC236}">
                  <a16:creationId xmlns:a16="http://schemas.microsoft.com/office/drawing/2014/main" id="{B4E6B9E5-3206-B8B3-86AE-CAC29E0B452A}"/>
                </a:ext>
              </a:extLst>
            </p:cNvPr>
            <p:cNvSpPr/>
            <p:nvPr/>
          </p:nvSpPr>
          <p:spPr>
            <a:xfrm>
              <a:off x="8901545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4" name="Полилиния 933">
              <a:extLst>
                <a:ext uri="{FF2B5EF4-FFF2-40B4-BE49-F238E27FC236}">
                  <a16:creationId xmlns:a16="http://schemas.microsoft.com/office/drawing/2014/main" id="{9A171929-936B-E85F-4DE0-7DB6C02F37C0}"/>
                </a:ext>
              </a:extLst>
            </p:cNvPr>
            <p:cNvSpPr/>
            <p:nvPr/>
          </p:nvSpPr>
          <p:spPr>
            <a:xfrm rot="5400000">
              <a:off x="3082636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5" name="Полилиния 934">
              <a:extLst>
                <a:ext uri="{FF2B5EF4-FFF2-40B4-BE49-F238E27FC236}">
                  <a16:creationId xmlns:a16="http://schemas.microsoft.com/office/drawing/2014/main" id="{C22F3907-7335-6934-8184-9391519F8D2E}"/>
                </a:ext>
              </a:extLst>
            </p:cNvPr>
            <p:cNvSpPr/>
            <p:nvPr/>
          </p:nvSpPr>
          <p:spPr>
            <a:xfrm>
              <a:off x="3498272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6" name="Полилиния 935">
              <a:extLst>
                <a:ext uri="{FF2B5EF4-FFF2-40B4-BE49-F238E27FC236}">
                  <a16:creationId xmlns:a16="http://schemas.microsoft.com/office/drawing/2014/main" id="{79FE04AD-467B-47C1-AF58-C45BAC57EAA5}"/>
                </a:ext>
              </a:extLst>
            </p:cNvPr>
            <p:cNvSpPr/>
            <p:nvPr/>
          </p:nvSpPr>
          <p:spPr>
            <a:xfrm rot="5400000">
              <a:off x="3913909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6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7" name="Полилиния 936">
              <a:extLst>
                <a:ext uri="{FF2B5EF4-FFF2-40B4-BE49-F238E27FC236}">
                  <a16:creationId xmlns:a16="http://schemas.microsoft.com/office/drawing/2014/main" id="{DFD3F58F-FED3-FAF3-3584-9018A5D29622}"/>
                </a:ext>
              </a:extLst>
            </p:cNvPr>
            <p:cNvSpPr/>
            <p:nvPr/>
          </p:nvSpPr>
          <p:spPr>
            <a:xfrm>
              <a:off x="4537363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8" name="Полилиния 937">
              <a:extLst>
                <a:ext uri="{FF2B5EF4-FFF2-40B4-BE49-F238E27FC236}">
                  <a16:creationId xmlns:a16="http://schemas.microsoft.com/office/drawing/2014/main" id="{ED1AF311-69D6-E402-3AF0-D63754F65A6B}"/>
                </a:ext>
              </a:extLst>
            </p:cNvPr>
            <p:cNvSpPr/>
            <p:nvPr/>
          </p:nvSpPr>
          <p:spPr>
            <a:xfrm>
              <a:off x="4953000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9" name="Полилиния 938">
              <a:extLst>
                <a:ext uri="{FF2B5EF4-FFF2-40B4-BE49-F238E27FC236}">
                  <a16:creationId xmlns:a16="http://schemas.microsoft.com/office/drawing/2014/main" id="{6F13259C-A433-1616-E9A3-3581CCAB8D40}"/>
                </a:ext>
              </a:extLst>
            </p:cNvPr>
            <p:cNvSpPr/>
            <p:nvPr/>
          </p:nvSpPr>
          <p:spPr>
            <a:xfrm>
              <a:off x="5160818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0" name="Полилиния 939">
              <a:extLst>
                <a:ext uri="{FF2B5EF4-FFF2-40B4-BE49-F238E27FC236}">
                  <a16:creationId xmlns:a16="http://schemas.microsoft.com/office/drawing/2014/main" id="{3640454F-A7F5-37ED-DE3C-81F941A5CF55}"/>
                </a:ext>
              </a:extLst>
            </p:cNvPr>
            <p:cNvSpPr/>
            <p:nvPr/>
          </p:nvSpPr>
          <p:spPr>
            <a:xfrm rot="5400000">
              <a:off x="5368636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1" name="Полилиния 940">
              <a:extLst>
                <a:ext uri="{FF2B5EF4-FFF2-40B4-BE49-F238E27FC236}">
                  <a16:creationId xmlns:a16="http://schemas.microsoft.com/office/drawing/2014/main" id="{847D23D1-9899-7573-321A-81850E96A79F}"/>
                </a:ext>
              </a:extLst>
            </p:cNvPr>
            <p:cNvSpPr/>
            <p:nvPr/>
          </p:nvSpPr>
          <p:spPr>
            <a:xfrm>
              <a:off x="5784272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2" name="Полилиния 941">
              <a:extLst>
                <a:ext uri="{FF2B5EF4-FFF2-40B4-BE49-F238E27FC236}">
                  <a16:creationId xmlns:a16="http://schemas.microsoft.com/office/drawing/2014/main" id="{F6AE3572-CA84-5992-1A80-AA1AB3227093}"/>
                </a:ext>
              </a:extLst>
            </p:cNvPr>
            <p:cNvSpPr/>
            <p:nvPr/>
          </p:nvSpPr>
          <p:spPr>
            <a:xfrm>
              <a:off x="5992090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3" name="Полилиния 942">
              <a:extLst>
                <a:ext uri="{FF2B5EF4-FFF2-40B4-BE49-F238E27FC236}">
                  <a16:creationId xmlns:a16="http://schemas.microsoft.com/office/drawing/2014/main" id="{428F13ED-FEE9-D0D2-ADE5-53654B5EF90F}"/>
                </a:ext>
              </a:extLst>
            </p:cNvPr>
            <p:cNvSpPr/>
            <p:nvPr/>
          </p:nvSpPr>
          <p:spPr>
            <a:xfrm>
              <a:off x="6199909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4" name="Полилиния 943">
              <a:extLst>
                <a:ext uri="{FF2B5EF4-FFF2-40B4-BE49-F238E27FC236}">
                  <a16:creationId xmlns:a16="http://schemas.microsoft.com/office/drawing/2014/main" id="{55EFA58E-444A-DB99-E14B-0A5D8E0D7072}"/>
                </a:ext>
              </a:extLst>
            </p:cNvPr>
            <p:cNvSpPr/>
            <p:nvPr/>
          </p:nvSpPr>
          <p:spPr>
            <a:xfrm>
              <a:off x="6407727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5" name="Полилиния 944">
              <a:extLst>
                <a:ext uri="{FF2B5EF4-FFF2-40B4-BE49-F238E27FC236}">
                  <a16:creationId xmlns:a16="http://schemas.microsoft.com/office/drawing/2014/main" id="{DA652AA2-9F2C-E415-900B-8E1D43938965}"/>
                </a:ext>
              </a:extLst>
            </p:cNvPr>
            <p:cNvSpPr/>
            <p:nvPr/>
          </p:nvSpPr>
          <p:spPr>
            <a:xfrm>
              <a:off x="6615545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6" name="Полилиния 945">
              <a:extLst>
                <a:ext uri="{FF2B5EF4-FFF2-40B4-BE49-F238E27FC236}">
                  <a16:creationId xmlns:a16="http://schemas.microsoft.com/office/drawing/2014/main" id="{9A8B82EE-0746-08B3-4EDB-4092BABCFDA7}"/>
                </a:ext>
              </a:extLst>
            </p:cNvPr>
            <p:cNvSpPr/>
            <p:nvPr/>
          </p:nvSpPr>
          <p:spPr>
            <a:xfrm>
              <a:off x="6823363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7" name="Полилиния 946">
              <a:extLst>
                <a:ext uri="{FF2B5EF4-FFF2-40B4-BE49-F238E27FC236}">
                  <a16:creationId xmlns:a16="http://schemas.microsoft.com/office/drawing/2014/main" id="{478DF7E8-82E5-E4B5-DB1B-5FB7D88565E3}"/>
                </a:ext>
              </a:extLst>
            </p:cNvPr>
            <p:cNvSpPr/>
            <p:nvPr/>
          </p:nvSpPr>
          <p:spPr>
            <a:xfrm rot="5400000">
              <a:off x="7862454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8" name="Полилиния 947">
              <a:extLst>
                <a:ext uri="{FF2B5EF4-FFF2-40B4-BE49-F238E27FC236}">
                  <a16:creationId xmlns:a16="http://schemas.microsoft.com/office/drawing/2014/main" id="{6DD97C8E-C6A7-A215-050F-D707873122D7}"/>
                </a:ext>
              </a:extLst>
            </p:cNvPr>
            <p:cNvSpPr/>
            <p:nvPr/>
          </p:nvSpPr>
          <p:spPr>
            <a:xfrm rot="5400000">
              <a:off x="8278090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9" name="Полилиния 948">
              <a:extLst>
                <a:ext uri="{FF2B5EF4-FFF2-40B4-BE49-F238E27FC236}">
                  <a16:creationId xmlns:a16="http://schemas.microsoft.com/office/drawing/2014/main" id="{8208E3D0-6143-4C04-E308-F9739AFB8FD9}"/>
                </a:ext>
              </a:extLst>
            </p:cNvPr>
            <p:cNvSpPr/>
            <p:nvPr/>
          </p:nvSpPr>
          <p:spPr>
            <a:xfrm rot="5400000">
              <a:off x="8901545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0" name="Полилиния 949">
              <a:extLst>
                <a:ext uri="{FF2B5EF4-FFF2-40B4-BE49-F238E27FC236}">
                  <a16:creationId xmlns:a16="http://schemas.microsoft.com/office/drawing/2014/main" id="{012BA23A-CEE0-DC7D-1B46-3A257877127D}"/>
                </a:ext>
              </a:extLst>
            </p:cNvPr>
            <p:cNvSpPr/>
            <p:nvPr/>
          </p:nvSpPr>
          <p:spPr>
            <a:xfrm rot="5400000">
              <a:off x="3498272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1" name="Полилиния 950">
              <a:extLst>
                <a:ext uri="{FF2B5EF4-FFF2-40B4-BE49-F238E27FC236}">
                  <a16:creationId xmlns:a16="http://schemas.microsoft.com/office/drawing/2014/main" id="{2A441EEC-E856-8500-29CB-CB69752C8712}"/>
                </a:ext>
              </a:extLst>
            </p:cNvPr>
            <p:cNvSpPr/>
            <p:nvPr/>
          </p:nvSpPr>
          <p:spPr>
            <a:xfrm rot="-5400000">
              <a:off x="4121727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2" name="Полилиния 951">
              <a:extLst>
                <a:ext uri="{FF2B5EF4-FFF2-40B4-BE49-F238E27FC236}">
                  <a16:creationId xmlns:a16="http://schemas.microsoft.com/office/drawing/2014/main" id="{F171CA95-C308-AAE2-2B66-9C4445F6E8D4}"/>
                </a:ext>
              </a:extLst>
            </p:cNvPr>
            <p:cNvSpPr/>
            <p:nvPr/>
          </p:nvSpPr>
          <p:spPr>
            <a:xfrm>
              <a:off x="4329545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3" name="Полилиния 952">
              <a:extLst>
                <a:ext uri="{FF2B5EF4-FFF2-40B4-BE49-F238E27FC236}">
                  <a16:creationId xmlns:a16="http://schemas.microsoft.com/office/drawing/2014/main" id="{127E7608-520A-3AC7-91C1-A10073F4BF70}"/>
                </a:ext>
              </a:extLst>
            </p:cNvPr>
            <p:cNvSpPr/>
            <p:nvPr/>
          </p:nvSpPr>
          <p:spPr>
            <a:xfrm>
              <a:off x="4537363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4" name="Полилиния 953">
              <a:extLst>
                <a:ext uri="{FF2B5EF4-FFF2-40B4-BE49-F238E27FC236}">
                  <a16:creationId xmlns:a16="http://schemas.microsoft.com/office/drawing/2014/main" id="{01D62B42-D118-9CEA-0D94-29ECD078CFE1}"/>
                </a:ext>
              </a:extLst>
            </p:cNvPr>
            <p:cNvSpPr/>
            <p:nvPr/>
          </p:nvSpPr>
          <p:spPr>
            <a:xfrm rot="5400000">
              <a:off x="4745181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5" name="Полилиния 954">
              <a:extLst>
                <a:ext uri="{FF2B5EF4-FFF2-40B4-BE49-F238E27FC236}">
                  <a16:creationId xmlns:a16="http://schemas.microsoft.com/office/drawing/2014/main" id="{B8E2DB1C-0868-5C29-ABF2-5514433D5D14}"/>
                </a:ext>
              </a:extLst>
            </p:cNvPr>
            <p:cNvSpPr/>
            <p:nvPr/>
          </p:nvSpPr>
          <p:spPr>
            <a:xfrm rot="5400000">
              <a:off x="5160818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6" name="Полилиния 955">
              <a:extLst>
                <a:ext uri="{FF2B5EF4-FFF2-40B4-BE49-F238E27FC236}">
                  <a16:creationId xmlns:a16="http://schemas.microsoft.com/office/drawing/2014/main" id="{CAE11649-8594-8BC1-B055-B04845552D39}"/>
                </a:ext>
              </a:extLst>
            </p:cNvPr>
            <p:cNvSpPr/>
            <p:nvPr/>
          </p:nvSpPr>
          <p:spPr>
            <a:xfrm rot="-5400000">
              <a:off x="5576454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7" name="Полилиния 956">
              <a:extLst>
                <a:ext uri="{FF2B5EF4-FFF2-40B4-BE49-F238E27FC236}">
                  <a16:creationId xmlns:a16="http://schemas.microsoft.com/office/drawing/2014/main" id="{6FE157E4-B4DD-DE45-DD21-ED8BB44F3E4D}"/>
                </a:ext>
              </a:extLst>
            </p:cNvPr>
            <p:cNvSpPr/>
            <p:nvPr/>
          </p:nvSpPr>
          <p:spPr>
            <a:xfrm>
              <a:off x="5784272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8" name="Полилиния 957">
              <a:extLst>
                <a:ext uri="{FF2B5EF4-FFF2-40B4-BE49-F238E27FC236}">
                  <a16:creationId xmlns:a16="http://schemas.microsoft.com/office/drawing/2014/main" id="{BE513219-C2B3-3B38-2D90-B30520494F4E}"/>
                </a:ext>
              </a:extLst>
            </p:cNvPr>
            <p:cNvSpPr/>
            <p:nvPr/>
          </p:nvSpPr>
          <p:spPr>
            <a:xfrm>
              <a:off x="5992090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9" name="Полилиния 958">
              <a:extLst>
                <a:ext uri="{FF2B5EF4-FFF2-40B4-BE49-F238E27FC236}">
                  <a16:creationId xmlns:a16="http://schemas.microsoft.com/office/drawing/2014/main" id="{583DB3A3-AA99-2B3E-A9B3-7E2644A14683}"/>
                </a:ext>
              </a:extLst>
            </p:cNvPr>
            <p:cNvSpPr/>
            <p:nvPr/>
          </p:nvSpPr>
          <p:spPr>
            <a:xfrm rot="5400000">
              <a:off x="6199909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0" name="Полилиния 959">
              <a:extLst>
                <a:ext uri="{FF2B5EF4-FFF2-40B4-BE49-F238E27FC236}">
                  <a16:creationId xmlns:a16="http://schemas.microsoft.com/office/drawing/2014/main" id="{D8CDB75F-48C0-0B65-2F0B-49A2AEC6EA33}"/>
                </a:ext>
              </a:extLst>
            </p:cNvPr>
            <p:cNvSpPr/>
            <p:nvPr/>
          </p:nvSpPr>
          <p:spPr>
            <a:xfrm>
              <a:off x="6823363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1" name="Полилиния 960">
              <a:extLst>
                <a:ext uri="{FF2B5EF4-FFF2-40B4-BE49-F238E27FC236}">
                  <a16:creationId xmlns:a16="http://schemas.microsoft.com/office/drawing/2014/main" id="{FE7E28EB-C897-7B8E-834C-FDF4B16516C1}"/>
                </a:ext>
              </a:extLst>
            </p:cNvPr>
            <p:cNvSpPr/>
            <p:nvPr/>
          </p:nvSpPr>
          <p:spPr>
            <a:xfrm>
              <a:off x="7031181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2" name="Полилиния 961">
              <a:extLst>
                <a:ext uri="{FF2B5EF4-FFF2-40B4-BE49-F238E27FC236}">
                  <a16:creationId xmlns:a16="http://schemas.microsoft.com/office/drawing/2014/main" id="{B52B93DE-00C0-347F-75DF-CAB245D9AFDB}"/>
                </a:ext>
              </a:extLst>
            </p:cNvPr>
            <p:cNvSpPr/>
            <p:nvPr/>
          </p:nvSpPr>
          <p:spPr>
            <a:xfrm>
              <a:off x="7239000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3" name="Полилиния 962">
              <a:extLst>
                <a:ext uri="{FF2B5EF4-FFF2-40B4-BE49-F238E27FC236}">
                  <a16:creationId xmlns:a16="http://schemas.microsoft.com/office/drawing/2014/main" id="{CFB5DC98-1D58-53C5-BD51-54ABE73B4ACB}"/>
                </a:ext>
              </a:extLst>
            </p:cNvPr>
            <p:cNvSpPr/>
            <p:nvPr/>
          </p:nvSpPr>
          <p:spPr>
            <a:xfrm rot="5400000">
              <a:off x="7446818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4" name="Полилиния 963">
              <a:extLst>
                <a:ext uri="{FF2B5EF4-FFF2-40B4-BE49-F238E27FC236}">
                  <a16:creationId xmlns:a16="http://schemas.microsoft.com/office/drawing/2014/main" id="{AFF7C824-E9FA-A89A-56E2-835B93AA9228}"/>
                </a:ext>
              </a:extLst>
            </p:cNvPr>
            <p:cNvSpPr/>
            <p:nvPr/>
          </p:nvSpPr>
          <p:spPr>
            <a:xfrm rot="-5400000">
              <a:off x="3082636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5" name="Полилиния 964">
              <a:extLst>
                <a:ext uri="{FF2B5EF4-FFF2-40B4-BE49-F238E27FC236}">
                  <a16:creationId xmlns:a16="http://schemas.microsoft.com/office/drawing/2014/main" id="{DF83742F-4266-014D-67D7-5D2B114686A4}"/>
                </a:ext>
              </a:extLst>
            </p:cNvPr>
            <p:cNvSpPr/>
            <p:nvPr/>
          </p:nvSpPr>
          <p:spPr>
            <a:xfrm rot="5400000">
              <a:off x="3290454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6" name="Полилиния 965">
              <a:extLst>
                <a:ext uri="{FF2B5EF4-FFF2-40B4-BE49-F238E27FC236}">
                  <a16:creationId xmlns:a16="http://schemas.microsoft.com/office/drawing/2014/main" id="{D98C4AB4-7DFE-CAE3-877B-18DBE01B1FBA}"/>
                </a:ext>
              </a:extLst>
            </p:cNvPr>
            <p:cNvSpPr/>
            <p:nvPr/>
          </p:nvSpPr>
          <p:spPr>
            <a:xfrm rot="-5400000">
              <a:off x="3913909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7" name="Полилиния 966">
              <a:extLst>
                <a:ext uri="{FF2B5EF4-FFF2-40B4-BE49-F238E27FC236}">
                  <a16:creationId xmlns:a16="http://schemas.microsoft.com/office/drawing/2014/main" id="{A7769E4E-7FD2-5A76-9F4C-1360F4E59AC7}"/>
                </a:ext>
              </a:extLst>
            </p:cNvPr>
            <p:cNvSpPr/>
            <p:nvPr/>
          </p:nvSpPr>
          <p:spPr>
            <a:xfrm>
              <a:off x="4121727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8" name="Полилиния 967">
              <a:extLst>
                <a:ext uri="{FF2B5EF4-FFF2-40B4-BE49-F238E27FC236}">
                  <a16:creationId xmlns:a16="http://schemas.microsoft.com/office/drawing/2014/main" id="{F1F9D3BE-7F7F-A4A8-4F55-8772609A73AC}"/>
                </a:ext>
              </a:extLst>
            </p:cNvPr>
            <p:cNvSpPr/>
            <p:nvPr/>
          </p:nvSpPr>
          <p:spPr>
            <a:xfrm>
              <a:off x="5784272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9" name="Полилиния 968">
              <a:extLst>
                <a:ext uri="{FF2B5EF4-FFF2-40B4-BE49-F238E27FC236}">
                  <a16:creationId xmlns:a16="http://schemas.microsoft.com/office/drawing/2014/main" id="{1B2EF6DA-062D-4842-BABD-3C54DFCA64F6}"/>
                </a:ext>
              </a:extLst>
            </p:cNvPr>
            <p:cNvSpPr/>
            <p:nvPr/>
          </p:nvSpPr>
          <p:spPr>
            <a:xfrm rot="-5400000">
              <a:off x="6407727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0" name="Полилиния 969">
              <a:extLst>
                <a:ext uri="{FF2B5EF4-FFF2-40B4-BE49-F238E27FC236}">
                  <a16:creationId xmlns:a16="http://schemas.microsoft.com/office/drawing/2014/main" id="{9DF05AF7-7FC1-FF77-C7F3-FE55B0AD67A0}"/>
                </a:ext>
              </a:extLst>
            </p:cNvPr>
            <p:cNvSpPr/>
            <p:nvPr/>
          </p:nvSpPr>
          <p:spPr>
            <a:xfrm rot="5400000">
              <a:off x="6615545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1" name="Полилиния 970">
              <a:extLst>
                <a:ext uri="{FF2B5EF4-FFF2-40B4-BE49-F238E27FC236}">
                  <a16:creationId xmlns:a16="http://schemas.microsoft.com/office/drawing/2014/main" id="{79A92E93-871D-3F61-BB9A-20AD74F99FD2}"/>
                </a:ext>
              </a:extLst>
            </p:cNvPr>
            <p:cNvSpPr/>
            <p:nvPr/>
          </p:nvSpPr>
          <p:spPr>
            <a:xfrm rot="-5400000">
              <a:off x="7654636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2" name="Полилиния 971">
              <a:extLst>
                <a:ext uri="{FF2B5EF4-FFF2-40B4-BE49-F238E27FC236}">
                  <a16:creationId xmlns:a16="http://schemas.microsoft.com/office/drawing/2014/main" id="{A4D3668D-F365-F3B5-587A-20A93C4BA94D}"/>
                </a:ext>
              </a:extLst>
            </p:cNvPr>
            <p:cNvSpPr/>
            <p:nvPr/>
          </p:nvSpPr>
          <p:spPr>
            <a:xfrm>
              <a:off x="7862454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3" name="Полилиния 972">
              <a:extLst>
                <a:ext uri="{FF2B5EF4-FFF2-40B4-BE49-F238E27FC236}">
                  <a16:creationId xmlns:a16="http://schemas.microsoft.com/office/drawing/2014/main" id="{F93C6DC2-B3ED-4E3D-CFB0-BACF256E5C98}"/>
                </a:ext>
              </a:extLst>
            </p:cNvPr>
            <p:cNvSpPr/>
            <p:nvPr/>
          </p:nvSpPr>
          <p:spPr>
            <a:xfrm>
              <a:off x="8070272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4" name="Полилиния 973">
              <a:extLst>
                <a:ext uri="{FF2B5EF4-FFF2-40B4-BE49-F238E27FC236}">
                  <a16:creationId xmlns:a16="http://schemas.microsoft.com/office/drawing/2014/main" id="{66EB1452-463C-CEC4-70B3-DF4B6E60B622}"/>
                </a:ext>
              </a:extLst>
            </p:cNvPr>
            <p:cNvSpPr/>
            <p:nvPr/>
          </p:nvSpPr>
          <p:spPr>
            <a:xfrm rot="-5400000">
              <a:off x="8901545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5" name="Полилиния 974">
              <a:extLst>
                <a:ext uri="{FF2B5EF4-FFF2-40B4-BE49-F238E27FC236}">
                  <a16:creationId xmlns:a16="http://schemas.microsoft.com/office/drawing/2014/main" id="{EC48905E-9012-2938-4F08-0029F93ED9F9}"/>
                </a:ext>
              </a:extLst>
            </p:cNvPr>
            <p:cNvSpPr/>
            <p:nvPr/>
          </p:nvSpPr>
          <p:spPr>
            <a:xfrm>
              <a:off x="4121727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6" name="Полилиния 975">
              <a:extLst>
                <a:ext uri="{FF2B5EF4-FFF2-40B4-BE49-F238E27FC236}">
                  <a16:creationId xmlns:a16="http://schemas.microsoft.com/office/drawing/2014/main" id="{EAB21998-0B11-0938-9C80-E7E81D97A474}"/>
                </a:ext>
              </a:extLst>
            </p:cNvPr>
            <p:cNvSpPr/>
            <p:nvPr/>
          </p:nvSpPr>
          <p:spPr>
            <a:xfrm>
              <a:off x="4329545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7" name="Полилиния 976">
              <a:extLst>
                <a:ext uri="{FF2B5EF4-FFF2-40B4-BE49-F238E27FC236}">
                  <a16:creationId xmlns:a16="http://schemas.microsoft.com/office/drawing/2014/main" id="{9EEB0D21-1558-0BAB-B775-007FD98AAD1F}"/>
                </a:ext>
              </a:extLst>
            </p:cNvPr>
            <p:cNvSpPr/>
            <p:nvPr/>
          </p:nvSpPr>
          <p:spPr>
            <a:xfrm>
              <a:off x="4537363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8" name="Полилиния 977">
              <a:extLst>
                <a:ext uri="{FF2B5EF4-FFF2-40B4-BE49-F238E27FC236}">
                  <a16:creationId xmlns:a16="http://schemas.microsoft.com/office/drawing/2014/main" id="{ED25558C-A23D-CC20-77E6-45CA7A688CD2}"/>
                </a:ext>
              </a:extLst>
            </p:cNvPr>
            <p:cNvSpPr/>
            <p:nvPr/>
          </p:nvSpPr>
          <p:spPr>
            <a:xfrm>
              <a:off x="4745181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9" name="Полилиния 978">
              <a:extLst>
                <a:ext uri="{FF2B5EF4-FFF2-40B4-BE49-F238E27FC236}">
                  <a16:creationId xmlns:a16="http://schemas.microsoft.com/office/drawing/2014/main" id="{A7DA00BB-C24F-B858-9C53-3D1ED89C1072}"/>
                </a:ext>
              </a:extLst>
            </p:cNvPr>
            <p:cNvSpPr/>
            <p:nvPr/>
          </p:nvSpPr>
          <p:spPr>
            <a:xfrm>
              <a:off x="4953000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0" name="Полилиния 979">
              <a:extLst>
                <a:ext uri="{FF2B5EF4-FFF2-40B4-BE49-F238E27FC236}">
                  <a16:creationId xmlns:a16="http://schemas.microsoft.com/office/drawing/2014/main" id="{487DC4C4-7C0C-D4B3-4307-0939F2431F1A}"/>
                </a:ext>
              </a:extLst>
            </p:cNvPr>
            <p:cNvSpPr/>
            <p:nvPr/>
          </p:nvSpPr>
          <p:spPr>
            <a:xfrm rot="-5400000">
              <a:off x="5368636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1" name="Полилиния 980">
              <a:extLst>
                <a:ext uri="{FF2B5EF4-FFF2-40B4-BE49-F238E27FC236}">
                  <a16:creationId xmlns:a16="http://schemas.microsoft.com/office/drawing/2014/main" id="{9559F42B-CD47-8057-6216-9F47336671F9}"/>
                </a:ext>
              </a:extLst>
            </p:cNvPr>
            <p:cNvSpPr/>
            <p:nvPr/>
          </p:nvSpPr>
          <p:spPr>
            <a:xfrm rot="5400000">
              <a:off x="5784272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2" name="Полилиния 981">
              <a:extLst>
                <a:ext uri="{FF2B5EF4-FFF2-40B4-BE49-F238E27FC236}">
                  <a16:creationId xmlns:a16="http://schemas.microsoft.com/office/drawing/2014/main" id="{60E6F8BD-17C5-D871-C68B-ABCF07F8A5C1}"/>
                </a:ext>
              </a:extLst>
            </p:cNvPr>
            <p:cNvSpPr/>
            <p:nvPr/>
          </p:nvSpPr>
          <p:spPr>
            <a:xfrm rot="5400000">
              <a:off x="6407727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3" name="Полилиния 982">
              <a:extLst>
                <a:ext uri="{FF2B5EF4-FFF2-40B4-BE49-F238E27FC236}">
                  <a16:creationId xmlns:a16="http://schemas.microsoft.com/office/drawing/2014/main" id="{1CB6BD6D-1514-AF2C-1782-647A634A0670}"/>
                </a:ext>
              </a:extLst>
            </p:cNvPr>
            <p:cNvSpPr/>
            <p:nvPr/>
          </p:nvSpPr>
          <p:spPr>
            <a:xfrm rot="5400000">
              <a:off x="6823363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4" name="Полилиния 983">
              <a:extLst>
                <a:ext uri="{FF2B5EF4-FFF2-40B4-BE49-F238E27FC236}">
                  <a16:creationId xmlns:a16="http://schemas.microsoft.com/office/drawing/2014/main" id="{43D5547A-46A2-8FB4-8D78-9D579E359076}"/>
                </a:ext>
              </a:extLst>
            </p:cNvPr>
            <p:cNvSpPr/>
            <p:nvPr/>
          </p:nvSpPr>
          <p:spPr>
            <a:xfrm>
              <a:off x="8070272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5" name="Полилиния 984">
              <a:extLst>
                <a:ext uri="{FF2B5EF4-FFF2-40B4-BE49-F238E27FC236}">
                  <a16:creationId xmlns:a16="http://schemas.microsoft.com/office/drawing/2014/main" id="{C937BE9D-9926-33CF-4430-304825234E46}"/>
                </a:ext>
              </a:extLst>
            </p:cNvPr>
            <p:cNvSpPr/>
            <p:nvPr/>
          </p:nvSpPr>
          <p:spPr>
            <a:xfrm rot="5400000">
              <a:off x="8485909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6" name="Полилиния 985">
              <a:extLst>
                <a:ext uri="{FF2B5EF4-FFF2-40B4-BE49-F238E27FC236}">
                  <a16:creationId xmlns:a16="http://schemas.microsoft.com/office/drawing/2014/main" id="{51023EE5-B668-48E0-1A31-CAB0A8B7C333}"/>
                </a:ext>
              </a:extLst>
            </p:cNvPr>
            <p:cNvSpPr/>
            <p:nvPr/>
          </p:nvSpPr>
          <p:spPr>
            <a:xfrm rot="5400000">
              <a:off x="8901545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7" name="Полилиния 986">
              <a:extLst>
                <a:ext uri="{FF2B5EF4-FFF2-40B4-BE49-F238E27FC236}">
                  <a16:creationId xmlns:a16="http://schemas.microsoft.com/office/drawing/2014/main" id="{9B6B62A9-8E20-0839-A945-9E6C057B76D6}"/>
                </a:ext>
              </a:extLst>
            </p:cNvPr>
            <p:cNvSpPr/>
            <p:nvPr/>
          </p:nvSpPr>
          <p:spPr>
            <a:xfrm rot="-5400000">
              <a:off x="3913909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8" name="Полилиния 987">
              <a:extLst>
                <a:ext uri="{FF2B5EF4-FFF2-40B4-BE49-F238E27FC236}">
                  <a16:creationId xmlns:a16="http://schemas.microsoft.com/office/drawing/2014/main" id="{9C3FB65D-607B-AE13-CE41-D9AF9A7824F4}"/>
                </a:ext>
              </a:extLst>
            </p:cNvPr>
            <p:cNvSpPr/>
            <p:nvPr/>
          </p:nvSpPr>
          <p:spPr>
            <a:xfrm>
              <a:off x="4121727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9" name="Полилиния 988">
              <a:extLst>
                <a:ext uri="{FF2B5EF4-FFF2-40B4-BE49-F238E27FC236}">
                  <a16:creationId xmlns:a16="http://schemas.microsoft.com/office/drawing/2014/main" id="{73C6611A-A2AD-35F2-38BE-2369649E3960}"/>
                </a:ext>
              </a:extLst>
            </p:cNvPr>
            <p:cNvSpPr/>
            <p:nvPr/>
          </p:nvSpPr>
          <p:spPr>
            <a:xfrm>
              <a:off x="495300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0" name="Полилиния 989">
              <a:extLst>
                <a:ext uri="{FF2B5EF4-FFF2-40B4-BE49-F238E27FC236}">
                  <a16:creationId xmlns:a16="http://schemas.microsoft.com/office/drawing/2014/main" id="{39E90FCA-51FA-895A-D168-BA7026A4BF88}"/>
                </a:ext>
              </a:extLst>
            </p:cNvPr>
            <p:cNvSpPr/>
            <p:nvPr/>
          </p:nvSpPr>
          <p:spPr>
            <a:xfrm>
              <a:off x="5160818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1" name="Полилиния 990">
              <a:extLst>
                <a:ext uri="{FF2B5EF4-FFF2-40B4-BE49-F238E27FC236}">
                  <a16:creationId xmlns:a16="http://schemas.microsoft.com/office/drawing/2014/main" id="{F51F7164-E63A-A9C9-4EF6-B19B44A19012}"/>
                </a:ext>
              </a:extLst>
            </p:cNvPr>
            <p:cNvSpPr/>
            <p:nvPr/>
          </p:nvSpPr>
          <p:spPr>
            <a:xfrm>
              <a:off x="5368636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2" name="Полилиния 991">
              <a:extLst>
                <a:ext uri="{FF2B5EF4-FFF2-40B4-BE49-F238E27FC236}">
                  <a16:creationId xmlns:a16="http://schemas.microsoft.com/office/drawing/2014/main" id="{BB87F933-CD16-2CCA-266F-EAFE44257898}"/>
                </a:ext>
              </a:extLst>
            </p:cNvPr>
            <p:cNvSpPr/>
            <p:nvPr/>
          </p:nvSpPr>
          <p:spPr>
            <a:xfrm rot="5400000">
              <a:off x="5576454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3" name="Полилиния 992">
              <a:extLst>
                <a:ext uri="{FF2B5EF4-FFF2-40B4-BE49-F238E27FC236}">
                  <a16:creationId xmlns:a16="http://schemas.microsoft.com/office/drawing/2014/main" id="{1824A9D9-7EB5-7DF6-BD5F-B711179EB3EE}"/>
                </a:ext>
              </a:extLst>
            </p:cNvPr>
            <p:cNvSpPr/>
            <p:nvPr/>
          </p:nvSpPr>
          <p:spPr>
            <a:xfrm rot="-5400000">
              <a:off x="599209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4" name="Полилиния 993">
              <a:extLst>
                <a:ext uri="{FF2B5EF4-FFF2-40B4-BE49-F238E27FC236}">
                  <a16:creationId xmlns:a16="http://schemas.microsoft.com/office/drawing/2014/main" id="{D2A5B830-FEA2-E5A8-4F19-E26297BFDD8B}"/>
                </a:ext>
              </a:extLst>
            </p:cNvPr>
            <p:cNvSpPr/>
            <p:nvPr/>
          </p:nvSpPr>
          <p:spPr>
            <a:xfrm rot="-5400000">
              <a:off x="6615545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5" name="Полилиния 994">
              <a:extLst>
                <a:ext uri="{FF2B5EF4-FFF2-40B4-BE49-F238E27FC236}">
                  <a16:creationId xmlns:a16="http://schemas.microsoft.com/office/drawing/2014/main" id="{8CA5E96A-0C42-EB13-C7CD-0E4B5F7B873B}"/>
                </a:ext>
              </a:extLst>
            </p:cNvPr>
            <p:cNvSpPr/>
            <p:nvPr/>
          </p:nvSpPr>
          <p:spPr>
            <a:xfrm rot="-5400000">
              <a:off x="723900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6" name="Полилиния 995">
              <a:extLst>
                <a:ext uri="{FF2B5EF4-FFF2-40B4-BE49-F238E27FC236}">
                  <a16:creationId xmlns:a16="http://schemas.microsoft.com/office/drawing/2014/main" id="{5B474FDD-9EB0-09CF-A18B-8160E98B8DE1}"/>
                </a:ext>
              </a:extLst>
            </p:cNvPr>
            <p:cNvSpPr/>
            <p:nvPr/>
          </p:nvSpPr>
          <p:spPr>
            <a:xfrm>
              <a:off x="8070272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7" name="Полилиния 996">
              <a:extLst>
                <a:ext uri="{FF2B5EF4-FFF2-40B4-BE49-F238E27FC236}">
                  <a16:creationId xmlns:a16="http://schemas.microsoft.com/office/drawing/2014/main" id="{2A893D82-0246-1F21-FA95-C66F08A7B7C0}"/>
                </a:ext>
              </a:extLst>
            </p:cNvPr>
            <p:cNvSpPr/>
            <p:nvPr/>
          </p:nvSpPr>
          <p:spPr>
            <a:xfrm>
              <a:off x="827809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8" name="Полилиния 997">
              <a:extLst>
                <a:ext uri="{FF2B5EF4-FFF2-40B4-BE49-F238E27FC236}">
                  <a16:creationId xmlns:a16="http://schemas.microsoft.com/office/drawing/2014/main" id="{224F6D2F-D4C2-8072-C60B-5DDDD7732AD0}"/>
                </a:ext>
              </a:extLst>
            </p:cNvPr>
            <p:cNvSpPr/>
            <p:nvPr/>
          </p:nvSpPr>
          <p:spPr>
            <a:xfrm rot="-5400000">
              <a:off x="3082636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9" name="Полилиния 998">
              <a:extLst>
                <a:ext uri="{FF2B5EF4-FFF2-40B4-BE49-F238E27FC236}">
                  <a16:creationId xmlns:a16="http://schemas.microsoft.com/office/drawing/2014/main" id="{88538754-9FCA-72F8-E115-D303469C3866}"/>
                </a:ext>
              </a:extLst>
            </p:cNvPr>
            <p:cNvSpPr/>
            <p:nvPr/>
          </p:nvSpPr>
          <p:spPr>
            <a:xfrm>
              <a:off x="3290454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0" name="Полилиния 999">
              <a:extLst>
                <a:ext uri="{FF2B5EF4-FFF2-40B4-BE49-F238E27FC236}">
                  <a16:creationId xmlns:a16="http://schemas.microsoft.com/office/drawing/2014/main" id="{DEE35F9B-EA4C-B5F0-6A7F-005D031D47B0}"/>
                </a:ext>
              </a:extLst>
            </p:cNvPr>
            <p:cNvSpPr/>
            <p:nvPr/>
          </p:nvSpPr>
          <p:spPr>
            <a:xfrm>
              <a:off x="3498272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1" name="Полилиния 1000">
              <a:extLst>
                <a:ext uri="{FF2B5EF4-FFF2-40B4-BE49-F238E27FC236}">
                  <a16:creationId xmlns:a16="http://schemas.microsoft.com/office/drawing/2014/main" id="{B4EF1059-A259-BED8-ED30-20ACCB775DA1}"/>
                </a:ext>
              </a:extLst>
            </p:cNvPr>
            <p:cNvSpPr/>
            <p:nvPr/>
          </p:nvSpPr>
          <p:spPr>
            <a:xfrm>
              <a:off x="370609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2" name="Полилиния 1001">
              <a:extLst>
                <a:ext uri="{FF2B5EF4-FFF2-40B4-BE49-F238E27FC236}">
                  <a16:creationId xmlns:a16="http://schemas.microsoft.com/office/drawing/2014/main" id="{1A174E49-0624-3E4D-C262-1E82466318D7}"/>
                </a:ext>
              </a:extLst>
            </p:cNvPr>
            <p:cNvSpPr/>
            <p:nvPr/>
          </p:nvSpPr>
          <p:spPr>
            <a:xfrm>
              <a:off x="3913909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3" name="Полилиния 1002">
              <a:extLst>
                <a:ext uri="{FF2B5EF4-FFF2-40B4-BE49-F238E27FC236}">
                  <a16:creationId xmlns:a16="http://schemas.microsoft.com/office/drawing/2014/main" id="{41168BE1-BEB2-6680-E2D5-30B4BA9088F4}"/>
                </a:ext>
              </a:extLst>
            </p:cNvPr>
            <p:cNvSpPr/>
            <p:nvPr/>
          </p:nvSpPr>
          <p:spPr>
            <a:xfrm>
              <a:off x="4121727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4" name="Полилиния 1003">
              <a:extLst>
                <a:ext uri="{FF2B5EF4-FFF2-40B4-BE49-F238E27FC236}">
                  <a16:creationId xmlns:a16="http://schemas.microsoft.com/office/drawing/2014/main" id="{6B08C372-D065-E074-847C-378DE0A0560F}"/>
                </a:ext>
              </a:extLst>
            </p:cNvPr>
            <p:cNvSpPr/>
            <p:nvPr/>
          </p:nvSpPr>
          <p:spPr>
            <a:xfrm rot="5400000">
              <a:off x="4329545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5" name="Полилиния 1004">
              <a:extLst>
                <a:ext uri="{FF2B5EF4-FFF2-40B4-BE49-F238E27FC236}">
                  <a16:creationId xmlns:a16="http://schemas.microsoft.com/office/drawing/2014/main" id="{2EFA9A46-F6BC-43E7-24D4-E4552F07E78D}"/>
                </a:ext>
              </a:extLst>
            </p:cNvPr>
            <p:cNvSpPr/>
            <p:nvPr/>
          </p:nvSpPr>
          <p:spPr>
            <a:xfrm rot="-5400000">
              <a:off x="4745181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6" name="Полилиния 1005">
              <a:extLst>
                <a:ext uri="{FF2B5EF4-FFF2-40B4-BE49-F238E27FC236}">
                  <a16:creationId xmlns:a16="http://schemas.microsoft.com/office/drawing/2014/main" id="{01CBF5C3-817E-4D3B-14D3-86464F35F5CF}"/>
                </a:ext>
              </a:extLst>
            </p:cNvPr>
            <p:cNvSpPr/>
            <p:nvPr/>
          </p:nvSpPr>
          <p:spPr>
            <a:xfrm>
              <a:off x="5160818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7" name="Полилиния 1006">
              <a:extLst>
                <a:ext uri="{FF2B5EF4-FFF2-40B4-BE49-F238E27FC236}">
                  <a16:creationId xmlns:a16="http://schemas.microsoft.com/office/drawing/2014/main" id="{D5A33970-71EA-D988-FF9E-B8523B679B88}"/>
                </a:ext>
              </a:extLst>
            </p:cNvPr>
            <p:cNvSpPr/>
            <p:nvPr/>
          </p:nvSpPr>
          <p:spPr>
            <a:xfrm>
              <a:off x="599209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8" name="Полилиния 1007">
              <a:extLst>
                <a:ext uri="{FF2B5EF4-FFF2-40B4-BE49-F238E27FC236}">
                  <a16:creationId xmlns:a16="http://schemas.microsoft.com/office/drawing/2014/main" id="{86FBCEF1-F4C0-ABFC-0DA5-37566DD04666}"/>
                </a:ext>
              </a:extLst>
            </p:cNvPr>
            <p:cNvSpPr/>
            <p:nvPr/>
          </p:nvSpPr>
          <p:spPr>
            <a:xfrm>
              <a:off x="6199909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9" name="Полилиния 1008">
              <a:extLst>
                <a:ext uri="{FF2B5EF4-FFF2-40B4-BE49-F238E27FC236}">
                  <a16:creationId xmlns:a16="http://schemas.microsoft.com/office/drawing/2014/main" id="{7F3DDDDC-B4CD-EB0B-9D6F-A70740118B93}"/>
                </a:ext>
              </a:extLst>
            </p:cNvPr>
            <p:cNvSpPr/>
            <p:nvPr/>
          </p:nvSpPr>
          <p:spPr>
            <a:xfrm>
              <a:off x="6615545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0" name="Полилиния 1009">
              <a:extLst>
                <a:ext uri="{FF2B5EF4-FFF2-40B4-BE49-F238E27FC236}">
                  <a16:creationId xmlns:a16="http://schemas.microsoft.com/office/drawing/2014/main" id="{77EF3F86-30A5-6323-F0DE-908BA4D8B9E2}"/>
                </a:ext>
              </a:extLst>
            </p:cNvPr>
            <p:cNvSpPr/>
            <p:nvPr/>
          </p:nvSpPr>
          <p:spPr>
            <a:xfrm>
              <a:off x="723900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1" name="Полилиния 1010">
              <a:extLst>
                <a:ext uri="{FF2B5EF4-FFF2-40B4-BE49-F238E27FC236}">
                  <a16:creationId xmlns:a16="http://schemas.microsoft.com/office/drawing/2014/main" id="{F8F1E163-27EE-6097-33DA-C90A5D068EEB}"/>
                </a:ext>
              </a:extLst>
            </p:cNvPr>
            <p:cNvSpPr/>
            <p:nvPr/>
          </p:nvSpPr>
          <p:spPr>
            <a:xfrm>
              <a:off x="7446818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2" name="Полилиния 1011">
              <a:extLst>
                <a:ext uri="{FF2B5EF4-FFF2-40B4-BE49-F238E27FC236}">
                  <a16:creationId xmlns:a16="http://schemas.microsoft.com/office/drawing/2014/main" id="{0335F0A7-D050-4C90-DB77-8C9305385812}"/>
                </a:ext>
              </a:extLst>
            </p:cNvPr>
            <p:cNvSpPr/>
            <p:nvPr/>
          </p:nvSpPr>
          <p:spPr>
            <a:xfrm>
              <a:off x="7654636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3" name="Полилиния 1012">
              <a:extLst>
                <a:ext uri="{FF2B5EF4-FFF2-40B4-BE49-F238E27FC236}">
                  <a16:creationId xmlns:a16="http://schemas.microsoft.com/office/drawing/2014/main" id="{FCF07D8E-DB41-684B-91A0-253AEA0CFFFC}"/>
                </a:ext>
              </a:extLst>
            </p:cNvPr>
            <p:cNvSpPr/>
            <p:nvPr/>
          </p:nvSpPr>
          <p:spPr>
            <a:xfrm>
              <a:off x="7862454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4" name="Полилиния 1013">
              <a:extLst>
                <a:ext uri="{FF2B5EF4-FFF2-40B4-BE49-F238E27FC236}">
                  <a16:creationId xmlns:a16="http://schemas.microsoft.com/office/drawing/2014/main" id="{28955724-6D50-88C7-0DF1-6040645BC330}"/>
                </a:ext>
              </a:extLst>
            </p:cNvPr>
            <p:cNvSpPr/>
            <p:nvPr/>
          </p:nvSpPr>
          <p:spPr>
            <a:xfrm>
              <a:off x="8070272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5" name="Полилиния 1014">
              <a:extLst>
                <a:ext uri="{FF2B5EF4-FFF2-40B4-BE49-F238E27FC236}">
                  <a16:creationId xmlns:a16="http://schemas.microsoft.com/office/drawing/2014/main" id="{620A48BA-1160-5C0D-C31C-C0A1C8F19514}"/>
                </a:ext>
              </a:extLst>
            </p:cNvPr>
            <p:cNvSpPr/>
            <p:nvPr/>
          </p:nvSpPr>
          <p:spPr>
            <a:xfrm rot="5400000">
              <a:off x="827809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6" name="Полилиния 1015">
              <a:extLst>
                <a:ext uri="{FF2B5EF4-FFF2-40B4-BE49-F238E27FC236}">
                  <a16:creationId xmlns:a16="http://schemas.microsoft.com/office/drawing/2014/main" id="{6ECBB1E2-6A57-1F03-9494-FF99D9A576AF}"/>
                </a:ext>
              </a:extLst>
            </p:cNvPr>
            <p:cNvSpPr/>
            <p:nvPr/>
          </p:nvSpPr>
          <p:spPr>
            <a:xfrm rot="-5400000">
              <a:off x="8901545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7" name="Полилиния 1016">
              <a:extLst>
                <a:ext uri="{FF2B5EF4-FFF2-40B4-BE49-F238E27FC236}">
                  <a16:creationId xmlns:a16="http://schemas.microsoft.com/office/drawing/2014/main" id="{AFDCF3B4-FEB5-7ED7-931D-A984F3AAD6AA}"/>
                </a:ext>
              </a:extLst>
            </p:cNvPr>
            <p:cNvSpPr/>
            <p:nvPr/>
          </p:nvSpPr>
          <p:spPr>
            <a:xfrm rot="5400000">
              <a:off x="4745181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8" name="Полилиния 1017">
              <a:extLst>
                <a:ext uri="{FF2B5EF4-FFF2-40B4-BE49-F238E27FC236}">
                  <a16:creationId xmlns:a16="http://schemas.microsoft.com/office/drawing/2014/main" id="{1066B7E6-C4CA-57BA-45FA-5926C21061FA}"/>
                </a:ext>
              </a:extLst>
            </p:cNvPr>
            <p:cNvSpPr/>
            <p:nvPr/>
          </p:nvSpPr>
          <p:spPr>
            <a:xfrm rot="5400000">
              <a:off x="5160818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9" name="Полилиния 1018">
              <a:extLst>
                <a:ext uri="{FF2B5EF4-FFF2-40B4-BE49-F238E27FC236}">
                  <a16:creationId xmlns:a16="http://schemas.microsoft.com/office/drawing/2014/main" id="{EF221D98-324D-A24C-8F25-291823F08BAC}"/>
                </a:ext>
              </a:extLst>
            </p:cNvPr>
            <p:cNvSpPr/>
            <p:nvPr/>
          </p:nvSpPr>
          <p:spPr>
            <a:xfrm rot="-5400000">
              <a:off x="5784272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0" name="Полилиния 1019">
              <a:extLst>
                <a:ext uri="{FF2B5EF4-FFF2-40B4-BE49-F238E27FC236}">
                  <a16:creationId xmlns:a16="http://schemas.microsoft.com/office/drawing/2014/main" id="{EAE99680-F5A6-55BE-CF0F-9AEC6DA2EA6D}"/>
                </a:ext>
              </a:extLst>
            </p:cNvPr>
            <p:cNvSpPr/>
            <p:nvPr/>
          </p:nvSpPr>
          <p:spPr>
            <a:xfrm>
              <a:off x="6199909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1" name="Полилиния 1020">
              <a:extLst>
                <a:ext uri="{FF2B5EF4-FFF2-40B4-BE49-F238E27FC236}">
                  <a16:creationId xmlns:a16="http://schemas.microsoft.com/office/drawing/2014/main" id="{4A328E81-D799-27F0-54F4-BFA94B9EB579}"/>
                </a:ext>
              </a:extLst>
            </p:cNvPr>
            <p:cNvSpPr/>
            <p:nvPr/>
          </p:nvSpPr>
          <p:spPr>
            <a:xfrm>
              <a:off x="6407727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2" name="Полилиния 1021">
              <a:extLst>
                <a:ext uri="{FF2B5EF4-FFF2-40B4-BE49-F238E27FC236}">
                  <a16:creationId xmlns:a16="http://schemas.microsoft.com/office/drawing/2014/main" id="{D9FD32DF-6B44-FFFF-3D5B-CF1F42AAD3D5}"/>
                </a:ext>
              </a:extLst>
            </p:cNvPr>
            <p:cNvSpPr/>
            <p:nvPr/>
          </p:nvSpPr>
          <p:spPr>
            <a:xfrm>
              <a:off x="6615545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3" name="Полилиния 1022">
              <a:extLst>
                <a:ext uri="{FF2B5EF4-FFF2-40B4-BE49-F238E27FC236}">
                  <a16:creationId xmlns:a16="http://schemas.microsoft.com/office/drawing/2014/main" id="{91352ABF-FB1B-ECFC-2652-F9A15DB5DFBB}"/>
                </a:ext>
              </a:extLst>
            </p:cNvPr>
            <p:cNvSpPr/>
            <p:nvPr/>
          </p:nvSpPr>
          <p:spPr>
            <a:xfrm>
              <a:off x="6823363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4" name="Полилиния 1023">
              <a:extLst>
                <a:ext uri="{FF2B5EF4-FFF2-40B4-BE49-F238E27FC236}">
                  <a16:creationId xmlns:a16="http://schemas.microsoft.com/office/drawing/2014/main" id="{AB3061D3-5AF3-8A47-BF62-2AEA9BF1EBEF}"/>
                </a:ext>
              </a:extLst>
            </p:cNvPr>
            <p:cNvSpPr/>
            <p:nvPr/>
          </p:nvSpPr>
          <p:spPr>
            <a:xfrm>
              <a:off x="7031181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5" name="Полилиния 1024">
              <a:extLst>
                <a:ext uri="{FF2B5EF4-FFF2-40B4-BE49-F238E27FC236}">
                  <a16:creationId xmlns:a16="http://schemas.microsoft.com/office/drawing/2014/main" id="{C1802EDB-FDEA-4671-E318-620D480A2A87}"/>
                </a:ext>
              </a:extLst>
            </p:cNvPr>
            <p:cNvSpPr/>
            <p:nvPr/>
          </p:nvSpPr>
          <p:spPr>
            <a:xfrm>
              <a:off x="7239000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6" name="Полилиния 1025">
              <a:extLst>
                <a:ext uri="{FF2B5EF4-FFF2-40B4-BE49-F238E27FC236}">
                  <a16:creationId xmlns:a16="http://schemas.microsoft.com/office/drawing/2014/main" id="{CF196B5E-CBB3-14F8-6CF4-8D40FEA947D9}"/>
                </a:ext>
              </a:extLst>
            </p:cNvPr>
            <p:cNvSpPr/>
            <p:nvPr/>
          </p:nvSpPr>
          <p:spPr>
            <a:xfrm>
              <a:off x="8070272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7" name="Полилиния 1026">
              <a:extLst>
                <a:ext uri="{FF2B5EF4-FFF2-40B4-BE49-F238E27FC236}">
                  <a16:creationId xmlns:a16="http://schemas.microsoft.com/office/drawing/2014/main" id="{81D66CCF-C1D8-8B37-9FF2-BB266337841E}"/>
                </a:ext>
              </a:extLst>
            </p:cNvPr>
            <p:cNvSpPr/>
            <p:nvPr/>
          </p:nvSpPr>
          <p:spPr>
            <a:xfrm rot="5400000">
              <a:off x="8485909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8" name="Полилиния 1027">
              <a:extLst>
                <a:ext uri="{FF2B5EF4-FFF2-40B4-BE49-F238E27FC236}">
                  <a16:creationId xmlns:a16="http://schemas.microsoft.com/office/drawing/2014/main" id="{1860FFAB-8FBD-77F5-E054-7F50B504E28E}"/>
                </a:ext>
              </a:extLst>
            </p:cNvPr>
            <p:cNvSpPr/>
            <p:nvPr/>
          </p:nvSpPr>
          <p:spPr>
            <a:xfrm>
              <a:off x="8901545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9" name="Полилиния 1028">
              <a:extLst>
                <a:ext uri="{FF2B5EF4-FFF2-40B4-BE49-F238E27FC236}">
                  <a16:creationId xmlns:a16="http://schemas.microsoft.com/office/drawing/2014/main" id="{0A9646FD-3E64-7A1F-F69D-03B275B17117}"/>
                </a:ext>
              </a:extLst>
            </p:cNvPr>
            <p:cNvSpPr/>
            <p:nvPr/>
          </p:nvSpPr>
          <p:spPr>
            <a:xfrm rot="-5400000">
              <a:off x="5368636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0" name="Полилиния 1029">
              <a:extLst>
                <a:ext uri="{FF2B5EF4-FFF2-40B4-BE49-F238E27FC236}">
                  <a16:creationId xmlns:a16="http://schemas.microsoft.com/office/drawing/2014/main" id="{773425C4-AD3B-60C0-795B-8229A2678992}"/>
                </a:ext>
              </a:extLst>
            </p:cNvPr>
            <p:cNvSpPr/>
            <p:nvPr/>
          </p:nvSpPr>
          <p:spPr>
            <a:xfrm>
              <a:off x="5576454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1" name="Полилиния 1030">
              <a:extLst>
                <a:ext uri="{FF2B5EF4-FFF2-40B4-BE49-F238E27FC236}">
                  <a16:creationId xmlns:a16="http://schemas.microsoft.com/office/drawing/2014/main" id="{EC2276DC-7671-9C70-8565-9BA99C8B4054}"/>
                </a:ext>
              </a:extLst>
            </p:cNvPr>
            <p:cNvSpPr/>
            <p:nvPr/>
          </p:nvSpPr>
          <p:spPr>
            <a:xfrm rot="5400000">
              <a:off x="5784272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2" name="Полилиния 1031">
              <a:extLst>
                <a:ext uri="{FF2B5EF4-FFF2-40B4-BE49-F238E27FC236}">
                  <a16:creationId xmlns:a16="http://schemas.microsoft.com/office/drawing/2014/main" id="{BA7F4C20-C753-0961-BC68-4FF77C7EAB2D}"/>
                </a:ext>
              </a:extLst>
            </p:cNvPr>
            <p:cNvSpPr/>
            <p:nvPr/>
          </p:nvSpPr>
          <p:spPr>
            <a:xfrm>
              <a:off x="6199909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3" name="Полилиния 1032">
              <a:extLst>
                <a:ext uri="{FF2B5EF4-FFF2-40B4-BE49-F238E27FC236}">
                  <a16:creationId xmlns:a16="http://schemas.microsoft.com/office/drawing/2014/main" id="{EBDB11A2-BE51-0E9B-AB62-1D75FA7218B8}"/>
                </a:ext>
              </a:extLst>
            </p:cNvPr>
            <p:cNvSpPr/>
            <p:nvPr/>
          </p:nvSpPr>
          <p:spPr>
            <a:xfrm rot="5400000">
              <a:off x="6407727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4" name="Полилиния 1033">
              <a:extLst>
                <a:ext uri="{FF2B5EF4-FFF2-40B4-BE49-F238E27FC236}">
                  <a16:creationId xmlns:a16="http://schemas.microsoft.com/office/drawing/2014/main" id="{D561F747-C905-CDFA-8A98-5B946F2F8DDE}"/>
                </a:ext>
              </a:extLst>
            </p:cNvPr>
            <p:cNvSpPr/>
            <p:nvPr/>
          </p:nvSpPr>
          <p:spPr>
            <a:xfrm>
              <a:off x="6823363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5" name="Полилиния 1034">
              <a:extLst>
                <a:ext uri="{FF2B5EF4-FFF2-40B4-BE49-F238E27FC236}">
                  <a16:creationId xmlns:a16="http://schemas.microsoft.com/office/drawing/2014/main" id="{2D75A05C-71AB-305C-C570-0E6C3A6E047B}"/>
                </a:ext>
              </a:extLst>
            </p:cNvPr>
            <p:cNvSpPr/>
            <p:nvPr/>
          </p:nvSpPr>
          <p:spPr>
            <a:xfrm>
              <a:off x="7031181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6" name="Полилиния 1035">
              <a:extLst>
                <a:ext uri="{FF2B5EF4-FFF2-40B4-BE49-F238E27FC236}">
                  <a16:creationId xmlns:a16="http://schemas.microsoft.com/office/drawing/2014/main" id="{583D0677-DD4B-3F07-4D6D-1A8999CB4314}"/>
                </a:ext>
              </a:extLst>
            </p:cNvPr>
            <p:cNvSpPr/>
            <p:nvPr/>
          </p:nvSpPr>
          <p:spPr>
            <a:xfrm>
              <a:off x="7239000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7" name="Полилиния 1036">
              <a:extLst>
                <a:ext uri="{FF2B5EF4-FFF2-40B4-BE49-F238E27FC236}">
                  <a16:creationId xmlns:a16="http://schemas.microsoft.com/office/drawing/2014/main" id="{4BCD61E7-24A5-5043-68DC-867143070C65}"/>
                </a:ext>
              </a:extLst>
            </p:cNvPr>
            <p:cNvSpPr/>
            <p:nvPr/>
          </p:nvSpPr>
          <p:spPr>
            <a:xfrm rot="5400000">
              <a:off x="7654636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8" name="Полилиния 1037">
              <a:extLst>
                <a:ext uri="{FF2B5EF4-FFF2-40B4-BE49-F238E27FC236}">
                  <a16:creationId xmlns:a16="http://schemas.microsoft.com/office/drawing/2014/main" id="{F04A8D1B-D7F7-3892-F396-97A1DC491DFD}"/>
                </a:ext>
              </a:extLst>
            </p:cNvPr>
            <p:cNvSpPr/>
            <p:nvPr/>
          </p:nvSpPr>
          <p:spPr>
            <a:xfrm>
              <a:off x="8070272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9" name="Полилиния 1038">
              <a:extLst>
                <a:ext uri="{FF2B5EF4-FFF2-40B4-BE49-F238E27FC236}">
                  <a16:creationId xmlns:a16="http://schemas.microsoft.com/office/drawing/2014/main" id="{3EDE8BEB-AAE9-2189-D234-4A0819335119}"/>
                </a:ext>
              </a:extLst>
            </p:cNvPr>
            <p:cNvSpPr/>
            <p:nvPr/>
          </p:nvSpPr>
          <p:spPr>
            <a:xfrm>
              <a:off x="8901545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0" name="Полилиния 1039">
              <a:extLst>
                <a:ext uri="{FF2B5EF4-FFF2-40B4-BE49-F238E27FC236}">
                  <a16:creationId xmlns:a16="http://schemas.microsoft.com/office/drawing/2014/main" id="{0102EEFC-48D2-1396-823E-A13AADCE334E}"/>
                </a:ext>
              </a:extLst>
            </p:cNvPr>
            <p:cNvSpPr/>
            <p:nvPr/>
          </p:nvSpPr>
          <p:spPr>
            <a:xfrm rot="-5400000">
              <a:off x="495300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1" name="Полилиния 1040">
              <a:extLst>
                <a:ext uri="{FF2B5EF4-FFF2-40B4-BE49-F238E27FC236}">
                  <a16:creationId xmlns:a16="http://schemas.microsoft.com/office/drawing/2014/main" id="{4EC70B39-3FBA-A60F-FD59-D33D8B45C57E}"/>
                </a:ext>
              </a:extLst>
            </p:cNvPr>
            <p:cNvSpPr/>
            <p:nvPr/>
          </p:nvSpPr>
          <p:spPr>
            <a:xfrm>
              <a:off x="5160818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2" name="Полилиния 1041">
              <a:extLst>
                <a:ext uri="{FF2B5EF4-FFF2-40B4-BE49-F238E27FC236}">
                  <a16:creationId xmlns:a16="http://schemas.microsoft.com/office/drawing/2014/main" id="{0B2AD939-7372-7048-8663-8891903056F6}"/>
                </a:ext>
              </a:extLst>
            </p:cNvPr>
            <p:cNvSpPr/>
            <p:nvPr/>
          </p:nvSpPr>
          <p:spPr>
            <a:xfrm>
              <a:off x="5368636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3" name="Полилиния 1042">
              <a:extLst>
                <a:ext uri="{FF2B5EF4-FFF2-40B4-BE49-F238E27FC236}">
                  <a16:creationId xmlns:a16="http://schemas.microsoft.com/office/drawing/2014/main" id="{E09B557B-F2C8-5CEA-78CE-4B5EF414A201}"/>
                </a:ext>
              </a:extLst>
            </p:cNvPr>
            <p:cNvSpPr/>
            <p:nvPr/>
          </p:nvSpPr>
          <p:spPr>
            <a:xfrm rot="5400000">
              <a:off x="5576454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4" name="Полилиния 1043">
              <a:extLst>
                <a:ext uri="{FF2B5EF4-FFF2-40B4-BE49-F238E27FC236}">
                  <a16:creationId xmlns:a16="http://schemas.microsoft.com/office/drawing/2014/main" id="{DC07C4C6-44C5-AB0C-2F76-019B89A793E7}"/>
                </a:ext>
              </a:extLst>
            </p:cNvPr>
            <p:cNvSpPr/>
            <p:nvPr/>
          </p:nvSpPr>
          <p:spPr>
            <a:xfrm rot="-5400000">
              <a:off x="599209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5" name="Полилиния 1044">
              <a:extLst>
                <a:ext uri="{FF2B5EF4-FFF2-40B4-BE49-F238E27FC236}">
                  <a16:creationId xmlns:a16="http://schemas.microsoft.com/office/drawing/2014/main" id="{F3DF3A1A-8DF1-1FE0-F703-81D26F90792F}"/>
                </a:ext>
              </a:extLst>
            </p:cNvPr>
            <p:cNvSpPr/>
            <p:nvPr/>
          </p:nvSpPr>
          <p:spPr>
            <a:xfrm>
              <a:off x="7031181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6" name="Полилиния 1045">
              <a:extLst>
                <a:ext uri="{FF2B5EF4-FFF2-40B4-BE49-F238E27FC236}">
                  <a16:creationId xmlns:a16="http://schemas.microsoft.com/office/drawing/2014/main" id="{6E913790-194E-EB4A-4010-EEE4B54902CF}"/>
                </a:ext>
              </a:extLst>
            </p:cNvPr>
            <p:cNvSpPr/>
            <p:nvPr/>
          </p:nvSpPr>
          <p:spPr>
            <a:xfrm>
              <a:off x="723900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7" name="Полилиния 1046">
              <a:extLst>
                <a:ext uri="{FF2B5EF4-FFF2-40B4-BE49-F238E27FC236}">
                  <a16:creationId xmlns:a16="http://schemas.microsoft.com/office/drawing/2014/main" id="{B49AA92E-9918-2B1A-5D42-7E9FB79D1879}"/>
                </a:ext>
              </a:extLst>
            </p:cNvPr>
            <p:cNvSpPr/>
            <p:nvPr/>
          </p:nvSpPr>
          <p:spPr>
            <a:xfrm>
              <a:off x="8070272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8" name="Полилиния 1047">
              <a:extLst>
                <a:ext uri="{FF2B5EF4-FFF2-40B4-BE49-F238E27FC236}">
                  <a16:creationId xmlns:a16="http://schemas.microsoft.com/office/drawing/2014/main" id="{40AA74BB-CB9E-DD3D-4D6C-BBC9FE126F2F}"/>
                </a:ext>
              </a:extLst>
            </p:cNvPr>
            <p:cNvSpPr/>
            <p:nvPr/>
          </p:nvSpPr>
          <p:spPr>
            <a:xfrm rot="5400000">
              <a:off x="827809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9" name="Полилиния 1048">
              <a:extLst>
                <a:ext uri="{FF2B5EF4-FFF2-40B4-BE49-F238E27FC236}">
                  <a16:creationId xmlns:a16="http://schemas.microsoft.com/office/drawing/2014/main" id="{ABEBF900-3C3F-5A3A-ADCA-3A315232EB33}"/>
                </a:ext>
              </a:extLst>
            </p:cNvPr>
            <p:cNvSpPr/>
            <p:nvPr/>
          </p:nvSpPr>
          <p:spPr>
            <a:xfrm rot="-5400000">
              <a:off x="8693727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0" name="Полилиния 1049">
              <a:extLst>
                <a:ext uri="{FF2B5EF4-FFF2-40B4-BE49-F238E27FC236}">
                  <a16:creationId xmlns:a16="http://schemas.microsoft.com/office/drawing/2014/main" id="{E2E66D54-0951-B1FB-0832-DCFBB0F55213}"/>
                </a:ext>
              </a:extLst>
            </p:cNvPr>
            <p:cNvSpPr/>
            <p:nvPr/>
          </p:nvSpPr>
          <p:spPr>
            <a:xfrm>
              <a:off x="8901545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1" name="Полилиния 1050">
              <a:extLst>
                <a:ext uri="{FF2B5EF4-FFF2-40B4-BE49-F238E27FC236}">
                  <a16:creationId xmlns:a16="http://schemas.microsoft.com/office/drawing/2014/main" id="{99DA28B6-FE39-AE9E-2309-6FE36AFF4733}"/>
                </a:ext>
              </a:extLst>
            </p:cNvPr>
            <p:cNvSpPr/>
            <p:nvPr/>
          </p:nvSpPr>
          <p:spPr>
            <a:xfrm rot="5400000">
              <a:off x="4745181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2" name="Полилиния 1051">
              <a:extLst>
                <a:ext uri="{FF2B5EF4-FFF2-40B4-BE49-F238E27FC236}">
                  <a16:creationId xmlns:a16="http://schemas.microsoft.com/office/drawing/2014/main" id="{817060A5-7703-9E2D-ACA2-36945CD3BB39}"/>
                </a:ext>
              </a:extLst>
            </p:cNvPr>
            <p:cNvSpPr/>
            <p:nvPr/>
          </p:nvSpPr>
          <p:spPr>
            <a:xfrm rot="-5400000">
              <a:off x="5784272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3" name="Полилиния 1052">
              <a:extLst>
                <a:ext uri="{FF2B5EF4-FFF2-40B4-BE49-F238E27FC236}">
                  <a16:creationId xmlns:a16="http://schemas.microsoft.com/office/drawing/2014/main" id="{682250EA-36D7-638D-E1AB-3FEB3833E741}"/>
                </a:ext>
              </a:extLst>
            </p:cNvPr>
            <p:cNvSpPr/>
            <p:nvPr/>
          </p:nvSpPr>
          <p:spPr>
            <a:xfrm rot="5400000">
              <a:off x="5992090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4" name="Полилиния 1053">
              <a:extLst>
                <a:ext uri="{FF2B5EF4-FFF2-40B4-BE49-F238E27FC236}">
                  <a16:creationId xmlns:a16="http://schemas.microsoft.com/office/drawing/2014/main" id="{E5397B79-49E3-B887-D6D3-EB6E400A6747}"/>
                </a:ext>
              </a:extLst>
            </p:cNvPr>
            <p:cNvSpPr/>
            <p:nvPr/>
          </p:nvSpPr>
          <p:spPr>
            <a:xfrm rot="5400000">
              <a:off x="6407727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5" name="Полилиния 1054">
              <a:extLst>
                <a:ext uri="{FF2B5EF4-FFF2-40B4-BE49-F238E27FC236}">
                  <a16:creationId xmlns:a16="http://schemas.microsoft.com/office/drawing/2014/main" id="{7BEEA1AE-6211-D45D-86F0-D9B5CA4488CF}"/>
                </a:ext>
              </a:extLst>
            </p:cNvPr>
            <p:cNvSpPr/>
            <p:nvPr/>
          </p:nvSpPr>
          <p:spPr>
            <a:xfrm>
              <a:off x="7031181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6" name="Полилиния 1055">
              <a:extLst>
                <a:ext uri="{FF2B5EF4-FFF2-40B4-BE49-F238E27FC236}">
                  <a16:creationId xmlns:a16="http://schemas.microsoft.com/office/drawing/2014/main" id="{11240680-7F7D-76CB-2782-AA7877AE634B}"/>
                </a:ext>
              </a:extLst>
            </p:cNvPr>
            <p:cNvSpPr/>
            <p:nvPr/>
          </p:nvSpPr>
          <p:spPr>
            <a:xfrm>
              <a:off x="7239000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7" name="Полилиния 1056">
              <a:extLst>
                <a:ext uri="{FF2B5EF4-FFF2-40B4-BE49-F238E27FC236}">
                  <a16:creationId xmlns:a16="http://schemas.microsoft.com/office/drawing/2014/main" id="{34AFD5F5-6711-D1AB-5E78-87EC87DD83AA}"/>
                </a:ext>
              </a:extLst>
            </p:cNvPr>
            <p:cNvSpPr/>
            <p:nvPr/>
          </p:nvSpPr>
          <p:spPr>
            <a:xfrm>
              <a:off x="7446818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8" name="Полилиния 1057">
              <a:extLst>
                <a:ext uri="{FF2B5EF4-FFF2-40B4-BE49-F238E27FC236}">
                  <a16:creationId xmlns:a16="http://schemas.microsoft.com/office/drawing/2014/main" id="{9AF95289-AAEF-CE31-63F1-FDA9EFE6DA4B}"/>
                </a:ext>
              </a:extLst>
            </p:cNvPr>
            <p:cNvSpPr/>
            <p:nvPr/>
          </p:nvSpPr>
          <p:spPr>
            <a:xfrm>
              <a:off x="7654636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9" name="Полилиния 1058">
              <a:extLst>
                <a:ext uri="{FF2B5EF4-FFF2-40B4-BE49-F238E27FC236}">
                  <a16:creationId xmlns:a16="http://schemas.microsoft.com/office/drawing/2014/main" id="{9F57A512-5739-F755-9CA8-DFBD15BCAB80}"/>
                </a:ext>
              </a:extLst>
            </p:cNvPr>
            <p:cNvSpPr/>
            <p:nvPr/>
          </p:nvSpPr>
          <p:spPr>
            <a:xfrm>
              <a:off x="7862454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0" name="Полилиния 1059">
              <a:extLst>
                <a:ext uri="{FF2B5EF4-FFF2-40B4-BE49-F238E27FC236}">
                  <a16:creationId xmlns:a16="http://schemas.microsoft.com/office/drawing/2014/main" id="{050E960B-61AE-201F-B408-7D5571AA6D9B}"/>
                </a:ext>
              </a:extLst>
            </p:cNvPr>
            <p:cNvSpPr/>
            <p:nvPr/>
          </p:nvSpPr>
          <p:spPr>
            <a:xfrm rot="5400000">
              <a:off x="8070272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1" name="Полилиния 1060">
              <a:extLst>
                <a:ext uri="{FF2B5EF4-FFF2-40B4-BE49-F238E27FC236}">
                  <a16:creationId xmlns:a16="http://schemas.microsoft.com/office/drawing/2014/main" id="{4B352CF5-30ED-B5A3-176F-281C16851403}"/>
                </a:ext>
              </a:extLst>
            </p:cNvPr>
            <p:cNvSpPr/>
            <p:nvPr/>
          </p:nvSpPr>
          <p:spPr>
            <a:xfrm>
              <a:off x="8693727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2" name="Полилиния 1061">
              <a:extLst>
                <a:ext uri="{FF2B5EF4-FFF2-40B4-BE49-F238E27FC236}">
                  <a16:creationId xmlns:a16="http://schemas.microsoft.com/office/drawing/2014/main" id="{D32414ED-9717-9F73-7B19-6064AB67E1A8}"/>
                </a:ext>
              </a:extLst>
            </p:cNvPr>
            <p:cNvSpPr/>
            <p:nvPr/>
          </p:nvSpPr>
          <p:spPr>
            <a:xfrm rot="5400000">
              <a:off x="8901545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3" name="Полилиния 1062">
              <a:extLst>
                <a:ext uri="{FF2B5EF4-FFF2-40B4-BE49-F238E27FC236}">
                  <a16:creationId xmlns:a16="http://schemas.microsoft.com/office/drawing/2014/main" id="{DA259AE5-9497-CC23-3622-1235DD6B0D73}"/>
                </a:ext>
              </a:extLst>
            </p:cNvPr>
            <p:cNvSpPr/>
            <p:nvPr/>
          </p:nvSpPr>
          <p:spPr>
            <a:xfrm rot="-5400000">
              <a:off x="5160818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4" name="Полилиния 1063">
              <a:extLst>
                <a:ext uri="{FF2B5EF4-FFF2-40B4-BE49-F238E27FC236}">
                  <a16:creationId xmlns:a16="http://schemas.microsoft.com/office/drawing/2014/main" id="{BD0DEB64-23A5-A626-DF13-849AF7B85926}"/>
                </a:ext>
              </a:extLst>
            </p:cNvPr>
            <p:cNvSpPr/>
            <p:nvPr/>
          </p:nvSpPr>
          <p:spPr>
            <a:xfrm>
              <a:off x="5368636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5" name="Полилиния 1064">
              <a:extLst>
                <a:ext uri="{FF2B5EF4-FFF2-40B4-BE49-F238E27FC236}">
                  <a16:creationId xmlns:a16="http://schemas.microsoft.com/office/drawing/2014/main" id="{7DF98222-5743-34E9-21B6-C98B98BE124F}"/>
                </a:ext>
              </a:extLst>
            </p:cNvPr>
            <p:cNvSpPr/>
            <p:nvPr/>
          </p:nvSpPr>
          <p:spPr>
            <a:xfrm>
              <a:off x="5576454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6" name="Полилиния 1065">
              <a:extLst>
                <a:ext uri="{FF2B5EF4-FFF2-40B4-BE49-F238E27FC236}">
                  <a16:creationId xmlns:a16="http://schemas.microsoft.com/office/drawing/2014/main" id="{BC0D05FC-683F-C958-A11A-89EA4601CCC2}"/>
                </a:ext>
              </a:extLst>
            </p:cNvPr>
            <p:cNvSpPr/>
            <p:nvPr/>
          </p:nvSpPr>
          <p:spPr>
            <a:xfrm>
              <a:off x="5784272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7" name="Полилиния 1066">
              <a:extLst>
                <a:ext uri="{FF2B5EF4-FFF2-40B4-BE49-F238E27FC236}">
                  <a16:creationId xmlns:a16="http://schemas.microsoft.com/office/drawing/2014/main" id="{D06A7E5C-6506-B409-E380-938B0B22C4D1}"/>
                </a:ext>
              </a:extLst>
            </p:cNvPr>
            <p:cNvSpPr/>
            <p:nvPr/>
          </p:nvSpPr>
          <p:spPr>
            <a:xfrm rot="-5400000">
              <a:off x="6615545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8" name="Полилиния 1067">
              <a:extLst>
                <a:ext uri="{FF2B5EF4-FFF2-40B4-BE49-F238E27FC236}">
                  <a16:creationId xmlns:a16="http://schemas.microsoft.com/office/drawing/2014/main" id="{E06C1576-CFE4-ED9A-AE0D-35B648A47327}"/>
                </a:ext>
              </a:extLst>
            </p:cNvPr>
            <p:cNvSpPr/>
            <p:nvPr/>
          </p:nvSpPr>
          <p:spPr>
            <a:xfrm>
              <a:off x="6823363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9" name="Полилиния 1068">
              <a:extLst>
                <a:ext uri="{FF2B5EF4-FFF2-40B4-BE49-F238E27FC236}">
                  <a16:creationId xmlns:a16="http://schemas.microsoft.com/office/drawing/2014/main" id="{B09F6648-FC81-0312-879F-E4D994B2C8AF}"/>
                </a:ext>
              </a:extLst>
            </p:cNvPr>
            <p:cNvSpPr/>
            <p:nvPr/>
          </p:nvSpPr>
          <p:spPr>
            <a:xfrm rot="5400000">
              <a:off x="7862454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0" name="Полилиния 1069">
              <a:extLst>
                <a:ext uri="{FF2B5EF4-FFF2-40B4-BE49-F238E27FC236}">
                  <a16:creationId xmlns:a16="http://schemas.microsoft.com/office/drawing/2014/main" id="{9CE0451E-8246-6F53-2C90-D2FC9FE2E3E6}"/>
                </a:ext>
              </a:extLst>
            </p:cNvPr>
            <p:cNvSpPr/>
            <p:nvPr/>
          </p:nvSpPr>
          <p:spPr>
            <a:xfrm rot="-5400000">
              <a:off x="8278090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1" name="Полилиния 1070">
              <a:extLst>
                <a:ext uri="{FF2B5EF4-FFF2-40B4-BE49-F238E27FC236}">
                  <a16:creationId xmlns:a16="http://schemas.microsoft.com/office/drawing/2014/main" id="{0B0FC73C-5CF7-DE51-E567-4FD24AB4D62C}"/>
                </a:ext>
              </a:extLst>
            </p:cNvPr>
            <p:cNvSpPr/>
            <p:nvPr/>
          </p:nvSpPr>
          <p:spPr>
            <a:xfrm>
              <a:off x="8485909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2" name="Полилиния 1071">
              <a:extLst>
                <a:ext uri="{FF2B5EF4-FFF2-40B4-BE49-F238E27FC236}">
                  <a16:creationId xmlns:a16="http://schemas.microsoft.com/office/drawing/2014/main" id="{630BADDA-883E-81B1-8158-3D98066CE094}"/>
                </a:ext>
              </a:extLst>
            </p:cNvPr>
            <p:cNvSpPr/>
            <p:nvPr/>
          </p:nvSpPr>
          <p:spPr>
            <a:xfrm>
              <a:off x="8693727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3" name="Полилиния 1072">
              <a:extLst>
                <a:ext uri="{FF2B5EF4-FFF2-40B4-BE49-F238E27FC236}">
                  <a16:creationId xmlns:a16="http://schemas.microsoft.com/office/drawing/2014/main" id="{FE8AE930-88DE-B6B0-ECBC-1CFFF6A30554}"/>
                </a:ext>
              </a:extLst>
            </p:cNvPr>
            <p:cNvSpPr/>
            <p:nvPr/>
          </p:nvSpPr>
          <p:spPr>
            <a:xfrm rot="-5400000">
              <a:off x="495300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4" name="Полилиния 1073">
              <a:extLst>
                <a:ext uri="{FF2B5EF4-FFF2-40B4-BE49-F238E27FC236}">
                  <a16:creationId xmlns:a16="http://schemas.microsoft.com/office/drawing/2014/main" id="{AEB3F0F7-0CB7-3FFA-A37D-971E8AAFB6BC}"/>
                </a:ext>
              </a:extLst>
            </p:cNvPr>
            <p:cNvSpPr/>
            <p:nvPr/>
          </p:nvSpPr>
          <p:spPr>
            <a:xfrm rot="5400000">
              <a:off x="5160818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5" name="Полилиния 1074">
              <a:extLst>
                <a:ext uri="{FF2B5EF4-FFF2-40B4-BE49-F238E27FC236}">
                  <a16:creationId xmlns:a16="http://schemas.microsoft.com/office/drawing/2014/main" id="{681B42BF-ED46-FA4B-9DD2-DDA0994F17F5}"/>
                </a:ext>
              </a:extLst>
            </p:cNvPr>
            <p:cNvSpPr/>
            <p:nvPr/>
          </p:nvSpPr>
          <p:spPr>
            <a:xfrm>
              <a:off x="5784272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6" name="Полилиния 1075">
              <a:extLst>
                <a:ext uri="{FF2B5EF4-FFF2-40B4-BE49-F238E27FC236}">
                  <a16:creationId xmlns:a16="http://schemas.microsoft.com/office/drawing/2014/main" id="{5654CB17-593D-F8D9-A368-1548B0DB22D9}"/>
                </a:ext>
              </a:extLst>
            </p:cNvPr>
            <p:cNvSpPr/>
            <p:nvPr/>
          </p:nvSpPr>
          <p:spPr>
            <a:xfrm>
              <a:off x="599209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7" name="Полилиния 1076">
              <a:extLst>
                <a:ext uri="{FF2B5EF4-FFF2-40B4-BE49-F238E27FC236}">
                  <a16:creationId xmlns:a16="http://schemas.microsoft.com/office/drawing/2014/main" id="{86F27CDE-20FA-BF6C-045B-260EB41E268C}"/>
                </a:ext>
              </a:extLst>
            </p:cNvPr>
            <p:cNvSpPr/>
            <p:nvPr/>
          </p:nvSpPr>
          <p:spPr>
            <a:xfrm>
              <a:off x="6199909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8" name="Полилиния 1077">
              <a:extLst>
                <a:ext uri="{FF2B5EF4-FFF2-40B4-BE49-F238E27FC236}">
                  <a16:creationId xmlns:a16="http://schemas.microsoft.com/office/drawing/2014/main" id="{EB541362-111F-4EF7-BF12-68054DF2BFC8}"/>
                </a:ext>
              </a:extLst>
            </p:cNvPr>
            <p:cNvSpPr/>
            <p:nvPr/>
          </p:nvSpPr>
          <p:spPr>
            <a:xfrm>
              <a:off x="6823363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9" name="Полилиния 1078">
              <a:extLst>
                <a:ext uri="{FF2B5EF4-FFF2-40B4-BE49-F238E27FC236}">
                  <a16:creationId xmlns:a16="http://schemas.microsoft.com/office/drawing/2014/main" id="{892CCAE5-E52E-04A5-EC26-12FB3C6963B7}"/>
                </a:ext>
              </a:extLst>
            </p:cNvPr>
            <p:cNvSpPr/>
            <p:nvPr/>
          </p:nvSpPr>
          <p:spPr>
            <a:xfrm>
              <a:off x="7031181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0" name="Полилиния 1079">
              <a:extLst>
                <a:ext uri="{FF2B5EF4-FFF2-40B4-BE49-F238E27FC236}">
                  <a16:creationId xmlns:a16="http://schemas.microsoft.com/office/drawing/2014/main" id="{219A2BA6-572F-047F-A1A5-B87B6DFEBB50}"/>
                </a:ext>
              </a:extLst>
            </p:cNvPr>
            <p:cNvSpPr/>
            <p:nvPr/>
          </p:nvSpPr>
          <p:spPr>
            <a:xfrm>
              <a:off x="723900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1" name="Полилиния 1080">
              <a:extLst>
                <a:ext uri="{FF2B5EF4-FFF2-40B4-BE49-F238E27FC236}">
                  <a16:creationId xmlns:a16="http://schemas.microsoft.com/office/drawing/2014/main" id="{B7C3FEDD-A1A5-7DB5-A15D-40E59B907E8E}"/>
                </a:ext>
              </a:extLst>
            </p:cNvPr>
            <p:cNvSpPr/>
            <p:nvPr/>
          </p:nvSpPr>
          <p:spPr>
            <a:xfrm>
              <a:off x="7446818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2" name="Полилиния 1081">
              <a:extLst>
                <a:ext uri="{FF2B5EF4-FFF2-40B4-BE49-F238E27FC236}">
                  <a16:creationId xmlns:a16="http://schemas.microsoft.com/office/drawing/2014/main" id="{67C4572A-ABD2-3D43-BDBF-6E4871906015}"/>
                </a:ext>
              </a:extLst>
            </p:cNvPr>
            <p:cNvSpPr/>
            <p:nvPr/>
          </p:nvSpPr>
          <p:spPr>
            <a:xfrm>
              <a:off x="827809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3" name="Полилиния 1082">
              <a:extLst>
                <a:ext uri="{FF2B5EF4-FFF2-40B4-BE49-F238E27FC236}">
                  <a16:creationId xmlns:a16="http://schemas.microsoft.com/office/drawing/2014/main" id="{C9B1A439-72FB-D4D4-FED2-2A27C2288888}"/>
                </a:ext>
              </a:extLst>
            </p:cNvPr>
            <p:cNvSpPr/>
            <p:nvPr/>
          </p:nvSpPr>
          <p:spPr>
            <a:xfrm>
              <a:off x="8485909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4" name="Полилиния 1083">
              <a:extLst>
                <a:ext uri="{FF2B5EF4-FFF2-40B4-BE49-F238E27FC236}">
                  <a16:creationId xmlns:a16="http://schemas.microsoft.com/office/drawing/2014/main" id="{9822B222-5EBC-288E-20B0-F1C0514FE825}"/>
                </a:ext>
              </a:extLst>
            </p:cNvPr>
            <p:cNvSpPr/>
            <p:nvPr/>
          </p:nvSpPr>
          <p:spPr>
            <a:xfrm>
              <a:off x="8693727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5" name="Полилиния 1084">
              <a:extLst>
                <a:ext uri="{FF2B5EF4-FFF2-40B4-BE49-F238E27FC236}">
                  <a16:creationId xmlns:a16="http://schemas.microsoft.com/office/drawing/2014/main" id="{615BAB78-76A5-F306-593D-25070BB72D95}"/>
                </a:ext>
              </a:extLst>
            </p:cNvPr>
            <p:cNvSpPr/>
            <p:nvPr/>
          </p:nvSpPr>
          <p:spPr>
            <a:xfrm>
              <a:off x="8901545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6" name="Полилиния 1085">
              <a:extLst>
                <a:ext uri="{FF2B5EF4-FFF2-40B4-BE49-F238E27FC236}">
                  <a16:creationId xmlns:a16="http://schemas.microsoft.com/office/drawing/2014/main" id="{C5AB9E9E-3285-D4A8-1B40-5415F34B82A2}"/>
                </a:ext>
              </a:extLst>
            </p:cNvPr>
            <p:cNvSpPr/>
            <p:nvPr/>
          </p:nvSpPr>
          <p:spPr>
            <a:xfrm rot="-5400000">
              <a:off x="4745181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7" name="Полилиния 1086">
              <a:extLst>
                <a:ext uri="{FF2B5EF4-FFF2-40B4-BE49-F238E27FC236}">
                  <a16:creationId xmlns:a16="http://schemas.microsoft.com/office/drawing/2014/main" id="{118367DE-72C6-ED17-3174-0EF006B5190C}"/>
                </a:ext>
              </a:extLst>
            </p:cNvPr>
            <p:cNvSpPr/>
            <p:nvPr/>
          </p:nvSpPr>
          <p:spPr>
            <a:xfrm>
              <a:off x="4953000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8" name="Полилиния 1087">
              <a:extLst>
                <a:ext uri="{FF2B5EF4-FFF2-40B4-BE49-F238E27FC236}">
                  <a16:creationId xmlns:a16="http://schemas.microsoft.com/office/drawing/2014/main" id="{31E38732-D3C5-D8F7-EB64-C239EDF6854C}"/>
                </a:ext>
              </a:extLst>
            </p:cNvPr>
            <p:cNvSpPr/>
            <p:nvPr/>
          </p:nvSpPr>
          <p:spPr>
            <a:xfrm rot="-5400000">
              <a:off x="5368636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9" name="Полилиния 1088">
              <a:extLst>
                <a:ext uri="{FF2B5EF4-FFF2-40B4-BE49-F238E27FC236}">
                  <a16:creationId xmlns:a16="http://schemas.microsoft.com/office/drawing/2014/main" id="{D21935CB-BF79-4D73-FAA8-0DA21B26343B}"/>
                </a:ext>
              </a:extLst>
            </p:cNvPr>
            <p:cNvSpPr/>
            <p:nvPr/>
          </p:nvSpPr>
          <p:spPr>
            <a:xfrm rot="5400000">
              <a:off x="5576454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0" name="Полилиния 1089">
              <a:extLst>
                <a:ext uri="{FF2B5EF4-FFF2-40B4-BE49-F238E27FC236}">
                  <a16:creationId xmlns:a16="http://schemas.microsoft.com/office/drawing/2014/main" id="{3F7910A9-F9EF-B7BA-E214-D667C2F00014}"/>
                </a:ext>
              </a:extLst>
            </p:cNvPr>
            <p:cNvSpPr/>
            <p:nvPr/>
          </p:nvSpPr>
          <p:spPr>
            <a:xfrm>
              <a:off x="6199909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1" name="Полилиния 1090">
              <a:extLst>
                <a:ext uri="{FF2B5EF4-FFF2-40B4-BE49-F238E27FC236}">
                  <a16:creationId xmlns:a16="http://schemas.microsoft.com/office/drawing/2014/main" id="{2699C416-D77E-2DCE-3201-A5F554634426}"/>
                </a:ext>
              </a:extLst>
            </p:cNvPr>
            <p:cNvSpPr/>
            <p:nvPr/>
          </p:nvSpPr>
          <p:spPr>
            <a:xfrm>
              <a:off x="6407727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2" name="Полилиния 1091">
              <a:extLst>
                <a:ext uri="{FF2B5EF4-FFF2-40B4-BE49-F238E27FC236}">
                  <a16:creationId xmlns:a16="http://schemas.microsoft.com/office/drawing/2014/main" id="{D24D162A-D485-84A0-3A14-D19B7E1B09C2}"/>
                </a:ext>
              </a:extLst>
            </p:cNvPr>
            <p:cNvSpPr/>
            <p:nvPr/>
          </p:nvSpPr>
          <p:spPr>
            <a:xfrm>
              <a:off x="6615545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3" name="Полилиния 1092">
              <a:extLst>
                <a:ext uri="{FF2B5EF4-FFF2-40B4-BE49-F238E27FC236}">
                  <a16:creationId xmlns:a16="http://schemas.microsoft.com/office/drawing/2014/main" id="{4DB1A24A-60C3-57DB-D39E-1953F56714E6}"/>
                </a:ext>
              </a:extLst>
            </p:cNvPr>
            <p:cNvSpPr/>
            <p:nvPr/>
          </p:nvSpPr>
          <p:spPr>
            <a:xfrm rot="5400000">
              <a:off x="6823363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4" name="Полилиния 1093">
              <a:extLst>
                <a:ext uri="{FF2B5EF4-FFF2-40B4-BE49-F238E27FC236}">
                  <a16:creationId xmlns:a16="http://schemas.microsoft.com/office/drawing/2014/main" id="{74DEED34-B8DE-2DA3-649F-9B92E36F784C}"/>
                </a:ext>
              </a:extLst>
            </p:cNvPr>
            <p:cNvSpPr/>
            <p:nvPr/>
          </p:nvSpPr>
          <p:spPr>
            <a:xfrm>
              <a:off x="7239000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5" name="Полилиния 1094">
              <a:extLst>
                <a:ext uri="{FF2B5EF4-FFF2-40B4-BE49-F238E27FC236}">
                  <a16:creationId xmlns:a16="http://schemas.microsoft.com/office/drawing/2014/main" id="{1F2C532E-5BE1-17C7-89CB-5068164E8C17}"/>
                </a:ext>
              </a:extLst>
            </p:cNvPr>
            <p:cNvSpPr/>
            <p:nvPr/>
          </p:nvSpPr>
          <p:spPr>
            <a:xfrm>
              <a:off x="7446818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6" name="Полилиния 1095">
              <a:extLst>
                <a:ext uri="{FF2B5EF4-FFF2-40B4-BE49-F238E27FC236}">
                  <a16:creationId xmlns:a16="http://schemas.microsoft.com/office/drawing/2014/main" id="{E0979246-8BBC-388A-9FD2-C972D8DD81BD}"/>
                </a:ext>
              </a:extLst>
            </p:cNvPr>
            <p:cNvSpPr/>
            <p:nvPr/>
          </p:nvSpPr>
          <p:spPr>
            <a:xfrm>
              <a:off x="7654636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7" name="Полилиния 1096">
              <a:extLst>
                <a:ext uri="{FF2B5EF4-FFF2-40B4-BE49-F238E27FC236}">
                  <a16:creationId xmlns:a16="http://schemas.microsoft.com/office/drawing/2014/main" id="{5AB14C78-FB3C-78A3-234F-6F3EE2A902FC}"/>
                </a:ext>
              </a:extLst>
            </p:cNvPr>
            <p:cNvSpPr/>
            <p:nvPr/>
          </p:nvSpPr>
          <p:spPr>
            <a:xfrm rot="5400000">
              <a:off x="7862454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8" name="Полилиния 1097">
              <a:extLst>
                <a:ext uri="{FF2B5EF4-FFF2-40B4-BE49-F238E27FC236}">
                  <a16:creationId xmlns:a16="http://schemas.microsoft.com/office/drawing/2014/main" id="{F0BB188C-C9C7-42F1-CA7F-52B5D96CA0A3}"/>
                </a:ext>
              </a:extLst>
            </p:cNvPr>
            <p:cNvSpPr/>
            <p:nvPr/>
          </p:nvSpPr>
          <p:spPr>
            <a:xfrm>
              <a:off x="8278090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9" name="Полилиния 1098">
              <a:extLst>
                <a:ext uri="{FF2B5EF4-FFF2-40B4-BE49-F238E27FC236}">
                  <a16:creationId xmlns:a16="http://schemas.microsoft.com/office/drawing/2014/main" id="{14540969-8D8B-C801-188D-B64A8B80465A}"/>
                </a:ext>
              </a:extLst>
            </p:cNvPr>
            <p:cNvSpPr/>
            <p:nvPr/>
          </p:nvSpPr>
          <p:spPr>
            <a:xfrm>
              <a:off x="8693727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0" name="Полилиния 1099">
              <a:extLst>
                <a:ext uri="{FF2B5EF4-FFF2-40B4-BE49-F238E27FC236}">
                  <a16:creationId xmlns:a16="http://schemas.microsoft.com/office/drawing/2014/main" id="{45735341-B05B-5A6B-34B2-40740417499D}"/>
                </a:ext>
              </a:extLst>
            </p:cNvPr>
            <p:cNvSpPr/>
            <p:nvPr/>
          </p:nvSpPr>
          <p:spPr>
            <a:xfrm rot="5400000">
              <a:off x="8901545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1" name="Полилиния 1100">
              <a:extLst>
                <a:ext uri="{FF2B5EF4-FFF2-40B4-BE49-F238E27FC236}">
                  <a16:creationId xmlns:a16="http://schemas.microsoft.com/office/drawing/2014/main" id="{03686608-89C7-3CFE-CD73-002620BE7B17}"/>
                </a:ext>
              </a:extLst>
            </p:cNvPr>
            <p:cNvSpPr/>
            <p:nvPr/>
          </p:nvSpPr>
          <p:spPr>
            <a:xfrm>
              <a:off x="4953000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2" name="Полилиния 1101">
              <a:extLst>
                <a:ext uri="{FF2B5EF4-FFF2-40B4-BE49-F238E27FC236}">
                  <a16:creationId xmlns:a16="http://schemas.microsoft.com/office/drawing/2014/main" id="{1EB607EE-4411-FDF1-CD81-C462665A8E63}"/>
                </a:ext>
              </a:extLst>
            </p:cNvPr>
            <p:cNvSpPr/>
            <p:nvPr/>
          </p:nvSpPr>
          <p:spPr>
            <a:xfrm rot="5400000">
              <a:off x="5160818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3" name="Полилиния 1102">
              <a:extLst>
                <a:ext uri="{FF2B5EF4-FFF2-40B4-BE49-F238E27FC236}">
                  <a16:creationId xmlns:a16="http://schemas.microsoft.com/office/drawing/2014/main" id="{F1E80E1B-0642-9F87-DB99-897DD055CC1D}"/>
                </a:ext>
              </a:extLst>
            </p:cNvPr>
            <p:cNvSpPr/>
            <p:nvPr/>
          </p:nvSpPr>
          <p:spPr>
            <a:xfrm>
              <a:off x="6407727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4" name="Полилиния 1103">
              <a:extLst>
                <a:ext uri="{FF2B5EF4-FFF2-40B4-BE49-F238E27FC236}">
                  <a16:creationId xmlns:a16="http://schemas.microsoft.com/office/drawing/2014/main" id="{E6AF6916-C701-0070-220C-0CBA66C8D068}"/>
                </a:ext>
              </a:extLst>
            </p:cNvPr>
            <p:cNvSpPr/>
            <p:nvPr/>
          </p:nvSpPr>
          <p:spPr>
            <a:xfrm rot="5400000">
              <a:off x="6615545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5" name="Полилиния 1104">
              <a:extLst>
                <a:ext uri="{FF2B5EF4-FFF2-40B4-BE49-F238E27FC236}">
                  <a16:creationId xmlns:a16="http://schemas.microsoft.com/office/drawing/2014/main" id="{899FACA3-053B-9C5D-4072-98D482FAA053}"/>
                </a:ext>
              </a:extLst>
            </p:cNvPr>
            <p:cNvSpPr/>
            <p:nvPr/>
          </p:nvSpPr>
          <p:spPr>
            <a:xfrm rot="5400000">
              <a:off x="7239000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6" name="Полилиния 1105">
              <a:extLst>
                <a:ext uri="{FF2B5EF4-FFF2-40B4-BE49-F238E27FC236}">
                  <a16:creationId xmlns:a16="http://schemas.microsoft.com/office/drawing/2014/main" id="{0B3D0FA2-BB52-2C0D-122B-05D76A62C716}"/>
                </a:ext>
              </a:extLst>
            </p:cNvPr>
            <p:cNvSpPr/>
            <p:nvPr/>
          </p:nvSpPr>
          <p:spPr>
            <a:xfrm rot="5400000">
              <a:off x="7654636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7" name="Полилиния 1106">
              <a:extLst>
                <a:ext uri="{FF2B5EF4-FFF2-40B4-BE49-F238E27FC236}">
                  <a16:creationId xmlns:a16="http://schemas.microsoft.com/office/drawing/2014/main" id="{27A0A0CA-7AA4-128D-35AE-B55BCD2715B9}"/>
                </a:ext>
              </a:extLst>
            </p:cNvPr>
            <p:cNvSpPr/>
            <p:nvPr/>
          </p:nvSpPr>
          <p:spPr>
            <a:xfrm rot="-5400000">
              <a:off x="8070272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8" name="Полилиния 1107">
              <a:extLst>
                <a:ext uri="{FF2B5EF4-FFF2-40B4-BE49-F238E27FC236}">
                  <a16:creationId xmlns:a16="http://schemas.microsoft.com/office/drawing/2014/main" id="{2B3599FB-46AB-E8A3-60EB-8DCC9CD8CADC}"/>
                </a:ext>
              </a:extLst>
            </p:cNvPr>
            <p:cNvSpPr/>
            <p:nvPr/>
          </p:nvSpPr>
          <p:spPr>
            <a:xfrm rot="5400000">
              <a:off x="8278090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9" name="Полилиния 1108">
              <a:extLst>
                <a:ext uri="{FF2B5EF4-FFF2-40B4-BE49-F238E27FC236}">
                  <a16:creationId xmlns:a16="http://schemas.microsoft.com/office/drawing/2014/main" id="{62DD3F4C-D13E-C82B-B80C-FBDDB1840275}"/>
                </a:ext>
              </a:extLst>
            </p:cNvPr>
            <p:cNvSpPr/>
            <p:nvPr/>
          </p:nvSpPr>
          <p:spPr>
            <a:xfrm rot="5400000">
              <a:off x="8693727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5363194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2.59259E-6 L 0.06576 2.59259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2.59259E-6 L 0.06575 2.59259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1.11111E-6 L 0.06576 1.11111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1.11111E-6 L 0.06576 1.11111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3.7037E-7 L 0.06576 -3.7037E-7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3.7037E-7 L 0.06575 -3.7037E-7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4820C330-AFE2-A7B7-C987-08EC320A90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C0DCFD">
                  <a:alpha val="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" name="Oval 131">
            <a:extLst>
              <a:ext uri="{FF2B5EF4-FFF2-40B4-BE49-F238E27FC236}">
                <a16:creationId xmlns:a16="http://schemas.microsoft.com/office/drawing/2014/main" id="{276EEF5D-F78C-B26E-DECD-C77D3F1482D1}"/>
              </a:ext>
            </a:extLst>
          </p:cNvPr>
          <p:cNvSpPr/>
          <p:nvPr/>
        </p:nvSpPr>
        <p:spPr>
          <a:xfrm>
            <a:off x="7084494" y="-1500448"/>
            <a:ext cx="6485696" cy="6485696"/>
          </a:xfrm>
          <a:prstGeom prst="ellipse">
            <a:avLst/>
          </a:prstGeom>
          <a:gradFill flip="none" rotWithShape="1">
            <a:gsLst>
              <a:gs pos="100000">
                <a:srgbClr val="C0DCFD">
                  <a:alpha val="0"/>
                </a:srgbClr>
              </a:gs>
              <a:gs pos="0">
                <a:srgbClr val="620CFD">
                  <a:alpha val="28632"/>
                </a:srgbClr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9" name="Group 73">
            <a:extLst>
              <a:ext uri="{FF2B5EF4-FFF2-40B4-BE49-F238E27FC236}">
                <a16:creationId xmlns:a16="http://schemas.microsoft.com/office/drawing/2014/main" id="{35E67D2F-B7C3-B295-35E6-FC63796E3A00}"/>
              </a:ext>
            </a:extLst>
          </p:cNvPr>
          <p:cNvGrpSpPr/>
          <p:nvPr/>
        </p:nvGrpSpPr>
        <p:grpSpPr>
          <a:xfrm>
            <a:off x="-557464" y="3543847"/>
            <a:ext cx="13464284" cy="9792204"/>
            <a:chOff x="-2" y="0"/>
            <a:chExt cx="6428641" cy="6858000"/>
          </a:xfrm>
        </p:grpSpPr>
        <p:sp>
          <p:nvSpPr>
            <p:cNvPr id="30" name="Rectangle 36">
              <a:extLst>
                <a:ext uri="{FF2B5EF4-FFF2-40B4-BE49-F238E27FC236}">
                  <a16:creationId xmlns:a16="http://schemas.microsoft.com/office/drawing/2014/main" id="{6B639D09-947B-C295-89E5-D3A7FED4C562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C53A0486-4FEC-606C-49B2-3FDFBA486CDC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CB477ED-8E12-B1BF-B8A7-3C0791AD06EE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941091D-EDDA-A164-26A5-C572323EC7A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200F815-13CC-7E6B-07CF-6C3058F6FC6E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128BDE-2C15-EEFD-DC03-849CC99CC0F5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F04D5FF-393F-4F2F-7D30-44C7741775D5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7" name="Rectangle 37">
              <a:extLst>
                <a:ext uri="{FF2B5EF4-FFF2-40B4-BE49-F238E27FC236}">
                  <a16:creationId xmlns:a16="http://schemas.microsoft.com/office/drawing/2014/main" id="{E77182A8-0D9D-1D4B-7DE2-D3C02E6B9837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8" name="Rectangle 48">
              <a:extLst>
                <a:ext uri="{FF2B5EF4-FFF2-40B4-BE49-F238E27FC236}">
                  <a16:creationId xmlns:a16="http://schemas.microsoft.com/office/drawing/2014/main" id="{2D657C40-FF42-B366-A67D-3943F761017E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9" name="Rectangle 49">
              <a:extLst>
                <a:ext uri="{FF2B5EF4-FFF2-40B4-BE49-F238E27FC236}">
                  <a16:creationId xmlns:a16="http://schemas.microsoft.com/office/drawing/2014/main" id="{A4E5D924-F2E5-0073-3EFE-88569B3773E2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8E2067B-2AE3-38F9-43E7-4B95E4B09078}"/>
              </a:ext>
            </a:extLst>
          </p:cNvPr>
          <p:cNvGrpSpPr/>
          <p:nvPr/>
        </p:nvGrpSpPr>
        <p:grpSpPr>
          <a:xfrm flipV="1">
            <a:off x="15303401" y="8547715"/>
            <a:ext cx="1456851" cy="408879"/>
            <a:chOff x="611777" y="2405270"/>
            <a:chExt cx="4857016" cy="1363166"/>
          </a:xfrm>
        </p:grpSpPr>
        <p:sp>
          <p:nvSpPr>
            <p:cNvPr id="5" name="Скругленный прямоугольник 4">
              <a:extLst>
                <a:ext uri="{FF2B5EF4-FFF2-40B4-BE49-F238E27FC236}">
                  <a16:creationId xmlns:a16="http://schemas.microsoft.com/office/drawing/2014/main" id="{A7F4FB1F-7CB9-0392-E88E-05F8570BD35A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1C36F64-CC19-9AA3-6893-F3FE7D967910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На какие презентации делают ставку компании сегодня</a:t>
              </a: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19197928-64DB-9EA7-85E1-312760B10401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9AFEDB3-80B5-9A2A-AD4C-89FC4DCFFA98}"/>
              </a:ext>
            </a:extLst>
          </p:cNvPr>
          <p:cNvGrpSpPr/>
          <p:nvPr/>
        </p:nvGrpSpPr>
        <p:grpSpPr>
          <a:xfrm flipV="1">
            <a:off x="15667789" y="10092497"/>
            <a:ext cx="1456851" cy="408879"/>
            <a:chOff x="611777" y="2405270"/>
            <a:chExt cx="4857016" cy="1363166"/>
          </a:xfrm>
        </p:grpSpPr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04266423-83B6-B053-32BE-FA22D1949E9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92F0A0F-B8D9-CC2B-4135-042748D7E5ED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ый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и современный визуал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Разбираем терминологию</a:t>
              </a: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BF6A9C1A-6EA0-F8AC-74EC-7FD19A995EBC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5F9BCE64-2736-D050-26B1-B81E3AD61828}"/>
              </a:ext>
            </a:extLst>
          </p:cNvPr>
          <p:cNvGrpSpPr/>
          <p:nvPr/>
        </p:nvGrpSpPr>
        <p:grpSpPr>
          <a:xfrm flipV="1">
            <a:off x="15001953" y="11637279"/>
            <a:ext cx="1456851" cy="408879"/>
            <a:chOff x="611777" y="2405270"/>
            <a:chExt cx="4857016" cy="1363166"/>
          </a:xfrm>
        </p:grpSpPr>
        <p:sp>
          <p:nvSpPr>
            <p:cNvPr id="15" name="Скругленный прямоугольник 14">
              <a:extLst>
                <a:ext uri="{FF2B5EF4-FFF2-40B4-BE49-F238E27FC236}">
                  <a16:creationId xmlns:a16="http://schemas.microsoft.com/office/drawing/2014/main" id="{3BA1765F-B5D6-C20A-0972-59DF1A8D3A1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3006BE3-2E8B-0497-3D07-C701AF6EA6A1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Тренды дизайн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 ближайшее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5-летие </a:t>
              </a: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B87F739B-4D12-3F01-E7F6-8B2159450E25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AEDE9B22-2CD9-D79F-D8C3-683B6E11B10D}"/>
              </a:ext>
            </a:extLst>
          </p:cNvPr>
          <p:cNvGrpSpPr/>
          <p:nvPr/>
        </p:nvGrpSpPr>
        <p:grpSpPr>
          <a:xfrm flipV="1">
            <a:off x="20423132" y="8547715"/>
            <a:ext cx="1456851" cy="408879"/>
            <a:chOff x="611777" y="2405270"/>
            <a:chExt cx="4857016" cy="1363166"/>
          </a:xfrm>
        </p:grpSpPr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CF04D4B2-EFA1-1BE0-9334-A3C11FB0404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8DF981C-58D9-6EFC-B35D-28D92119103A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Азбу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ого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изуала</a:t>
              </a: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D9D36EAF-E32C-E2F6-ECE4-F55205B9259B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2A22449B-F3F2-9012-D8EB-6828B988225F}"/>
              </a:ext>
            </a:extLst>
          </p:cNvPr>
          <p:cNvGrpSpPr/>
          <p:nvPr/>
        </p:nvGrpSpPr>
        <p:grpSpPr>
          <a:xfrm flipV="1">
            <a:off x="20787520" y="10092497"/>
            <a:ext cx="1456851" cy="408879"/>
            <a:chOff x="611777" y="2405270"/>
            <a:chExt cx="4857016" cy="1363166"/>
          </a:xfrm>
        </p:grpSpPr>
        <p:sp>
          <p:nvSpPr>
            <p:cNvPr id="23" name="Скругленный прямоугольник 22">
              <a:extLst>
                <a:ext uri="{FF2B5EF4-FFF2-40B4-BE49-F238E27FC236}">
                  <a16:creationId xmlns:a16="http://schemas.microsoft.com/office/drawing/2014/main" id="{F19019FB-484B-063A-C0F1-75F5F3B3CFD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BBBBF49-432E-C74C-DF03-D20345CEDC74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Методи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оформления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слайдов на практике</a:t>
              </a: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D3399DB1-82A0-B6CF-384C-9EA39DF495AD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0AEB9D68-0AAB-CD6D-25A5-FC460F1FFE21}"/>
              </a:ext>
            </a:extLst>
          </p:cNvPr>
          <p:cNvGrpSpPr/>
          <p:nvPr/>
        </p:nvGrpSpPr>
        <p:grpSpPr>
          <a:xfrm flipV="1">
            <a:off x="20121684" y="11637279"/>
            <a:ext cx="1456851" cy="408879"/>
            <a:chOff x="611777" y="2405270"/>
            <a:chExt cx="4857016" cy="1363166"/>
          </a:xfrm>
        </p:grpSpPr>
        <p:sp>
          <p:nvSpPr>
            <p:cNvPr id="27" name="Скругленный прямоугольник 26">
              <a:extLst>
                <a:ext uri="{FF2B5EF4-FFF2-40B4-BE49-F238E27FC236}">
                  <a16:creationId xmlns:a16="http://schemas.microsoft.com/office/drawing/2014/main" id="{2A288FAD-4AD3-DE3D-94C2-865EDD5A7CE3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A8691D3-AEB8-607D-0A93-0F3654F79B76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резентации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+ </a:t>
              </a:r>
              <a:r>
                <a:rPr lang="ru-RU" sz="2000" dirty="0" err="1">
                  <a:latin typeface="Unbounded" panose="020B0305040102020103" pitchFamily="34" charset="0"/>
                  <a:cs typeface="Times New Roman" panose="02020603050405020304" pitchFamily="18" charset="0"/>
                </a:rPr>
                <a:t>ТенЧат</a:t>
              </a: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= результат</a:t>
              </a:r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9C58F58E-156F-0E6B-4B76-D9E0FBDED56F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1" name="Скругленный прямоугольник 40">
            <a:extLst>
              <a:ext uri="{FF2B5EF4-FFF2-40B4-BE49-F238E27FC236}">
                <a16:creationId xmlns:a16="http://schemas.microsoft.com/office/drawing/2014/main" id="{B2D5F329-37AC-F436-20FB-AD090F27DC43}"/>
              </a:ext>
            </a:extLst>
          </p:cNvPr>
          <p:cNvSpPr/>
          <p:nvPr/>
        </p:nvSpPr>
        <p:spPr>
          <a:xfrm>
            <a:off x="4331457" y="7486218"/>
            <a:ext cx="52098" cy="2475022"/>
          </a:xfrm>
          <a:prstGeom prst="roundRect">
            <a:avLst/>
          </a:prstGeom>
          <a:gradFill>
            <a:gsLst>
              <a:gs pos="100000">
                <a:srgbClr val="C0DCFD">
                  <a:alpha val="4267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0B03D86C-0C8C-7285-0A3C-A4E4022B6418}"/>
              </a:ext>
            </a:extLst>
          </p:cNvPr>
          <p:cNvSpPr/>
          <p:nvPr/>
        </p:nvSpPr>
        <p:spPr>
          <a:xfrm>
            <a:off x="612041" y="1307566"/>
            <a:ext cx="3539147" cy="5217059"/>
          </a:xfrm>
          <a:prstGeom prst="roundRect">
            <a:avLst>
              <a:gd name="adj" fmla="val 10818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6FF4A3-D37D-9E42-6CD4-E7F96A3F3ADB}"/>
              </a:ext>
            </a:extLst>
          </p:cNvPr>
          <p:cNvSpPr txBox="1"/>
          <p:nvPr/>
        </p:nvSpPr>
        <p:spPr>
          <a:xfrm>
            <a:off x="630518" y="751532"/>
            <a:ext cx="3412348" cy="483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1</a:t>
            </a:r>
            <a:endParaRPr lang="ru-RU" sz="2000" b="1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2FADAEE-DBC1-0E32-C25A-F2B902A696D7}"/>
              </a:ext>
            </a:extLst>
          </p:cNvPr>
          <p:cNvSpPr txBox="1"/>
          <p:nvPr/>
        </p:nvSpPr>
        <p:spPr>
          <a:xfrm>
            <a:off x="894075" y="1581949"/>
            <a:ext cx="3297640" cy="1396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оверенные структуры бизнес-презентаций 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од разные задачи</a:t>
            </a:r>
          </a:p>
        </p:txBody>
      </p:sp>
      <p:sp>
        <p:nvSpPr>
          <p:cNvPr id="47" name="Rectangle: Rounded Corners 70">
            <a:extLst>
              <a:ext uri="{FF2B5EF4-FFF2-40B4-BE49-F238E27FC236}">
                <a16:creationId xmlns:a16="http://schemas.microsoft.com/office/drawing/2014/main" id="{B757CB36-0058-A064-BCF0-2CFE89591F63}"/>
              </a:ext>
            </a:extLst>
          </p:cNvPr>
          <p:cNvSpPr/>
          <p:nvPr/>
        </p:nvSpPr>
        <p:spPr>
          <a:xfrm rot="10800000">
            <a:off x="965960" y="3243232"/>
            <a:ext cx="2752824" cy="3050061"/>
          </a:xfrm>
          <a:prstGeom prst="roundRect">
            <a:avLst>
              <a:gd name="adj" fmla="val 13536"/>
            </a:avLst>
          </a:prstGeom>
          <a:solidFill>
            <a:schemeClr val="bg1">
              <a:alpha val="10036"/>
            </a:schemeClr>
          </a:solidFill>
          <a:ln w="15875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AA1DE7CE-024A-A818-C56B-9FF6157E666B}"/>
              </a:ext>
            </a:extLst>
          </p:cNvPr>
          <p:cNvSpPr/>
          <p:nvPr/>
        </p:nvSpPr>
        <p:spPr>
          <a:xfrm>
            <a:off x="818980" y="3233093"/>
            <a:ext cx="3105632" cy="57135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Unbounded" panose="020B0305040102020103" pitchFamily="34" charset="0"/>
              </a:rPr>
              <a:t>antonovlad.com</a:t>
            </a:r>
            <a:r>
              <a:rPr lang="e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" panose="020B0305040102020103" pitchFamily="34" charset="0"/>
              </a:rPr>
              <a:t>/blog</a:t>
            </a:r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latin typeface="Unbounded" panose="020B0305040102020103" pitchFamily="34" charset="0"/>
            </a:endParaRPr>
          </a:p>
        </p:txBody>
      </p:sp>
      <p:sp>
        <p:nvSpPr>
          <p:cNvPr id="527" name="TextBox 526">
            <a:extLst>
              <a:ext uri="{FF2B5EF4-FFF2-40B4-BE49-F238E27FC236}">
                <a16:creationId xmlns:a16="http://schemas.microsoft.com/office/drawing/2014/main" id="{E94AD262-BE57-5998-314B-D43AE7976321}"/>
              </a:ext>
            </a:extLst>
          </p:cNvPr>
          <p:cNvSpPr txBox="1"/>
          <p:nvPr/>
        </p:nvSpPr>
        <p:spPr>
          <a:xfrm>
            <a:off x="8324006" y="751532"/>
            <a:ext cx="3412348" cy="483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ЕКРЕТ</a:t>
            </a:r>
            <a:endParaRPr lang="ru-RU" sz="2000" b="1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E2BB15DE-E2D4-2561-E3F7-8B367DD8C95A}"/>
              </a:ext>
            </a:extLst>
          </p:cNvPr>
          <p:cNvSpPr/>
          <p:nvPr/>
        </p:nvSpPr>
        <p:spPr>
          <a:xfrm>
            <a:off x="8293524" y="1292126"/>
            <a:ext cx="3539147" cy="5217059"/>
          </a:xfrm>
          <a:prstGeom prst="roundRect">
            <a:avLst>
              <a:gd name="adj" fmla="val 10818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7A5DD236-6BBA-DA1D-2D29-B74A0F0802DC}"/>
              </a:ext>
            </a:extLst>
          </p:cNvPr>
          <p:cNvGrpSpPr/>
          <p:nvPr/>
        </p:nvGrpSpPr>
        <p:grpSpPr>
          <a:xfrm>
            <a:off x="4462156" y="751532"/>
            <a:ext cx="3579674" cy="5773093"/>
            <a:chOff x="4462156" y="751532"/>
            <a:chExt cx="3579674" cy="5773093"/>
          </a:xfrm>
        </p:grpSpPr>
        <p:sp>
          <p:nvSpPr>
            <p:cNvPr id="43" name="Скругленный прямоугольник 42">
              <a:extLst>
                <a:ext uri="{FF2B5EF4-FFF2-40B4-BE49-F238E27FC236}">
                  <a16:creationId xmlns:a16="http://schemas.microsoft.com/office/drawing/2014/main" id="{23AF5462-4393-580B-AF82-9D387BC77140}"/>
                </a:ext>
              </a:extLst>
            </p:cNvPr>
            <p:cNvSpPr/>
            <p:nvPr/>
          </p:nvSpPr>
          <p:spPr>
            <a:xfrm>
              <a:off x="4462156" y="1307566"/>
              <a:ext cx="3539147" cy="5217059"/>
            </a:xfrm>
            <a:prstGeom prst="roundRect">
              <a:avLst>
                <a:gd name="adj" fmla="val 10818"/>
              </a:avLst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FD28223-618F-0293-B82B-E6AC455FC384}"/>
                </a:ext>
              </a:extLst>
            </p:cNvPr>
            <p:cNvSpPr txBox="1"/>
            <p:nvPr/>
          </p:nvSpPr>
          <p:spPr>
            <a:xfrm>
              <a:off x="4480633" y="751532"/>
              <a:ext cx="3412348" cy="4838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ru-RU" sz="2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БОНУС </a:t>
              </a:r>
              <a:r>
                <a:rPr lang="en-US" sz="2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#2</a:t>
              </a:r>
              <a:endPara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25" name="TextBox 524">
              <a:extLst>
                <a:ext uri="{FF2B5EF4-FFF2-40B4-BE49-F238E27FC236}">
                  <a16:creationId xmlns:a16="http://schemas.microsoft.com/office/drawing/2014/main" id="{57A48E63-0815-E583-E306-7CD135CC61BA}"/>
                </a:ext>
              </a:extLst>
            </p:cNvPr>
            <p:cNvSpPr txBox="1"/>
            <p:nvPr/>
          </p:nvSpPr>
          <p:spPr>
            <a:xfrm>
              <a:off x="4744190" y="1581949"/>
              <a:ext cx="3297640" cy="1396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dirty="0">
                  <a:solidFill>
                    <a:schemeClr val="bg1"/>
                  </a:solidFill>
                  <a:latin typeface="Unbounded" panose="020B0305040102020103" pitchFamily="34" charset="0"/>
                  <a:cs typeface="Times New Roman" panose="02020603050405020304" pitchFamily="18" charset="0"/>
                </a:rPr>
                <a:t>Как эффективно</a:t>
              </a:r>
              <a:br>
                <a:rPr lang="ru-RU" dirty="0">
                  <a:solidFill>
                    <a:schemeClr val="bg1"/>
                  </a:solidFill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dirty="0">
                  <a:solidFill>
                    <a:schemeClr val="bg1"/>
                  </a:solidFill>
                  <a:latin typeface="Unbounded" panose="020B0305040102020103" pitchFamily="34" charset="0"/>
                  <a:cs typeface="Times New Roman" panose="02020603050405020304" pitchFamily="18" charset="0"/>
                </a:rPr>
                <a:t>применять презентации</a:t>
              </a:r>
              <a:br>
                <a:rPr lang="ru-RU" dirty="0">
                  <a:solidFill>
                    <a:schemeClr val="bg1"/>
                  </a:solidFill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dirty="0">
                  <a:solidFill>
                    <a:schemeClr val="bg1"/>
                  </a:solidFill>
                  <a:latin typeface="Unbounded" panose="020B0305040102020103" pitchFamily="34" charset="0"/>
                  <a:cs typeface="Times New Roman" panose="02020603050405020304" pitchFamily="18" charset="0"/>
                </a:rPr>
                <a:t>компании сегодня</a:t>
              </a:r>
            </a:p>
          </p:txBody>
        </p:sp>
        <p:grpSp>
          <p:nvGrpSpPr>
            <p:cNvPr id="528" name="Группа 527">
              <a:extLst>
                <a:ext uri="{FF2B5EF4-FFF2-40B4-BE49-F238E27FC236}">
                  <a16:creationId xmlns:a16="http://schemas.microsoft.com/office/drawing/2014/main" id="{F7D6AA21-21ED-53E6-BA50-1F7F703BE28A}"/>
                </a:ext>
              </a:extLst>
            </p:cNvPr>
            <p:cNvGrpSpPr/>
            <p:nvPr/>
          </p:nvGrpSpPr>
          <p:grpSpPr>
            <a:xfrm>
              <a:off x="4669095" y="3233093"/>
              <a:ext cx="3105632" cy="3060200"/>
              <a:chOff x="1100253" y="3123154"/>
              <a:chExt cx="3105632" cy="3060200"/>
            </a:xfrm>
          </p:grpSpPr>
          <p:sp>
            <p:nvSpPr>
              <p:cNvPr id="529" name="Rectangle: Rounded Corners 70">
                <a:extLst>
                  <a:ext uri="{FF2B5EF4-FFF2-40B4-BE49-F238E27FC236}">
                    <a16:creationId xmlns:a16="http://schemas.microsoft.com/office/drawing/2014/main" id="{70572287-E5D5-985D-8219-59B9F50BFB33}"/>
                  </a:ext>
                </a:extLst>
              </p:cNvPr>
              <p:cNvSpPr/>
              <p:nvPr/>
            </p:nvSpPr>
            <p:spPr>
              <a:xfrm rot="10800000">
                <a:off x="1247233" y="3133293"/>
                <a:ext cx="2752824" cy="3050061"/>
              </a:xfrm>
              <a:prstGeom prst="roundRect">
                <a:avLst>
                  <a:gd name="adj" fmla="val 13536"/>
                </a:avLst>
              </a:prstGeom>
              <a:solidFill>
                <a:schemeClr val="bg1">
                  <a:alpha val="10036"/>
                </a:schemeClr>
              </a:solidFill>
              <a:ln w="15875">
                <a:solidFill>
                  <a:schemeClr val="bg1"/>
                </a:solidFill>
                <a:round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rgbClr val="435368"/>
                  </a:solidFill>
                </a:endParaRPr>
              </a:p>
            </p:txBody>
          </p:sp>
          <p:sp>
            <p:nvSpPr>
              <p:cNvPr id="530" name="Скругленный прямоугольник 529">
                <a:extLst>
                  <a:ext uri="{FF2B5EF4-FFF2-40B4-BE49-F238E27FC236}">
                    <a16:creationId xmlns:a16="http://schemas.microsoft.com/office/drawing/2014/main" id="{1D2E158B-969B-8BD3-7103-7012E250055B}"/>
                  </a:ext>
                </a:extLst>
              </p:cNvPr>
              <p:cNvSpPr/>
              <p:nvPr/>
            </p:nvSpPr>
            <p:spPr>
              <a:xfrm>
                <a:off x="1100253" y="3123154"/>
                <a:ext cx="3105632" cy="571358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Unbounded" panose="020B0305040102020103" pitchFamily="34" charset="0"/>
                  </a:rPr>
                  <a:t>https://</a:t>
                </a:r>
                <a:r>
                  <a:rPr lang="en" sz="1600" dirty="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Unbounded" panose="020B0305040102020103" pitchFamily="34" charset="0"/>
                  </a:rPr>
                  <a:t>goo.su</a:t>
                </a:r>
                <a:r>
                  <a:rPr lang="en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Unbounded" panose="020B0305040102020103" pitchFamily="34" charset="0"/>
                  </a:rPr>
                  <a:t>/bon_1</a:t>
                </a:r>
                <a:endPara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" panose="020B0305040102020103" pitchFamily="34" charset="0"/>
                </a:endParaRPr>
              </a:p>
            </p:txBody>
          </p:sp>
          <p:grpSp>
            <p:nvGrpSpPr>
              <p:cNvPr id="531" name="Рисунок 167">
                <a:extLst>
                  <a:ext uri="{FF2B5EF4-FFF2-40B4-BE49-F238E27FC236}">
                    <a16:creationId xmlns:a16="http://schemas.microsoft.com/office/drawing/2014/main" id="{29C969BD-1E9A-63CF-C0D0-F034B339063C}"/>
                  </a:ext>
                </a:extLst>
              </p:cNvPr>
              <p:cNvGrpSpPr/>
              <p:nvPr/>
            </p:nvGrpSpPr>
            <p:grpSpPr>
              <a:xfrm>
                <a:off x="1644213" y="4007606"/>
                <a:ext cx="1883766" cy="1883766"/>
                <a:chOff x="1252377" y="3901076"/>
                <a:chExt cx="2279357" cy="2279357"/>
              </a:xfrm>
              <a:solidFill>
                <a:schemeClr val="bg1"/>
              </a:solidFill>
            </p:grpSpPr>
            <p:sp>
              <p:nvSpPr>
                <p:cNvPr id="532" name="Полилиния 531">
                  <a:extLst>
                    <a:ext uri="{FF2B5EF4-FFF2-40B4-BE49-F238E27FC236}">
                      <a16:creationId xmlns:a16="http://schemas.microsoft.com/office/drawing/2014/main" id="{86878A70-E046-7E8D-657C-5B115C9BDDFF}"/>
                    </a:ext>
                  </a:extLst>
                </p:cNvPr>
                <p:cNvSpPr/>
                <p:nvPr/>
              </p:nvSpPr>
              <p:spPr>
                <a:xfrm rot="-5400000">
                  <a:off x="1434726" y="5724562"/>
                  <a:ext cx="273522" cy="273522"/>
                </a:xfrm>
                <a:custGeom>
                  <a:avLst/>
                  <a:gdLst>
                    <a:gd name="connsiteX0" fmla="*/ 273523 w 273522"/>
                    <a:gd name="connsiteY0" fmla="*/ 136761 h 273522"/>
                    <a:gd name="connsiteX1" fmla="*/ 136761 w 273522"/>
                    <a:gd name="connsiteY1" fmla="*/ 273523 h 273522"/>
                    <a:gd name="connsiteX2" fmla="*/ 0 w 273522"/>
                    <a:gd name="connsiteY2" fmla="*/ 136761 h 273522"/>
                    <a:gd name="connsiteX3" fmla="*/ 136761 w 273522"/>
                    <a:gd name="connsiteY3" fmla="*/ 0 h 273522"/>
                    <a:gd name="connsiteX4" fmla="*/ 273523 w 273522"/>
                    <a:gd name="connsiteY4" fmla="*/ 136761 h 273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3522" h="273522">
                      <a:moveTo>
                        <a:pt x="273523" y="136761"/>
                      </a:moveTo>
                      <a:cubicBezTo>
                        <a:pt x="273523" y="212293"/>
                        <a:pt x="212293" y="273523"/>
                        <a:pt x="136761" y="273523"/>
                      </a:cubicBezTo>
                      <a:cubicBezTo>
                        <a:pt x="61230" y="273523"/>
                        <a:pt x="0" y="212293"/>
                        <a:pt x="0" y="136761"/>
                      </a:cubicBezTo>
                      <a:cubicBezTo>
                        <a:pt x="0" y="61230"/>
                        <a:pt x="61230" y="0"/>
                        <a:pt x="136761" y="0"/>
                      </a:cubicBezTo>
                      <a:cubicBezTo>
                        <a:pt x="212293" y="0"/>
                        <a:pt x="273523" y="61230"/>
                        <a:pt x="273523" y="136761"/>
                      </a:cubicBez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33" name="Полилиния 532">
                  <a:extLst>
                    <a:ext uri="{FF2B5EF4-FFF2-40B4-BE49-F238E27FC236}">
                      <a16:creationId xmlns:a16="http://schemas.microsoft.com/office/drawing/2014/main" id="{23628D8D-C1A1-631C-5836-723E8A7A4857}"/>
                    </a:ext>
                  </a:extLst>
                </p:cNvPr>
                <p:cNvSpPr/>
                <p:nvPr/>
              </p:nvSpPr>
              <p:spPr>
                <a:xfrm rot="-5400000">
                  <a:off x="1252377" y="5542214"/>
                  <a:ext cx="638220" cy="638220"/>
                </a:xfrm>
                <a:custGeom>
                  <a:avLst/>
                  <a:gdLst>
                    <a:gd name="connsiteX0" fmla="*/ 0 w 638220"/>
                    <a:gd name="connsiteY0" fmla="*/ 227936 h 638220"/>
                    <a:gd name="connsiteX1" fmla="*/ 0 w 638220"/>
                    <a:gd name="connsiteY1" fmla="*/ 410284 h 638220"/>
                    <a:gd name="connsiteX2" fmla="*/ 227936 w 638220"/>
                    <a:gd name="connsiteY2" fmla="*/ 638220 h 638220"/>
                    <a:gd name="connsiteX3" fmla="*/ 410284 w 638220"/>
                    <a:gd name="connsiteY3" fmla="*/ 638220 h 638220"/>
                    <a:gd name="connsiteX4" fmla="*/ 638220 w 638220"/>
                    <a:gd name="connsiteY4" fmla="*/ 410284 h 638220"/>
                    <a:gd name="connsiteX5" fmla="*/ 638220 w 638220"/>
                    <a:gd name="connsiteY5" fmla="*/ 227936 h 638220"/>
                    <a:gd name="connsiteX6" fmla="*/ 410284 w 638220"/>
                    <a:gd name="connsiteY6" fmla="*/ 0 h 638220"/>
                    <a:gd name="connsiteX7" fmla="*/ 227936 w 638220"/>
                    <a:gd name="connsiteY7" fmla="*/ 0 h 638220"/>
                    <a:gd name="connsiteX8" fmla="*/ 0 w 638220"/>
                    <a:gd name="connsiteY8" fmla="*/ 227936 h 638220"/>
                    <a:gd name="connsiteX9" fmla="*/ 227936 w 638220"/>
                    <a:gd name="connsiteY9" fmla="*/ 91174 h 638220"/>
                    <a:gd name="connsiteX10" fmla="*/ 410284 w 638220"/>
                    <a:gd name="connsiteY10" fmla="*/ 91174 h 638220"/>
                    <a:gd name="connsiteX11" fmla="*/ 547046 w 638220"/>
                    <a:gd name="connsiteY11" fmla="*/ 227936 h 638220"/>
                    <a:gd name="connsiteX12" fmla="*/ 547046 w 638220"/>
                    <a:gd name="connsiteY12" fmla="*/ 410284 h 638220"/>
                    <a:gd name="connsiteX13" fmla="*/ 410284 w 638220"/>
                    <a:gd name="connsiteY13" fmla="*/ 547046 h 638220"/>
                    <a:gd name="connsiteX14" fmla="*/ 227936 w 638220"/>
                    <a:gd name="connsiteY14" fmla="*/ 547046 h 638220"/>
                    <a:gd name="connsiteX15" fmla="*/ 91174 w 638220"/>
                    <a:gd name="connsiteY15" fmla="*/ 410284 h 638220"/>
                    <a:gd name="connsiteX16" fmla="*/ 91174 w 638220"/>
                    <a:gd name="connsiteY16" fmla="*/ 227936 h 638220"/>
                    <a:gd name="connsiteX17" fmla="*/ 227936 w 638220"/>
                    <a:gd name="connsiteY17" fmla="*/ 91174 h 638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638220" h="638220">
                      <a:moveTo>
                        <a:pt x="0" y="227936"/>
                      </a:moveTo>
                      <a:lnTo>
                        <a:pt x="0" y="410284"/>
                      </a:lnTo>
                      <a:cubicBezTo>
                        <a:pt x="0" y="536170"/>
                        <a:pt x="102050" y="638220"/>
                        <a:pt x="227936" y="638220"/>
                      </a:cubicBezTo>
                      <a:lnTo>
                        <a:pt x="410284" y="638220"/>
                      </a:lnTo>
                      <a:cubicBezTo>
                        <a:pt x="536170" y="638220"/>
                        <a:pt x="638220" y="536170"/>
                        <a:pt x="638220" y="410284"/>
                      </a:cubicBezTo>
                      <a:lnTo>
                        <a:pt x="638220" y="227936"/>
                      </a:lnTo>
                      <a:cubicBezTo>
                        <a:pt x="638220" y="102050"/>
                        <a:pt x="536170" y="0"/>
                        <a:pt x="410284" y="0"/>
                      </a:cubicBezTo>
                      <a:lnTo>
                        <a:pt x="227936" y="0"/>
                      </a:lnTo>
                      <a:cubicBezTo>
                        <a:pt x="102050" y="0"/>
                        <a:pt x="0" y="102050"/>
                        <a:pt x="0" y="227936"/>
                      </a:cubicBezTo>
                      <a:moveTo>
                        <a:pt x="227936" y="91174"/>
                      </a:moveTo>
                      <a:lnTo>
                        <a:pt x="410284" y="91174"/>
                      </a:lnTo>
                      <a:cubicBezTo>
                        <a:pt x="485816" y="91174"/>
                        <a:pt x="547046" y="152405"/>
                        <a:pt x="547046" y="227936"/>
                      </a:cubicBezTo>
                      <a:lnTo>
                        <a:pt x="547046" y="410284"/>
                      </a:lnTo>
                      <a:cubicBezTo>
                        <a:pt x="547046" y="485816"/>
                        <a:pt x="485816" y="547046"/>
                        <a:pt x="410284" y="547046"/>
                      </a:cubicBezTo>
                      <a:lnTo>
                        <a:pt x="227936" y="547046"/>
                      </a:lnTo>
                      <a:cubicBezTo>
                        <a:pt x="152405" y="547046"/>
                        <a:pt x="91174" y="485816"/>
                        <a:pt x="91174" y="410284"/>
                      </a:cubicBezTo>
                      <a:lnTo>
                        <a:pt x="91174" y="227936"/>
                      </a:lnTo>
                      <a:cubicBezTo>
                        <a:pt x="91174" y="152405"/>
                        <a:pt x="152405" y="91174"/>
                        <a:pt x="227936" y="91174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34" name="Полилиния 533">
                  <a:extLst>
                    <a:ext uri="{FF2B5EF4-FFF2-40B4-BE49-F238E27FC236}">
                      <a16:creationId xmlns:a16="http://schemas.microsoft.com/office/drawing/2014/main" id="{6CB63FE4-9EF8-E37A-FA0D-8072C5AAFEA8}"/>
                    </a:ext>
                  </a:extLst>
                </p:cNvPr>
                <p:cNvSpPr/>
                <p:nvPr/>
              </p:nvSpPr>
              <p:spPr>
                <a:xfrm rot="5400000">
                  <a:off x="3075863" y="4083425"/>
                  <a:ext cx="273522" cy="273522"/>
                </a:xfrm>
                <a:custGeom>
                  <a:avLst/>
                  <a:gdLst>
                    <a:gd name="connsiteX0" fmla="*/ 273523 w 273522"/>
                    <a:gd name="connsiteY0" fmla="*/ 136761 h 273522"/>
                    <a:gd name="connsiteX1" fmla="*/ 136761 w 273522"/>
                    <a:gd name="connsiteY1" fmla="*/ 273523 h 273522"/>
                    <a:gd name="connsiteX2" fmla="*/ 0 w 273522"/>
                    <a:gd name="connsiteY2" fmla="*/ 136761 h 273522"/>
                    <a:gd name="connsiteX3" fmla="*/ 136761 w 273522"/>
                    <a:gd name="connsiteY3" fmla="*/ 0 h 273522"/>
                    <a:gd name="connsiteX4" fmla="*/ 273523 w 273522"/>
                    <a:gd name="connsiteY4" fmla="*/ 136761 h 273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3522" h="273522">
                      <a:moveTo>
                        <a:pt x="273523" y="136761"/>
                      </a:moveTo>
                      <a:cubicBezTo>
                        <a:pt x="273523" y="212293"/>
                        <a:pt x="212293" y="273523"/>
                        <a:pt x="136761" y="273523"/>
                      </a:cubicBezTo>
                      <a:cubicBezTo>
                        <a:pt x="61230" y="273523"/>
                        <a:pt x="0" y="212293"/>
                        <a:pt x="0" y="136761"/>
                      </a:cubicBezTo>
                      <a:cubicBezTo>
                        <a:pt x="0" y="61230"/>
                        <a:pt x="61230" y="0"/>
                        <a:pt x="136761" y="0"/>
                      </a:cubicBezTo>
                      <a:cubicBezTo>
                        <a:pt x="212293" y="0"/>
                        <a:pt x="273523" y="61230"/>
                        <a:pt x="273523" y="136761"/>
                      </a:cubicBez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35" name="Полилиния 534">
                  <a:extLst>
                    <a:ext uri="{FF2B5EF4-FFF2-40B4-BE49-F238E27FC236}">
                      <a16:creationId xmlns:a16="http://schemas.microsoft.com/office/drawing/2014/main" id="{581A6E66-2779-B117-1F4A-CD19B0B17DC8}"/>
                    </a:ext>
                  </a:extLst>
                </p:cNvPr>
                <p:cNvSpPr/>
                <p:nvPr/>
              </p:nvSpPr>
              <p:spPr>
                <a:xfrm rot="5400000">
                  <a:off x="2893515" y="3901076"/>
                  <a:ext cx="638220" cy="638220"/>
                </a:xfrm>
                <a:custGeom>
                  <a:avLst/>
                  <a:gdLst>
                    <a:gd name="connsiteX0" fmla="*/ 0 w 638220"/>
                    <a:gd name="connsiteY0" fmla="*/ 227936 h 638220"/>
                    <a:gd name="connsiteX1" fmla="*/ 0 w 638220"/>
                    <a:gd name="connsiteY1" fmla="*/ 410284 h 638220"/>
                    <a:gd name="connsiteX2" fmla="*/ 227936 w 638220"/>
                    <a:gd name="connsiteY2" fmla="*/ 638220 h 638220"/>
                    <a:gd name="connsiteX3" fmla="*/ 410284 w 638220"/>
                    <a:gd name="connsiteY3" fmla="*/ 638220 h 638220"/>
                    <a:gd name="connsiteX4" fmla="*/ 638220 w 638220"/>
                    <a:gd name="connsiteY4" fmla="*/ 410284 h 638220"/>
                    <a:gd name="connsiteX5" fmla="*/ 638220 w 638220"/>
                    <a:gd name="connsiteY5" fmla="*/ 227936 h 638220"/>
                    <a:gd name="connsiteX6" fmla="*/ 410284 w 638220"/>
                    <a:gd name="connsiteY6" fmla="*/ 0 h 638220"/>
                    <a:gd name="connsiteX7" fmla="*/ 227936 w 638220"/>
                    <a:gd name="connsiteY7" fmla="*/ 0 h 638220"/>
                    <a:gd name="connsiteX8" fmla="*/ 0 w 638220"/>
                    <a:gd name="connsiteY8" fmla="*/ 227936 h 638220"/>
                    <a:gd name="connsiteX9" fmla="*/ 227936 w 638220"/>
                    <a:gd name="connsiteY9" fmla="*/ 91174 h 638220"/>
                    <a:gd name="connsiteX10" fmla="*/ 410284 w 638220"/>
                    <a:gd name="connsiteY10" fmla="*/ 91174 h 638220"/>
                    <a:gd name="connsiteX11" fmla="*/ 547046 w 638220"/>
                    <a:gd name="connsiteY11" fmla="*/ 227936 h 638220"/>
                    <a:gd name="connsiteX12" fmla="*/ 547046 w 638220"/>
                    <a:gd name="connsiteY12" fmla="*/ 410284 h 638220"/>
                    <a:gd name="connsiteX13" fmla="*/ 410284 w 638220"/>
                    <a:gd name="connsiteY13" fmla="*/ 547046 h 638220"/>
                    <a:gd name="connsiteX14" fmla="*/ 227936 w 638220"/>
                    <a:gd name="connsiteY14" fmla="*/ 547046 h 638220"/>
                    <a:gd name="connsiteX15" fmla="*/ 91174 w 638220"/>
                    <a:gd name="connsiteY15" fmla="*/ 410284 h 638220"/>
                    <a:gd name="connsiteX16" fmla="*/ 91174 w 638220"/>
                    <a:gd name="connsiteY16" fmla="*/ 227936 h 638220"/>
                    <a:gd name="connsiteX17" fmla="*/ 227936 w 638220"/>
                    <a:gd name="connsiteY17" fmla="*/ 91174 h 638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638220" h="638220">
                      <a:moveTo>
                        <a:pt x="0" y="227936"/>
                      </a:moveTo>
                      <a:lnTo>
                        <a:pt x="0" y="410284"/>
                      </a:lnTo>
                      <a:cubicBezTo>
                        <a:pt x="0" y="536170"/>
                        <a:pt x="102050" y="638220"/>
                        <a:pt x="227936" y="638220"/>
                      </a:cubicBezTo>
                      <a:lnTo>
                        <a:pt x="410284" y="638220"/>
                      </a:lnTo>
                      <a:cubicBezTo>
                        <a:pt x="536170" y="638220"/>
                        <a:pt x="638220" y="536170"/>
                        <a:pt x="638220" y="410284"/>
                      </a:cubicBezTo>
                      <a:lnTo>
                        <a:pt x="638220" y="227936"/>
                      </a:lnTo>
                      <a:cubicBezTo>
                        <a:pt x="638220" y="102050"/>
                        <a:pt x="536170" y="0"/>
                        <a:pt x="410284" y="0"/>
                      </a:cubicBezTo>
                      <a:lnTo>
                        <a:pt x="227936" y="0"/>
                      </a:lnTo>
                      <a:cubicBezTo>
                        <a:pt x="102050" y="0"/>
                        <a:pt x="0" y="102050"/>
                        <a:pt x="0" y="227936"/>
                      </a:cubicBezTo>
                      <a:moveTo>
                        <a:pt x="227936" y="91174"/>
                      </a:moveTo>
                      <a:lnTo>
                        <a:pt x="410284" y="91174"/>
                      </a:lnTo>
                      <a:cubicBezTo>
                        <a:pt x="485816" y="91174"/>
                        <a:pt x="547046" y="152405"/>
                        <a:pt x="547046" y="227936"/>
                      </a:cubicBezTo>
                      <a:lnTo>
                        <a:pt x="547046" y="410284"/>
                      </a:lnTo>
                      <a:cubicBezTo>
                        <a:pt x="547046" y="485816"/>
                        <a:pt x="485816" y="547046"/>
                        <a:pt x="410284" y="547046"/>
                      </a:cubicBezTo>
                      <a:lnTo>
                        <a:pt x="227936" y="547046"/>
                      </a:lnTo>
                      <a:cubicBezTo>
                        <a:pt x="152405" y="547046"/>
                        <a:pt x="91174" y="485816"/>
                        <a:pt x="91174" y="410284"/>
                      </a:cubicBezTo>
                      <a:lnTo>
                        <a:pt x="91174" y="227936"/>
                      </a:lnTo>
                      <a:cubicBezTo>
                        <a:pt x="91174" y="152405"/>
                        <a:pt x="152405" y="91174"/>
                        <a:pt x="227936" y="91174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36" name="Полилиния 535">
                  <a:extLst>
                    <a:ext uri="{FF2B5EF4-FFF2-40B4-BE49-F238E27FC236}">
                      <a16:creationId xmlns:a16="http://schemas.microsoft.com/office/drawing/2014/main" id="{8493BEBD-9DB3-1266-2A23-12D0BCC49B81}"/>
                    </a:ext>
                  </a:extLst>
                </p:cNvPr>
                <p:cNvSpPr/>
                <p:nvPr/>
              </p:nvSpPr>
              <p:spPr>
                <a:xfrm>
                  <a:off x="1434726" y="4083425"/>
                  <a:ext cx="273522" cy="273522"/>
                </a:xfrm>
                <a:custGeom>
                  <a:avLst/>
                  <a:gdLst>
                    <a:gd name="connsiteX0" fmla="*/ 273523 w 273522"/>
                    <a:gd name="connsiteY0" fmla="*/ 136761 h 273522"/>
                    <a:gd name="connsiteX1" fmla="*/ 136761 w 273522"/>
                    <a:gd name="connsiteY1" fmla="*/ 273523 h 273522"/>
                    <a:gd name="connsiteX2" fmla="*/ 0 w 273522"/>
                    <a:gd name="connsiteY2" fmla="*/ 136761 h 273522"/>
                    <a:gd name="connsiteX3" fmla="*/ 136761 w 273522"/>
                    <a:gd name="connsiteY3" fmla="*/ 0 h 273522"/>
                    <a:gd name="connsiteX4" fmla="*/ 273523 w 273522"/>
                    <a:gd name="connsiteY4" fmla="*/ 136761 h 273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3522" h="273522">
                      <a:moveTo>
                        <a:pt x="273523" y="136761"/>
                      </a:moveTo>
                      <a:cubicBezTo>
                        <a:pt x="273523" y="212293"/>
                        <a:pt x="212293" y="273523"/>
                        <a:pt x="136761" y="273523"/>
                      </a:cubicBezTo>
                      <a:cubicBezTo>
                        <a:pt x="61230" y="273523"/>
                        <a:pt x="0" y="212293"/>
                        <a:pt x="0" y="136761"/>
                      </a:cubicBezTo>
                      <a:cubicBezTo>
                        <a:pt x="0" y="61230"/>
                        <a:pt x="61230" y="0"/>
                        <a:pt x="136761" y="0"/>
                      </a:cubicBezTo>
                      <a:cubicBezTo>
                        <a:pt x="212293" y="0"/>
                        <a:pt x="273523" y="61230"/>
                        <a:pt x="273523" y="136761"/>
                      </a:cubicBez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37" name="Полилиния 536">
                  <a:extLst>
                    <a:ext uri="{FF2B5EF4-FFF2-40B4-BE49-F238E27FC236}">
                      <a16:creationId xmlns:a16="http://schemas.microsoft.com/office/drawing/2014/main" id="{8BD4C8DA-3CD1-0C9C-B538-FC20834F9289}"/>
                    </a:ext>
                  </a:extLst>
                </p:cNvPr>
                <p:cNvSpPr/>
                <p:nvPr/>
              </p:nvSpPr>
              <p:spPr>
                <a:xfrm>
                  <a:off x="1252377" y="3901076"/>
                  <a:ext cx="638220" cy="638220"/>
                </a:xfrm>
                <a:custGeom>
                  <a:avLst/>
                  <a:gdLst>
                    <a:gd name="connsiteX0" fmla="*/ 0 w 638220"/>
                    <a:gd name="connsiteY0" fmla="*/ 227936 h 638220"/>
                    <a:gd name="connsiteX1" fmla="*/ 0 w 638220"/>
                    <a:gd name="connsiteY1" fmla="*/ 410284 h 638220"/>
                    <a:gd name="connsiteX2" fmla="*/ 227936 w 638220"/>
                    <a:gd name="connsiteY2" fmla="*/ 638220 h 638220"/>
                    <a:gd name="connsiteX3" fmla="*/ 410284 w 638220"/>
                    <a:gd name="connsiteY3" fmla="*/ 638220 h 638220"/>
                    <a:gd name="connsiteX4" fmla="*/ 638220 w 638220"/>
                    <a:gd name="connsiteY4" fmla="*/ 410284 h 638220"/>
                    <a:gd name="connsiteX5" fmla="*/ 638220 w 638220"/>
                    <a:gd name="connsiteY5" fmla="*/ 227936 h 638220"/>
                    <a:gd name="connsiteX6" fmla="*/ 410284 w 638220"/>
                    <a:gd name="connsiteY6" fmla="*/ 0 h 638220"/>
                    <a:gd name="connsiteX7" fmla="*/ 227936 w 638220"/>
                    <a:gd name="connsiteY7" fmla="*/ 0 h 638220"/>
                    <a:gd name="connsiteX8" fmla="*/ 0 w 638220"/>
                    <a:gd name="connsiteY8" fmla="*/ 227936 h 638220"/>
                    <a:gd name="connsiteX9" fmla="*/ 227936 w 638220"/>
                    <a:gd name="connsiteY9" fmla="*/ 91174 h 638220"/>
                    <a:gd name="connsiteX10" fmla="*/ 410284 w 638220"/>
                    <a:gd name="connsiteY10" fmla="*/ 91174 h 638220"/>
                    <a:gd name="connsiteX11" fmla="*/ 547046 w 638220"/>
                    <a:gd name="connsiteY11" fmla="*/ 227936 h 638220"/>
                    <a:gd name="connsiteX12" fmla="*/ 547046 w 638220"/>
                    <a:gd name="connsiteY12" fmla="*/ 410284 h 638220"/>
                    <a:gd name="connsiteX13" fmla="*/ 410284 w 638220"/>
                    <a:gd name="connsiteY13" fmla="*/ 547046 h 638220"/>
                    <a:gd name="connsiteX14" fmla="*/ 227936 w 638220"/>
                    <a:gd name="connsiteY14" fmla="*/ 547046 h 638220"/>
                    <a:gd name="connsiteX15" fmla="*/ 91174 w 638220"/>
                    <a:gd name="connsiteY15" fmla="*/ 410284 h 638220"/>
                    <a:gd name="connsiteX16" fmla="*/ 91174 w 638220"/>
                    <a:gd name="connsiteY16" fmla="*/ 227936 h 638220"/>
                    <a:gd name="connsiteX17" fmla="*/ 227936 w 638220"/>
                    <a:gd name="connsiteY17" fmla="*/ 91174 h 638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638220" h="638220">
                      <a:moveTo>
                        <a:pt x="0" y="227936"/>
                      </a:moveTo>
                      <a:lnTo>
                        <a:pt x="0" y="410284"/>
                      </a:lnTo>
                      <a:cubicBezTo>
                        <a:pt x="0" y="536170"/>
                        <a:pt x="102050" y="638220"/>
                        <a:pt x="227936" y="638220"/>
                      </a:cubicBezTo>
                      <a:lnTo>
                        <a:pt x="410284" y="638220"/>
                      </a:lnTo>
                      <a:cubicBezTo>
                        <a:pt x="536170" y="638220"/>
                        <a:pt x="638220" y="536170"/>
                        <a:pt x="638220" y="410284"/>
                      </a:cubicBezTo>
                      <a:lnTo>
                        <a:pt x="638220" y="227936"/>
                      </a:lnTo>
                      <a:cubicBezTo>
                        <a:pt x="638220" y="102050"/>
                        <a:pt x="536170" y="0"/>
                        <a:pt x="410284" y="0"/>
                      </a:cubicBezTo>
                      <a:lnTo>
                        <a:pt x="227936" y="0"/>
                      </a:lnTo>
                      <a:cubicBezTo>
                        <a:pt x="102050" y="0"/>
                        <a:pt x="0" y="102050"/>
                        <a:pt x="0" y="227936"/>
                      </a:cubicBezTo>
                      <a:moveTo>
                        <a:pt x="227936" y="91174"/>
                      </a:moveTo>
                      <a:lnTo>
                        <a:pt x="410284" y="91174"/>
                      </a:lnTo>
                      <a:cubicBezTo>
                        <a:pt x="485816" y="91174"/>
                        <a:pt x="547046" y="152405"/>
                        <a:pt x="547046" y="227936"/>
                      </a:cubicBezTo>
                      <a:lnTo>
                        <a:pt x="547046" y="410284"/>
                      </a:lnTo>
                      <a:cubicBezTo>
                        <a:pt x="547046" y="485816"/>
                        <a:pt x="485816" y="547046"/>
                        <a:pt x="410284" y="547046"/>
                      </a:cubicBezTo>
                      <a:lnTo>
                        <a:pt x="227936" y="547046"/>
                      </a:lnTo>
                      <a:cubicBezTo>
                        <a:pt x="152405" y="547046"/>
                        <a:pt x="91174" y="485816"/>
                        <a:pt x="91174" y="410284"/>
                      </a:cubicBezTo>
                      <a:lnTo>
                        <a:pt x="91174" y="227936"/>
                      </a:lnTo>
                      <a:cubicBezTo>
                        <a:pt x="91174" y="152405"/>
                        <a:pt x="152405" y="91174"/>
                        <a:pt x="227936" y="91174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38" name="Полилиния 537">
                  <a:extLst>
                    <a:ext uri="{FF2B5EF4-FFF2-40B4-BE49-F238E27FC236}">
                      <a16:creationId xmlns:a16="http://schemas.microsoft.com/office/drawing/2014/main" id="{C462F85D-7870-EBB5-3B3B-576DF6013C94}"/>
                    </a:ext>
                  </a:extLst>
                </p:cNvPr>
                <p:cNvSpPr/>
                <p:nvPr/>
              </p:nvSpPr>
              <p:spPr>
                <a:xfrm rot="-5400000">
                  <a:off x="2346469" y="390107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39" name="Полилиния 538">
                  <a:extLst>
                    <a:ext uri="{FF2B5EF4-FFF2-40B4-BE49-F238E27FC236}">
                      <a16:creationId xmlns:a16="http://schemas.microsoft.com/office/drawing/2014/main" id="{6916A1DE-91DD-2194-FEB7-A370B7D02E50}"/>
                    </a:ext>
                  </a:extLst>
                </p:cNvPr>
                <p:cNvSpPr/>
                <p:nvPr/>
              </p:nvSpPr>
              <p:spPr>
                <a:xfrm rot="5400000">
                  <a:off x="2528817" y="390107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40" name="Полилиния 539">
                  <a:extLst>
                    <a:ext uri="{FF2B5EF4-FFF2-40B4-BE49-F238E27FC236}">
                      <a16:creationId xmlns:a16="http://schemas.microsoft.com/office/drawing/2014/main" id="{61829902-13A0-0AC5-B784-E7C955E04684}"/>
                    </a:ext>
                  </a:extLst>
                </p:cNvPr>
                <p:cNvSpPr/>
                <p:nvPr/>
              </p:nvSpPr>
              <p:spPr>
                <a:xfrm rot="-5400000">
                  <a:off x="1981772" y="399225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41" name="Полилиния 540">
                  <a:extLst>
                    <a:ext uri="{FF2B5EF4-FFF2-40B4-BE49-F238E27FC236}">
                      <a16:creationId xmlns:a16="http://schemas.microsoft.com/office/drawing/2014/main" id="{F3670A4C-A28F-8D08-72A0-6574FEA0F63B}"/>
                    </a:ext>
                  </a:extLst>
                </p:cNvPr>
                <p:cNvSpPr/>
                <p:nvPr/>
              </p:nvSpPr>
              <p:spPr>
                <a:xfrm>
                  <a:off x="2072946" y="399225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42" name="Полилиния 541">
                  <a:extLst>
                    <a:ext uri="{FF2B5EF4-FFF2-40B4-BE49-F238E27FC236}">
                      <a16:creationId xmlns:a16="http://schemas.microsoft.com/office/drawing/2014/main" id="{93AB6487-F0F2-DB71-2B12-5361D8D73F7E}"/>
                    </a:ext>
                  </a:extLst>
                </p:cNvPr>
                <p:cNvSpPr/>
                <p:nvPr/>
              </p:nvSpPr>
              <p:spPr>
                <a:xfrm>
                  <a:off x="2164120" y="399225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43" name="Полилиния 542">
                  <a:extLst>
                    <a:ext uri="{FF2B5EF4-FFF2-40B4-BE49-F238E27FC236}">
                      <a16:creationId xmlns:a16="http://schemas.microsoft.com/office/drawing/2014/main" id="{0EBDDBD2-8B63-8671-960D-8C212DFD5B6B}"/>
                    </a:ext>
                  </a:extLst>
                </p:cNvPr>
                <p:cNvSpPr/>
                <p:nvPr/>
              </p:nvSpPr>
              <p:spPr>
                <a:xfrm rot="5400000">
                  <a:off x="2346469" y="399225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44" name="Полилиния 543">
                  <a:extLst>
                    <a:ext uri="{FF2B5EF4-FFF2-40B4-BE49-F238E27FC236}">
                      <a16:creationId xmlns:a16="http://schemas.microsoft.com/office/drawing/2014/main" id="{7C24BF08-24EC-E337-5827-A8E9594F8183}"/>
                    </a:ext>
                  </a:extLst>
                </p:cNvPr>
                <p:cNvSpPr/>
                <p:nvPr/>
              </p:nvSpPr>
              <p:spPr>
                <a:xfrm rot="5400000">
                  <a:off x="2711166" y="399225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45" name="Полилиния 544">
                  <a:extLst>
                    <a:ext uri="{FF2B5EF4-FFF2-40B4-BE49-F238E27FC236}">
                      <a16:creationId xmlns:a16="http://schemas.microsoft.com/office/drawing/2014/main" id="{448D075C-0B21-B34A-A401-D48209292EC2}"/>
                    </a:ext>
                  </a:extLst>
                </p:cNvPr>
                <p:cNvSpPr/>
                <p:nvPr/>
              </p:nvSpPr>
              <p:spPr>
                <a:xfrm>
                  <a:off x="2072946" y="408342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46" name="Полилиния 545">
                  <a:extLst>
                    <a:ext uri="{FF2B5EF4-FFF2-40B4-BE49-F238E27FC236}">
                      <a16:creationId xmlns:a16="http://schemas.microsoft.com/office/drawing/2014/main" id="{31AC5AEF-E787-3E4B-0D42-C021C3F35A2A}"/>
                    </a:ext>
                  </a:extLst>
                </p:cNvPr>
                <p:cNvSpPr/>
                <p:nvPr/>
              </p:nvSpPr>
              <p:spPr>
                <a:xfrm>
                  <a:off x="2164120" y="408342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47" name="Полилиния 546">
                  <a:extLst>
                    <a:ext uri="{FF2B5EF4-FFF2-40B4-BE49-F238E27FC236}">
                      <a16:creationId xmlns:a16="http://schemas.microsoft.com/office/drawing/2014/main" id="{F6867C03-3D05-018F-BDF1-9968EF051D40}"/>
                    </a:ext>
                  </a:extLst>
                </p:cNvPr>
                <p:cNvSpPr/>
                <p:nvPr/>
              </p:nvSpPr>
              <p:spPr>
                <a:xfrm rot="5400000">
                  <a:off x="2437643" y="408342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48" name="Полилиния 547">
                  <a:extLst>
                    <a:ext uri="{FF2B5EF4-FFF2-40B4-BE49-F238E27FC236}">
                      <a16:creationId xmlns:a16="http://schemas.microsoft.com/office/drawing/2014/main" id="{DCAA18AF-9622-A270-E31D-FDFA42D550EB}"/>
                    </a:ext>
                  </a:extLst>
                </p:cNvPr>
                <p:cNvSpPr/>
                <p:nvPr/>
              </p:nvSpPr>
              <p:spPr>
                <a:xfrm rot="-5400000">
                  <a:off x="1981772" y="417459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49" name="Полилиния 548">
                  <a:extLst>
                    <a:ext uri="{FF2B5EF4-FFF2-40B4-BE49-F238E27FC236}">
                      <a16:creationId xmlns:a16="http://schemas.microsoft.com/office/drawing/2014/main" id="{1C1528F3-24C9-E7BC-18D8-C709303A4B20}"/>
                    </a:ext>
                  </a:extLst>
                </p:cNvPr>
                <p:cNvSpPr/>
                <p:nvPr/>
              </p:nvSpPr>
              <p:spPr>
                <a:xfrm rot="5400000">
                  <a:off x="2164120" y="417459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50" name="Полилиния 549">
                  <a:extLst>
                    <a:ext uri="{FF2B5EF4-FFF2-40B4-BE49-F238E27FC236}">
                      <a16:creationId xmlns:a16="http://schemas.microsoft.com/office/drawing/2014/main" id="{E95E1220-6670-997F-12D0-07FC33D70693}"/>
                    </a:ext>
                  </a:extLst>
                </p:cNvPr>
                <p:cNvSpPr/>
                <p:nvPr/>
              </p:nvSpPr>
              <p:spPr>
                <a:xfrm rot="-5400000">
                  <a:off x="2619992" y="417459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51" name="Полилиния 550">
                  <a:extLst>
                    <a:ext uri="{FF2B5EF4-FFF2-40B4-BE49-F238E27FC236}">
                      <a16:creationId xmlns:a16="http://schemas.microsoft.com/office/drawing/2014/main" id="{E82DEAC8-5F62-77F7-E74A-CF0912F5F468}"/>
                    </a:ext>
                  </a:extLst>
                </p:cNvPr>
                <p:cNvSpPr/>
                <p:nvPr/>
              </p:nvSpPr>
              <p:spPr>
                <a:xfrm>
                  <a:off x="2711166" y="417459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52" name="Полилиния 551">
                  <a:extLst>
                    <a:ext uri="{FF2B5EF4-FFF2-40B4-BE49-F238E27FC236}">
                      <a16:creationId xmlns:a16="http://schemas.microsoft.com/office/drawing/2014/main" id="{43A14014-4979-D327-CA0A-1FBFC8CE9A46}"/>
                    </a:ext>
                  </a:extLst>
                </p:cNvPr>
                <p:cNvSpPr/>
                <p:nvPr/>
              </p:nvSpPr>
              <p:spPr>
                <a:xfrm>
                  <a:off x="1981772" y="4265773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53" name="Полилиния 552">
                  <a:extLst>
                    <a:ext uri="{FF2B5EF4-FFF2-40B4-BE49-F238E27FC236}">
                      <a16:creationId xmlns:a16="http://schemas.microsoft.com/office/drawing/2014/main" id="{B4099D71-5406-EDEF-43AD-3529CFCADB25}"/>
                    </a:ext>
                  </a:extLst>
                </p:cNvPr>
                <p:cNvSpPr/>
                <p:nvPr/>
              </p:nvSpPr>
              <p:spPr>
                <a:xfrm rot="5400000">
                  <a:off x="2072946" y="4265773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54" name="Полилиния 553">
                  <a:extLst>
                    <a:ext uri="{FF2B5EF4-FFF2-40B4-BE49-F238E27FC236}">
                      <a16:creationId xmlns:a16="http://schemas.microsoft.com/office/drawing/2014/main" id="{88E2D3A8-FA69-FD5D-309D-2A7BFFD93182}"/>
                    </a:ext>
                  </a:extLst>
                </p:cNvPr>
                <p:cNvSpPr/>
                <p:nvPr/>
              </p:nvSpPr>
              <p:spPr>
                <a:xfrm rot="-5400000">
                  <a:off x="2346469" y="4265773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55" name="Полилиния 554">
                  <a:extLst>
                    <a:ext uri="{FF2B5EF4-FFF2-40B4-BE49-F238E27FC236}">
                      <a16:creationId xmlns:a16="http://schemas.microsoft.com/office/drawing/2014/main" id="{ECE9B67F-2C92-A670-191A-5C7B4EFA8B4E}"/>
                    </a:ext>
                  </a:extLst>
                </p:cNvPr>
                <p:cNvSpPr/>
                <p:nvPr/>
              </p:nvSpPr>
              <p:spPr>
                <a:xfrm>
                  <a:off x="2437643" y="4265773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56" name="Полилиния 555">
                  <a:extLst>
                    <a:ext uri="{FF2B5EF4-FFF2-40B4-BE49-F238E27FC236}">
                      <a16:creationId xmlns:a16="http://schemas.microsoft.com/office/drawing/2014/main" id="{1B1B83E4-7A5E-F4E1-962F-408BC8C0A17C}"/>
                    </a:ext>
                  </a:extLst>
                </p:cNvPr>
                <p:cNvSpPr/>
                <p:nvPr/>
              </p:nvSpPr>
              <p:spPr>
                <a:xfrm>
                  <a:off x="2711166" y="4265773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57" name="Полилиния 556">
                  <a:extLst>
                    <a:ext uri="{FF2B5EF4-FFF2-40B4-BE49-F238E27FC236}">
                      <a16:creationId xmlns:a16="http://schemas.microsoft.com/office/drawing/2014/main" id="{AE8D0D8C-06A4-C018-77E9-13CE13E7A973}"/>
                    </a:ext>
                  </a:extLst>
                </p:cNvPr>
                <p:cNvSpPr/>
                <p:nvPr/>
              </p:nvSpPr>
              <p:spPr>
                <a:xfrm rot="-5400000">
                  <a:off x="2164120" y="435694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58" name="Полилиния 557">
                  <a:extLst>
                    <a:ext uri="{FF2B5EF4-FFF2-40B4-BE49-F238E27FC236}">
                      <a16:creationId xmlns:a16="http://schemas.microsoft.com/office/drawing/2014/main" id="{AD6AE965-1580-2526-BFD2-8F4C372FE99E}"/>
                    </a:ext>
                  </a:extLst>
                </p:cNvPr>
                <p:cNvSpPr/>
                <p:nvPr/>
              </p:nvSpPr>
              <p:spPr>
                <a:xfrm>
                  <a:off x="2346469" y="435694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59" name="Полилиния 558">
                  <a:extLst>
                    <a:ext uri="{FF2B5EF4-FFF2-40B4-BE49-F238E27FC236}">
                      <a16:creationId xmlns:a16="http://schemas.microsoft.com/office/drawing/2014/main" id="{C7775B17-FAA0-2E59-8549-9055E87B90DC}"/>
                    </a:ext>
                  </a:extLst>
                </p:cNvPr>
                <p:cNvSpPr/>
                <p:nvPr/>
              </p:nvSpPr>
              <p:spPr>
                <a:xfrm>
                  <a:off x="2437643" y="435694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60" name="Полилиния 559">
                  <a:extLst>
                    <a:ext uri="{FF2B5EF4-FFF2-40B4-BE49-F238E27FC236}">
                      <a16:creationId xmlns:a16="http://schemas.microsoft.com/office/drawing/2014/main" id="{89167D5B-3FBF-CFF8-350B-EA9ACC518A3B}"/>
                    </a:ext>
                  </a:extLst>
                </p:cNvPr>
                <p:cNvSpPr/>
                <p:nvPr/>
              </p:nvSpPr>
              <p:spPr>
                <a:xfrm>
                  <a:off x="2528817" y="435694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61" name="Полилиния 560">
                  <a:extLst>
                    <a:ext uri="{FF2B5EF4-FFF2-40B4-BE49-F238E27FC236}">
                      <a16:creationId xmlns:a16="http://schemas.microsoft.com/office/drawing/2014/main" id="{CF8DC306-3D59-A19B-108F-6A01CC6C9BC5}"/>
                    </a:ext>
                  </a:extLst>
                </p:cNvPr>
                <p:cNvSpPr/>
                <p:nvPr/>
              </p:nvSpPr>
              <p:spPr>
                <a:xfrm>
                  <a:off x="2711166" y="435694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62" name="Полилиния 561">
                  <a:extLst>
                    <a:ext uri="{FF2B5EF4-FFF2-40B4-BE49-F238E27FC236}">
                      <a16:creationId xmlns:a16="http://schemas.microsoft.com/office/drawing/2014/main" id="{EC909E0F-BAAF-FF6A-804B-CEE987D6EADF}"/>
                    </a:ext>
                  </a:extLst>
                </p:cNvPr>
                <p:cNvSpPr/>
                <p:nvPr/>
              </p:nvSpPr>
              <p:spPr>
                <a:xfrm rot="-5400000">
                  <a:off x="1981772" y="444812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63" name="Полилиния 562">
                  <a:extLst>
                    <a:ext uri="{FF2B5EF4-FFF2-40B4-BE49-F238E27FC236}">
                      <a16:creationId xmlns:a16="http://schemas.microsoft.com/office/drawing/2014/main" id="{3D82B215-B134-D096-0BEC-13AD582E8845}"/>
                    </a:ext>
                  </a:extLst>
                </p:cNvPr>
                <p:cNvSpPr/>
                <p:nvPr/>
              </p:nvSpPr>
              <p:spPr>
                <a:xfrm rot="5400000">
                  <a:off x="2164120" y="444812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64" name="Полилиния 563">
                  <a:extLst>
                    <a:ext uri="{FF2B5EF4-FFF2-40B4-BE49-F238E27FC236}">
                      <a16:creationId xmlns:a16="http://schemas.microsoft.com/office/drawing/2014/main" id="{447D75E7-0966-1B4E-88B4-BDC391EEB165}"/>
                    </a:ext>
                  </a:extLst>
                </p:cNvPr>
                <p:cNvSpPr/>
                <p:nvPr/>
              </p:nvSpPr>
              <p:spPr>
                <a:xfrm>
                  <a:off x="2346469" y="444812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65" name="Полилиния 564">
                  <a:extLst>
                    <a:ext uri="{FF2B5EF4-FFF2-40B4-BE49-F238E27FC236}">
                      <a16:creationId xmlns:a16="http://schemas.microsoft.com/office/drawing/2014/main" id="{A4FE7A6A-E2E0-F880-D777-856500FA4BFF}"/>
                    </a:ext>
                  </a:extLst>
                </p:cNvPr>
                <p:cNvSpPr/>
                <p:nvPr/>
              </p:nvSpPr>
              <p:spPr>
                <a:xfrm rot="5400000">
                  <a:off x="2528817" y="444812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66" name="Полилиния 565">
                  <a:extLst>
                    <a:ext uri="{FF2B5EF4-FFF2-40B4-BE49-F238E27FC236}">
                      <a16:creationId xmlns:a16="http://schemas.microsoft.com/office/drawing/2014/main" id="{F77456D8-2129-1079-990C-74FA9D22E4C2}"/>
                    </a:ext>
                  </a:extLst>
                </p:cNvPr>
                <p:cNvSpPr/>
                <p:nvPr/>
              </p:nvSpPr>
              <p:spPr>
                <a:xfrm rot="5400000">
                  <a:off x="2711166" y="444812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67" name="Полилиния 566">
                  <a:extLst>
                    <a:ext uri="{FF2B5EF4-FFF2-40B4-BE49-F238E27FC236}">
                      <a16:creationId xmlns:a16="http://schemas.microsoft.com/office/drawing/2014/main" id="{38A48F69-F788-3977-0E25-6D0AB3592C47}"/>
                    </a:ext>
                  </a:extLst>
                </p:cNvPr>
                <p:cNvSpPr/>
                <p:nvPr/>
              </p:nvSpPr>
              <p:spPr>
                <a:xfrm>
                  <a:off x="1981772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68" name="Полилиния 567">
                  <a:extLst>
                    <a:ext uri="{FF2B5EF4-FFF2-40B4-BE49-F238E27FC236}">
                      <a16:creationId xmlns:a16="http://schemas.microsoft.com/office/drawing/2014/main" id="{D8871AEB-7BE7-78EA-F624-AE824D495398}"/>
                    </a:ext>
                  </a:extLst>
                </p:cNvPr>
                <p:cNvSpPr/>
                <p:nvPr/>
              </p:nvSpPr>
              <p:spPr>
                <a:xfrm rot="5400000">
                  <a:off x="2072946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69" name="Полилиния 568">
                  <a:extLst>
                    <a:ext uri="{FF2B5EF4-FFF2-40B4-BE49-F238E27FC236}">
                      <a16:creationId xmlns:a16="http://schemas.microsoft.com/office/drawing/2014/main" id="{C06CD3CA-5226-239F-DC2C-9810A0B072E7}"/>
                    </a:ext>
                  </a:extLst>
                </p:cNvPr>
                <p:cNvSpPr/>
                <p:nvPr/>
              </p:nvSpPr>
              <p:spPr>
                <a:xfrm rot="-5400000">
                  <a:off x="2255295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70" name="Полилиния 569">
                  <a:extLst>
                    <a:ext uri="{FF2B5EF4-FFF2-40B4-BE49-F238E27FC236}">
                      <a16:creationId xmlns:a16="http://schemas.microsoft.com/office/drawing/2014/main" id="{5AC41434-86A3-317E-B585-7123BAD1B5AB}"/>
                    </a:ext>
                  </a:extLst>
                </p:cNvPr>
                <p:cNvSpPr/>
                <p:nvPr/>
              </p:nvSpPr>
              <p:spPr>
                <a:xfrm>
                  <a:off x="2346469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71" name="Полилиния 570">
                  <a:extLst>
                    <a:ext uri="{FF2B5EF4-FFF2-40B4-BE49-F238E27FC236}">
                      <a16:creationId xmlns:a16="http://schemas.microsoft.com/office/drawing/2014/main" id="{D3F0385F-E46C-471A-1FAF-362430086E52}"/>
                    </a:ext>
                  </a:extLst>
                </p:cNvPr>
                <p:cNvSpPr/>
                <p:nvPr/>
              </p:nvSpPr>
              <p:spPr>
                <a:xfrm rot="5400000">
                  <a:off x="2437643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72" name="Полилиния 571">
                  <a:extLst>
                    <a:ext uri="{FF2B5EF4-FFF2-40B4-BE49-F238E27FC236}">
                      <a16:creationId xmlns:a16="http://schemas.microsoft.com/office/drawing/2014/main" id="{EEA14819-5B9D-4462-21CB-F06DE72F21E5}"/>
                    </a:ext>
                  </a:extLst>
                </p:cNvPr>
                <p:cNvSpPr/>
                <p:nvPr/>
              </p:nvSpPr>
              <p:spPr>
                <a:xfrm rot="-5400000">
                  <a:off x="2619992" y="453929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73" name="Полилиния 572">
                  <a:extLst>
                    <a:ext uri="{FF2B5EF4-FFF2-40B4-BE49-F238E27FC236}">
                      <a16:creationId xmlns:a16="http://schemas.microsoft.com/office/drawing/2014/main" id="{D6239881-EA77-71E8-181E-0E89FBC7B1A1}"/>
                    </a:ext>
                  </a:extLst>
                </p:cNvPr>
                <p:cNvSpPr/>
                <p:nvPr/>
              </p:nvSpPr>
              <p:spPr>
                <a:xfrm rot="-5400000">
                  <a:off x="1343551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74" name="Полилиния 573">
                  <a:extLst>
                    <a:ext uri="{FF2B5EF4-FFF2-40B4-BE49-F238E27FC236}">
                      <a16:creationId xmlns:a16="http://schemas.microsoft.com/office/drawing/2014/main" id="{6AEEA2D3-6169-1935-EBED-7E5AC60F2F91}"/>
                    </a:ext>
                  </a:extLst>
                </p:cNvPr>
                <p:cNvSpPr/>
                <p:nvPr/>
              </p:nvSpPr>
              <p:spPr>
                <a:xfrm rot="-5400000">
                  <a:off x="1525900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575" name="Полилиния 574">
                  <a:extLst>
                    <a:ext uri="{FF2B5EF4-FFF2-40B4-BE49-F238E27FC236}">
                      <a16:creationId xmlns:a16="http://schemas.microsoft.com/office/drawing/2014/main" id="{915A62BA-392F-4A79-5464-1B6566670C38}"/>
                    </a:ext>
                  </a:extLst>
                </p:cNvPr>
                <p:cNvSpPr/>
                <p:nvPr/>
              </p:nvSpPr>
              <p:spPr>
                <a:xfrm>
                  <a:off x="1617074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04" name="Полилиния 703">
                  <a:extLst>
                    <a:ext uri="{FF2B5EF4-FFF2-40B4-BE49-F238E27FC236}">
                      <a16:creationId xmlns:a16="http://schemas.microsoft.com/office/drawing/2014/main" id="{4C162FCB-7D93-3D3B-449B-C534D94C73E2}"/>
                    </a:ext>
                  </a:extLst>
                </p:cNvPr>
                <p:cNvSpPr/>
                <p:nvPr/>
              </p:nvSpPr>
              <p:spPr>
                <a:xfrm>
                  <a:off x="1708249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05" name="Полилиния 704">
                  <a:extLst>
                    <a:ext uri="{FF2B5EF4-FFF2-40B4-BE49-F238E27FC236}">
                      <a16:creationId xmlns:a16="http://schemas.microsoft.com/office/drawing/2014/main" id="{7F994058-8A50-92CC-1A0E-DBBEDB0E64B5}"/>
                    </a:ext>
                  </a:extLst>
                </p:cNvPr>
                <p:cNvSpPr/>
                <p:nvPr/>
              </p:nvSpPr>
              <p:spPr>
                <a:xfrm rot="5400000">
                  <a:off x="1799423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06" name="Полилиния 705">
                  <a:extLst>
                    <a:ext uri="{FF2B5EF4-FFF2-40B4-BE49-F238E27FC236}">
                      <a16:creationId xmlns:a16="http://schemas.microsoft.com/office/drawing/2014/main" id="{BCBA7C62-245C-177A-3FCC-AE395F5E65AC}"/>
                    </a:ext>
                  </a:extLst>
                </p:cNvPr>
                <p:cNvSpPr/>
                <p:nvPr/>
              </p:nvSpPr>
              <p:spPr>
                <a:xfrm rot="5400000">
                  <a:off x="1981772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07" name="Полилиния 706">
                  <a:extLst>
                    <a:ext uri="{FF2B5EF4-FFF2-40B4-BE49-F238E27FC236}">
                      <a16:creationId xmlns:a16="http://schemas.microsoft.com/office/drawing/2014/main" id="{E1E0A6B3-132C-5ACB-8584-CD89BD2CF2F3}"/>
                    </a:ext>
                  </a:extLst>
                </p:cNvPr>
                <p:cNvSpPr/>
                <p:nvPr/>
              </p:nvSpPr>
              <p:spPr>
                <a:xfrm>
                  <a:off x="2619992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08" name="Полилиния 707">
                  <a:extLst>
                    <a:ext uri="{FF2B5EF4-FFF2-40B4-BE49-F238E27FC236}">
                      <a16:creationId xmlns:a16="http://schemas.microsoft.com/office/drawing/2014/main" id="{3DB72606-7DD4-3773-753D-A08F7BB7D5C6}"/>
                    </a:ext>
                  </a:extLst>
                </p:cNvPr>
                <p:cNvSpPr/>
                <p:nvPr/>
              </p:nvSpPr>
              <p:spPr>
                <a:xfrm>
                  <a:off x="2711166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09" name="Полилиния 708">
                  <a:extLst>
                    <a:ext uri="{FF2B5EF4-FFF2-40B4-BE49-F238E27FC236}">
                      <a16:creationId xmlns:a16="http://schemas.microsoft.com/office/drawing/2014/main" id="{E1000CA3-5200-3C2B-DEF0-BAFB053129FD}"/>
                    </a:ext>
                  </a:extLst>
                </p:cNvPr>
                <p:cNvSpPr/>
                <p:nvPr/>
              </p:nvSpPr>
              <p:spPr>
                <a:xfrm>
                  <a:off x="2802340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10" name="Полилиния 709">
                  <a:extLst>
                    <a:ext uri="{FF2B5EF4-FFF2-40B4-BE49-F238E27FC236}">
                      <a16:creationId xmlns:a16="http://schemas.microsoft.com/office/drawing/2014/main" id="{D9ED52A5-B1A6-0227-FF4F-834BDEF039C9}"/>
                    </a:ext>
                  </a:extLst>
                </p:cNvPr>
                <p:cNvSpPr/>
                <p:nvPr/>
              </p:nvSpPr>
              <p:spPr>
                <a:xfrm rot="5400000">
                  <a:off x="2893515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11" name="Полилиния 710">
                  <a:extLst>
                    <a:ext uri="{FF2B5EF4-FFF2-40B4-BE49-F238E27FC236}">
                      <a16:creationId xmlns:a16="http://schemas.microsoft.com/office/drawing/2014/main" id="{BA0D2F2E-74C4-5446-A67A-73E57F6984D5}"/>
                    </a:ext>
                  </a:extLst>
                </p:cNvPr>
                <p:cNvSpPr/>
                <p:nvPr/>
              </p:nvSpPr>
              <p:spPr>
                <a:xfrm rot="-5400000">
                  <a:off x="3075863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12" name="Полилиния 711">
                  <a:extLst>
                    <a:ext uri="{FF2B5EF4-FFF2-40B4-BE49-F238E27FC236}">
                      <a16:creationId xmlns:a16="http://schemas.microsoft.com/office/drawing/2014/main" id="{7272C2E1-D799-FFF9-0627-3ED2F5A853F8}"/>
                    </a:ext>
                  </a:extLst>
                </p:cNvPr>
                <p:cNvSpPr/>
                <p:nvPr/>
              </p:nvSpPr>
              <p:spPr>
                <a:xfrm>
                  <a:off x="3167038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13" name="Полилиния 712">
                  <a:extLst>
                    <a:ext uri="{FF2B5EF4-FFF2-40B4-BE49-F238E27FC236}">
                      <a16:creationId xmlns:a16="http://schemas.microsoft.com/office/drawing/2014/main" id="{3A715B7D-A954-6D32-D76C-74D2FCCE4728}"/>
                    </a:ext>
                  </a:extLst>
                </p:cNvPr>
                <p:cNvSpPr/>
                <p:nvPr/>
              </p:nvSpPr>
              <p:spPr>
                <a:xfrm rot="-5400000">
                  <a:off x="3349386" y="463047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14" name="Полилиния 713">
                  <a:extLst>
                    <a:ext uri="{FF2B5EF4-FFF2-40B4-BE49-F238E27FC236}">
                      <a16:creationId xmlns:a16="http://schemas.microsoft.com/office/drawing/2014/main" id="{42C833C0-DE94-3EB1-40E6-6137F28A9F1A}"/>
                    </a:ext>
                  </a:extLst>
                </p:cNvPr>
                <p:cNvSpPr/>
                <p:nvPr/>
              </p:nvSpPr>
              <p:spPr>
                <a:xfrm rot="-5400000">
                  <a:off x="1252377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15" name="Полилиния 714">
                  <a:extLst>
                    <a:ext uri="{FF2B5EF4-FFF2-40B4-BE49-F238E27FC236}">
                      <a16:creationId xmlns:a16="http://schemas.microsoft.com/office/drawing/2014/main" id="{186D4A0A-1E8A-C327-5091-8EEC0614445D}"/>
                    </a:ext>
                  </a:extLst>
                </p:cNvPr>
                <p:cNvSpPr/>
                <p:nvPr/>
              </p:nvSpPr>
              <p:spPr>
                <a:xfrm>
                  <a:off x="1343551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16" name="Полилиния 715">
                  <a:extLst>
                    <a:ext uri="{FF2B5EF4-FFF2-40B4-BE49-F238E27FC236}">
                      <a16:creationId xmlns:a16="http://schemas.microsoft.com/office/drawing/2014/main" id="{18AE950C-693B-C98C-6D62-97ECCE29E574}"/>
                    </a:ext>
                  </a:extLst>
                </p:cNvPr>
                <p:cNvSpPr/>
                <p:nvPr/>
              </p:nvSpPr>
              <p:spPr>
                <a:xfrm>
                  <a:off x="1434726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17" name="Полилиния 716">
                  <a:extLst>
                    <a:ext uri="{FF2B5EF4-FFF2-40B4-BE49-F238E27FC236}">
                      <a16:creationId xmlns:a16="http://schemas.microsoft.com/office/drawing/2014/main" id="{5257BBE5-81A2-04FF-1181-42CDE0FB42AA}"/>
                    </a:ext>
                  </a:extLst>
                </p:cNvPr>
                <p:cNvSpPr/>
                <p:nvPr/>
              </p:nvSpPr>
              <p:spPr>
                <a:xfrm>
                  <a:off x="1525900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18" name="Полилиния 717">
                  <a:extLst>
                    <a:ext uri="{FF2B5EF4-FFF2-40B4-BE49-F238E27FC236}">
                      <a16:creationId xmlns:a16="http://schemas.microsoft.com/office/drawing/2014/main" id="{712C0273-8C89-9AC3-182E-39565C6FDCDA}"/>
                    </a:ext>
                  </a:extLst>
                </p:cNvPr>
                <p:cNvSpPr/>
                <p:nvPr/>
              </p:nvSpPr>
              <p:spPr>
                <a:xfrm>
                  <a:off x="1617074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19" name="Полилиния 718">
                  <a:extLst>
                    <a:ext uri="{FF2B5EF4-FFF2-40B4-BE49-F238E27FC236}">
                      <a16:creationId xmlns:a16="http://schemas.microsoft.com/office/drawing/2014/main" id="{210164BA-0F17-AF0B-4C42-CFACBC14B677}"/>
                    </a:ext>
                  </a:extLst>
                </p:cNvPr>
                <p:cNvSpPr/>
                <p:nvPr/>
              </p:nvSpPr>
              <p:spPr>
                <a:xfrm>
                  <a:off x="1708249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20" name="Полилиния 719">
                  <a:extLst>
                    <a:ext uri="{FF2B5EF4-FFF2-40B4-BE49-F238E27FC236}">
                      <a16:creationId xmlns:a16="http://schemas.microsoft.com/office/drawing/2014/main" id="{C60EE525-76AF-D68B-D786-DEBFA80EB144}"/>
                    </a:ext>
                  </a:extLst>
                </p:cNvPr>
                <p:cNvSpPr/>
                <p:nvPr/>
              </p:nvSpPr>
              <p:spPr>
                <a:xfrm rot="-5400000">
                  <a:off x="1890597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21" name="Полилиния 720">
                  <a:extLst>
                    <a:ext uri="{FF2B5EF4-FFF2-40B4-BE49-F238E27FC236}">
                      <a16:creationId xmlns:a16="http://schemas.microsoft.com/office/drawing/2014/main" id="{506B8887-0525-1DB2-D364-0228FE5AF7C1}"/>
                    </a:ext>
                  </a:extLst>
                </p:cNvPr>
                <p:cNvSpPr/>
                <p:nvPr/>
              </p:nvSpPr>
              <p:spPr>
                <a:xfrm rot="-5400000">
                  <a:off x="2072946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22" name="Полилиния 721">
                  <a:extLst>
                    <a:ext uri="{FF2B5EF4-FFF2-40B4-BE49-F238E27FC236}">
                      <a16:creationId xmlns:a16="http://schemas.microsoft.com/office/drawing/2014/main" id="{1A31C3AC-8519-02CF-1D62-029273B7BF5B}"/>
                    </a:ext>
                  </a:extLst>
                </p:cNvPr>
                <p:cNvSpPr/>
                <p:nvPr/>
              </p:nvSpPr>
              <p:spPr>
                <a:xfrm rot="5400000">
                  <a:off x="2164120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23" name="Полилиния 722">
                  <a:extLst>
                    <a:ext uri="{FF2B5EF4-FFF2-40B4-BE49-F238E27FC236}">
                      <a16:creationId xmlns:a16="http://schemas.microsoft.com/office/drawing/2014/main" id="{3A70AFEC-F1AB-8C52-7B46-287B6F78CE96}"/>
                    </a:ext>
                  </a:extLst>
                </p:cNvPr>
                <p:cNvSpPr/>
                <p:nvPr/>
              </p:nvSpPr>
              <p:spPr>
                <a:xfrm rot="-5400000">
                  <a:off x="2346469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24" name="Полилиния 723">
                  <a:extLst>
                    <a:ext uri="{FF2B5EF4-FFF2-40B4-BE49-F238E27FC236}">
                      <a16:creationId xmlns:a16="http://schemas.microsoft.com/office/drawing/2014/main" id="{1FFEB704-7ED4-414C-40D5-DBF294088AA8}"/>
                    </a:ext>
                  </a:extLst>
                </p:cNvPr>
                <p:cNvSpPr/>
                <p:nvPr/>
              </p:nvSpPr>
              <p:spPr>
                <a:xfrm>
                  <a:off x="2619992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25" name="Полилиния 724">
                  <a:extLst>
                    <a:ext uri="{FF2B5EF4-FFF2-40B4-BE49-F238E27FC236}">
                      <a16:creationId xmlns:a16="http://schemas.microsoft.com/office/drawing/2014/main" id="{7D3CA8FF-F0B8-F452-C9DA-4134E8E9069D}"/>
                    </a:ext>
                  </a:extLst>
                </p:cNvPr>
                <p:cNvSpPr/>
                <p:nvPr/>
              </p:nvSpPr>
              <p:spPr>
                <a:xfrm rot="-5400000">
                  <a:off x="2984689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26" name="Полилиния 725">
                  <a:extLst>
                    <a:ext uri="{FF2B5EF4-FFF2-40B4-BE49-F238E27FC236}">
                      <a16:creationId xmlns:a16="http://schemas.microsoft.com/office/drawing/2014/main" id="{F6D33AB1-15E6-5C0B-53CD-BDC52DD188F1}"/>
                    </a:ext>
                  </a:extLst>
                </p:cNvPr>
                <p:cNvSpPr/>
                <p:nvPr/>
              </p:nvSpPr>
              <p:spPr>
                <a:xfrm>
                  <a:off x="3075863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27" name="Полилиния 726">
                  <a:extLst>
                    <a:ext uri="{FF2B5EF4-FFF2-40B4-BE49-F238E27FC236}">
                      <a16:creationId xmlns:a16="http://schemas.microsoft.com/office/drawing/2014/main" id="{D2F90DD3-5FD3-475E-DAF2-92F1593D7D80}"/>
                    </a:ext>
                  </a:extLst>
                </p:cNvPr>
                <p:cNvSpPr/>
                <p:nvPr/>
              </p:nvSpPr>
              <p:spPr>
                <a:xfrm>
                  <a:off x="3167038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28" name="Полилиния 727">
                  <a:extLst>
                    <a:ext uri="{FF2B5EF4-FFF2-40B4-BE49-F238E27FC236}">
                      <a16:creationId xmlns:a16="http://schemas.microsoft.com/office/drawing/2014/main" id="{27EDA6BC-DDCC-EC2F-FA24-CED0E07A87DE}"/>
                    </a:ext>
                  </a:extLst>
                </p:cNvPr>
                <p:cNvSpPr/>
                <p:nvPr/>
              </p:nvSpPr>
              <p:spPr>
                <a:xfrm>
                  <a:off x="3258212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29" name="Полилиния 728">
                  <a:extLst>
                    <a:ext uri="{FF2B5EF4-FFF2-40B4-BE49-F238E27FC236}">
                      <a16:creationId xmlns:a16="http://schemas.microsoft.com/office/drawing/2014/main" id="{D9EE93BD-E3B0-4CC1-E9AF-A561F3722CAA}"/>
                    </a:ext>
                  </a:extLst>
                </p:cNvPr>
                <p:cNvSpPr/>
                <p:nvPr/>
              </p:nvSpPr>
              <p:spPr>
                <a:xfrm rot="5400000">
                  <a:off x="3349386" y="472164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30" name="Полилиния 729">
                  <a:extLst>
                    <a:ext uri="{FF2B5EF4-FFF2-40B4-BE49-F238E27FC236}">
                      <a16:creationId xmlns:a16="http://schemas.microsoft.com/office/drawing/2014/main" id="{7AEA3D03-5931-F131-9771-FFBD0A290D57}"/>
                    </a:ext>
                  </a:extLst>
                </p:cNvPr>
                <p:cNvSpPr/>
                <p:nvPr/>
              </p:nvSpPr>
              <p:spPr>
                <a:xfrm rot="5400000">
                  <a:off x="1525900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31" name="Полилиния 730">
                  <a:extLst>
                    <a:ext uri="{FF2B5EF4-FFF2-40B4-BE49-F238E27FC236}">
                      <a16:creationId xmlns:a16="http://schemas.microsoft.com/office/drawing/2014/main" id="{973187BD-60A5-E870-965F-18761ED9E4D6}"/>
                    </a:ext>
                  </a:extLst>
                </p:cNvPr>
                <p:cNvSpPr/>
                <p:nvPr/>
              </p:nvSpPr>
              <p:spPr>
                <a:xfrm>
                  <a:off x="1708249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32" name="Полилиния 731">
                  <a:extLst>
                    <a:ext uri="{FF2B5EF4-FFF2-40B4-BE49-F238E27FC236}">
                      <a16:creationId xmlns:a16="http://schemas.microsoft.com/office/drawing/2014/main" id="{5CEF9A34-299C-B43F-3506-8E47BF75856D}"/>
                    </a:ext>
                  </a:extLst>
                </p:cNvPr>
                <p:cNvSpPr/>
                <p:nvPr/>
              </p:nvSpPr>
              <p:spPr>
                <a:xfrm>
                  <a:off x="1799423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33" name="Полилиния 732">
                  <a:extLst>
                    <a:ext uri="{FF2B5EF4-FFF2-40B4-BE49-F238E27FC236}">
                      <a16:creationId xmlns:a16="http://schemas.microsoft.com/office/drawing/2014/main" id="{D7640FE4-DC14-F128-6CB1-23E648812395}"/>
                    </a:ext>
                  </a:extLst>
                </p:cNvPr>
                <p:cNvSpPr/>
                <p:nvPr/>
              </p:nvSpPr>
              <p:spPr>
                <a:xfrm>
                  <a:off x="1890597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34" name="Полилиния 733">
                  <a:extLst>
                    <a:ext uri="{FF2B5EF4-FFF2-40B4-BE49-F238E27FC236}">
                      <a16:creationId xmlns:a16="http://schemas.microsoft.com/office/drawing/2014/main" id="{3AE0FFC9-0239-F513-711F-B71FBD285304}"/>
                    </a:ext>
                  </a:extLst>
                </p:cNvPr>
                <p:cNvSpPr/>
                <p:nvPr/>
              </p:nvSpPr>
              <p:spPr>
                <a:xfrm rot="-5400000">
                  <a:off x="2255295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35" name="Полилиния 734">
                  <a:extLst>
                    <a:ext uri="{FF2B5EF4-FFF2-40B4-BE49-F238E27FC236}">
                      <a16:creationId xmlns:a16="http://schemas.microsoft.com/office/drawing/2014/main" id="{A5F4C6B8-24BF-98C5-58BE-0BBEE22210CF}"/>
                    </a:ext>
                  </a:extLst>
                </p:cNvPr>
                <p:cNvSpPr/>
                <p:nvPr/>
              </p:nvSpPr>
              <p:spPr>
                <a:xfrm rot="5400000">
                  <a:off x="2346469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36" name="Полилиния 735">
                  <a:extLst>
                    <a:ext uri="{FF2B5EF4-FFF2-40B4-BE49-F238E27FC236}">
                      <a16:creationId xmlns:a16="http://schemas.microsoft.com/office/drawing/2014/main" id="{0488B066-DB40-83EC-D5EB-BD003781E564}"/>
                    </a:ext>
                  </a:extLst>
                </p:cNvPr>
                <p:cNvSpPr/>
                <p:nvPr/>
              </p:nvSpPr>
              <p:spPr>
                <a:xfrm rot="-5400000">
                  <a:off x="2528817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37" name="Полилиния 736">
                  <a:extLst>
                    <a:ext uri="{FF2B5EF4-FFF2-40B4-BE49-F238E27FC236}">
                      <a16:creationId xmlns:a16="http://schemas.microsoft.com/office/drawing/2014/main" id="{64FA8BF5-43BE-AE04-01D6-024426AEAFAF}"/>
                    </a:ext>
                  </a:extLst>
                </p:cNvPr>
                <p:cNvSpPr/>
                <p:nvPr/>
              </p:nvSpPr>
              <p:spPr>
                <a:xfrm>
                  <a:off x="2619992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38" name="Полилиния 737">
                  <a:extLst>
                    <a:ext uri="{FF2B5EF4-FFF2-40B4-BE49-F238E27FC236}">
                      <a16:creationId xmlns:a16="http://schemas.microsoft.com/office/drawing/2014/main" id="{1A407647-AB8D-0FD2-286B-A88CD10AFAEE}"/>
                    </a:ext>
                  </a:extLst>
                </p:cNvPr>
                <p:cNvSpPr/>
                <p:nvPr/>
              </p:nvSpPr>
              <p:spPr>
                <a:xfrm rot="5400000">
                  <a:off x="2711166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39" name="Полилиния 738">
                  <a:extLst>
                    <a:ext uri="{FF2B5EF4-FFF2-40B4-BE49-F238E27FC236}">
                      <a16:creationId xmlns:a16="http://schemas.microsoft.com/office/drawing/2014/main" id="{5FA4E4D0-6A25-A90E-1C2F-02EA6EC141D9}"/>
                    </a:ext>
                  </a:extLst>
                </p:cNvPr>
                <p:cNvSpPr/>
                <p:nvPr/>
              </p:nvSpPr>
              <p:spPr>
                <a:xfrm>
                  <a:off x="2984689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40" name="Полилиния 739">
                  <a:extLst>
                    <a:ext uri="{FF2B5EF4-FFF2-40B4-BE49-F238E27FC236}">
                      <a16:creationId xmlns:a16="http://schemas.microsoft.com/office/drawing/2014/main" id="{BE425AC8-0CCE-65A8-E0F5-13D78908070E}"/>
                    </a:ext>
                  </a:extLst>
                </p:cNvPr>
                <p:cNvSpPr/>
                <p:nvPr/>
              </p:nvSpPr>
              <p:spPr>
                <a:xfrm>
                  <a:off x="3167038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41" name="Полилиния 740">
                  <a:extLst>
                    <a:ext uri="{FF2B5EF4-FFF2-40B4-BE49-F238E27FC236}">
                      <a16:creationId xmlns:a16="http://schemas.microsoft.com/office/drawing/2014/main" id="{CB4CA7E8-3C6D-076D-FF6B-91D4E09779B9}"/>
                    </a:ext>
                  </a:extLst>
                </p:cNvPr>
                <p:cNvSpPr/>
                <p:nvPr/>
              </p:nvSpPr>
              <p:spPr>
                <a:xfrm rot="-5400000">
                  <a:off x="3440561" y="481281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42" name="Полилиния 741">
                  <a:extLst>
                    <a:ext uri="{FF2B5EF4-FFF2-40B4-BE49-F238E27FC236}">
                      <a16:creationId xmlns:a16="http://schemas.microsoft.com/office/drawing/2014/main" id="{DD30A194-9115-26E6-DCE0-9FFCCF8844C8}"/>
                    </a:ext>
                  </a:extLst>
                </p:cNvPr>
                <p:cNvSpPr/>
                <p:nvPr/>
              </p:nvSpPr>
              <p:spPr>
                <a:xfrm rot="-5400000">
                  <a:off x="1343551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43" name="Полилиния 742">
                  <a:extLst>
                    <a:ext uri="{FF2B5EF4-FFF2-40B4-BE49-F238E27FC236}">
                      <a16:creationId xmlns:a16="http://schemas.microsoft.com/office/drawing/2014/main" id="{7EDA9E04-3B00-9FB0-6DDF-6937510F85CF}"/>
                    </a:ext>
                  </a:extLst>
                </p:cNvPr>
                <p:cNvSpPr/>
                <p:nvPr/>
              </p:nvSpPr>
              <p:spPr>
                <a:xfrm>
                  <a:off x="1434726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44" name="Полилиния 743">
                  <a:extLst>
                    <a:ext uri="{FF2B5EF4-FFF2-40B4-BE49-F238E27FC236}">
                      <a16:creationId xmlns:a16="http://schemas.microsoft.com/office/drawing/2014/main" id="{1A420C7E-CE5B-9D7C-83EE-F116F8D9629C}"/>
                    </a:ext>
                  </a:extLst>
                </p:cNvPr>
                <p:cNvSpPr/>
                <p:nvPr/>
              </p:nvSpPr>
              <p:spPr>
                <a:xfrm rot="5400000">
                  <a:off x="1617074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45" name="Полилиния 744">
                  <a:extLst>
                    <a:ext uri="{FF2B5EF4-FFF2-40B4-BE49-F238E27FC236}">
                      <a16:creationId xmlns:a16="http://schemas.microsoft.com/office/drawing/2014/main" id="{CB10C1CE-3CDF-EFD0-6660-DFC39134904D}"/>
                    </a:ext>
                  </a:extLst>
                </p:cNvPr>
                <p:cNvSpPr/>
                <p:nvPr/>
              </p:nvSpPr>
              <p:spPr>
                <a:xfrm>
                  <a:off x="1890597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46" name="Полилиния 745">
                  <a:extLst>
                    <a:ext uri="{FF2B5EF4-FFF2-40B4-BE49-F238E27FC236}">
                      <a16:creationId xmlns:a16="http://schemas.microsoft.com/office/drawing/2014/main" id="{B11A8213-8AA6-9960-63C6-F370A571ECDA}"/>
                    </a:ext>
                  </a:extLst>
                </p:cNvPr>
                <p:cNvSpPr/>
                <p:nvPr/>
              </p:nvSpPr>
              <p:spPr>
                <a:xfrm>
                  <a:off x="1981772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47" name="Полилиния 746">
                  <a:extLst>
                    <a:ext uri="{FF2B5EF4-FFF2-40B4-BE49-F238E27FC236}">
                      <a16:creationId xmlns:a16="http://schemas.microsoft.com/office/drawing/2014/main" id="{49AF6862-3A91-AAC7-808E-25A0CC5E2047}"/>
                    </a:ext>
                  </a:extLst>
                </p:cNvPr>
                <p:cNvSpPr/>
                <p:nvPr/>
              </p:nvSpPr>
              <p:spPr>
                <a:xfrm rot="5400000">
                  <a:off x="2072946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48" name="Полилиния 747">
                  <a:extLst>
                    <a:ext uri="{FF2B5EF4-FFF2-40B4-BE49-F238E27FC236}">
                      <a16:creationId xmlns:a16="http://schemas.microsoft.com/office/drawing/2014/main" id="{963CD911-643E-CE89-B146-EA835A5F949B}"/>
                    </a:ext>
                  </a:extLst>
                </p:cNvPr>
                <p:cNvSpPr/>
                <p:nvPr/>
              </p:nvSpPr>
              <p:spPr>
                <a:xfrm>
                  <a:off x="2528817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49" name="Полилиния 748">
                  <a:extLst>
                    <a:ext uri="{FF2B5EF4-FFF2-40B4-BE49-F238E27FC236}">
                      <a16:creationId xmlns:a16="http://schemas.microsoft.com/office/drawing/2014/main" id="{6BF1758C-363A-3911-44CB-5C483C5C4F65}"/>
                    </a:ext>
                  </a:extLst>
                </p:cNvPr>
                <p:cNvSpPr/>
                <p:nvPr/>
              </p:nvSpPr>
              <p:spPr>
                <a:xfrm rot="5400000">
                  <a:off x="2619992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50" name="Полилиния 749">
                  <a:extLst>
                    <a:ext uri="{FF2B5EF4-FFF2-40B4-BE49-F238E27FC236}">
                      <a16:creationId xmlns:a16="http://schemas.microsoft.com/office/drawing/2014/main" id="{A7DB97F3-8579-6F96-2E1E-2A2CC74D130D}"/>
                    </a:ext>
                  </a:extLst>
                </p:cNvPr>
                <p:cNvSpPr/>
                <p:nvPr/>
              </p:nvSpPr>
              <p:spPr>
                <a:xfrm>
                  <a:off x="2984689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51" name="Полилиния 750">
                  <a:extLst>
                    <a:ext uri="{FF2B5EF4-FFF2-40B4-BE49-F238E27FC236}">
                      <a16:creationId xmlns:a16="http://schemas.microsoft.com/office/drawing/2014/main" id="{E51EA759-6D13-B4D2-19FB-081BDB47C44D}"/>
                    </a:ext>
                  </a:extLst>
                </p:cNvPr>
                <p:cNvSpPr/>
                <p:nvPr/>
              </p:nvSpPr>
              <p:spPr>
                <a:xfrm>
                  <a:off x="3167038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52" name="Полилиния 751">
                  <a:extLst>
                    <a:ext uri="{FF2B5EF4-FFF2-40B4-BE49-F238E27FC236}">
                      <a16:creationId xmlns:a16="http://schemas.microsoft.com/office/drawing/2014/main" id="{60154151-333A-841F-5612-160CCB133EEE}"/>
                    </a:ext>
                  </a:extLst>
                </p:cNvPr>
                <p:cNvSpPr/>
                <p:nvPr/>
              </p:nvSpPr>
              <p:spPr>
                <a:xfrm>
                  <a:off x="3258212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53" name="Полилиния 752">
                  <a:extLst>
                    <a:ext uri="{FF2B5EF4-FFF2-40B4-BE49-F238E27FC236}">
                      <a16:creationId xmlns:a16="http://schemas.microsoft.com/office/drawing/2014/main" id="{AFFA4CD6-3876-A468-9F09-03DC0783C7EF}"/>
                    </a:ext>
                  </a:extLst>
                </p:cNvPr>
                <p:cNvSpPr/>
                <p:nvPr/>
              </p:nvSpPr>
              <p:spPr>
                <a:xfrm>
                  <a:off x="3349386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54" name="Полилиния 753">
                  <a:extLst>
                    <a:ext uri="{FF2B5EF4-FFF2-40B4-BE49-F238E27FC236}">
                      <a16:creationId xmlns:a16="http://schemas.microsoft.com/office/drawing/2014/main" id="{55E7847E-3438-FB81-CD7B-FFE44B4F9840}"/>
                    </a:ext>
                  </a:extLst>
                </p:cNvPr>
                <p:cNvSpPr/>
                <p:nvPr/>
              </p:nvSpPr>
              <p:spPr>
                <a:xfrm>
                  <a:off x="3440561" y="490399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55" name="Полилиния 754">
                  <a:extLst>
                    <a:ext uri="{FF2B5EF4-FFF2-40B4-BE49-F238E27FC236}">
                      <a16:creationId xmlns:a16="http://schemas.microsoft.com/office/drawing/2014/main" id="{6141A13D-1C0C-4255-3610-9817E8BE127C}"/>
                    </a:ext>
                  </a:extLst>
                </p:cNvPr>
                <p:cNvSpPr/>
                <p:nvPr/>
              </p:nvSpPr>
              <p:spPr>
                <a:xfrm rot="-5400000">
                  <a:off x="1252377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56" name="Полилиния 755">
                  <a:extLst>
                    <a:ext uri="{FF2B5EF4-FFF2-40B4-BE49-F238E27FC236}">
                      <a16:creationId xmlns:a16="http://schemas.microsoft.com/office/drawing/2014/main" id="{D0B5C0CC-E28C-A912-B931-1D2612ACF13F}"/>
                    </a:ext>
                  </a:extLst>
                </p:cNvPr>
                <p:cNvSpPr/>
                <p:nvPr/>
              </p:nvSpPr>
              <p:spPr>
                <a:xfrm>
                  <a:off x="1343551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57" name="Полилиния 756">
                  <a:extLst>
                    <a:ext uri="{FF2B5EF4-FFF2-40B4-BE49-F238E27FC236}">
                      <a16:creationId xmlns:a16="http://schemas.microsoft.com/office/drawing/2014/main" id="{0F7A53FD-1BED-B141-8106-00745855A4AB}"/>
                    </a:ext>
                  </a:extLst>
                </p:cNvPr>
                <p:cNvSpPr/>
                <p:nvPr/>
              </p:nvSpPr>
              <p:spPr>
                <a:xfrm>
                  <a:off x="1434726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58" name="Полилиния 757">
                  <a:extLst>
                    <a:ext uri="{FF2B5EF4-FFF2-40B4-BE49-F238E27FC236}">
                      <a16:creationId xmlns:a16="http://schemas.microsoft.com/office/drawing/2014/main" id="{264643EF-748F-4F49-9514-FE2E4ADC8F53}"/>
                    </a:ext>
                  </a:extLst>
                </p:cNvPr>
                <p:cNvSpPr/>
                <p:nvPr/>
              </p:nvSpPr>
              <p:spPr>
                <a:xfrm rot="5400000">
                  <a:off x="1799423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59" name="Полилиния 758">
                  <a:extLst>
                    <a:ext uri="{FF2B5EF4-FFF2-40B4-BE49-F238E27FC236}">
                      <a16:creationId xmlns:a16="http://schemas.microsoft.com/office/drawing/2014/main" id="{BB7D1062-7A94-8B8C-9D10-366CC61C27F8}"/>
                    </a:ext>
                  </a:extLst>
                </p:cNvPr>
                <p:cNvSpPr/>
                <p:nvPr/>
              </p:nvSpPr>
              <p:spPr>
                <a:xfrm rot="5400000">
                  <a:off x="1981772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60" name="Полилиния 759">
                  <a:extLst>
                    <a:ext uri="{FF2B5EF4-FFF2-40B4-BE49-F238E27FC236}">
                      <a16:creationId xmlns:a16="http://schemas.microsoft.com/office/drawing/2014/main" id="{6FFF7A1A-7EAC-C3FA-284C-F1D66B1D0190}"/>
                    </a:ext>
                  </a:extLst>
                </p:cNvPr>
                <p:cNvSpPr/>
                <p:nvPr/>
              </p:nvSpPr>
              <p:spPr>
                <a:xfrm rot="5400000">
                  <a:off x="2255295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61" name="Полилиния 760">
                  <a:extLst>
                    <a:ext uri="{FF2B5EF4-FFF2-40B4-BE49-F238E27FC236}">
                      <a16:creationId xmlns:a16="http://schemas.microsoft.com/office/drawing/2014/main" id="{47896A44-58CB-DF42-6289-77EE4E710FF0}"/>
                    </a:ext>
                  </a:extLst>
                </p:cNvPr>
                <p:cNvSpPr/>
                <p:nvPr/>
              </p:nvSpPr>
              <p:spPr>
                <a:xfrm rot="-5400000">
                  <a:off x="2437643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62" name="Полилиния 761">
                  <a:extLst>
                    <a:ext uri="{FF2B5EF4-FFF2-40B4-BE49-F238E27FC236}">
                      <a16:creationId xmlns:a16="http://schemas.microsoft.com/office/drawing/2014/main" id="{A0BD64B4-C172-7085-3485-611C4CD92007}"/>
                    </a:ext>
                  </a:extLst>
                </p:cNvPr>
                <p:cNvSpPr/>
                <p:nvPr/>
              </p:nvSpPr>
              <p:spPr>
                <a:xfrm>
                  <a:off x="2528817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63" name="Полилиния 762">
                  <a:extLst>
                    <a:ext uri="{FF2B5EF4-FFF2-40B4-BE49-F238E27FC236}">
                      <a16:creationId xmlns:a16="http://schemas.microsoft.com/office/drawing/2014/main" id="{A16E8D62-A443-3080-4568-0D28717D726F}"/>
                    </a:ext>
                  </a:extLst>
                </p:cNvPr>
                <p:cNvSpPr/>
                <p:nvPr/>
              </p:nvSpPr>
              <p:spPr>
                <a:xfrm rot="5400000">
                  <a:off x="2711166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64" name="Полилиния 763">
                  <a:extLst>
                    <a:ext uri="{FF2B5EF4-FFF2-40B4-BE49-F238E27FC236}">
                      <a16:creationId xmlns:a16="http://schemas.microsoft.com/office/drawing/2014/main" id="{C2AFF86F-15B8-B07E-72CE-9D02AB429E2A}"/>
                    </a:ext>
                  </a:extLst>
                </p:cNvPr>
                <p:cNvSpPr/>
                <p:nvPr/>
              </p:nvSpPr>
              <p:spPr>
                <a:xfrm rot="-5400000">
                  <a:off x="2893515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65" name="Полилиния 764">
                  <a:extLst>
                    <a:ext uri="{FF2B5EF4-FFF2-40B4-BE49-F238E27FC236}">
                      <a16:creationId xmlns:a16="http://schemas.microsoft.com/office/drawing/2014/main" id="{AF9B310F-2710-BECB-1798-271C7E6FEA8D}"/>
                    </a:ext>
                  </a:extLst>
                </p:cNvPr>
                <p:cNvSpPr/>
                <p:nvPr/>
              </p:nvSpPr>
              <p:spPr>
                <a:xfrm rot="5400000">
                  <a:off x="2984689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67" name="Полилиния 766">
                  <a:extLst>
                    <a:ext uri="{FF2B5EF4-FFF2-40B4-BE49-F238E27FC236}">
                      <a16:creationId xmlns:a16="http://schemas.microsoft.com/office/drawing/2014/main" id="{717A1999-A75D-3966-335B-E3043A57C045}"/>
                    </a:ext>
                  </a:extLst>
                </p:cNvPr>
                <p:cNvSpPr/>
                <p:nvPr/>
              </p:nvSpPr>
              <p:spPr>
                <a:xfrm rot="5400000">
                  <a:off x="3440561" y="499516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68" name="Полилиния 767">
                  <a:extLst>
                    <a:ext uri="{FF2B5EF4-FFF2-40B4-BE49-F238E27FC236}">
                      <a16:creationId xmlns:a16="http://schemas.microsoft.com/office/drawing/2014/main" id="{2926F927-8028-6CF7-0F46-97014BA548B0}"/>
                    </a:ext>
                  </a:extLst>
                </p:cNvPr>
                <p:cNvSpPr/>
                <p:nvPr/>
              </p:nvSpPr>
              <p:spPr>
                <a:xfrm>
                  <a:off x="1252377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69" name="Полилиния 768">
                  <a:extLst>
                    <a:ext uri="{FF2B5EF4-FFF2-40B4-BE49-F238E27FC236}">
                      <a16:creationId xmlns:a16="http://schemas.microsoft.com/office/drawing/2014/main" id="{E4C5E04A-66FD-10CB-9D96-5FC86CD12409}"/>
                    </a:ext>
                  </a:extLst>
                </p:cNvPr>
                <p:cNvSpPr/>
                <p:nvPr/>
              </p:nvSpPr>
              <p:spPr>
                <a:xfrm>
                  <a:off x="1343551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70" name="Полилиния 769">
                  <a:extLst>
                    <a:ext uri="{FF2B5EF4-FFF2-40B4-BE49-F238E27FC236}">
                      <a16:creationId xmlns:a16="http://schemas.microsoft.com/office/drawing/2014/main" id="{03E7C53C-9D87-3BCA-5A85-3A58C18AC7D9}"/>
                    </a:ext>
                  </a:extLst>
                </p:cNvPr>
                <p:cNvSpPr/>
                <p:nvPr/>
              </p:nvSpPr>
              <p:spPr>
                <a:xfrm>
                  <a:off x="1434726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71" name="Полилиния 770">
                  <a:extLst>
                    <a:ext uri="{FF2B5EF4-FFF2-40B4-BE49-F238E27FC236}">
                      <a16:creationId xmlns:a16="http://schemas.microsoft.com/office/drawing/2014/main" id="{B313ECB1-88B4-6CC6-9CBD-00CB6724F597}"/>
                    </a:ext>
                  </a:extLst>
                </p:cNvPr>
                <p:cNvSpPr/>
                <p:nvPr/>
              </p:nvSpPr>
              <p:spPr>
                <a:xfrm rot="5400000">
                  <a:off x="1708249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72" name="Полилиния 771">
                  <a:extLst>
                    <a:ext uri="{FF2B5EF4-FFF2-40B4-BE49-F238E27FC236}">
                      <a16:creationId xmlns:a16="http://schemas.microsoft.com/office/drawing/2014/main" id="{132DD3B8-2479-949F-28B9-336B697F88B9}"/>
                    </a:ext>
                  </a:extLst>
                </p:cNvPr>
                <p:cNvSpPr/>
                <p:nvPr/>
              </p:nvSpPr>
              <p:spPr>
                <a:xfrm rot="5400000">
                  <a:off x="1890597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73" name="Полилиния 772">
                  <a:extLst>
                    <a:ext uri="{FF2B5EF4-FFF2-40B4-BE49-F238E27FC236}">
                      <a16:creationId xmlns:a16="http://schemas.microsoft.com/office/drawing/2014/main" id="{7B4BA375-F452-FE20-B512-73AF9F77911D}"/>
                    </a:ext>
                  </a:extLst>
                </p:cNvPr>
                <p:cNvSpPr/>
                <p:nvPr/>
              </p:nvSpPr>
              <p:spPr>
                <a:xfrm rot="5400000">
                  <a:off x="2072946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74" name="Полилиния 773">
                  <a:extLst>
                    <a:ext uri="{FF2B5EF4-FFF2-40B4-BE49-F238E27FC236}">
                      <a16:creationId xmlns:a16="http://schemas.microsoft.com/office/drawing/2014/main" id="{0454EF6D-94DE-640B-2773-28FC28BBC721}"/>
                    </a:ext>
                  </a:extLst>
                </p:cNvPr>
                <p:cNvSpPr/>
                <p:nvPr/>
              </p:nvSpPr>
              <p:spPr>
                <a:xfrm rot="-5400000">
                  <a:off x="2346469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75" name="Полилиния 774">
                  <a:extLst>
                    <a:ext uri="{FF2B5EF4-FFF2-40B4-BE49-F238E27FC236}">
                      <a16:creationId xmlns:a16="http://schemas.microsoft.com/office/drawing/2014/main" id="{0338189C-B635-37D0-E9F7-E1A3156A1158}"/>
                    </a:ext>
                  </a:extLst>
                </p:cNvPr>
                <p:cNvSpPr/>
                <p:nvPr/>
              </p:nvSpPr>
              <p:spPr>
                <a:xfrm>
                  <a:off x="2437643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76" name="Полилиния 775">
                  <a:extLst>
                    <a:ext uri="{FF2B5EF4-FFF2-40B4-BE49-F238E27FC236}">
                      <a16:creationId xmlns:a16="http://schemas.microsoft.com/office/drawing/2014/main" id="{64E288B0-9AD4-4DDD-3905-B7A1C2CC917A}"/>
                    </a:ext>
                  </a:extLst>
                </p:cNvPr>
                <p:cNvSpPr/>
                <p:nvPr/>
              </p:nvSpPr>
              <p:spPr>
                <a:xfrm>
                  <a:off x="2528817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77" name="Полилиния 776">
                  <a:extLst>
                    <a:ext uri="{FF2B5EF4-FFF2-40B4-BE49-F238E27FC236}">
                      <a16:creationId xmlns:a16="http://schemas.microsoft.com/office/drawing/2014/main" id="{839BB8A4-A04E-A7DD-4570-079557251F61}"/>
                    </a:ext>
                  </a:extLst>
                </p:cNvPr>
                <p:cNvSpPr/>
                <p:nvPr/>
              </p:nvSpPr>
              <p:spPr>
                <a:xfrm>
                  <a:off x="2619992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78" name="Полилиния 777">
                  <a:extLst>
                    <a:ext uri="{FF2B5EF4-FFF2-40B4-BE49-F238E27FC236}">
                      <a16:creationId xmlns:a16="http://schemas.microsoft.com/office/drawing/2014/main" id="{31A9D023-B5C5-A905-0714-BE1D1BFF270F}"/>
                    </a:ext>
                  </a:extLst>
                </p:cNvPr>
                <p:cNvSpPr/>
                <p:nvPr/>
              </p:nvSpPr>
              <p:spPr>
                <a:xfrm rot="-5400000">
                  <a:off x="3075863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79" name="Полилиния 778">
                  <a:extLst>
                    <a:ext uri="{FF2B5EF4-FFF2-40B4-BE49-F238E27FC236}">
                      <a16:creationId xmlns:a16="http://schemas.microsoft.com/office/drawing/2014/main" id="{84781572-6821-9EB1-E020-8E2B250D8614}"/>
                    </a:ext>
                  </a:extLst>
                </p:cNvPr>
                <p:cNvSpPr/>
                <p:nvPr/>
              </p:nvSpPr>
              <p:spPr>
                <a:xfrm rot="-5400000">
                  <a:off x="3349386" y="508634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80" name="Полилиния 779">
                  <a:extLst>
                    <a:ext uri="{FF2B5EF4-FFF2-40B4-BE49-F238E27FC236}">
                      <a16:creationId xmlns:a16="http://schemas.microsoft.com/office/drawing/2014/main" id="{A8107BD0-4DB1-175D-BFDE-AD1B9FD7893F}"/>
                    </a:ext>
                  </a:extLst>
                </p:cNvPr>
                <p:cNvSpPr/>
                <p:nvPr/>
              </p:nvSpPr>
              <p:spPr>
                <a:xfrm>
                  <a:off x="1252377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81" name="Полилиния 780">
                  <a:extLst>
                    <a:ext uri="{FF2B5EF4-FFF2-40B4-BE49-F238E27FC236}">
                      <a16:creationId xmlns:a16="http://schemas.microsoft.com/office/drawing/2014/main" id="{697F78C4-4B77-7B1A-3224-854023FEEF0D}"/>
                    </a:ext>
                  </a:extLst>
                </p:cNvPr>
                <p:cNvSpPr/>
                <p:nvPr/>
              </p:nvSpPr>
              <p:spPr>
                <a:xfrm>
                  <a:off x="1343551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82" name="Полилиния 781">
                  <a:extLst>
                    <a:ext uri="{FF2B5EF4-FFF2-40B4-BE49-F238E27FC236}">
                      <a16:creationId xmlns:a16="http://schemas.microsoft.com/office/drawing/2014/main" id="{9BFB7818-5F64-F6F0-AD70-DFA0D03DB9A9}"/>
                    </a:ext>
                  </a:extLst>
                </p:cNvPr>
                <p:cNvSpPr/>
                <p:nvPr/>
              </p:nvSpPr>
              <p:spPr>
                <a:xfrm>
                  <a:off x="1434726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83" name="Полилиния 782">
                  <a:extLst>
                    <a:ext uri="{FF2B5EF4-FFF2-40B4-BE49-F238E27FC236}">
                      <a16:creationId xmlns:a16="http://schemas.microsoft.com/office/drawing/2014/main" id="{CEECED3E-7E4E-623C-0072-9023AC8AEA75}"/>
                    </a:ext>
                  </a:extLst>
                </p:cNvPr>
                <p:cNvSpPr/>
                <p:nvPr/>
              </p:nvSpPr>
              <p:spPr>
                <a:xfrm rot="5400000">
                  <a:off x="1617074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84" name="Полилиния 783">
                  <a:extLst>
                    <a:ext uri="{FF2B5EF4-FFF2-40B4-BE49-F238E27FC236}">
                      <a16:creationId xmlns:a16="http://schemas.microsoft.com/office/drawing/2014/main" id="{AC5BEB53-4522-CD0B-CED5-209C1D4DBD24}"/>
                    </a:ext>
                  </a:extLst>
                </p:cNvPr>
                <p:cNvSpPr/>
                <p:nvPr/>
              </p:nvSpPr>
              <p:spPr>
                <a:xfrm rot="5400000">
                  <a:off x="1799423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85" name="Полилиния 784">
                  <a:extLst>
                    <a:ext uri="{FF2B5EF4-FFF2-40B4-BE49-F238E27FC236}">
                      <a16:creationId xmlns:a16="http://schemas.microsoft.com/office/drawing/2014/main" id="{7383094E-6446-8964-93DE-1CB8192FC56C}"/>
                    </a:ext>
                  </a:extLst>
                </p:cNvPr>
                <p:cNvSpPr/>
                <p:nvPr/>
              </p:nvSpPr>
              <p:spPr>
                <a:xfrm rot="-5400000">
                  <a:off x="2164120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86" name="Полилиния 785">
                  <a:extLst>
                    <a:ext uri="{FF2B5EF4-FFF2-40B4-BE49-F238E27FC236}">
                      <a16:creationId xmlns:a16="http://schemas.microsoft.com/office/drawing/2014/main" id="{24C5A309-CE6B-5F30-13DB-6F6209556615}"/>
                    </a:ext>
                  </a:extLst>
                </p:cNvPr>
                <p:cNvSpPr/>
                <p:nvPr/>
              </p:nvSpPr>
              <p:spPr>
                <a:xfrm rot="5400000">
                  <a:off x="2346469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87" name="Полилиния 786">
                  <a:extLst>
                    <a:ext uri="{FF2B5EF4-FFF2-40B4-BE49-F238E27FC236}">
                      <a16:creationId xmlns:a16="http://schemas.microsoft.com/office/drawing/2014/main" id="{44BF3A3C-EBE9-F781-FA3A-5287141199B9}"/>
                    </a:ext>
                  </a:extLst>
                </p:cNvPr>
                <p:cNvSpPr/>
                <p:nvPr/>
              </p:nvSpPr>
              <p:spPr>
                <a:xfrm>
                  <a:off x="2528817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88" name="Полилиния 787">
                  <a:extLst>
                    <a:ext uri="{FF2B5EF4-FFF2-40B4-BE49-F238E27FC236}">
                      <a16:creationId xmlns:a16="http://schemas.microsoft.com/office/drawing/2014/main" id="{A9466290-FC4B-D280-2198-9C7CCCF9372F}"/>
                    </a:ext>
                  </a:extLst>
                </p:cNvPr>
                <p:cNvSpPr/>
                <p:nvPr/>
              </p:nvSpPr>
              <p:spPr>
                <a:xfrm rot="5400000">
                  <a:off x="2619992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89" name="Полилиния 788">
                  <a:extLst>
                    <a:ext uri="{FF2B5EF4-FFF2-40B4-BE49-F238E27FC236}">
                      <a16:creationId xmlns:a16="http://schemas.microsoft.com/office/drawing/2014/main" id="{650F1F33-979A-48BA-FF72-36A78F3C4ACA}"/>
                    </a:ext>
                  </a:extLst>
                </p:cNvPr>
                <p:cNvSpPr/>
                <p:nvPr/>
              </p:nvSpPr>
              <p:spPr>
                <a:xfrm rot="-5400000">
                  <a:off x="2802340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0" name="Полилиния 789">
                  <a:extLst>
                    <a:ext uri="{FF2B5EF4-FFF2-40B4-BE49-F238E27FC236}">
                      <a16:creationId xmlns:a16="http://schemas.microsoft.com/office/drawing/2014/main" id="{C1FEC56D-6EC9-3A55-137C-906A37E2379B}"/>
                    </a:ext>
                  </a:extLst>
                </p:cNvPr>
                <p:cNvSpPr/>
                <p:nvPr/>
              </p:nvSpPr>
              <p:spPr>
                <a:xfrm>
                  <a:off x="3075863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1" name="Полилиния 790">
                  <a:extLst>
                    <a:ext uri="{FF2B5EF4-FFF2-40B4-BE49-F238E27FC236}">
                      <a16:creationId xmlns:a16="http://schemas.microsoft.com/office/drawing/2014/main" id="{E4504287-DB7A-130A-96B4-F8F2C38C7235}"/>
                    </a:ext>
                  </a:extLst>
                </p:cNvPr>
                <p:cNvSpPr/>
                <p:nvPr/>
              </p:nvSpPr>
              <p:spPr>
                <a:xfrm>
                  <a:off x="3167038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2" name="Полилиния 791">
                  <a:extLst>
                    <a:ext uri="{FF2B5EF4-FFF2-40B4-BE49-F238E27FC236}">
                      <a16:creationId xmlns:a16="http://schemas.microsoft.com/office/drawing/2014/main" id="{4A945A7A-1EA3-05A0-8FDB-2CC70305C773}"/>
                    </a:ext>
                  </a:extLst>
                </p:cNvPr>
                <p:cNvSpPr/>
                <p:nvPr/>
              </p:nvSpPr>
              <p:spPr>
                <a:xfrm>
                  <a:off x="3258212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3" name="Полилиния 792">
                  <a:extLst>
                    <a:ext uri="{FF2B5EF4-FFF2-40B4-BE49-F238E27FC236}">
                      <a16:creationId xmlns:a16="http://schemas.microsoft.com/office/drawing/2014/main" id="{EB907123-1EB3-A221-B7D6-BB422B434E8C}"/>
                    </a:ext>
                  </a:extLst>
                </p:cNvPr>
                <p:cNvSpPr/>
                <p:nvPr/>
              </p:nvSpPr>
              <p:spPr>
                <a:xfrm>
                  <a:off x="3349386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4" name="Полилиния 793">
                  <a:extLst>
                    <a:ext uri="{FF2B5EF4-FFF2-40B4-BE49-F238E27FC236}">
                      <a16:creationId xmlns:a16="http://schemas.microsoft.com/office/drawing/2014/main" id="{107CD3D1-A1B6-E976-E599-E282367B59BF}"/>
                    </a:ext>
                  </a:extLst>
                </p:cNvPr>
                <p:cNvSpPr/>
                <p:nvPr/>
              </p:nvSpPr>
              <p:spPr>
                <a:xfrm>
                  <a:off x="3440561" y="5177516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5" name="Полилиния 794">
                  <a:extLst>
                    <a:ext uri="{FF2B5EF4-FFF2-40B4-BE49-F238E27FC236}">
                      <a16:creationId xmlns:a16="http://schemas.microsoft.com/office/drawing/2014/main" id="{9C979351-8161-5A57-9E9B-D57E078A09D7}"/>
                    </a:ext>
                  </a:extLst>
                </p:cNvPr>
                <p:cNvSpPr/>
                <p:nvPr/>
              </p:nvSpPr>
              <p:spPr>
                <a:xfrm>
                  <a:off x="1252377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6" name="Полилиния 795">
                  <a:extLst>
                    <a:ext uri="{FF2B5EF4-FFF2-40B4-BE49-F238E27FC236}">
                      <a16:creationId xmlns:a16="http://schemas.microsoft.com/office/drawing/2014/main" id="{EDD75303-F496-785E-E384-7C95D679620C}"/>
                    </a:ext>
                  </a:extLst>
                </p:cNvPr>
                <p:cNvSpPr/>
                <p:nvPr/>
              </p:nvSpPr>
              <p:spPr>
                <a:xfrm>
                  <a:off x="1434726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7" name="Полилиния 796">
                  <a:extLst>
                    <a:ext uri="{FF2B5EF4-FFF2-40B4-BE49-F238E27FC236}">
                      <a16:creationId xmlns:a16="http://schemas.microsoft.com/office/drawing/2014/main" id="{7E1260B2-304D-7169-63FC-7E2D82D41336}"/>
                    </a:ext>
                  </a:extLst>
                </p:cNvPr>
                <p:cNvSpPr/>
                <p:nvPr/>
              </p:nvSpPr>
              <p:spPr>
                <a:xfrm rot="5400000">
                  <a:off x="1525900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8" name="Полилиния 797">
                  <a:extLst>
                    <a:ext uri="{FF2B5EF4-FFF2-40B4-BE49-F238E27FC236}">
                      <a16:creationId xmlns:a16="http://schemas.microsoft.com/office/drawing/2014/main" id="{0136A1C0-786E-352E-FCAA-BAB344E2D5B2}"/>
                    </a:ext>
                  </a:extLst>
                </p:cNvPr>
                <p:cNvSpPr/>
                <p:nvPr/>
              </p:nvSpPr>
              <p:spPr>
                <a:xfrm rot="5400000">
                  <a:off x="2164120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9" name="Полилиния 798">
                  <a:extLst>
                    <a:ext uri="{FF2B5EF4-FFF2-40B4-BE49-F238E27FC236}">
                      <a16:creationId xmlns:a16="http://schemas.microsoft.com/office/drawing/2014/main" id="{15F8BAB5-EFE6-D8DC-EADA-7A21DD27462F}"/>
                    </a:ext>
                  </a:extLst>
                </p:cNvPr>
                <p:cNvSpPr/>
                <p:nvPr/>
              </p:nvSpPr>
              <p:spPr>
                <a:xfrm rot="-5400000">
                  <a:off x="2437643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0" name="Полилиния 799">
                  <a:extLst>
                    <a:ext uri="{FF2B5EF4-FFF2-40B4-BE49-F238E27FC236}">
                      <a16:creationId xmlns:a16="http://schemas.microsoft.com/office/drawing/2014/main" id="{D33C0FFB-7F3D-F370-C480-035C5E9C2B53}"/>
                    </a:ext>
                  </a:extLst>
                </p:cNvPr>
                <p:cNvSpPr/>
                <p:nvPr/>
              </p:nvSpPr>
              <p:spPr>
                <a:xfrm>
                  <a:off x="2802340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1" name="Полилиния 800">
                  <a:extLst>
                    <a:ext uri="{FF2B5EF4-FFF2-40B4-BE49-F238E27FC236}">
                      <a16:creationId xmlns:a16="http://schemas.microsoft.com/office/drawing/2014/main" id="{82221C55-BFA1-206D-D90F-263B27FCA739}"/>
                    </a:ext>
                  </a:extLst>
                </p:cNvPr>
                <p:cNvSpPr/>
                <p:nvPr/>
              </p:nvSpPr>
              <p:spPr>
                <a:xfrm rot="-5400000">
                  <a:off x="2984689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2" name="Полилиния 801">
                  <a:extLst>
                    <a:ext uri="{FF2B5EF4-FFF2-40B4-BE49-F238E27FC236}">
                      <a16:creationId xmlns:a16="http://schemas.microsoft.com/office/drawing/2014/main" id="{017CD9D0-5B76-0603-1499-3C2FE8C877FA}"/>
                    </a:ext>
                  </a:extLst>
                </p:cNvPr>
                <p:cNvSpPr/>
                <p:nvPr/>
              </p:nvSpPr>
              <p:spPr>
                <a:xfrm>
                  <a:off x="3167038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3" name="Полилиния 802">
                  <a:extLst>
                    <a:ext uri="{FF2B5EF4-FFF2-40B4-BE49-F238E27FC236}">
                      <a16:creationId xmlns:a16="http://schemas.microsoft.com/office/drawing/2014/main" id="{8D412086-1F5A-D592-64C3-2DBC34E2BD7C}"/>
                    </a:ext>
                  </a:extLst>
                </p:cNvPr>
                <p:cNvSpPr/>
                <p:nvPr/>
              </p:nvSpPr>
              <p:spPr>
                <a:xfrm>
                  <a:off x="3258212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4" name="Полилиния 803">
                  <a:extLst>
                    <a:ext uri="{FF2B5EF4-FFF2-40B4-BE49-F238E27FC236}">
                      <a16:creationId xmlns:a16="http://schemas.microsoft.com/office/drawing/2014/main" id="{54345EB4-0658-8CDC-B230-889AA1599B8F}"/>
                    </a:ext>
                  </a:extLst>
                </p:cNvPr>
                <p:cNvSpPr/>
                <p:nvPr/>
              </p:nvSpPr>
              <p:spPr>
                <a:xfrm rot="5400000">
                  <a:off x="3440561" y="526869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5" name="Полилиния 804">
                  <a:extLst>
                    <a:ext uri="{FF2B5EF4-FFF2-40B4-BE49-F238E27FC236}">
                      <a16:creationId xmlns:a16="http://schemas.microsoft.com/office/drawing/2014/main" id="{6C95F849-62DF-F882-D4BC-A2BCAB65E6FC}"/>
                    </a:ext>
                  </a:extLst>
                </p:cNvPr>
                <p:cNvSpPr/>
                <p:nvPr/>
              </p:nvSpPr>
              <p:spPr>
                <a:xfrm rot="5400000">
                  <a:off x="1252377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6" name="Полилиния 805">
                  <a:extLst>
                    <a:ext uri="{FF2B5EF4-FFF2-40B4-BE49-F238E27FC236}">
                      <a16:creationId xmlns:a16="http://schemas.microsoft.com/office/drawing/2014/main" id="{F8543CBD-C548-253A-AC6A-10317C9F32D7}"/>
                    </a:ext>
                  </a:extLst>
                </p:cNvPr>
                <p:cNvSpPr/>
                <p:nvPr/>
              </p:nvSpPr>
              <p:spPr>
                <a:xfrm rot="-5400000">
                  <a:off x="1617074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7" name="Полилиния 806">
                  <a:extLst>
                    <a:ext uri="{FF2B5EF4-FFF2-40B4-BE49-F238E27FC236}">
                      <a16:creationId xmlns:a16="http://schemas.microsoft.com/office/drawing/2014/main" id="{947E5750-943F-2978-E048-D7ED31F94E4D}"/>
                    </a:ext>
                  </a:extLst>
                </p:cNvPr>
                <p:cNvSpPr/>
                <p:nvPr/>
              </p:nvSpPr>
              <p:spPr>
                <a:xfrm>
                  <a:off x="1708249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8" name="Полилиния 807">
                  <a:extLst>
                    <a:ext uri="{FF2B5EF4-FFF2-40B4-BE49-F238E27FC236}">
                      <a16:creationId xmlns:a16="http://schemas.microsoft.com/office/drawing/2014/main" id="{5E269F13-A1FB-0529-29C7-A4E29C196E59}"/>
                    </a:ext>
                  </a:extLst>
                </p:cNvPr>
                <p:cNvSpPr/>
                <p:nvPr/>
              </p:nvSpPr>
              <p:spPr>
                <a:xfrm rot="5400000">
                  <a:off x="1799423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9" name="Полилиния 808">
                  <a:extLst>
                    <a:ext uri="{FF2B5EF4-FFF2-40B4-BE49-F238E27FC236}">
                      <a16:creationId xmlns:a16="http://schemas.microsoft.com/office/drawing/2014/main" id="{1EDE576E-63FC-453E-C03D-99FF799D4585}"/>
                    </a:ext>
                  </a:extLst>
                </p:cNvPr>
                <p:cNvSpPr/>
                <p:nvPr/>
              </p:nvSpPr>
              <p:spPr>
                <a:xfrm rot="5400000">
                  <a:off x="2072946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0" name="Полилиния 809">
                  <a:extLst>
                    <a:ext uri="{FF2B5EF4-FFF2-40B4-BE49-F238E27FC236}">
                      <a16:creationId xmlns:a16="http://schemas.microsoft.com/office/drawing/2014/main" id="{ABD872A3-0077-81DF-58AB-9C7DDB8ACF0D}"/>
                    </a:ext>
                  </a:extLst>
                </p:cNvPr>
                <p:cNvSpPr/>
                <p:nvPr/>
              </p:nvSpPr>
              <p:spPr>
                <a:xfrm rot="-5400000">
                  <a:off x="2255295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1" name="Полилиния 810">
                  <a:extLst>
                    <a:ext uri="{FF2B5EF4-FFF2-40B4-BE49-F238E27FC236}">
                      <a16:creationId xmlns:a16="http://schemas.microsoft.com/office/drawing/2014/main" id="{779C8A92-DEAA-9938-B9DD-A7A8B140BAEF}"/>
                    </a:ext>
                  </a:extLst>
                </p:cNvPr>
                <p:cNvSpPr/>
                <p:nvPr/>
              </p:nvSpPr>
              <p:spPr>
                <a:xfrm>
                  <a:off x="2437643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2" name="Полилиния 811">
                  <a:extLst>
                    <a:ext uri="{FF2B5EF4-FFF2-40B4-BE49-F238E27FC236}">
                      <a16:creationId xmlns:a16="http://schemas.microsoft.com/office/drawing/2014/main" id="{87F70CBF-5932-30BE-8D58-993989D369A0}"/>
                    </a:ext>
                  </a:extLst>
                </p:cNvPr>
                <p:cNvSpPr/>
                <p:nvPr/>
              </p:nvSpPr>
              <p:spPr>
                <a:xfrm>
                  <a:off x="2528817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3" name="Полилиния 812">
                  <a:extLst>
                    <a:ext uri="{FF2B5EF4-FFF2-40B4-BE49-F238E27FC236}">
                      <a16:creationId xmlns:a16="http://schemas.microsoft.com/office/drawing/2014/main" id="{79EB3002-F9BE-A182-A025-2FAAA696DA59}"/>
                    </a:ext>
                  </a:extLst>
                </p:cNvPr>
                <p:cNvSpPr/>
                <p:nvPr/>
              </p:nvSpPr>
              <p:spPr>
                <a:xfrm>
                  <a:off x="2619992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4" name="Полилиния 813">
                  <a:extLst>
                    <a:ext uri="{FF2B5EF4-FFF2-40B4-BE49-F238E27FC236}">
                      <a16:creationId xmlns:a16="http://schemas.microsoft.com/office/drawing/2014/main" id="{D7B23AF1-A1F3-C0A7-1664-AAD8A86BD083}"/>
                    </a:ext>
                  </a:extLst>
                </p:cNvPr>
                <p:cNvSpPr/>
                <p:nvPr/>
              </p:nvSpPr>
              <p:spPr>
                <a:xfrm>
                  <a:off x="2711166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5" name="Полилиния 814">
                  <a:extLst>
                    <a:ext uri="{FF2B5EF4-FFF2-40B4-BE49-F238E27FC236}">
                      <a16:creationId xmlns:a16="http://schemas.microsoft.com/office/drawing/2014/main" id="{9EE40735-CB90-F49F-E1E9-AA1E6A9C6B9C}"/>
                    </a:ext>
                  </a:extLst>
                </p:cNvPr>
                <p:cNvSpPr/>
                <p:nvPr/>
              </p:nvSpPr>
              <p:spPr>
                <a:xfrm>
                  <a:off x="2802340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6" name="Полилиния 815">
                  <a:extLst>
                    <a:ext uri="{FF2B5EF4-FFF2-40B4-BE49-F238E27FC236}">
                      <a16:creationId xmlns:a16="http://schemas.microsoft.com/office/drawing/2014/main" id="{8DC589C7-8139-EFF5-6CB3-94F156A862E3}"/>
                    </a:ext>
                  </a:extLst>
                </p:cNvPr>
                <p:cNvSpPr/>
                <p:nvPr/>
              </p:nvSpPr>
              <p:spPr>
                <a:xfrm>
                  <a:off x="2893515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7" name="Полилиния 816">
                  <a:extLst>
                    <a:ext uri="{FF2B5EF4-FFF2-40B4-BE49-F238E27FC236}">
                      <a16:creationId xmlns:a16="http://schemas.microsoft.com/office/drawing/2014/main" id="{D00E6B80-81D7-2300-7B38-F04EC038EF5E}"/>
                    </a:ext>
                  </a:extLst>
                </p:cNvPr>
                <p:cNvSpPr/>
                <p:nvPr/>
              </p:nvSpPr>
              <p:spPr>
                <a:xfrm>
                  <a:off x="2984689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8" name="Полилиния 817">
                  <a:extLst>
                    <a:ext uri="{FF2B5EF4-FFF2-40B4-BE49-F238E27FC236}">
                      <a16:creationId xmlns:a16="http://schemas.microsoft.com/office/drawing/2014/main" id="{2082D887-6700-614B-48DE-8A1CB5208724}"/>
                    </a:ext>
                  </a:extLst>
                </p:cNvPr>
                <p:cNvSpPr/>
                <p:nvPr/>
              </p:nvSpPr>
              <p:spPr>
                <a:xfrm>
                  <a:off x="3075863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9" name="Полилиния 818">
                  <a:extLst>
                    <a:ext uri="{FF2B5EF4-FFF2-40B4-BE49-F238E27FC236}">
                      <a16:creationId xmlns:a16="http://schemas.microsoft.com/office/drawing/2014/main" id="{8D49E80B-0F8C-9118-ABE3-096FFD9FC673}"/>
                    </a:ext>
                  </a:extLst>
                </p:cNvPr>
                <p:cNvSpPr/>
                <p:nvPr/>
              </p:nvSpPr>
              <p:spPr>
                <a:xfrm>
                  <a:off x="3258212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0" name="Полилиния 819">
                  <a:extLst>
                    <a:ext uri="{FF2B5EF4-FFF2-40B4-BE49-F238E27FC236}">
                      <a16:creationId xmlns:a16="http://schemas.microsoft.com/office/drawing/2014/main" id="{3A743D44-7C0D-1CF2-ACA7-B89F67D3BDBD}"/>
                    </a:ext>
                  </a:extLst>
                </p:cNvPr>
                <p:cNvSpPr/>
                <p:nvPr/>
              </p:nvSpPr>
              <p:spPr>
                <a:xfrm>
                  <a:off x="3349386" y="535986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1" name="Полилиния 820">
                  <a:extLst>
                    <a:ext uri="{FF2B5EF4-FFF2-40B4-BE49-F238E27FC236}">
                      <a16:creationId xmlns:a16="http://schemas.microsoft.com/office/drawing/2014/main" id="{6C5EFFCC-B223-0494-4AD2-F828272BDAAB}"/>
                    </a:ext>
                  </a:extLst>
                </p:cNvPr>
                <p:cNvSpPr/>
                <p:nvPr/>
              </p:nvSpPr>
              <p:spPr>
                <a:xfrm rot="5400000">
                  <a:off x="1981772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2" name="Полилиния 821">
                  <a:extLst>
                    <a:ext uri="{FF2B5EF4-FFF2-40B4-BE49-F238E27FC236}">
                      <a16:creationId xmlns:a16="http://schemas.microsoft.com/office/drawing/2014/main" id="{B46C4B4E-3022-63E8-DED3-DDE3BFCD98AE}"/>
                    </a:ext>
                  </a:extLst>
                </p:cNvPr>
                <p:cNvSpPr/>
                <p:nvPr/>
              </p:nvSpPr>
              <p:spPr>
                <a:xfrm>
                  <a:off x="2255295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3" name="Полилиния 822">
                  <a:extLst>
                    <a:ext uri="{FF2B5EF4-FFF2-40B4-BE49-F238E27FC236}">
                      <a16:creationId xmlns:a16="http://schemas.microsoft.com/office/drawing/2014/main" id="{2DBBE039-4CF0-E255-0F7F-E5F6FB2F3B8A}"/>
                    </a:ext>
                  </a:extLst>
                </p:cNvPr>
                <p:cNvSpPr/>
                <p:nvPr/>
              </p:nvSpPr>
              <p:spPr>
                <a:xfrm rot="5400000">
                  <a:off x="2346469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4" name="Полилиния 823">
                  <a:extLst>
                    <a:ext uri="{FF2B5EF4-FFF2-40B4-BE49-F238E27FC236}">
                      <a16:creationId xmlns:a16="http://schemas.microsoft.com/office/drawing/2014/main" id="{E61C9F66-43F4-1E9B-101C-D89E46F77ECB}"/>
                    </a:ext>
                  </a:extLst>
                </p:cNvPr>
                <p:cNvSpPr/>
                <p:nvPr/>
              </p:nvSpPr>
              <p:spPr>
                <a:xfrm>
                  <a:off x="2619992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5" name="Полилиния 824">
                  <a:extLst>
                    <a:ext uri="{FF2B5EF4-FFF2-40B4-BE49-F238E27FC236}">
                      <a16:creationId xmlns:a16="http://schemas.microsoft.com/office/drawing/2014/main" id="{35E06797-D8E0-F60F-3C9D-C186DD142CA2}"/>
                    </a:ext>
                  </a:extLst>
                </p:cNvPr>
                <p:cNvSpPr/>
                <p:nvPr/>
              </p:nvSpPr>
              <p:spPr>
                <a:xfrm>
                  <a:off x="2711166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6" name="Полилиния 825">
                  <a:extLst>
                    <a:ext uri="{FF2B5EF4-FFF2-40B4-BE49-F238E27FC236}">
                      <a16:creationId xmlns:a16="http://schemas.microsoft.com/office/drawing/2014/main" id="{049D8DE0-BCAE-00D9-94B1-FE8AE509149B}"/>
                    </a:ext>
                  </a:extLst>
                </p:cNvPr>
                <p:cNvSpPr/>
                <p:nvPr/>
              </p:nvSpPr>
              <p:spPr>
                <a:xfrm>
                  <a:off x="3075863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7" name="Полилиния 826">
                  <a:extLst>
                    <a:ext uri="{FF2B5EF4-FFF2-40B4-BE49-F238E27FC236}">
                      <a16:creationId xmlns:a16="http://schemas.microsoft.com/office/drawing/2014/main" id="{ECF61AB9-3C6F-7B91-D153-D1A08BF45E4A}"/>
                    </a:ext>
                  </a:extLst>
                </p:cNvPr>
                <p:cNvSpPr/>
                <p:nvPr/>
              </p:nvSpPr>
              <p:spPr>
                <a:xfrm>
                  <a:off x="3258212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8" name="Полилиния 827">
                  <a:extLst>
                    <a:ext uri="{FF2B5EF4-FFF2-40B4-BE49-F238E27FC236}">
                      <a16:creationId xmlns:a16="http://schemas.microsoft.com/office/drawing/2014/main" id="{2A5B97ED-7216-6A96-5FCF-259F157EE5C1}"/>
                    </a:ext>
                  </a:extLst>
                </p:cNvPr>
                <p:cNvSpPr/>
                <p:nvPr/>
              </p:nvSpPr>
              <p:spPr>
                <a:xfrm rot="5400000">
                  <a:off x="3349386" y="5451039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9" name="Полилиния 828">
                  <a:extLst>
                    <a:ext uri="{FF2B5EF4-FFF2-40B4-BE49-F238E27FC236}">
                      <a16:creationId xmlns:a16="http://schemas.microsoft.com/office/drawing/2014/main" id="{34186A6A-3D07-EC5C-0BB7-7560AE53485B}"/>
                    </a:ext>
                  </a:extLst>
                </p:cNvPr>
                <p:cNvSpPr/>
                <p:nvPr/>
              </p:nvSpPr>
              <p:spPr>
                <a:xfrm>
                  <a:off x="2255295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0" name="Полилиния 829">
                  <a:extLst>
                    <a:ext uri="{FF2B5EF4-FFF2-40B4-BE49-F238E27FC236}">
                      <a16:creationId xmlns:a16="http://schemas.microsoft.com/office/drawing/2014/main" id="{E2FC090A-C533-2155-E1D4-340498D60F4C}"/>
                    </a:ext>
                  </a:extLst>
                </p:cNvPr>
                <p:cNvSpPr/>
                <p:nvPr/>
              </p:nvSpPr>
              <p:spPr>
                <a:xfrm rot="5400000">
                  <a:off x="2437643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1" name="Полилиния 830">
                  <a:extLst>
                    <a:ext uri="{FF2B5EF4-FFF2-40B4-BE49-F238E27FC236}">
                      <a16:creationId xmlns:a16="http://schemas.microsoft.com/office/drawing/2014/main" id="{3870CD64-4EAE-31E7-3DD5-BD0E84F0F64F}"/>
                    </a:ext>
                  </a:extLst>
                </p:cNvPr>
                <p:cNvSpPr/>
                <p:nvPr/>
              </p:nvSpPr>
              <p:spPr>
                <a:xfrm>
                  <a:off x="2711166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2" name="Полилиния 831">
                  <a:extLst>
                    <a:ext uri="{FF2B5EF4-FFF2-40B4-BE49-F238E27FC236}">
                      <a16:creationId xmlns:a16="http://schemas.microsoft.com/office/drawing/2014/main" id="{611000A6-EE4E-3215-2E2E-275308F856D4}"/>
                    </a:ext>
                  </a:extLst>
                </p:cNvPr>
                <p:cNvSpPr/>
                <p:nvPr/>
              </p:nvSpPr>
              <p:spPr>
                <a:xfrm rot="5400000">
                  <a:off x="2893515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3" name="Полилиния 832">
                  <a:extLst>
                    <a:ext uri="{FF2B5EF4-FFF2-40B4-BE49-F238E27FC236}">
                      <a16:creationId xmlns:a16="http://schemas.microsoft.com/office/drawing/2014/main" id="{3A6F9E03-1E43-D90A-9DBB-320063BC3996}"/>
                    </a:ext>
                  </a:extLst>
                </p:cNvPr>
                <p:cNvSpPr/>
                <p:nvPr/>
              </p:nvSpPr>
              <p:spPr>
                <a:xfrm>
                  <a:off x="3075863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4" name="Полилиния 833">
                  <a:extLst>
                    <a:ext uri="{FF2B5EF4-FFF2-40B4-BE49-F238E27FC236}">
                      <a16:creationId xmlns:a16="http://schemas.microsoft.com/office/drawing/2014/main" id="{76F12956-67DC-9B77-CFC0-A67B101258F4}"/>
                    </a:ext>
                  </a:extLst>
                </p:cNvPr>
                <p:cNvSpPr/>
                <p:nvPr/>
              </p:nvSpPr>
              <p:spPr>
                <a:xfrm rot="-5400000">
                  <a:off x="3440561" y="5542214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5" name="Полилиния 834">
                  <a:extLst>
                    <a:ext uri="{FF2B5EF4-FFF2-40B4-BE49-F238E27FC236}">
                      <a16:creationId xmlns:a16="http://schemas.microsoft.com/office/drawing/2014/main" id="{12705EB1-2E31-584F-A235-14EDDFAFA9A7}"/>
                    </a:ext>
                  </a:extLst>
                </p:cNvPr>
                <p:cNvSpPr/>
                <p:nvPr/>
              </p:nvSpPr>
              <p:spPr>
                <a:xfrm rot="-5400000">
                  <a:off x="1981772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6" name="Полилиния 835">
                  <a:extLst>
                    <a:ext uri="{FF2B5EF4-FFF2-40B4-BE49-F238E27FC236}">
                      <a16:creationId xmlns:a16="http://schemas.microsoft.com/office/drawing/2014/main" id="{931A1042-D817-8EB0-DD5C-A21F444F3568}"/>
                    </a:ext>
                  </a:extLst>
                </p:cNvPr>
                <p:cNvSpPr/>
                <p:nvPr/>
              </p:nvSpPr>
              <p:spPr>
                <a:xfrm>
                  <a:off x="2255295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7" name="Полилиния 836">
                  <a:extLst>
                    <a:ext uri="{FF2B5EF4-FFF2-40B4-BE49-F238E27FC236}">
                      <a16:creationId xmlns:a16="http://schemas.microsoft.com/office/drawing/2014/main" id="{D9718391-83DC-AD86-8065-8C3343B8FA1D}"/>
                    </a:ext>
                  </a:extLst>
                </p:cNvPr>
                <p:cNvSpPr/>
                <p:nvPr/>
              </p:nvSpPr>
              <p:spPr>
                <a:xfrm rot="-5400000">
                  <a:off x="2619992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8" name="Полилиния 837">
                  <a:extLst>
                    <a:ext uri="{FF2B5EF4-FFF2-40B4-BE49-F238E27FC236}">
                      <a16:creationId xmlns:a16="http://schemas.microsoft.com/office/drawing/2014/main" id="{83E07249-015F-987D-65C8-CA1D89E18510}"/>
                    </a:ext>
                  </a:extLst>
                </p:cNvPr>
                <p:cNvSpPr/>
                <p:nvPr/>
              </p:nvSpPr>
              <p:spPr>
                <a:xfrm>
                  <a:off x="2711166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9" name="Полилиния 838">
                  <a:extLst>
                    <a:ext uri="{FF2B5EF4-FFF2-40B4-BE49-F238E27FC236}">
                      <a16:creationId xmlns:a16="http://schemas.microsoft.com/office/drawing/2014/main" id="{10CB3FA8-C3A7-5CA8-6A70-C451EE9E789E}"/>
                    </a:ext>
                  </a:extLst>
                </p:cNvPr>
                <p:cNvSpPr/>
                <p:nvPr/>
              </p:nvSpPr>
              <p:spPr>
                <a:xfrm>
                  <a:off x="3075863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0" name="Полилиния 839">
                  <a:extLst>
                    <a:ext uri="{FF2B5EF4-FFF2-40B4-BE49-F238E27FC236}">
                      <a16:creationId xmlns:a16="http://schemas.microsoft.com/office/drawing/2014/main" id="{A3BF3BB0-BBAD-BD17-8CFE-27BBBD902BF4}"/>
                    </a:ext>
                  </a:extLst>
                </p:cNvPr>
                <p:cNvSpPr/>
                <p:nvPr/>
              </p:nvSpPr>
              <p:spPr>
                <a:xfrm>
                  <a:off x="3440561" y="5633388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1" name="Полилиния 840">
                  <a:extLst>
                    <a:ext uri="{FF2B5EF4-FFF2-40B4-BE49-F238E27FC236}">
                      <a16:creationId xmlns:a16="http://schemas.microsoft.com/office/drawing/2014/main" id="{67E9DEEB-ED11-A355-9EEC-D9D7B7F5F750}"/>
                    </a:ext>
                  </a:extLst>
                </p:cNvPr>
                <p:cNvSpPr/>
                <p:nvPr/>
              </p:nvSpPr>
              <p:spPr>
                <a:xfrm>
                  <a:off x="1981772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2" name="Полилиния 841">
                  <a:extLst>
                    <a:ext uri="{FF2B5EF4-FFF2-40B4-BE49-F238E27FC236}">
                      <a16:creationId xmlns:a16="http://schemas.microsoft.com/office/drawing/2014/main" id="{8F9059AC-8115-DD94-085D-6A31F051737E}"/>
                    </a:ext>
                  </a:extLst>
                </p:cNvPr>
                <p:cNvSpPr/>
                <p:nvPr/>
              </p:nvSpPr>
              <p:spPr>
                <a:xfrm rot="-5400000">
                  <a:off x="2164120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3" name="Полилиния 842">
                  <a:extLst>
                    <a:ext uri="{FF2B5EF4-FFF2-40B4-BE49-F238E27FC236}">
                      <a16:creationId xmlns:a16="http://schemas.microsoft.com/office/drawing/2014/main" id="{8F534931-4F3A-29CA-704B-D495E331B6CA}"/>
                    </a:ext>
                  </a:extLst>
                </p:cNvPr>
                <p:cNvSpPr/>
                <p:nvPr/>
              </p:nvSpPr>
              <p:spPr>
                <a:xfrm>
                  <a:off x="2255295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4" name="Полилиния 843">
                  <a:extLst>
                    <a:ext uri="{FF2B5EF4-FFF2-40B4-BE49-F238E27FC236}">
                      <a16:creationId xmlns:a16="http://schemas.microsoft.com/office/drawing/2014/main" id="{84E1D542-BC40-0E4B-5EEE-D9618ED99DD6}"/>
                    </a:ext>
                  </a:extLst>
                </p:cNvPr>
                <p:cNvSpPr/>
                <p:nvPr/>
              </p:nvSpPr>
              <p:spPr>
                <a:xfrm>
                  <a:off x="2346469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5" name="Полилиния 844">
                  <a:extLst>
                    <a:ext uri="{FF2B5EF4-FFF2-40B4-BE49-F238E27FC236}">
                      <a16:creationId xmlns:a16="http://schemas.microsoft.com/office/drawing/2014/main" id="{7457609A-7378-48D0-4142-2595F4D631A1}"/>
                    </a:ext>
                  </a:extLst>
                </p:cNvPr>
                <p:cNvSpPr/>
                <p:nvPr/>
              </p:nvSpPr>
              <p:spPr>
                <a:xfrm>
                  <a:off x="2437643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6" name="Полилиния 845">
                  <a:extLst>
                    <a:ext uri="{FF2B5EF4-FFF2-40B4-BE49-F238E27FC236}">
                      <a16:creationId xmlns:a16="http://schemas.microsoft.com/office/drawing/2014/main" id="{C8D21FE2-5731-DDCD-0D81-05BC0AD4D82B}"/>
                    </a:ext>
                  </a:extLst>
                </p:cNvPr>
                <p:cNvSpPr/>
                <p:nvPr/>
              </p:nvSpPr>
              <p:spPr>
                <a:xfrm>
                  <a:off x="2528817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7" name="Полилиния 846">
                  <a:extLst>
                    <a:ext uri="{FF2B5EF4-FFF2-40B4-BE49-F238E27FC236}">
                      <a16:creationId xmlns:a16="http://schemas.microsoft.com/office/drawing/2014/main" id="{BBB6B7BF-1DD2-897C-7215-1F5FF3088D28}"/>
                    </a:ext>
                  </a:extLst>
                </p:cNvPr>
                <p:cNvSpPr/>
                <p:nvPr/>
              </p:nvSpPr>
              <p:spPr>
                <a:xfrm>
                  <a:off x="2619992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8" name="Полилиния 847">
                  <a:extLst>
                    <a:ext uri="{FF2B5EF4-FFF2-40B4-BE49-F238E27FC236}">
                      <a16:creationId xmlns:a16="http://schemas.microsoft.com/office/drawing/2014/main" id="{8ECB727F-DF11-9ABA-C544-23069F28D147}"/>
                    </a:ext>
                  </a:extLst>
                </p:cNvPr>
                <p:cNvSpPr/>
                <p:nvPr/>
              </p:nvSpPr>
              <p:spPr>
                <a:xfrm>
                  <a:off x="2711166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9" name="Полилиния 848">
                  <a:extLst>
                    <a:ext uri="{FF2B5EF4-FFF2-40B4-BE49-F238E27FC236}">
                      <a16:creationId xmlns:a16="http://schemas.microsoft.com/office/drawing/2014/main" id="{92E119C7-9AA3-74C2-37CD-81280E48116E}"/>
                    </a:ext>
                  </a:extLst>
                </p:cNvPr>
                <p:cNvSpPr/>
                <p:nvPr/>
              </p:nvSpPr>
              <p:spPr>
                <a:xfrm>
                  <a:off x="2802340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0" name="Полилиния 849">
                  <a:extLst>
                    <a:ext uri="{FF2B5EF4-FFF2-40B4-BE49-F238E27FC236}">
                      <a16:creationId xmlns:a16="http://schemas.microsoft.com/office/drawing/2014/main" id="{A7F184CE-83A2-93CF-BCDE-7A457EA255C3}"/>
                    </a:ext>
                  </a:extLst>
                </p:cNvPr>
                <p:cNvSpPr/>
                <p:nvPr/>
              </p:nvSpPr>
              <p:spPr>
                <a:xfrm>
                  <a:off x="2893515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1" name="Полилиния 850">
                  <a:extLst>
                    <a:ext uri="{FF2B5EF4-FFF2-40B4-BE49-F238E27FC236}">
                      <a16:creationId xmlns:a16="http://schemas.microsoft.com/office/drawing/2014/main" id="{8A378B42-3EC7-EBA6-B265-F733F430A50F}"/>
                    </a:ext>
                  </a:extLst>
                </p:cNvPr>
                <p:cNvSpPr/>
                <p:nvPr/>
              </p:nvSpPr>
              <p:spPr>
                <a:xfrm>
                  <a:off x="2984689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2" name="Полилиния 851">
                  <a:extLst>
                    <a:ext uri="{FF2B5EF4-FFF2-40B4-BE49-F238E27FC236}">
                      <a16:creationId xmlns:a16="http://schemas.microsoft.com/office/drawing/2014/main" id="{2C87C76A-4DA9-AE63-C514-D14ACD5E808E}"/>
                    </a:ext>
                  </a:extLst>
                </p:cNvPr>
                <p:cNvSpPr/>
                <p:nvPr/>
              </p:nvSpPr>
              <p:spPr>
                <a:xfrm rot="5400000">
                  <a:off x="3075863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3" name="Полилиния 852">
                  <a:extLst>
                    <a:ext uri="{FF2B5EF4-FFF2-40B4-BE49-F238E27FC236}">
                      <a16:creationId xmlns:a16="http://schemas.microsoft.com/office/drawing/2014/main" id="{F18587EF-D307-AF62-618A-81628E5AD21B}"/>
                    </a:ext>
                  </a:extLst>
                </p:cNvPr>
                <p:cNvSpPr/>
                <p:nvPr/>
              </p:nvSpPr>
              <p:spPr>
                <a:xfrm rot="-5400000">
                  <a:off x="3349386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4" name="Полилиния 853">
                  <a:extLst>
                    <a:ext uri="{FF2B5EF4-FFF2-40B4-BE49-F238E27FC236}">
                      <a16:creationId xmlns:a16="http://schemas.microsoft.com/office/drawing/2014/main" id="{7453C610-D3DE-E3B8-E25D-8F382C1D556F}"/>
                    </a:ext>
                  </a:extLst>
                </p:cNvPr>
                <p:cNvSpPr/>
                <p:nvPr/>
              </p:nvSpPr>
              <p:spPr>
                <a:xfrm>
                  <a:off x="3440561" y="5724562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5" name="Полилиния 854">
                  <a:extLst>
                    <a:ext uri="{FF2B5EF4-FFF2-40B4-BE49-F238E27FC236}">
                      <a16:creationId xmlns:a16="http://schemas.microsoft.com/office/drawing/2014/main" id="{2B96A9E9-0C39-D241-CDD7-224D4F5CBA84}"/>
                    </a:ext>
                  </a:extLst>
                </p:cNvPr>
                <p:cNvSpPr/>
                <p:nvPr/>
              </p:nvSpPr>
              <p:spPr>
                <a:xfrm>
                  <a:off x="1981772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6" name="Полилиния 855">
                  <a:extLst>
                    <a:ext uri="{FF2B5EF4-FFF2-40B4-BE49-F238E27FC236}">
                      <a16:creationId xmlns:a16="http://schemas.microsoft.com/office/drawing/2014/main" id="{5A34AC47-AF1A-E511-657A-B917AE7AD647}"/>
                    </a:ext>
                  </a:extLst>
                </p:cNvPr>
                <p:cNvSpPr/>
                <p:nvPr/>
              </p:nvSpPr>
              <p:spPr>
                <a:xfrm>
                  <a:off x="2072946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7" name="Полилиния 856">
                  <a:extLst>
                    <a:ext uri="{FF2B5EF4-FFF2-40B4-BE49-F238E27FC236}">
                      <a16:creationId xmlns:a16="http://schemas.microsoft.com/office/drawing/2014/main" id="{DD5E05B3-7128-EF63-6C07-31399E428098}"/>
                    </a:ext>
                  </a:extLst>
                </p:cNvPr>
                <p:cNvSpPr/>
                <p:nvPr/>
              </p:nvSpPr>
              <p:spPr>
                <a:xfrm>
                  <a:off x="2528817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8" name="Полилиния 857">
                  <a:extLst>
                    <a:ext uri="{FF2B5EF4-FFF2-40B4-BE49-F238E27FC236}">
                      <a16:creationId xmlns:a16="http://schemas.microsoft.com/office/drawing/2014/main" id="{4EC0D508-243D-DF06-1B8A-CFE4F1278EA4}"/>
                    </a:ext>
                  </a:extLst>
                </p:cNvPr>
                <p:cNvSpPr/>
                <p:nvPr/>
              </p:nvSpPr>
              <p:spPr>
                <a:xfrm>
                  <a:off x="2619992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9" name="Полилиния 858">
                  <a:extLst>
                    <a:ext uri="{FF2B5EF4-FFF2-40B4-BE49-F238E27FC236}">
                      <a16:creationId xmlns:a16="http://schemas.microsoft.com/office/drawing/2014/main" id="{BC252442-2406-F28F-3E3D-F95478C41409}"/>
                    </a:ext>
                  </a:extLst>
                </p:cNvPr>
                <p:cNvSpPr/>
                <p:nvPr/>
              </p:nvSpPr>
              <p:spPr>
                <a:xfrm rot="5400000">
                  <a:off x="2893515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0" name="Полилиния 859">
                  <a:extLst>
                    <a:ext uri="{FF2B5EF4-FFF2-40B4-BE49-F238E27FC236}">
                      <a16:creationId xmlns:a16="http://schemas.microsoft.com/office/drawing/2014/main" id="{85F32B7D-44C3-9A5B-B256-4B37C6F32C72}"/>
                    </a:ext>
                  </a:extLst>
                </p:cNvPr>
                <p:cNvSpPr/>
                <p:nvPr/>
              </p:nvSpPr>
              <p:spPr>
                <a:xfrm>
                  <a:off x="3349386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1" name="Полилиния 860">
                  <a:extLst>
                    <a:ext uri="{FF2B5EF4-FFF2-40B4-BE49-F238E27FC236}">
                      <a16:creationId xmlns:a16="http://schemas.microsoft.com/office/drawing/2014/main" id="{D37BC6DA-A791-3238-0698-52BAF7A2AF3D}"/>
                    </a:ext>
                  </a:extLst>
                </p:cNvPr>
                <p:cNvSpPr/>
                <p:nvPr/>
              </p:nvSpPr>
              <p:spPr>
                <a:xfrm>
                  <a:off x="3440561" y="5815737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2" name="Полилиния 861">
                  <a:extLst>
                    <a:ext uri="{FF2B5EF4-FFF2-40B4-BE49-F238E27FC236}">
                      <a16:creationId xmlns:a16="http://schemas.microsoft.com/office/drawing/2014/main" id="{D244DD90-B047-710F-0EE0-40CD9AC21615}"/>
                    </a:ext>
                  </a:extLst>
                </p:cNvPr>
                <p:cNvSpPr/>
                <p:nvPr/>
              </p:nvSpPr>
              <p:spPr>
                <a:xfrm>
                  <a:off x="2072946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3" name="Полилиния 862">
                  <a:extLst>
                    <a:ext uri="{FF2B5EF4-FFF2-40B4-BE49-F238E27FC236}">
                      <a16:creationId xmlns:a16="http://schemas.microsoft.com/office/drawing/2014/main" id="{FC1D6F64-99FD-7550-50DD-16895FD8C782}"/>
                    </a:ext>
                  </a:extLst>
                </p:cNvPr>
                <p:cNvSpPr/>
                <p:nvPr/>
              </p:nvSpPr>
              <p:spPr>
                <a:xfrm>
                  <a:off x="2164120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4" name="Полилиния 863">
                  <a:extLst>
                    <a:ext uri="{FF2B5EF4-FFF2-40B4-BE49-F238E27FC236}">
                      <a16:creationId xmlns:a16="http://schemas.microsoft.com/office/drawing/2014/main" id="{13C254C1-4566-7870-5B51-8900DBDED9A9}"/>
                    </a:ext>
                  </a:extLst>
                </p:cNvPr>
                <p:cNvSpPr/>
                <p:nvPr/>
              </p:nvSpPr>
              <p:spPr>
                <a:xfrm>
                  <a:off x="2255295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5" name="Полилиния 864">
                  <a:extLst>
                    <a:ext uri="{FF2B5EF4-FFF2-40B4-BE49-F238E27FC236}">
                      <a16:creationId xmlns:a16="http://schemas.microsoft.com/office/drawing/2014/main" id="{F800024A-E688-7367-5B56-ECD79103E09F}"/>
                    </a:ext>
                  </a:extLst>
                </p:cNvPr>
                <p:cNvSpPr/>
                <p:nvPr/>
              </p:nvSpPr>
              <p:spPr>
                <a:xfrm>
                  <a:off x="2346469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6" name="Полилиния 865">
                  <a:extLst>
                    <a:ext uri="{FF2B5EF4-FFF2-40B4-BE49-F238E27FC236}">
                      <a16:creationId xmlns:a16="http://schemas.microsoft.com/office/drawing/2014/main" id="{206B7069-8FC5-2DDD-DF09-E34D97ED00D0}"/>
                    </a:ext>
                  </a:extLst>
                </p:cNvPr>
                <p:cNvSpPr/>
                <p:nvPr/>
              </p:nvSpPr>
              <p:spPr>
                <a:xfrm>
                  <a:off x="2437643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7" name="Полилиния 866">
                  <a:extLst>
                    <a:ext uri="{FF2B5EF4-FFF2-40B4-BE49-F238E27FC236}">
                      <a16:creationId xmlns:a16="http://schemas.microsoft.com/office/drawing/2014/main" id="{C741362A-EEB1-0481-11CF-FAB3B7393AAE}"/>
                    </a:ext>
                  </a:extLst>
                </p:cNvPr>
                <p:cNvSpPr/>
                <p:nvPr/>
              </p:nvSpPr>
              <p:spPr>
                <a:xfrm>
                  <a:off x="2528817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8" name="Полилиния 867">
                  <a:extLst>
                    <a:ext uri="{FF2B5EF4-FFF2-40B4-BE49-F238E27FC236}">
                      <a16:creationId xmlns:a16="http://schemas.microsoft.com/office/drawing/2014/main" id="{C71F67D2-7E60-1A9C-370E-A2A5D0E5BF58}"/>
                    </a:ext>
                  </a:extLst>
                </p:cNvPr>
                <p:cNvSpPr/>
                <p:nvPr/>
              </p:nvSpPr>
              <p:spPr>
                <a:xfrm>
                  <a:off x="2619992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9" name="Полилиния 868">
                  <a:extLst>
                    <a:ext uri="{FF2B5EF4-FFF2-40B4-BE49-F238E27FC236}">
                      <a16:creationId xmlns:a16="http://schemas.microsoft.com/office/drawing/2014/main" id="{BE4EDC6C-48AC-0368-3983-52503EFEBD5E}"/>
                    </a:ext>
                  </a:extLst>
                </p:cNvPr>
                <p:cNvSpPr/>
                <p:nvPr/>
              </p:nvSpPr>
              <p:spPr>
                <a:xfrm rot="5400000">
                  <a:off x="2802340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0" name="Полилиния 869">
                  <a:extLst>
                    <a:ext uri="{FF2B5EF4-FFF2-40B4-BE49-F238E27FC236}">
                      <a16:creationId xmlns:a16="http://schemas.microsoft.com/office/drawing/2014/main" id="{802E67CF-C4F6-E812-3149-90EDE0CB35E6}"/>
                    </a:ext>
                  </a:extLst>
                </p:cNvPr>
                <p:cNvSpPr/>
                <p:nvPr/>
              </p:nvSpPr>
              <p:spPr>
                <a:xfrm rot="-5400000">
                  <a:off x="3075863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1" name="Полилиния 870">
                  <a:extLst>
                    <a:ext uri="{FF2B5EF4-FFF2-40B4-BE49-F238E27FC236}">
                      <a16:creationId xmlns:a16="http://schemas.microsoft.com/office/drawing/2014/main" id="{11A6A411-A12F-C0C4-EE63-4FF202C691D7}"/>
                    </a:ext>
                  </a:extLst>
                </p:cNvPr>
                <p:cNvSpPr/>
                <p:nvPr/>
              </p:nvSpPr>
              <p:spPr>
                <a:xfrm>
                  <a:off x="3167038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2" name="Полилиния 871">
                  <a:extLst>
                    <a:ext uri="{FF2B5EF4-FFF2-40B4-BE49-F238E27FC236}">
                      <a16:creationId xmlns:a16="http://schemas.microsoft.com/office/drawing/2014/main" id="{19215C31-F84C-8F27-780D-1D047849027C}"/>
                    </a:ext>
                  </a:extLst>
                </p:cNvPr>
                <p:cNvSpPr/>
                <p:nvPr/>
              </p:nvSpPr>
              <p:spPr>
                <a:xfrm>
                  <a:off x="3258212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3" name="Полилиния 872">
                  <a:extLst>
                    <a:ext uri="{FF2B5EF4-FFF2-40B4-BE49-F238E27FC236}">
                      <a16:creationId xmlns:a16="http://schemas.microsoft.com/office/drawing/2014/main" id="{4806153C-BE2D-BAC0-695C-955FC6C57AAA}"/>
                    </a:ext>
                  </a:extLst>
                </p:cNvPr>
                <p:cNvSpPr/>
                <p:nvPr/>
              </p:nvSpPr>
              <p:spPr>
                <a:xfrm>
                  <a:off x="3349386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4" name="Полилиния 873">
                  <a:extLst>
                    <a:ext uri="{FF2B5EF4-FFF2-40B4-BE49-F238E27FC236}">
                      <a16:creationId xmlns:a16="http://schemas.microsoft.com/office/drawing/2014/main" id="{F647BDC5-C9B1-536C-0566-ED0C6AE8BE01}"/>
                    </a:ext>
                  </a:extLst>
                </p:cNvPr>
                <p:cNvSpPr/>
                <p:nvPr/>
              </p:nvSpPr>
              <p:spPr>
                <a:xfrm>
                  <a:off x="3440561" y="5906911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5" name="Полилиния 874">
                  <a:extLst>
                    <a:ext uri="{FF2B5EF4-FFF2-40B4-BE49-F238E27FC236}">
                      <a16:creationId xmlns:a16="http://schemas.microsoft.com/office/drawing/2014/main" id="{115AE795-00A6-7556-3DAB-D4FDF197CAE8}"/>
                    </a:ext>
                  </a:extLst>
                </p:cNvPr>
                <p:cNvSpPr/>
                <p:nvPr/>
              </p:nvSpPr>
              <p:spPr>
                <a:xfrm rot="5400000">
                  <a:off x="1981772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6" name="Полилиния 875">
                  <a:extLst>
                    <a:ext uri="{FF2B5EF4-FFF2-40B4-BE49-F238E27FC236}">
                      <a16:creationId xmlns:a16="http://schemas.microsoft.com/office/drawing/2014/main" id="{393931D4-3DB8-925A-93D2-49305A936B90}"/>
                    </a:ext>
                  </a:extLst>
                </p:cNvPr>
                <p:cNvSpPr/>
                <p:nvPr/>
              </p:nvSpPr>
              <p:spPr>
                <a:xfrm>
                  <a:off x="2164120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7" name="Полилиния 876">
                  <a:extLst>
                    <a:ext uri="{FF2B5EF4-FFF2-40B4-BE49-F238E27FC236}">
                      <a16:creationId xmlns:a16="http://schemas.microsoft.com/office/drawing/2014/main" id="{FB919DD9-98A3-EB8D-8385-EE89CF1BC3D3}"/>
                    </a:ext>
                  </a:extLst>
                </p:cNvPr>
                <p:cNvSpPr/>
                <p:nvPr/>
              </p:nvSpPr>
              <p:spPr>
                <a:xfrm>
                  <a:off x="2255295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8" name="Полилиния 877">
                  <a:extLst>
                    <a:ext uri="{FF2B5EF4-FFF2-40B4-BE49-F238E27FC236}">
                      <a16:creationId xmlns:a16="http://schemas.microsoft.com/office/drawing/2014/main" id="{F1F089E9-6A02-52F8-BC61-D61E3E3D130E}"/>
                    </a:ext>
                  </a:extLst>
                </p:cNvPr>
                <p:cNvSpPr/>
                <p:nvPr/>
              </p:nvSpPr>
              <p:spPr>
                <a:xfrm>
                  <a:off x="2437643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9" name="Полилиния 878">
                  <a:extLst>
                    <a:ext uri="{FF2B5EF4-FFF2-40B4-BE49-F238E27FC236}">
                      <a16:creationId xmlns:a16="http://schemas.microsoft.com/office/drawing/2014/main" id="{3DDC204D-905F-C14A-6264-99F1487AAB71}"/>
                    </a:ext>
                  </a:extLst>
                </p:cNvPr>
                <p:cNvSpPr/>
                <p:nvPr/>
              </p:nvSpPr>
              <p:spPr>
                <a:xfrm rot="5400000">
                  <a:off x="2619992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0" name="Полилиния 879">
                  <a:extLst>
                    <a:ext uri="{FF2B5EF4-FFF2-40B4-BE49-F238E27FC236}">
                      <a16:creationId xmlns:a16="http://schemas.microsoft.com/office/drawing/2014/main" id="{A3638DBB-86A5-0BC9-41A4-0CDDC0915372}"/>
                    </a:ext>
                  </a:extLst>
                </p:cNvPr>
                <p:cNvSpPr/>
                <p:nvPr/>
              </p:nvSpPr>
              <p:spPr>
                <a:xfrm rot="-5400000">
                  <a:off x="2984689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1" name="Полилиния 880">
                  <a:extLst>
                    <a:ext uri="{FF2B5EF4-FFF2-40B4-BE49-F238E27FC236}">
                      <a16:creationId xmlns:a16="http://schemas.microsoft.com/office/drawing/2014/main" id="{BA1882EC-CE22-E5B4-D3C4-8B2C3267F434}"/>
                    </a:ext>
                  </a:extLst>
                </p:cNvPr>
                <p:cNvSpPr/>
                <p:nvPr/>
              </p:nvSpPr>
              <p:spPr>
                <a:xfrm rot="5400000">
                  <a:off x="3075863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2" name="Полилиния 881">
                  <a:extLst>
                    <a:ext uri="{FF2B5EF4-FFF2-40B4-BE49-F238E27FC236}">
                      <a16:creationId xmlns:a16="http://schemas.microsoft.com/office/drawing/2014/main" id="{E6D55AD4-3218-17D3-1661-A9459443FDD7}"/>
                    </a:ext>
                  </a:extLst>
                </p:cNvPr>
                <p:cNvSpPr/>
                <p:nvPr/>
              </p:nvSpPr>
              <p:spPr>
                <a:xfrm>
                  <a:off x="3258212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3" name="Полилиния 882">
                  <a:extLst>
                    <a:ext uri="{FF2B5EF4-FFF2-40B4-BE49-F238E27FC236}">
                      <a16:creationId xmlns:a16="http://schemas.microsoft.com/office/drawing/2014/main" id="{0578B67C-E301-492E-E83A-C13E58827A05}"/>
                    </a:ext>
                  </a:extLst>
                </p:cNvPr>
                <p:cNvSpPr/>
                <p:nvPr/>
              </p:nvSpPr>
              <p:spPr>
                <a:xfrm>
                  <a:off x="3349386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4" name="Полилиния 883">
                  <a:extLst>
                    <a:ext uri="{FF2B5EF4-FFF2-40B4-BE49-F238E27FC236}">
                      <a16:creationId xmlns:a16="http://schemas.microsoft.com/office/drawing/2014/main" id="{8E1C5138-2D04-F009-2C65-A6EF577EAFF6}"/>
                    </a:ext>
                  </a:extLst>
                </p:cNvPr>
                <p:cNvSpPr/>
                <p:nvPr/>
              </p:nvSpPr>
              <p:spPr>
                <a:xfrm>
                  <a:off x="3440561" y="5998085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5" name="Полилиния 884">
                  <a:extLst>
                    <a:ext uri="{FF2B5EF4-FFF2-40B4-BE49-F238E27FC236}">
                      <a16:creationId xmlns:a16="http://schemas.microsoft.com/office/drawing/2014/main" id="{E2D8AE6D-963E-BC07-54E4-54E3D85A5467}"/>
                    </a:ext>
                  </a:extLst>
                </p:cNvPr>
                <p:cNvSpPr/>
                <p:nvPr/>
              </p:nvSpPr>
              <p:spPr>
                <a:xfrm rot="-5400000">
                  <a:off x="2072946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6" name="Полилиния 885">
                  <a:extLst>
                    <a:ext uri="{FF2B5EF4-FFF2-40B4-BE49-F238E27FC236}">
                      <a16:creationId xmlns:a16="http://schemas.microsoft.com/office/drawing/2014/main" id="{EE960FF9-A931-06DD-3519-C2A583B32D43}"/>
                    </a:ext>
                  </a:extLst>
                </p:cNvPr>
                <p:cNvSpPr/>
                <p:nvPr/>
              </p:nvSpPr>
              <p:spPr>
                <a:xfrm>
                  <a:off x="2164120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7" name="Полилиния 886">
                  <a:extLst>
                    <a:ext uri="{FF2B5EF4-FFF2-40B4-BE49-F238E27FC236}">
                      <a16:creationId xmlns:a16="http://schemas.microsoft.com/office/drawing/2014/main" id="{04ACFB17-5532-0BA1-6BFF-401EBF1A011E}"/>
                    </a:ext>
                  </a:extLst>
                </p:cNvPr>
                <p:cNvSpPr/>
                <p:nvPr/>
              </p:nvSpPr>
              <p:spPr>
                <a:xfrm rot="5400000">
                  <a:off x="2255295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8" name="Полилиния 887">
                  <a:extLst>
                    <a:ext uri="{FF2B5EF4-FFF2-40B4-BE49-F238E27FC236}">
                      <a16:creationId xmlns:a16="http://schemas.microsoft.com/office/drawing/2014/main" id="{A1BAD802-25FA-A194-4975-5D0DC638FAB9}"/>
                    </a:ext>
                  </a:extLst>
                </p:cNvPr>
                <p:cNvSpPr/>
                <p:nvPr/>
              </p:nvSpPr>
              <p:spPr>
                <a:xfrm>
                  <a:off x="2437643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91174 w 91174"/>
                    <a:gd name="connsiteY1" fmla="*/ 0 h 91174"/>
                    <a:gd name="connsiteX2" fmla="*/ 91174 w 91174"/>
                    <a:gd name="connsiteY2" fmla="*/ 91174 h 91174"/>
                    <a:gd name="connsiteX3" fmla="*/ 0 w 91174"/>
                    <a:gd name="connsiteY3" fmla="*/ 91174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91174" y="0"/>
                      </a:lnTo>
                      <a:lnTo>
                        <a:pt x="91174" y="91174"/>
                      </a:lnTo>
                      <a:lnTo>
                        <a:pt x="0" y="91174"/>
                      </a:lnTo>
                      <a:close/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9" name="Полилиния 888">
                  <a:extLst>
                    <a:ext uri="{FF2B5EF4-FFF2-40B4-BE49-F238E27FC236}">
                      <a16:creationId xmlns:a16="http://schemas.microsoft.com/office/drawing/2014/main" id="{6079525E-0EE5-FB31-FDB8-D1F64A918753}"/>
                    </a:ext>
                  </a:extLst>
                </p:cNvPr>
                <p:cNvSpPr/>
                <p:nvPr/>
              </p:nvSpPr>
              <p:spPr>
                <a:xfrm rot="5400000">
                  <a:off x="2528817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90" name="Полилиния 889">
                  <a:extLst>
                    <a:ext uri="{FF2B5EF4-FFF2-40B4-BE49-F238E27FC236}">
                      <a16:creationId xmlns:a16="http://schemas.microsoft.com/office/drawing/2014/main" id="{28B16514-1CAD-E4BE-2839-E2482C1D7A07}"/>
                    </a:ext>
                  </a:extLst>
                </p:cNvPr>
                <p:cNvSpPr/>
                <p:nvPr/>
              </p:nvSpPr>
              <p:spPr>
                <a:xfrm rot="-5400000">
                  <a:off x="2711166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91" name="Полилиния 890">
                  <a:extLst>
                    <a:ext uri="{FF2B5EF4-FFF2-40B4-BE49-F238E27FC236}">
                      <a16:creationId xmlns:a16="http://schemas.microsoft.com/office/drawing/2014/main" id="{30255FFE-D197-D7C4-DB85-2BD702F1FA23}"/>
                    </a:ext>
                  </a:extLst>
                </p:cNvPr>
                <p:cNvSpPr/>
                <p:nvPr/>
              </p:nvSpPr>
              <p:spPr>
                <a:xfrm rot="5400000">
                  <a:off x="2802340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92" name="Полилиния 891">
                  <a:extLst>
                    <a:ext uri="{FF2B5EF4-FFF2-40B4-BE49-F238E27FC236}">
                      <a16:creationId xmlns:a16="http://schemas.microsoft.com/office/drawing/2014/main" id="{EAB5991B-4AD1-8838-784B-195E7C924DFC}"/>
                    </a:ext>
                  </a:extLst>
                </p:cNvPr>
                <p:cNvSpPr/>
                <p:nvPr/>
              </p:nvSpPr>
              <p:spPr>
                <a:xfrm rot="5400000">
                  <a:off x="3167038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45587 h 91174"/>
                    <a:gd name="connsiteX2" fmla="*/ 45587 w 91174"/>
                    <a:gd name="connsiteY2" fmla="*/ 91174 h 91174"/>
                    <a:gd name="connsiteX3" fmla="*/ 91174 w 91174"/>
                    <a:gd name="connsiteY3" fmla="*/ 91174 h 91174"/>
                    <a:gd name="connsiteX4" fmla="*/ 91174 w 91174"/>
                    <a:gd name="connsiteY4" fmla="*/ 45587 h 91174"/>
                    <a:gd name="connsiteX5" fmla="*/ 45587 w 91174"/>
                    <a:gd name="connsiteY5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45587"/>
                      </a:lnTo>
                      <a:cubicBezTo>
                        <a:pt x="0" y="70764"/>
                        <a:pt x="20410" y="91174"/>
                        <a:pt x="45587" y="91174"/>
                      </a:cubicBezTo>
                      <a:lnTo>
                        <a:pt x="91174" y="91174"/>
                      </a:lnTo>
                      <a:lnTo>
                        <a:pt x="91174" y="45587"/>
                      </a:lnTo>
                      <a:cubicBezTo>
                        <a:pt x="91174" y="20410"/>
                        <a:pt x="70764" y="0"/>
                        <a:pt x="45587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93" name="Полилиния 892">
                  <a:extLst>
                    <a:ext uri="{FF2B5EF4-FFF2-40B4-BE49-F238E27FC236}">
                      <a16:creationId xmlns:a16="http://schemas.microsoft.com/office/drawing/2014/main" id="{B8556A1D-ACDF-4757-DBAE-FF5537DC324C}"/>
                    </a:ext>
                  </a:extLst>
                </p:cNvPr>
                <p:cNvSpPr/>
                <p:nvPr/>
              </p:nvSpPr>
              <p:spPr>
                <a:xfrm rot="5400000">
                  <a:off x="3440561" y="6089260"/>
                  <a:ext cx="91174" cy="91174"/>
                </a:xfrm>
                <a:custGeom>
                  <a:avLst/>
                  <a:gdLst>
                    <a:gd name="connsiteX0" fmla="*/ 0 w 91174"/>
                    <a:gd name="connsiteY0" fmla="*/ 0 h 91174"/>
                    <a:gd name="connsiteX1" fmla="*/ 0 w 91174"/>
                    <a:gd name="connsiteY1" fmla="*/ 91174 h 91174"/>
                    <a:gd name="connsiteX2" fmla="*/ 91174 w 91174"/>
                    <a:gd name="connsiteY2" fmla="*/ 91174 h 91174"/>
                    <a:gd name="connsiteX3" fmla="*/ 0 w 91174"/>
                    <a:gd name="connsiteY3" fmla="*/ 0 h 9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74" h="91174">
                      <a:moveTo>
                        <a:pt x="0" y="0"/>
                      </a:moveTo>
                      <a:lnTo>
                        <a:pt x="0" y="91174"/>
                      </a:lnTo>
                      <a:lnTo>
                        <a:pt x="91174" y="91174"/>
                      </a:lnTo>
                      <a:cubicBezTo>
                        <a:pt x="91174" y="40820"/>
                        <a:pt x="50354" y="0"/>
                        <a:pt x="0" y="0"/>
                      </a:cubicBezTo>
                    </a:path>
                  </a:pathLst>
                </a:custGeom>
                <a:grpFill/>
                <a:ln w="113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</p:grpSp>
      <p:grpSp>
        <p:nvGrpSpPr>
          <p:cNvPr id="894" name="Рисунок 1327">
            <a:extLst>
              <a:ext uri="{FF2B5EF4-FFF2-40B4-BE49-F238E27FC236}">
                <a16:creationId xmlns:a16="http://schemas.microsoft.com/office/drawing/2014/main" id="{504220F2-435D-23D5-D40D-91A5EB31604B}"/>
              </a:ext>
            </a:extLst>
          </p:cNvPr>
          <p:cNvGrpSpPr/>
          <p:nvPr/>
        </p:nvGrpSpPr>
        <p:grpSpPr>
          <a:xfrm>
            <a:off x="1420219" y="4166809"/>
            <a:ext cx="1850145" cy="1850145"/>
            <a:chOff x="3082636" y="415636"/>
            <a:chExt cx="6026727" cy="6026727"/>
          </a:xfrm>
          <a:solidFill>
            <a:schemeClr val="bg1"/>
          </a:solidFill>
        </p:grpSpPr>
        <p:sp>
          <p:nvSpPr>
            <p:cNvPr id="895" name="Полилиния 894">
              <a:extLst>
                <a:ext uri="{FF2B5EF4-FFF2-40B4-BE49-F238E27FC236}">
                  <a16:creationId xmlns:a16="http://schemas.microsoft.com/office/drawing/2014/main" id="{969EC247-BDBF-2EC3-B69A-D969E4589524}"/>
                </a:ext>
              </a:extLst>
            </p:cNvPr>
            <p:cNvSpPr/>
            <p:nvPr/>
          </p:nvSpPr>
          <p:spPr>
            <a:xfrm rot="-5400000">
              <a:off x="3498272" y="5403272"/>
              <a:ext cx="623454" cy="623454"/>
            </a:xfrm>
            <a:custGeom>
              <a:avLst/>
              <a:gdLst>
                <a:gd name="connsiteX0" fmla="*/ 623455 w 623454"/>
                <a:gd name="connsiteY0" fmla="*/ 311727 h 623454"/>
                <a:gd name="connsiteX1" fmla="*/ 311727 w 623454"/>
                <a:gd name="connsiteY1" fmla="*/ 623455 h 623454"/>
                <a:gd name="connsiteX2" fmla="*/ 0 w 623454"/>
                <a:gd name="connsiteY2" fmla="*/ 311727 h 623454"/>
                <a:gd name="connsiteX3" fmla="*/ 311727 w 623454"/>
                <a:gd name="connsiteY3" fmla="*/ 0 h 623454"/>
                <a:gd name="connsiteX4" fmla="*/ 623455 w 623454"/>
                <a:gd name="connsiteY4" fmla="*/ 311727 h 62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54" h="623454">
                  <a:moveTo>
                    <a:pt x="623455" y="311727"/>
                  </a:moveTo>
                  <a:cubicBezTo>
                    <a:pt x="623455" y="483890"/>
                    <a:pt x="483889" y="623455"/>
                    <a:pt x="311727" y="623455"/>
                  </a:cubicBezTo>
                  <a:cubicBezTo>
                    <a:pt x="139565" y="623455"/>
                    <a:pt x="0" y="483890"/>
                    <a:pt x="0" y="311727"/>
                  </a:cubicBezTo>
                  <a:cubicBezTo>
                    <a:pt x="0" y="139565"/>
                    <a:pt x="139565" y="0"/>
                    <a:pt x="311727" y="0"/>
                  </a:cubicBezTo>
                  <a:cubicBezTo>
                    <a:pt x="483889" y="0"/>
                    <a:pt x="623455" y="139565"/>
                    <a:pt x="623455" y="311727"/>
                  </a:cubicBez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6" name="Полилиния 895">
              <a:extLst>
                <a:ext uri="{FF2B5EF4-FFF2-40B4-BE49-F238E27FC236}">
                  <a16:creationId xmlns:a16="http://schemas.microsoft.com/office/drawing/2014/main" id="{C04E855E-BE2C-18E7-ABA3-FBCEE5AA746D}"/>
                </a:ext>
              </a:extLst>
            </p:cNvPr>
            <p:cNvSpPr/>
            <p:nvPr/>
          </p:nvSpPr>
          <p:spPr>
            <a:xfrm rot="-5400000">
              <a:off x="3082636" y="4987636"/>
              <a:ext cx="1454727" cy="1454727"/>
            </a:xfrm>
            <a:custGeom>
              <a:avLst/>
              <a:gdLst>
                <a:gd name="connsiteX0" fmla="*/ 0 w 1454727"/>
                <a:gd name="connsiteY0" fmla="*/ 519545 h 1454727"/>
                <a:gd name="connsiteX1" fmla="*/ 0 w 1454727"/>
                <a:gd name="connsiteY1" fmla="*/ 935182 h 1454727"/>
                <a:gd name="connsiteX2" fmla="*/ 519545 w 1454727"/>
                <a:gd name="connsiteY2" fmla="*/ 1454727 h 1454727"/>
                <a:gd name="connsiteX3" fmla="*/ 935182 w 1454727"/>
                <a:gd name="connsiteY3" fmla="*/ 1454727 h 1454727"/>
                <a:gd name="connsiteX4" fmla="*/ 1454727 w 1454727"/>
                <a:gd name="connsiteY4" fmla="*/ 935182 h 1454727"/>
                <a:gd name="connsiteX5" fmla="*/ 1454727 w 1454727"/>
                <a:gd name="connsiteY5" fmla="*/ 519545 h 1454727"/>
                <a:gd name="connsiteX6" fmla="*/ 935182 w 1454727"/>
                <a:gd name="connsiteY6" fmla="*/ 0 h 1454727"/>
                <a:gd name="connsiteX7" fmla="*/ 519545 w 1454727"/>
                <a:gd name="connsiteY7" fmla="*/ 0 h 1454727"/>
                <a:gd name="connsiteX8" fmla="*/ 0 w 1454727"/>
                <a:gd name="connsiteY8" fmla="*/ 519545 h 1454727"/>
                <a:gd name="connsiteX9" fmla="*/ 519545 w 1454727"/>
                <a:gd name="connsiteY9" fmla="*/ 207818 h 1454727"/>
                <a:gd name="connsiteX10" fmla="*/ 935182 w 1454727"/>
                <a:gd name="connsiteY10" fmla="*/ 207818 h 1454727"/>
                <a:gd name="connsiteX11" fmla="*/ 1246909 w 1454727"/>
                <a:gd name="connsiteY11" fmla="*/ 519545 h 1454727"/>
                <a:gd name="connsiteX12" fmla="*/ 1246909 w 1454727"/>
                <a:gd name="connsiteY12" fmla="*/ 935182 h 1454727"/>
                <a:gd name="connsiteX13" fmla="*/ 935182 w 1454727"/>
                <a:gd name="connsiteY13" fmla="*/ 1246909 h 1454727"/>
                <a:gd name="connsiteX14" fmla="*/ 519545 w 1454727"/>
                <a:gd name="connsiteY14" fmla="*/ 1246909 h 1454727"/>
                <a:gd name="connsiteX15" fmla="*/ 207818 w 1454727"/>
                <a:gd name="connsiteY15" fmla="*/ 935182 h 1454727"/>
                <a:gd name="connsiteX16" fmla="*/ 207818 w 1454727"/>
                <a:gd name="connsiteY16" fmla="*/ 519545 h 1454727"/>
                <a:gd name="connsiteX17" fmla="*/ 519545 w 1454727"/>
                <a:gd name="connsiteY17" fmla="*/ 207818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4727" h="1454727">
                  <a:moveTo>
                    <a:pt x="0" y="519545"/>
                  </a:moveTo>
                  <a:lnTo>
                    <a:pt x="0" y="935182"/>
                  </a:lnTo>
                  <a:cubicBezTo>
                    <a:pt x="0" y="1222119"/>
                    <a:pt x="232608" y="1454727"/>
                    <a:pt x="519545" y="1454727"/>
                  </a:cubicBezTo>
                  <a:lnTo>
                    <a:pt x="935182" y="1454727"/>
                  </a:lnTo>
                  <a:cubicBezTo>
                    <a:pt x="1222119" y="1454727"/>
                    <a:pt x="1454727" y="1222119"/>
                    <a:pt x="1454727" y="935182"/>
                  </a:cubicBezTo>
                  <a:lnTo>
                    <a:pt x="1454727" y="519545"/>
                  </a:lnTo>
                  <a:cubicBezTo>
                    <a:pt x="1454727" y="232609"/>
                    <a:pt x="1222119" y="0"/>
                    <a:pt x="935182" y="0"/>
                  </a:cubicBezTo>
                  <a:lnTo>
                    <a:pt x="519545" y="0"/>
                  </a:lnTo>
                  <a:cubicBezTo>
                    <a:pt x="232608" y="0"/>
                    <a:pt x="0" y="232609"/>
                    <a:pt x="0" y="519545"/>
                  </a:cubicBezTo>
                  <a:moveTo>
                    <a:pt x="519545" y="207818"/>
                  </a:moveTo>
                  <a:lnTo>
                    <a:pt x="935182" y="207818"/>
                  </a:lnTo>
                  <a:cubicBezTo>
                    <a:pt x="1107344" y="207818"/>
                    <a:pt x="1246909" y="347383"/>
                    <a:pt x="1246909" y="519545"/>
                  </a:cubicBezTo>
                  <a:lnTo>
                    <a:pt x="1246909" y="935182"/>
                  </a:lnTo>
                  <a:cubicBezTo>
                    <a:pt x="1246909" y="1107344"/>
                    <a:pt x="1107344" y="1246909"/>
                    <a:pt x="935182" y="1246909"/>
                  </a:cubicBezTo>
                  <a:lnTo>
                    <a:pt x="519545" y="1246909"/>
                  </a:lnTo>
                  <a:cubicBezTo>
                    <a:pt x="347383" y="1246909"/>
                    <a:pt x="207818" y="1107344"/>
                    <a:pt x="207818" y="935182"/>
                  </a:cubicBezTo>
                  <a:lnTo>
                    <a:pt x="207818" y="519545"/>
                  </a:lnTo>
                  <a:cubicBezTo>
                    <a:pt x="207818" y="347383"/>
                    <a:pt x="347383" y="207818"/>
                    <a:pt x="519545" y="207818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7" name="Полилиния 896">
              <a:extLst>
                <a:ext uri="{FF2B5EF4-FFF2-40B4-BE49-F238E27FC236}">
                  <a16:creationId xmlns:a16="http://schemas.microsoft.com/office/drawing/2014/main" id="{19F903EA-8FA8-A4F0-D5E1-04D1B2154AC3}"/>
                </a:ext>
              </a:extLst>
            </p:cNvPr>
            <p:cNvSpPr/>
            <p:nvPr/>
          </p:nvSpPr>
          <p:spPr>
            <a:xfrm rot="5400000">
              <a:off x="8070272" y="831272"/>
              <a:ext cx="623454" cy="623454"/>
            </a:xfrm>
            <a:custGeom>
              <a:avLst/>
              <a:gdLst>
                <a:gd name="connsiteX0" fmla="*/ 623455 w 623454"/>
                <a:gd name="connsiteY0" fmla="*/ 311727 h 623454"/>
                <a:gd name="connsiteX1" fmla="*/ 311727 w 623454"/>
                <a:gd name="connsiteY1" fmla="*/ 623455 h 623454"/>
                <a:gd name="connsiteX2" fmla="*/ 0 w 623454"/>
                <a:gd name="connsiteY2" fmla="*/ 311727 h 623454"/>
                <a:gd name="connsiteX3" fmla="*/ 311727 w 623454"/>
                <a:gd name="connsiteY3" fmla="*/ 0 h 623454"/>
                <a:gd name="connsiteX4" fmla="*/ 623455 w 623454"/>
                <a:gd name="connsiteY4" fmla="*/ 311727 h 62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54" h="623454">
                  <a:moveTo>
                    <a:pt x="623455" y="311727"/>
                  </a:moveTo>
                  <a:cubicBezTo>
                    <a:pt x="623455" y="483889"/>
                    <a:pt x="483890" y="623455"/>
                    <a:pt x="311727" y="623455"/>
                  </a:cubicBezTo>
                  <a:cubicBezTo>
                    <a:pt x="139565" y="623455"/>
                    <a:pt x="0" y="483889"/>
                    <a:pt x="0" y="311727"/>
                  </a:cubicBezTo>
                  <a:cubicBezTo>
                    <a:pt x="0" y="139565"/>
                    <a:pt x="139565" y="0"/>
                    <a:pt x="311727" y="0"/>
                  </a:cubicBezTo>
                  <a:cubicBezTo>
                    <a:pt x="483890" y="0"/>
                    <a:pt x="623455" y="139565"/>
                    <a:pt x="623455" y="311727"/>
                  </a:cubicBez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8" name="Полилиния 897">
              <a:extLst>
                <a:ext uri="{FF2B5EF4-FFF2-40B4-BE49-F238E27FC236}">
                  <a16:creationId xmlns:a16="http://schemas.microsoft.com/office/drawing/2014/main" id="{68664311-1F88-DBCD-C6C1-75756B6C6371}"/>
                </a:ext>
              </a:extLst>
            </p:cNvPr>
            <p:cNvSpPr/>
            <p:nvPr/>
          </p:nvSpPr>
          <p:spPr>
            <a:xfrm rot="5400000">
              <a:off x="7654636" y="415636"/>
              <a:ext cx="1454727" cy="1454727"/>
            </a:xfrm>
            <a:custGeom>
              <a:avLst/>
              <a:gdLst>
                <a:gd name="connsiteX0" fmla="*/ 0 w 1454727"/>
                <a:gd name="connsiteY0" fmla="*/ 519545 h 1454727"/>
                <a:gd name="connsiteX1" fmla="*/ 0 w 1454727"/>
                <a:gd name="connsiteY1" fmla="*/ 935182 h 1454727"/>
                <a:gd name="connsiteX2" fmla="*/ 519545 w 1454727"/>
                <a:gd name="connsiteY2" fmla="*/ 1454727 h 1454727"/>
                <a:gd name="connsiteX3" fmla="*/ 935182 w 1454727"/>
                <a:gd name="connsiteY3" fmla="*/ 1454727 h 1454727"/>
                <a:gd name="connsiteX4" fmla="*/ 1454727 w 1454727"/>
                <a:gd name="connsiteY4" fmla="*/ 935182 h 1454727"/>
                <a:gd name="connsiteX5" fmla="*/ 1454727 w 1454727"/>
                <a:gd name="connsiteY5" fmla="*/ 519545 h 1454727"/>
                <a:gd name="connsiteX6" fmla="*/ 935182 w 1454727"/>
                <a:gd name="connsiteY6" fmla="*/ 0 h 1454727"/>
                <a:gd name="connsiteX7" fmla="*/ 519545 w 1454727"/>
                <a:gd name="connsiteY7" fmla="*/ 0 h 1454727"/>
                <a:gd name="connsiteX8" fmla="*/ 0 w 1454727"/>
                <a:gd name="connsiteY8" fmla="*/ 519545 h 1454727"/>
                <a:gd name="connsiteX9" fmla="*/ 519545 w 1454727"/>
                <a:gd name="connsiteY9" fmla="*/ 207818 h 1454727"/>
                <a:gd name="connsiteX10" fmla="*/ 935182 w 1454727"/>
                <a:gd name="connsiteY10" fmla="*/ 207818 h 1454727"/>
                <a:gd name="connsiteX11" fmla="*/ 1246909 w 1454727"/>
                <a:gd name="connsiteY11" fmla="*/ 519545 h 1454727"/>
                <a:gd name="connsiteX12" fmla="*/ 1246909 w 1454727"/>
                <a:gd name="connsiteY12" fmla="*/ 935182 h 1454727"/>
                <a:gd name="connsiteX13" fmla="*/ 935182 w 1454727"/>
                <a:gd name="connsiteY13" fmla="*/ 1246909 h 1454727"/>
                <a:gd name="connsiteX14" fmla="*/ 519545 w 1454727"/>
                <a:gd name="connsiteY14" fmla="*/ 1246909 h 1454727"/>
                <a:gd name="connsiteX15" fmla="*/ 207818 w 1454727"/>
                <a:gd name="connsiteY15" fmla="*/ 935182 h 1454727"/>
                <a:gd name="connsiteX16" fmla="*/ 207818 w 1454727"/>
                <a:gd name="connsiteY16" fmla="*/ 519545 h 1454727"/>
                <a:gd name="connsiteX17" fmla="*/ 519545 w 1454727"/>
                <a:gd name="connsiteY17" fmla="*/ 207818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4727" h="1454727">
                  <a:moveTo>
                    <a:pt x="0" y="519545"/>
                  </a:moveTo>
                  <a:lnTo>
                    <a:pt x="0" y="935182"/>
                  </a:lnTo>
                  <a:cubicBezTo>
                    <a:pt x="0" y="1222119"/>
                    <a:pt x="232609" y="1454727"/>
                    <a:pt x="519545" y="1454727"/>
                  </a:cubicBezTo>
                  <a:lnTo>
                    <a:pt x="935182" y="1454727"/>
                  </a:lnTo>
                  <a:cubicBezTo>
                    <a:pt x="1222119" y="1454727"/>
                    <a:pt x="1454727" y="1222119"/>
                    <a:pt x="1454727" y="935182"/>
                  </a:cubicBezTo>
                  <a:lnTo>
                    <a:pt x="1454727" y="519545"/>
                  </a:lnTo>
                  <a:cubicBezTo>
                    <a:pt x="1454727" y="232608"/>
                    <a:pt x="1222119" y="0"/>
                    <a:pt x="935182" y="0"/>
                  </a:cubicBezTo>
                  <a:lnTo>
                    <a:pt x="519545" y="0"/>
                  </a:lnTo>
                  <a:cubicBezTo>
                    <a:pt x="232609" y="0"/>
                    <a:pt x="0" y="232608"/>
                    <a:pt x="0" y="519545"/>
                  </a:cubicBezTo>
                  <a:moveTo>
                    <a:pt x="519545" y="207818"/>
                  </a:moveTo>
                  <a:lnTo>
                    <a:pt x="935182" y="207818"/>
                  </a:lnTo>
                  <a:cubicBezTo>
                    <a:pt x="1107344" y="207818"/>
                    <a:pt x="1246909" y="347383"/>
                    <a:pt x="1246909" y="519545"/>
                  </a:cubicBezTo>
                  <a:lnTo>
                    <a:pt x="1246909" y="935182"/>
                  </a:lnTo>
                  <a:cubicBezTo>
                    <a:pt x="1246909" y="1107344"/>
                    <a:pt x="1107344" y="1246909"/>
                    <a:pt x="935182" y="1246909"/>
                  </a:cubicBezTo>
                  <a:lnTo>
                    <a:pt x="519545" y="1246909"/>
                  </a:lnTo>
                  <a:cubicBezTo>
                    <a:pt x="347383" y="1246909"/>
                    <a:pt x="207818" y="1107344"/>
                    <a:pt x="207818" y="935182"/>
                  </a:cubicBezTo>
                  <a:lnTo>
                    <a:pt x="207818" y="519545"/>
                  </a:lnTo>
                  <a:cubicBezTo>
                    <a:pt x="207818" y="347383"/>
                    <a:pt x="347383" y="207818"/>
                    <a:pt x="519545" y="207818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9" name="Полилиния 898">
              <a:extLst>
                <a:ext uri="{FF2B5EF4-FFF2-40B4-BE49-F238E27FC236}">
                  <a16:creationId xmlns:a16="http://schemas.microsoft.com/office/drawing/2014/main" id="{351FC815-EC49-5F48-8FC4-41341693D55C}"/>
                </a:ext>
              </a:extLst>
            </p:cNvPr>
            <p:cNvSpPr/>
            <p:nvPr/>
          </p:nvSpPr>
          <p:spPr>
            <a:xfrm>
              <a:off x="3498272" y="831272"/>
              <a:ext cx="623454" cy="623454"/>
            </a:xfrm>
            <a:custGeom>
              <a:avLst/>
              <a:gdLst>
                <a:gd name="connsiteX0" fmla="*/ 623455 w 623454"/>
                <a:gd name="connsiteY0" fmla="*/ 311727 h 623454"/>
                <a:gd name="connsiteX1" fmla="*/ 311727 w 623454"/>
                <a:gd name="connsiteY1" fmla="*/ 623455 h 623454"/>
                <a:gd name="connsiteX2" fmla="*/ 0 w 623454"/>
                <a:gd name="connsiteY2" fmla="*/ 311727 h 623454"/>
                <a:gd name="connsiteX3" fmla="*/ 311727 w 623454"/>
                <a:gd name="connsiteY3" fmla="*/ 0 h 623454"/>
                <a:gd name="connsiteX4" fmla="*/ 623455 w 623454"/>
                <a:gd name="connsiteY4" fmla="*/ 311727 h 62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54" h="623454">
                  <a:moveTo>
                    <a:pt x="623455" y="311727"/>
                  </a:moveTo>
                  <a:cubicBezTo>
                    <a:pt x="623455" y="483889"/>
                    <a:pt x="483889" y="623455"/>
                    <a:pt x="311727" y="623455"/>
                  </a:cubicBezTo>
                  <a:cubicBezTo>
                    <a:pt x="139565" y="623455"/>
                    <a:pt x="0" y="483889"/>
                    <a:pt x="0" y="311727"/>
                  </a:cubicBezTo>
                  <a:cubicBezTo>
                    <a:pt x="0" y="139565"/>
                    <a:pt x="139565" y="0"/>
                    <a:pt x="311727" y="0"/>
                  </a:cubicBezTo>
                  <a:cubicBezTo>
                    <a:pt x="483889" y="0"/>
                    <a:pt x="623455" y="139565"/>
                    <a:pt x="623455" y="311727"/>
                  </a:cubicBez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0" name="Полилиния 899">
              <a:extLst>
                <a:ext uri="{FF2B5EF4-FFF2-40B4-BE49-F238E27FC236}">
                  <a16:creationId xmlns:a16="http://schemas.microsoft.com/office/drawing/2014/main" id="{09D636EC-007A-E7F9-0226-D836994B093F}"/>
                </a:ext>
              </a:extLst>
            </p:cNvPr>
            <p:cNvSpPr/>
            <p:nvPr/>
          </p:nvSpPr>
          <p:spPr>
            <a:xfrm>
              <a:off x="3082636" y="415636"/>
              <a:ext cx="1454727" cy="1454727"/>
            </a:xfrm>
            <a:custGeom>
              <a:avLst/>
              <a:gdLst>
                <a:gd name="connsiteX0" fmla="*/ 0 w 1454727"/>
                <a:gd name="connsiteY0" fmla="*/ 519545 h 1454727"/>
                <a:gd name="connsiteX1" fmla="*/ 0 w 1454727"/>
                <a:gd name="connsiteY1" fmla="*/ 935182 h 1454727"/>
                <a:gd name="connsiteX2" fmla="*/ 519545 w 1454727"/>
                <a:gd name="connsiteY2" fmla="*/ 1454727 h 1454727"/>
                <a:gd name="connsiteX3" fmla="*/ 935182 w 1454727"/>
                <a:gd name="connsiteY3" fmla="*/ 1454727 h 1454727"/>
                <a:gd name="connsiteX4" fmla="*/ 1454727 w 1454727"/>
                <a:gd name="connsiteY4" fmla="*/ 935182 h 1454727"/>
                <a:gd name="connsiteX5" fmla="*/ 1454727 w 1454727"/>
                <a:gd name="connsiteY5" fmla="*/ 519545 h 1454727"/>
                <a:gd name="connsiteX6" fmla="*/ 935182 w 1454727"/>
                <a:gd name="connsiteY6" fmla="*/ 0 h 1454727"/>
                <a:gd name="connsiteX7" fmla="*/ 519545 w 1454727"/>
                <a:gd name="connsiteY7" fmla="*/ 0 h 1454727"/>
                <a:gd name="connsiteX8" fmla="*/ 0 w 1454727"/>
                <a:gd name="connsiteY8" fmla="*/ 519545 h 1454727"/>
                <a:gd name="connsiteX9" fmla="*/ 519545 w 1454727"/>
                <a:gd name="connsiteY9" fmla="*/ 207818 h 1454727"/>
                <a:gd name="connsiteX10" fmla="*/ 935182 w 1454727"/>
                <a:gd name="connsiteY10" fmla="*/ 207818 h 1454727"/>
                <a:gd name="connsiteX11" fmla="*/ 1246909 w 1454727"/>
                <a:gd name="connsiteY11" fmla="*/ 519545 h 1454727"/>
                <a:gd name="connsiteX12" fmla="*/ 1246909 w 1454727"/>
                <a:gd name="connsiteY12" fmla="*/ 935182 h 1454727"/>
                <a:gd name="connsiteX13" fmla="*/ 935182 w 1454727"/>
                <a:gd name="connsiteY13" fmla="*/ 1246909 h 1454727"/>
                <a:gd name="connsiteX14" fmla="*/ 519545 w 1454727"/>
                <a:gd name="connsiteY14" fmla="*/ 1246909 h 1454727"/>
                <a:gd name="connsiteX15" fmla="*/ 207818 w 1454727"/>
                <a:gd name="connsiteY15" fmla="*/ 935182 h 1454727"/>
                <a:gd name="connsiteX16" fmla="*/ 207818 w 1454727"/>
                <a:gd name="connsiteY16" fmla="*/ 519545 h 1454727"/>
                <a:gd name="connsiteX17" fmla="*/ 519545 w 1454727"/>
                <a:gd name="connsiteY17" fmla="*/ 207818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4727" h="1454727">
                  <a:moveTo>
                    <a:pt x="0" y="519545"/>
                  </a:moveTo>
                  <a:lnTo>
                    <a:pt x="0" y="935182"/>
                  </a:lnTo>
                  <a:cubicBezTo>
                    <a:pt x="0" y="1222119"/>
                    <a:pt x="232608" y="1454727"/>
                    <a:pt x="519545" y="1454727"/>
                  </a:cubicBezTo>
                  <a:lnTo>
                    <a:pt x="935182" y="1454727"/>
                  </a:lnTo>
                  <a:cubicBezTo>
                    <a:pt x="1222119" y="1454727"/>
                    <a:pt x="1454727" y="1222119"/>
                    <a:pt x="1454727" y="935182"/>
                  </a:cubicBezTo>
                  <a:lnTo>
                    <a:pt x="1454727" y="519545"/>
                  </a:lnTo>
                  <a:cubicBezTo>
                    <a:pt x="1454727" y="232608"/>
                    <a:pt x="1222119" y="0"/>
                    <a:pt x="935182" y="0"/>
                  </a:cubicBezTo>
                  <a:lnTo>
                    <a:pt x="519545" y="0"/>
                  </a:lnTo>
                  <a:cubicBezTo>
                    <a:pt x="232608" y="0"/>
                    <a:pt x="0" y="232608"/>
                    <a:pt x="0" y="519545"/>
                  </a:cubicBezTo>
                  <a:moveTo>
                    <a:pt x="519545" y="207818"/>
                  </a:moveTo>
                  <a:lnTo>
                    <a:pt x="935182" y="207818"/>
                  </a:lnTo>
                  <a:cubicBezTo>
                    <a:pt x="1107344" y="207818"/>
                    <a:pt x="1246909" y="347383"/>
                    <a:pt x="1246909" y="519545"/>
                  </a:cubicBezTo>
                  <a:lnTo>
                    <a:pt x="1246909" y="935182"/>
                  </a:lnTo>
                  <a:cubicBezTo>
                    <a:pt x="1246909" y="1107344"/>
                    <a:pt x="1107344" y="1246909"/>
                    <a:pt x="935182" y="1246909"/>
                  </a:cubicBezTo>
                  <a:lnTo>
                    <a:pt x="519545" y="1246909"/>
                  </a:lnTo>
                  <a:cubicBezTo>
                    <a:pt x="347383" y="1246909"/>
                    <a:pt x="207818" y="1107344"/>
                    <a:pt x="207818" y="935182"/>
                  </a:cubicBezTo>
                  <a:lnTo>
                    <a:pt x="207818" y="519545"/>
                  </a:lnTo>
                  <a:cubicBezTo>
                    <a:pt x="207818" y="347383"/>
                    <a:pt x="347383" y="207818"/>
                    <a:pt x="519545" y="207818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1" name="Полилиния 900">
              <a:extLst>
                <a:ext uri="{FF2B5EF4-FFF2-40B4-BE49-F238E27FC236}">
                  <a16:creationId xmlns:a16="http://schemas.microsoft.com/office/drawing/2014/main" id="{8C95D686-700D-2EB5-A581-5D109A632FCA}"/>
                </a:ext>
              </a:extLst>
            </p:cNvPr>
            <p:cNvSpPr/>
            <p:nvPr/>
          </p:nvSpPr>
          <p:spPr>
            <a:xfrm rot="-5400000">
              <a:off x="5368636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2" name="Полилиния 901">
              <a:extLst>
                <a:ext uri="{FF2B5EF4-FFF2-40B4-BE49-F238E27FC236}">
                  <a16:creationId xmlns:a16="http://schemas.microsoft.com/office/drawing/2014/main" id="{1B4CF216-0BD6-DF89-84CB-BD07DFD9BF37}"/>
                </a:ext>
              </a:extLst>
            </p:cNvPr>
            <p:cNvSpPr/>
            <p:nvPr/>
          </p:nvSpPr>
          <p:spPr>
            <a:xfrm rot="5400000">
              <a:off x="5784272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3" name="Полилиния 902">
              <a:extLst>
                <a:ext uri="{FF2B5EF4-FFF2-40B4-BE49-F238E27FC236}">
                  <a16:creationId xmlns:a16="http://schemas.microsoft.com/office/drawing/2014/main" id="{B805C59A-B4FA-D07B-2DF7-6710199CCAEF}"/>
                </a:ext>
              </a:extLst>
            </p:cNvPr>
            <p:cNvSpPr/>
            <p:nvPr/>
          </p:nvSpPr>
          <p:spPr>
            <a:xfrm rot="-5400000">
              <a:off x="6199909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4" name="Полилиния 903">
              <a:extLst>
                <a:ext uri="{FF2B5EF4-FFF2-40B4-BE49-F238E27FC236}">
                  <a16:creationId xmlns:a16="http://schemas.microsoft.com/office/drawing/2014/main" id="{FAD7CB64-7064-B06C-00A0-631DE0E28938}"/>
                </a:ext>
              </a:extLst>
            </p:cNvPr>
            <p:cNvSpPr/>
            <p:nvPr/>
          </p:nvSpPr>
          <p:spPr>
            <a:xfrm rot="-5400000">
              <a:off x="6823363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5" name="Полилиния 904">
              <a:extLst>
                <a:ext uri="{FF2B5EF4-FFF2-40B4-BE49-F238E27FC236}">
                  <a16:creationId xmlns:a16="http://schemas.microsoft.com/office/drawing/2014/main" id="{A743B16F-C464-E94F-3F3F-3CA2D92455C0}"/>
                </a:ext>
              </a:extLst>
            </p:cNvPr>
            <p:cNvSpPr/>
            <p:nvPr/>
          </p:nvSpPr>
          <p:spPr>
            <a:xfrm>
              <a:off x="7031181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6" name="Полилиния 905">
              <a:extLst>
                <a:ext uri="{FF2B5EF4-FFF2-40B4-BE49-F238E27FC236}">
                  <a16:creationId xmlns:a16="http://schemas.microsoft.com/office/drawing/2014/main" id="{81BA2AB7-D2CF-20CA-A6AF-7C3F2B1EE254}"/>
                </a:ext>
              </a:extLst>
            </p:cNvPr>
            <p:cNvSpPr/>
            <p:nvPr/>
          </p:nvSpPr>
          <p:spPr>
            <a:xfrm rot="5400000">
              <a:off x="7239000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7" name="Полилиния 906">
              <a:extLst>
                <a:ext uri="{FF2B5EF4-FFF2-40B4-BE49-F238E27FC236}">
                  <a16:creationId xmlns:a16="http://schemas.microsoft.com/office/drawing/2014/main" id="{736D8B73-B516-F3F6-9B24-C79F020A1CB5}"/>
                </a:ext>
              </a:extLst>
            </p:cNvPr>
            <p:cNvSpPr/>
            <p:nvPr/>
          </p:nvSpPr>
          <p:spPr>
            <a:xfrm rot="-5400000">
              <a:off x="5160818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8" name="Полилиния 907">
              <a:extLst>
                <a:ext uri="{FF2B5EF4-FFF2-40B4-BE49-F238E27FC236}">
                  <a16:creationId xmlns:a16="http://schemas.microsoft.com/office/drawing/2014/main" id="{26017A5B-C292-5411-0135-173EF251DE36}"/>
                </a:ext>
              </a:extLst>
            </p:cNvPr>
            <p:cNvSpPr/>
            <p:nvPr/>
          </p:nvSpPr>
          <p:spPr>
            <a:xfrm>
              <a:off x="5368636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9" name="Полилиния 908">
              <a:extLst>
                <a:ext uri="{FF2B5EF4-FFF2-40B4-BE49-F238E27FC236}">
                  <a16:creationId xmlns:a16="http://schemas.microsoft.com/office/drawing/2014/main" id="{83796C93-3EE8-B19D-00DC-78352DA17E94}"/>
                </a:ext>
              </a:extLst>
            </p:cNvPr>
            <p:cNvSpPr/>
            <p:nvPr/>
          </p:nvSpPr>
          <p:spPr>
            <a:xfrm>
              <a:off x="5576454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0" name="Полилиния 909">
              <a:extLst>
                <a:ext uri="{FF2B5EF4-FFF2-40B4-BE49-F238E27FC236}">
                  <a16:creationId xmlns:a16="http://schemas.microsoft.com/office/drawing/2014/main" id="{8061F9FB-30EB-DEC1-3844-604573986BA0}"/>
                </a:ext>
              </a:extLst>
            </p:cNvPr>
            <p:cNvSpPr/>
            <p:nvPr/>
          </p:nvSpPr>
          <p:spPr>
            <a:xfrm>
              <a:off x="6199909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1" name="Полилиния 910">
              <a:extLst>
                <a:ext uri="{FF2B5EF4-FFF2-40B4-BE49-F238E27FC236}">
                  <a16:creationId xmlns:a16="http://schemas.microsoft.com/office/drawing/2014/main" id="{4CC40075-947D-596A-1919-EC51A612C204}"/>
                </a:ext>
              </a:extLst>
            </p:cNvPr>
            <p:cNvSpPr/>
            <p:nvPr/>
          </p:nvSpPr>
          <p:spPr>
            <a:xfrm>
              <a:off x="6407727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2" name="Полилиния 911">
              <a:extLst>
                <a:ext uri="{FF2B5EF4-FFF2-40B4-BE49-F238E27FC236}">
                  <a16:creationId xmlns:a16="http://schemas.microsoft.com/office/drawing/2014/main" id="{E6093641-BAAA-D97D-21DC-06F5ADC34810}"/>
                </a:ext>
              </a:extLst>
            </p:cNvPr>
            <p:cNvSpPr/>
            <p:nvPr/>
          </p:nvSpPr>
          <p:spPr>
            <a:xfrm>
              <a:off x="7031181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3" name="Полилиния 912">
              <a:extLst>
                <a:ext uri="{FF2B5EF4-FFF2-40B4-BE49-F238E27FC236}">
                  <a16:creationId xmlns:a16="http://schemas.microsoft.com/office/drawing/2014/main" id="{30FFFB4E-EFC6-1A25-344D-5274C22DC812}"/>
                </a:ext>
              </a:extLst>
            </p:cNvPr>
            <p:cNvSpPr/>
            <p:nvPr/>
          </p:nvSpPr>
          <p:spPr>
            <a:xfrm rot="-5400000">
              <a:off x="4745181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4" name="Полилиния 913">
              <a:extLst>
                <a:ext uri="{FF2B5EF4-FFF2-40B4-BE49-F238E27FC236}">
                  <a16:creationId xmlns:a16="http://schemas.microsoft.com/office/drawing/2014/main" id="{20F0574B-AABB-20D2-B573-0E83FCD79F9E}"/>
                </a:ext>
              </a:extLst>
            </p:cNvPr>
            <p:cNvSpPr/>
            <p:nvPr/>
          </p:nvSpPr>
          <p:spPr>
            <a:xfrm>
              <a:off x="4953000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5" name="Полилиния 914">
              <a:extLst>
                <a:ext uri="{FF2B5EF4-FFF2-40B4-BE49-F238E27FC236}">
                  <a16:creationId xmlns:a16="http://schemas.microsoft.com/office/drawing/2014/main" id="{D46383DC-C262-AE42-2FA5-1F052ACAFD7B}"/>
                </a:ext>
              </a:extLst>
            </p:cNvPr>
            <p:cNvSpPr/>
            <p:nvPr/>
          </p:nvSpPr>
          <p:spPr>
            <a:xfrm>
              <a:off x="5160818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6" name="Полилиния 915">
              <a:extLst>
                <a:ext uri="{FF2B5EF4-FFF2-40B4-BE49-F238E27FC236}">
                  <a16:creationId xmlns:a16="http://schemas.microsoft.com/office/drawing/2014/main" id="{EB1ABBC1-D0F7-991A-5092-BD59E7DE1B11}"/>
                </a:ext>
              </a:extLst>
            </p:cNvPr>
            <p:cNvSpPr/>
            <p:nvPr/>
          </p:nvSpPr>
          <p:spPr>
            <a:xfrm>
              <a:off x="5368636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7" name="Полилиния 916">
              <a:extLst>
                <a:ext uri="{FF2B5EF4-FFF2-40B4-BE49-F238E27FC236}">
                  <a16:creationId xmlns:a16="http://schemas.microsoft.com/office/drawing/2014/main" id="{4ED72DB1-4886-6AA8-FD11-B846A6D78780}"/>
                </a:ext>
              </a:extLst>
            </p:cNvPr>
            <p:cNvSpPr/>
            <p:nvPr/>
          </p:nvSpPr>
          <p:spPr>
            <a:xfrm>
              <a:off x="5576454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8" name="Полилиния 917">
              <a:extLst>
                <a:ext uri="{FF2B5EF4-FFF2-40B4-BE49-F238E27FC236}">
                  <a16:creationId xmlns:a16="http://schemas.microsoft.com/office/drawing/2014/main" id="{05B64C97-D338-B063-01F0-9A7A47D65869}"/>
                </a:ext>
              </a:extLst>
            </p:cNvPr>
            <p:cNvSpPr/>
            <p:nvPr/>
          </p:nvSpPr>
          <p:spPr>
            <a:xfrm rot="-5400000">
              <a:off x="5992090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9" name="Полилиния 918">
              <a:extLst>
                <a:ext uri="{FF2B5EF4-FFF2-40B4-BE49-F238E27FC236}">
                  <a16:creationId xmlns:a16="http://schemas.microsoft.com/office/drawing/2014/main" id="{5318C3B3-C850-480F-EB5E-6686763FE823}"/>
                </a:ext>
              </a:extLst>
            </p:cNvPr>
            <p:cNvSpPr/>
            <p:nvPr/>
          </p:nvSpPr>
          <p:spPr>
            <a:xfrm>
              <a:off x="6199909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0" name="Полилиния 919">
              <a:extLst>
                <a:ext uri="{FF2B5EF4-FFF2-40B4-BE49-F238E27FC236}">
                  <a16:creationId xmlns:a16="http://schemas.microsoft.com/office/drawing/2014/main" id="{6C7CC15E-7E02-07AB-15C6-191781514070}"/>
                </a:ext>
              </a:extLst>
            </p:cNvPr>
            <p:cNvSpPr/>
            <p:nvPr/>
          </p:nvSpPr>
          <p:spPr>
            <a:xfrm>
              <a:off x="6407727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1" name="Полилиния 920">
              <a:extLst>
                <a:ext uri="{FF2B5EF4-FFF2-40B4-BE49-F238E27FC236}">
                  <a16:creationId xmlns:a16="http://schemas.microsoft.com/office/drawing/2014/main" id="{D3605CDE-2200-6BA5-B49D-F3AB7FEEA868}"/>
                </a:ext>
              </a:extLst>
            </p:cNvPr>
            <p:cNvSpPr/>
            <p:nvPr/>
          </p:nvSpPr>
          <p:spPr>
            <a:xfrm rot="5400000">
              <a:off x="6615545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2" name="Полилиния 921">
              <a:extLst>
                <a:ext uri="{FF2B5EF4-FFF2-40B4-BE49-F238E27FC236}">
                  <a16:creationId xmlns:a16="http://schemas.microsoft.com/office/drawing/2014/main" id="{5F2CF371-E7C0-D0DF-A066-3AB4C479232E}"/>
                </a:ext>
              </a:extLst>
            </p:cNvPr>
            <p:cNvSpPr/>
            <p:nvPr/>
          </p:nvSpPr>
          <p:spPr>
            <a:xfrm>
              <a:off x="7031181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3" name="Полилиния 922">
              <a:extLst>
                <a:ext uri="{FF2B5EF4-FFF2-40B4-BE49-F238E27FC236}">
                  <a16:creationId xmlns:a16="http://schemas.microsoft.com/office/drawing/2014/main" id="{23442502-FFE9-BD02-6A36-1BB338068494}"/>
                </a:ext>
              </a:extLst>
            </p:cNvPr>
            <p:cNvSpPr/>
            <p:nvPr/>
          </p:nvSpPr>
          <p:spPr>
            <a:xfrm>
              <a:off x="7239000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4" name="Полилиния 923">
              <a:extLst>
                <a:ext uri="{FF2B5EF4-FFF2-40B4-BE49-F238E27FC236}">
                  <a16:creationId xmlns:a16="http://schemas.microsoft.com/office/drawing/2014/main" id="{D8152593-6CCA-5277-11D2-5F9615CD4022}"/>
                </a:ext>
              </a:extLst>
            </p:cNvPr>
            <p:cNvSpPr/>
            <p:nvPr/>
          </p:nvSpPr>
          <p:spPr>
            <a:xfrm>
              <a:off x="5576454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5" name="Полилиния 924">
              <a:extLst>
                <a:ext uri="{FF2B5EF4-FFF2-40B4-BE49-F238E27FC236}">
                  <a16:creationId xmlns:a16="http://schemas.microsoft.com/office/drawing/2014/main" id="{13DD017D-1A80-235E-0FC0-25F0857FBBD8}"/>
                </a:ext>
              </a:extLst>
            </p:cNvPr>
            <p:cNvSpPr/>
            <p:nvPr/>
          </p:nvSpPr>
          <p:spPr>
            <a:xfrm rot="5400000">
              <a:off x="6407727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6" name="Полилиния 925">
              <a:extLst>
                <a:ext uri="{FF2B5EF4-FFF2-40B4-BE49-F238E27FC236}">
                  <a16:creationId xmlns:a16="http://schemas.microsoft.com/office/drawing/2014/main" id="{925C29DB-DBF2-EEA6-CFA0-7CAD63298AB3}"/>
                </a:ext>
              </a:extLst>
            </p:cNvPr>
            <p:cNvSpPr/>
            <p:nvPr/>
          </p:nvSpPr>
          <p:spPr>
            <a:xfrm rot="-5400000">
              <a:off x="6823363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7" name="Полилиния 926">
              <a:extLst>
                <a:ext uri="{FF2B5EF4-FFF2-40B4-BE49-F238E27FC236}">
                  <a16:creationId xmlns:a16="http://schemas.microsoft.com/office/drawing/2014/main" id="{DE991C42-D398-4924-E2A8-1ED5DDA97161}"/>
                </a:ext>
              </a:extLst>
            </p:cNvPr>
            <p:cNvSpPr/>
            <p:nvPr/>
          </p:nvSpPr>
          <p:spPr>
            <a:xfrm rot="5400000">
              <a:off x="7239000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8" name="Полилиния 927">
              <a:extLst>
                <a:ext uri="{FF2B5EF4-FFF2-40B4-BE49-F238E27FC236}">
                  <a16:creationId xmlns:a16="http://schemas.microsoft.com/office/drawing/2014/main" id="{5E633CB3-11B2-FC53-4E93-4A27C26B6FE2}"/>
                </a:ext>
              </a:extLst>
            </p:cNvPr>
            <p:cNvSpPr/>
            <p:nvPr/>
          </p:nvSpPr>
          <p:spPr>
            <a:xfrm rot="-5400000">
              <a:off x="4745181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9" name="Полилиния 928">
              <a:extLst>
                <a:ext uri="{FF2B5EF4-FFF2-40B4-BE49-F238E27FC236}">
                  <a16:creationId xmlns:a16="http://schemas.microsoft.com/office/drawing/2014/main" id="{B2D7C3A4-3C06-7FF5-6DFD-89D9F1A24CDF}"/>
                </a:ext>
              </a:extLst>
            </p:cNvPr>
            <p:cNvSpPr/>
            <p:nvPr/>
          </p:nvSpPr>
          <p:spPr>
            <a:xfrm rot="5400000">
              <a:off x="4953000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0" name="Полилиния 929">
              <a:extLst>
                <a:ext uri="{FF2B5EF4-FFF2-40B4-BE49-F238E27FC236}">
                  <a16:creationId xmlns:a16="http://schemas.microsoft.com/office/drawing/2014/main" id="{36C574DD-E26A-6897-2701-3D7BDB129AC4}"/>
                </a:ext>
              </a:extLst>
            </p:cNvPr>
            <p:cNvSpPr/>
            <p:nvPr/>
          </p:nvSpPr>
          <p:spPr>
            <a:xfrm>
              <a:off x="5576454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1" name="Полилиния 930">
              <a:extLst>
                <a:ext uri="{FF2B5EF4-FFF2-40B4-BE49-F238E27FC236}">
                  <a16:creationId xmlns:a16="http://schemas.microsoft.com/office/drawing/2014/main" id="{9CBC6B11-C25F-5B95-CA17-7509D836ED17}"/>
                </a:ext>
              </a:extLst>
            </p:cNvPr>
            <p:cNvSpPr/>
            <p:nvPr/>
          </p:nvSpPr>
          <p:spPr>
            <a:xfrm>
              <a:off x="5784272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2" name="Полилиния 931">
              <a:extLst>
                <a:ext uri="{FF2B5EF4-FFF2-40B4-BE49-F238E27FC236}">
                  <a16:creationId xmlns:a16="http://schemas.microsoft.com/office/drawing/2014/main" id="{020542AC-448F-6CD2-3B7A-5C060360DF54}"/>
                </a:ext>
              </a:extLst>
            </p:cNvPr>
            <p:cNvSpPr/>
            <p:nvPr/>
          </p:nvSpPr>
          <p:spPr>
            <a:xfrm rot="-5400000">
              <a:off x="6199909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3" name="Полилиния 932">
              <a:extLst>
                <a:ext uri="{FF2B5EF4-FFF2-40B4-BE49-F238E27FC236}">
                  <a16:creationId xmlns:a16="http://schemas.microsoft.com/office/drawing/2014/main" id="{5B4974C0-EC2B-DA69-5B2F-201B816B8AB0}"/>
                </a:ext>
              </a:extLst>
            </p:cNvPr>
            <p:cNvSpPr/>
            <p:nvPr/>
          </p:nvSpPr>
          <p:spPr>
            <a:xfrm rot="-5400000">
              <a:off x="6615545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4" name="Полилиния 933">
              <a:extLst>
                <a:ext uri="{FF2B5EF4-FFF2-40B4-BE49-F238E27FC236}">
                  <a16:creationId xmlns:a16="http://schemas.microsoft.com/office/drawing/2014/main" id="{D5A5ECC2-C00D-CA34-217E-0DCC3C6A54C5}"/>
                </a:ext>
              </a:extLst>
            </p:cNvPr>
            <p:cNvSpPr/>
            <p:nvPr/>
          </p:nvSpPr>
          <p:spPr>
            <a:xfrm rot="5400000">
              <a:off x="6823363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5" name="Полилиния 934">
              <a:extLst>
                <a:ext uri="{FF2B5EF4-FFF2-40B4-BE49-F238E27FC236}">
                  <a16:creationId xmlns:a16="http://schemas.microsoft.com/office/drawing/2014/main" id="{CAF7C3F3-C471-91C7-5DE4-8016EF866470}"/>
                </a:ext>
              </a:extLst>
            </p:cNvPr>
            <p:cNvSpPr/>
            <p:nvPr/>
          </p:nvSpPr>
          <p:spPr>
            <a:xfrm>
              <a:off x="4745181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6" name="Полилиния 935">
              <a:extLst>
                <a:ext uri="{FF2B5EF4-FFF2-40B4-BE49-F238E27FC236}">
                  <a16:creationId xmlns:a16="http://schemas.microsoft.com/office/drawing/2014/main" id="{626D9F96-1964-8055-F043-9E6338E3F757}"/>
                </a:ext>
              </a:extLst>
            </p:cNvPr>
            <p:cNvSpPr/>
            <p:nvPr/>
          </p:nvSpPr>
          <p:spPr>
            <a:xfrm rot="-5400000">
              <a:off x="5368636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7" name="Полилиния 936">
              <a:extLst>
                <a:ext uri="{FF2B5EF4-FFF2-40B4-BE49-F238E27FC236}">
                  <a16:creationId xmlns:a16="http://schemas.microsoft.com/office/drawing/2014/main" id="{33AB072E-61C1-1A9F-AD18-D9EBAA2357C6}"/>
                </a:ext>
              </a:extLst>
            </p:cNvPr>
            <p:cNvSpPr/>
            <p:nvPr/>
          </p:nvSpPr>
          <p:spPr>
            <a:xfrm>
              <a:off x="5576454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8" name="Полилиния 937">
              <a:extLst>
                <a:ext uri="{FF2B5EF4-FFF2-40B4-BE49-F238E27FC236}">
                  <a16:creationId xmlns:a16="http://schemas.microsoft.com/office/drawing/2014/main" id="{A72A686D-DC2B-1E71-F378-6DE873F8EED7}"/>
                </a:ext>
              </a:extLst>
            </p:cNvPr>
            <p:cNvSpPr/>
            <p:nvPr/>
          </p:nvSpPr>
          <p:spPr>
            <a:xfrm>
              <a:off x="5784272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9" name="Полилиния 938">
              <a:extLst>
                <a:ext uri="{FF2B5EF4-FFF2-40B4-BE49-F238E27FC236}">
                  <a16:creationId xmlns:a16="http://schemas.microsoft.com/office/drawing/2014/main" id="{D746760F-3319-DB6A-9A6D-5DD48A6DB5B6}"/>
                </a:ext>
              </a:extLst>
            </p:cNvPr>
            <p:cNvSpPr/>
            <p:nvPr/>
          </p:nvSpPr>
          <p:spPr>
            <a:xfrm>
              <a:off x="5992090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0" name="Полилиния 939">
              <a:extLst>
                <a:ext uri="{FF2B5EF4-FFF2-40B4-BE49-F238E27FC236}">
                  <a16:creationId xmlns:a16="http://schemas.microsoft.com/office/drawing/2014/main" id="{0CA3B652-A4A3-DD03-66A8-6B835CD652F2}"/>
                </a:ext>
              </a:extLst>
            </p:cNvPr>
            <p:cNvSpPr/>
            <p:nvPr/>
          </p:nvSpPr>
          <p:spPr>
            <a:xfrm rot="5400000">
              <a:off x="6199909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1" name="Полилиния 940">
              <a:extLst>
                <a:ext uri="{FF2B5EF4-FFF2-40B4-BE49-F238E27FC236}">
                  <a16:creationId xmlns:a16="http://schemas.microsoft.com/office/drawing/2014/main" id="{6588F087-6755-42A6-B79F-BB12BF10614C}"/>
                </a:ext>
              </a:extLst>
            </p:cNvPr>
            <p:cNvSpPr/>
            <p:nvPr/>
          </p:nvSpPr>
          <p:spPr>
            <a:xfrm rot="5400000">
              <a:off x="6615545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2" name="Полилиния 941">
              <a:extLst>
                <a:ext uri="{FF2B5EF4-FFF2-40B4-BE49-F238E27FC236}">
                  <a16:creationId xmlns:a16="http://schemas.microsoft.com/office/drawing/2014/main" id="{C12F07E1-FFE4-0A2B-E0FE-B1AB4594FAC9}"/>
                </a:ext>
              </a:extLst>
            </p:cNvPr>
            <p:cNvSpPr/>
            <p:nvPr/>
          </p:nvSpPr>
          <p:spPr>
            <a:xfrm rot="-5400000">
              <a:off x="7031181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3" name="Полилиния 942">
              <a:extLst>
                <a:ext uri="{FF2B5EF4-FFF2-40B4-BE49-F238E27FC236}">
                  <a16:creationId xmlns:a16="http://schemas.microsoft.com/office/drawing/2014/main" id="{042F9BD3-8626-35A8-E809-6444B95A4591}"/>
                </a:ext>
              </a:extLst>
            </p:cNvPr>
            <p:cNvSpPr/>
            <p:nvPr/>
          </p:nvSpPr>
          <p:spPr>
            <a:xfrm>
              <a:off x="7239000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4" name="Полилиния 943">
              <a:extLst>
                <a:ext uri="{FF2B5EF4-FFF2-40B4-BE49-F238E27FC236}">
                  <a16:creationId xmlns:a16="http://schemas.microsoft.com/office/drawing/2014/main" id="{4527122F-DA34-9061-64B3-F1828F177CC5}"/>
                </a:ext>
              </a:extLst>
            </p:cNvPr>
            <p:cNvSpPr/>
            <p:nvPr/>
          </p:nvSpPr>
          <p:spPr>
            <a:xfrm rot="5400000">
              <a:off x="4745181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5" name="Полилиния 944">
              <a:extLst>
                <a:ext uri="{FF2B5EF4-FFF2-40B4-BE49-F238E27FC236}">
                  <a16:creationId xmlns:a16="http://schemas.microsoft.com/office/drawing/2014/main" id="{017675AC-431C-C950-3C50-4A86FD0CB9A7}"/>
                </a:ext>
              </a:extLst>
            </p:cNvPr>
            <p:cNvSpPr/>
            <p:nvPr/>
          </p:nvSpPr>
          <p:spPr>
            <a:xfrm rot="-5400000">
              <a:off x="5160818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6" name="Полилиния 945">
              <a:extLst>
                <a:ext uri="{FF2B5EF4-FFF2-40B4-BE49-F238E27FC236}">
                  <a16:creationId xmlns:a16="http://schemas.microsoft.com/office/drawing/2014/main" id="{884E32C5-B463-C484-4ECF-4EF29AD78F27}"/>
                </a:ext>
              </a:extLst>
            </p:cNvPr>
            <p:cNvSpPr/>
            <p:nvPr/>
          </p:nvSpPr>
          <p:spPr>
            <a:xfrm>
              <a:off x="5576454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7" name="Полилиния 946">
              <a:extLst>
                <a:ext uri="{FF2B5EF4-FFF2-40B4-BE49-F238E27FC236}">
                  <a16:creationId xmlns:a16="http://schemas.microsoft.com/office/drawing/2014/main" id="{9BDCE80D-8C2F-ADE1-D36C-5FFEB89E2425}"/>
                </a:ext>
              </a:extLst>
            </p:cNvPr>
            <p:cNvSpPr/>
            <p:nvPr/>
          </p:nvSpPr>
          <p:spPr>
            <a:xfrm rot="5400000">
              <a:off x="5992090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8" name="Полилиния 947">
              <a:extLst>
                <a:ext uri="{FF2B5EF4-FFF2-40B4-BE49-F238E27FC236}">
                  <a16:creationId xmlns:a16="http://schemas.microsoft.com/office/drawing/2014/main" id="{8933C6CC-F73B-340D-A0DE-48F1ACBD3A41}"/>
                </a:ext>
              </a:extLst>
            </p:cNvPr>
            <p:cNvSpPr/>
            <p:nvPr/>
          </p:nvSpPr>
          <p:spPr>
            <a:xfrm rot="-5400000">
              <a:off x="6407727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9" name="Полилиния 948">
              <a:extLst>
                <a:ext uri="{FF2B5EF4-FFF2-40B4-BE49-F238E27FC236}">
                  <a16:creationId xmlns:a16="http://schemas.microsoft.com/office/drawing/2014/main" id="{5B0B56C1-A301-9383-906F-23254649D935}"/>
                </a:ext>
              </a:extLst>
            </p:cNvPr>
            <p:cNvSpPr/>
            <p:nvPr/>
          </p:nvSpPr>
          <p:spPr>
            <a:xfrm rot="5400000">
              <a:off x="6823363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6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0" name="Полилиния 949">
              <a:extLst>
                <a:ext uri="{FF2B5EF4-FFF2-40B4-BE49-F238E27FC236}">
                  <a16:creationId xmlns:a16="http://schemas.microsoft.com/office/drawing/2014/main" id="{6715EE43-99B8-9A88-35D7-AD2B7205C9B5}"/>
                </a:ext>
              </a:extLst>
            </p:cNvPr>
            <p:cNvSpPr/>
            <p:nvPr/>
          </p:nvSpPr>
          <p:spPr>
            <a:xfrm>
              <a:off x="7239000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1" name="Полилиния 950">
              <a:extLst>
                <a:ext uri="{FF2B5EF4-FFF2-40B4-BE49-F238E27FC236}">
                  <a16:creationId xmlns:a16="http://schemas.microsoft.com/office/drawing/2014/main" id="{5260E6B7-7922-6DE7-F0F1-AC98AD7FB6FB}"/>
                </a:ext>
              </a:extLst>
            </p:cNvPr>
            <p:cNvSpPr/>
            <p:nvPr/>
          </p:nvSpPr>
          <p:spPr>
            <a:xfrm>
              <a:off x="5160818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2" name="Полилиния 951">
              <a:extLst>
                <a:ext uri="{FF2B5EF4-FFF2-40B4-BE49-F238E27FC236}">
                  <a16:creationId xmlns:a16="http://schemas.microsoft.com/office/drawing/2014/main" id="{2150D72B-0CFC-6D9A-4052-8A2F1933E93E}"/>
                </a:ext>
              </a:extLst>
            </p:cNvPr>
            <p:cNvSpPr/>
            <p:nvPr/>
          </p:nvSpPr>
          <p:spPr>
            <a:xfrm>
              <a:off x="5368636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3" name="Полилиния 952">
              <a:extLst>
                <a:ext uri="{FF2B5EF4-FFF2-40B4-BE49-F238E27FC236}">
                  <a16:creationId xmlns:a16="http://schemas.microsoft.com/office/drawing/2014/main" id="{3CF7963F-E76E-2799-620C-BD0E5455CA2D}"/>
                </a:ext>
              </a:extLst>
            </p:cNvPr>
            <p:cNvSpPr/>
            <p:nvPr/>
          </p:nvSpPr>
          <p:spPr>
            <a:xfrm>
              <a:off x="5576454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4" name="Полилиния 953">
              <a:extLst>
                <a:ext uri="{FF2B5EF4-FFF2-40B4-BE49-F238E27FC236}">
                  <a16:creationId xmlns:a16="http://schemas.microsoft.com/office/drawing/2014/main" id="{E86B8AFE-DF70-B8C6-84F8-3418BE52B1E0}"/>
                </a:ext>
              </a:extLst>
            </p:cNvPr>
            <p:cNvSpPr/>
            <p:nvPr/>
          </p:nvSpPr>
          <p:spPr>
            <a:xfrm rot="-5400000">
              <a:off x="6199909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5" name="Полилиния 954">
              <a:extLst>
                <a:ext uri="{FF2B5EF4-FFF2-40B4-BE49-F238E27FC236}">
                  <a16:creationId xmlns:a16="http://schemas.microsoft.com/office/drawing/2014/main" id="{C9B482D6-8C08-1E80-4496-69B289CF5AE9}"/>
                </a:ext>
              </a:extLst>
            </p:cNvPr>
            <p:cNvSpPr/>
            <p:nvPr/>
          </p:nvSpPr>
          <p:spPr>
            <a:xfrm>
              <a:off x="6407727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6" name="Полилиния 955">
              <a:extLst>
                <a:ext uri="{FF2B5EF4-FFF2-40B4-BE49-F238E27FC236}">
                  <a16:creationId xmlns:a16="http://schemas.microsoft.com/office/drawing/2014/main" id="{88876B10-5DAC-0DFD-9BDE-76816BE8FE21}"/>
                </a:ext>
              </a:extLst>
            </p:cNvPr>
            <p:cNvSpPr/>
            <p:nvPr/>
          </p:nvSpPr>
          <p:spPr>
            <a:xfrm rot="-5400000">
              <a:off x="7031181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7" name="Полилиния 956">
              <a:extLst>
                <a:ext uri="{FF2B5EF4-FFF2-40B4-BE49-F238E27FC236}">
                  <a16:creationId xmlns:a16="http://schemas.microsoft.com/office/drawing/2014/main" id="{82D5BC7E-93B5-96D3-1C07-509C9129EF67}"/>
                </a:ext>
              </a:extLst>
            </p:cNvPr>
            <p:cNvSpPr/>
            <p:nvPr/>
          </p:nvSpPr>
          <p:spPr>
            <a:xfrm>
              <a:off x="7239000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8" name="Полилиния 957">
              <a:extLst>
                <a:ext uri="{FF2B5EF4-FFF2-40B4-BE49-F238E27FC236}">
                  <a16:creationId xmlns:a16="http://schemas.microsoft.com/office/drawing/2014/main" id="{3580D93A-D14E-E96F-2399-B048CF389922}"/>
                </a:ext>
              </a:extLst>
            </p:cNvPr>
            <p:cNvSpPr/>
            <p:nvPr/>
          </p:nvSpPr>
          <p:spPr>
            <a:xfrm rot="5400000">
              <a:off x="3290454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9" name="Полилиния 958">
              <a:extLst>
                <a:ext uri="{FF2B5EF4-FFF2-40B4-BE49-F238E27FC236}">
                  <a16:creationId xmlns:a16="http://schemas.microsoft.com/office/drawing/2014/main" id="{17D50326-31F6-9A6B-77F4-79C0C4478E45}"/>
                </a:ext>
              </a:extLst>
            </p:cNvPr>
            <p:cNvSpPr/>
            <p:nvPr/>
          </p:nvSpPr>
          <p:spPr>
            <a:xfrm rot="-5400000">
              <a:off x="3913909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0" name="Полилиния 959">
              <a:extLst>
                <a:ext uri="{FF2B5EF4-FFF2-40B4-BE49-F238E27FC236}">
                  <a16:creationId xmlns:a16="http://schemas.microsoft.com/office/drawing/2014/main" id="{A607EB09-A547-BABA-7538-6CFE5685E13A}"/>
                </a:ext>
              </a:extLst>
            </p:cNvPr>
            <p:cNvSpPr/>
            <p:nvPr/>
          </p:nvSpPr>
          <p:spPr>
            <a:xfrm rot="5400000">
              <a:off x="4329545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6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1" name="Полилиния 960">
              <a:extLst>
                <a:ext uri="{FF2B5EF4-FFF2-40B4-BE49-F238E27FC236}">
                  <a16:creationId xmlns:a16="http://schemas.microsoft.com/office/drawing/2014/main" id="{7F4EA741-DB63-72D6-C413-5200D7C4C800}"/>
                </a:ext>
              </a:extLst>
            </p:cNvPr>
            <p:cNvSpPr/>
            <p:nvPr/>
          </p:nvSpPr>
          <p:spPr>
            <a:xfrm rot="-5400000">
              <a:off x="4745181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2" name="Полилиния 961">
              <a:extLst>
                <a:ext uri="{FF2B5EF4-FFF2-40B4-BE49-F238E27FC236}">
                  <a16:creationId xmlns:a16="http://schemas.microsoft.com/office/drawing/2014/main" id="{C9C6F5E4-6595-6219-AC2C-7DF630604FF5}"/>
                </a:ext>
              </a:extLst>
            </p:cNvPr>
            <p:cNvSpPr/>
            <p:nvPr/>
          </p:nvSpPr>
          <p:spPr>
            <a:xfrm>
              <a:off x="4953000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3" name="Полилиния 962">
              <a:extLst>
                <a:ext uri="{FF2B5EF4-FFF2-40B4-BE49-F238E27FC236}">
                  <a16:creationId xmlns:a16="http://schemas.microsoft.com/office/drawing/2014/main" id="{BF2314FE-42BE-8E90-5105-1499EEA19F74}"/>
                </a:ext>
              </a:extLst>
            </p:cNvPr>
            <p:cNvSpPr/>
            <p:nvPr/>
          </p:nvSpPr>
          <p:spPr>
            <a:xfrm>
              <a:off x="5160818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4" name="Полилиния 963">
              <a:extLst>
                <a:ext uri="{FF2B5EF4-FFF2-40B4-BE49-F238E27FC236}">
                  <a16:creationId xmlns:a16="http://schemas.microsoft.com/office/drawing/2014/main" id="{A8612F82-ACC4-DEB4-10D4-F02C7F8F1A21}"/>
                </a:ext>
              </a:extLst>
            </p:cNvPr>
            <p:cNvSpPr/>
            <p:nvPr/>
          </p:nvSpPr>
          <p:spPr>
            <a:xfrm>
              <a:off x="5368636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5" name="Полилиния 964">
              <a:extLst>
                <a:ext uri="{FF2B5EF4-FFF2-40B4-BE49-F238E27FC236}">
                  <a16:creationId xmlns:a16="http://schemas.microsoft.com/office/drawing/2014/main" id="{4C1EC2C4-FEDC-26FB-19FF-B6D6C50B4F36}"/>
                </a:ext>
              </a:extLst>
            </p:cNvPr>
            <p:cNvSpPr/>
            <p:nvPr/>
          </p:nvSpPr>
          <p:spPr>
            <a:xfrm>
              <a:off x="5576454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6" name="Полилиния 965">
              <a:extLst>
                <a:ext uri="{FF2B5EF4-FFF2-40B4-BE49-F238E27FC236}">
                  <a16:creationId xmlns:a16="http://schemas.microsoft.com/office/drawing/2014/main" id="{35C057D1-250A-E69F-0DCD-6579FB5500D0}"/>
                </a:ext>
              </a:extLst>
            </p:cNvPr>
            <p:cNvSpPr/>
            <p:nvPr/>
          </p:nvSpPr>
          <p:spPr>
            <a:xfrm rot="5400000">
              <a:off x="5784272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7" name="Полилиния 966">
              <a:extLst>
                <a:ext uri="{FF2B5EF4-FFF2-40B4-BE49-F238E27FC236}">
                  <a16:creationId xmlns:a16="http://schemas.microsoft.com/office/drawing/2014/main" id="{FB8FA5CC-43A9-280E-14FE-535CCEE02966}"/>
                </a:ext>
              </a:extLst>
            </p:cNvPr>
            <p:cNvSpPr/>
            <p:nvPr/>
          </p:nvSpPr>
          <p:spPr>
            <a:xfrm rot="5400000">
              <a:off x="6407727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8" name="Полилиния 967">
              <a:extLst>
                <a:ext uri="{FF2B5EF4-FFF2-40B4-BE49-F238E27FC236}">
                  <a16:creationId xmlns:a16="http://schemas.microsoft.com/office/drawing/2014/main" id="{D6A9A341-171C-E070-3AF8-DC43B905DC51}"/>
                </a:ext>
              </a:extLst>
            </p:cNvPr>
            <p:cNvSpPr/>
            <p:nvPr/>
          </p:nvSpPr>
          <p:spPr>
            <a:xfrm>
              <a:off x="7239000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9" name="Полилиния 968">
              <a:extLst>
                <a:ext uri="{FF2B5EF4-FFF2-40B4-BE49-F238E27FC236}">
                  <a16:creationId xmlns:a16="http://schemas.microsoft.com/office/drawing/2014/main" id="{767FE599-717D-2263-1408-C83677114EA8}"/>
                </a:ext>
              </a:extLst>
            </p:cNvPr>
            <p:cNvSpPr/>
            <p:nvPr/>
          </p:nvSpPr>
          <p:spPr>
            <a:xfrm rot="5400000">
              <a:off x="7446818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0" name="Полилиния 969">
              <a:extLst>
                <a:ext uri="{FF2B5EF4-FFF2-40B4-BE49-F238E27FC236}">
                  <a16:creationId xmlns:a16="http://schemas.microsoft.com/office/drawing/2014/main" id="{5FE7063F-5037-8634-4F5B-B65225AA8C3D}"/>
                </a:ext>
              </a:extLst>
            </p:cNvPr>
            <p:cNvSpPr/>
            <p:nvPr/>
          </p:nvSpPr>
          <p:spPr>
            <a:xfrm rot="-5400000">
              <a:off x="7862454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1" name="Полилиния 970">
              <a:extLst>
                <a:ext uri="{FF2B5EF4-FFF2-40B4-BE49-F238E27FC236}">
                  <a16:creationId xmlns:a16="http://schemas.microsoft.com/office/drawing/2014/main" id="{2ACDF07C-DD99-63F8-0E5C-FA37AC1E29E5}"/>
                </a:ext>
              </a:extLst>
            </p:cNvPr>
            <p:cNvSpPr/>
            <p:nvPr/>
          </p:nvSpPr>
          <p:spPr>
            <a:xfrm>
              <a:off x="8070272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2" name="Полилиния 971">
              <a:extLst>
                <a:ext uri="{FF2B5EF4-FFF2-40B4-BE49-F238E27FC236}">
                  <a16:creationId xmlns:a16="http://schemas.microsoft.com/office/drawing/2014/main" id="{9B4C1AA1-81FA-E0CC-CB62-EB8927D5AD09}"/>
                </a:ext>
              </a:extLst>
            </p:cNvPr>
            <p:cNvSpPr/>
            <p:nvPr/>
          </p:nvSpPr>
          <p:spPr>
            <a:xfrm rot="-5400000">
              <a:off x="8485909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3" name="Полилиния 972">
              <a:extLst>
                <a:ext uri="{FF2B5EF4-FFF2-40B4-BE49-F238E27FC236}">
                  <a16:creationId xmlns:a16="http://schemas.microsoft.com/office/drawing/2014/main" id="{41EC3096-97CE-C6EF-EFAA-21EA6CD0EEF1}"/>
                </a:ext>
              </a:extLst>
            </p:cNvPr>
            <p:cNvSpPr/>
            <p:nvPr/>
          </p:nvSpPr>
          <p:spPr>
            <a:xfrm rot="-5400000">
              <a:off x="3082636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4" name="Полилиния 973">
              <a:extLst>
                <a:ext uri="{FF2B5EF4-FFF2-40B4-BE49-F238E27FC236}">
                  <a16:creationId xmlns:a16="http://schemas.microsoft.com/office/drawing/2014/main" id="{37E2F8AF-F077-2C0C-FB1B-420E023CE59C}"/>
                </a:ext>
              </a:extLst>
            </p:cNvPr>
            <p:cNvSpPr/>
            <p:nvPr/>
          </p:nvSpPr>
          <p:spPr>
            <a:xfrm rot="-5400000">
              <a:off x="3498272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5" name="Полилиния 974">
              <a:extLst>
                <a:ext uri="{FF2B5EF4-FFF2-40B4-BE49-F238E27FC236}">
                  <a16:creationId xmlns:a16="http://schemas.microsoft.com/office/drawing/2014/main" id="{5781113E-DD6F-111F-5E26-6B010BDE78C8}"/>
                </a:ext>
              </a:extLst>
            </p:cNvPr>
            <p:cNvSpPr/>
            <p:nvPr/>
          </p:nvSpPr>
          <p:spPr>
            <a:xfrm>
              <a:off x="3913909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6" name="Полилиния 975">
              <a:extLst>
                <a:ext uri="{FF2B5EF4-FFF2-40B4-BE49-F238E27FC236}">
                  <a16:creationId xmlns:a16="http://schemas.microsoft.com/office/drawing/2014/main" id="{B2E5DA58-AD47-FE29-1D55-FBF24C20CDC8}"/>
                </a:ext>
              </a:extLst>
            </p:cNvPr>
            <p:cNvSpPr/>
            <p:nvPr/>
          </p:nvSpPr>
          <p:spPr>
            <a:xfrm rot="5400000">
              <a:off x="4121727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7" name="Полилиния 976">
              <a:extLst>
                <a:ext uri="{FF2B5EF4-FFF2-40B4-BE49-F238E27FC236}">
                  <a16:creationId xmlns:a16="http://schemas.microsoft.com/office/drawing/2014/main" id="{E592D689-FA97-0611-0DB6-732DB4484E0F}"/>
                </a:ext>
              </a:extLst>
            </p:cNvPr>
            <p:cNvSpPr/>
            <p:nvPr/>
          </p:nvSpPr>
          <p:spPr>
            <a:xfrm rot="-5400000">
              <a:off x="4537363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8" name="Полилиния 977">
              <a:extLst>
                <a:ext uri="{FF2B5EF4-FFF2-40B4-BE49-F238E27FC236}">
                  <a16:creationId xmlns:a16="http://schemas.microsoft.com/office/drawing/2014/main" id="{1B1BCB15-3970-19A1-C62B-B61B90859CC1}"/>
                </a:ext>
              </a:extLst>
            </p:cNvPr>
            <p:cNvSpPr/>
            <p:nvPr/>
          </p:nvSpPr>
          <p:spPr>
            <a:xfrm rot="-5400000">
              <a:off x="6615545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9" name="Полилиния 978">
              <a:extLst>
                <a:ext uri="{FF2B5EF4-FFF2-40B4-BE49-F238E27FC236}">
                  <a16:creationId xmlns:a16="http://schemas.microsoft.com/office/drawing/2014/main" id="{F4A63896-906F-E322-7E40-33AA6420D1C8}"/>
                </a:ext>
              </a:extLst>
            </p:cNvPr>
            <p:cNvSpPr/>
            <p:nvPr/>
          </p:nvSpPr>
          <p:spPr>
            <a:xfrm>
              <a:off x="6823363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0" name="Полилиния 979">
              <a:extLst>
                <a:ext uri="{FF2B5EF4-FFF2-40B4-BE49-F238E27FC236}">
                  <a16:creationId xmlns:a16="http://schemas.microsoft.com/office/drawing/2014/main" id="{32C5D692-7A2E-38F1-A17C-D59551B8D195}"/>
                </a:ext>
              </a:extLst>
            </p:cNvPr>
            <p:cNvSpPr/>
            <p:nvPr/>
          </p:nvSpPr>
          <p:spPr>
            <a:xfrm rot="5400000">
              <a:off x="7654636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1" name="Полилиния 980">
              <a:extLst>
                <a:ext uri="{FF2B5EF4-FFF2-40B4-BE49-F238E27FC236}">
                  <a16:creationId xmlns:a16="http://schemas.microsoft.com/office/drawing/2014/main" id="{88A06FA7-BCBF-EF57-5A9F-71D0DA6BE6B4}"/>
                </a:ext>
              </a:extLst>
            </p:cNvPr>
            <p:cNvSpPr/>
            <p:nvPr/>
          </p:nvSpPr>
          <p:spPr>
            <a:xfrm rot="5400000">
              <a:off x="8070272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2" name="Полилиния 981">
              <a:extLst>
                <a:ext uri="{FF2B5EF4-FFF2-40B4-BE49-F238E27FC236}">
                  <a16:creationId xmlns:a16="http://schemas.microsoft.com/office/drawing/2014/main" id="{EFD9ABDC-5939-F822-561A-6F4DF4583CBD}"/>
                </a:ext>
              </a:extLst>
            </p:cNvPr>
            <p:cNvSpPr/>
            <p:nvPr/>
          </p:nvSpPr>
          <p:spPr>
            <a:xfrm>
              <a:off x="8485909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3" name="Полилиния 982">
              <a:extLst>
                <a:ext uri="{FF2B5EF4-FFF2-40B4-BE49-F238E27FC236}">
                  <a16:creationId xmlns:a16="http://schemas.microsoft.com/office/drawing/2014/main" id="{2E37C2A6-F19E-C573-7453-18C71CE29E83}"/>
                </a:ext>
              </a:extLst>
            </p:cNvPr>
            <p:cNvSpPr/>
            <p:nvPr/>
          </p:nvSpPr>
          <p:spPr>
            <a:xfrm>
              <a:off x="8693727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4" name="Полилиния 983">
              <a:extLst>
                <a:ext uri="{FF2B5EF4-FFF2-40B4-BE49-F238E27FC236}">
                  <a16:creationId xmlns:a16="http://schemas.microsoft.com/office/drawing/2014/main" id="{0FF97B1A-E1C0-B80F-1305-0D9AE8071A88}"/>
                </a:ext>
              </a:extLst>
            </p:cNvPr>
            <p:cNvSpPr/>
            <p:nvPr/>
          </p:nvSpPr>
          <p:spPr>
            <a:xfrm>
              <a:off x="8901545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5" name="Полилиния 984">
              <a:extLst>
                <a:ext uri="{FF2B5EF4-FFF2-40B4-BE49-F238E27FC236}">
                  <a16:creationId xmlns:a16="http://schemas.microsoft.com/office/drawing/2014/main" id="{D25CA7A6-C420-3A44-6872-A2457085EFC5}"/>
                </a:ext>
              </a:extLst>
            </p:cNvPr>
            <p:cNvSpPr/>
            <p:nvPr/>
          </p:nvSpPr>
          <p:spPr>
            <a:xfrm>
              <a:off x="3082636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6" name="Полилиния 985">
              <a:extLst>
                <a:ext uri="{FF2B5EF4-FFF2-40B4-BE49-F238E27FC236}">
                  <a16:creationId xmlns:a16="http://schemas.microsoft.com/office/drawing/2014/main" id="{CE291CD3-8B44-A858-C2BA-E7BA54975773}"/>
                </a:ext>
              </a:extLst>
            </p:cNvPr>
            <p:cNvSpPr/>
            <p:nvPr/>
          </p:nvSpPr>
          <p:spPr>
            <a:xfrm>
              <a:off x="3290454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7" name="Полилиния 986">
              <a:extLst>
                <a:ext uri="{FF2B5EF4-FFF2-40B4-BE49-F238E27FC236}">
                  <a16:creationId xmlns:a16="http://schemas.microsoft.com/office/drawing/2014/main" id="{8CCE281B-5866-E86D-8FF1-98D072DA8948}"/>
                </a:ext>
              </a:extLst>
            </p:cNvPr>
            <p:cNvSpPr/>
            <p:nvPr/>
          </p:nvSpPr>
          <p:spPr>
            <a:xfrm>
              <a:off x="3498272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8" name="Полилиния 987">
              <a:extLst>
                <a:ext uri="{FF2B5EF4-FFF2-40B4-BE49-F238E27FC236}">
                  <a16:creationId xmlns:a16="http://schemas.microsoft.com/office/drawing/2014/main" id="{E958BB6F-4A79-EB2D-A98A-5161F4AE8C10}"/>
                </a:ext>
              </a:extLst>
            </p:cNvPr>
            <p:cNvSpPr/>
            <p:nvPr/>
          </p:nvSpPr>
          <p:spPr>
            <a:xfrm rot="5400000">
              <a:off x="3706090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9" name="Полилиния 988">
              <a:extLst>
                <a:ext uri="{FF2B5EF4-FFF2-40B4-BE49-F238E27FC236}">
                  <a16:creationId xmlns:a16="http://schemas.microsoft.com/office/drawing/2014/main" id="{3E88D7E5-DA44-4ED9-068A-F7C7998D1A1E}"/>
                </a:ext>
              </a:extLst>
            </p:cNvPr>
            <p:cNvSpPr/>
            <p:nvPr/>
          </p:nvSpPr>
          <p:spPr>
            <a:xfrm rot="-5400000">
              <a:off x="4329545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0" name="Полилиния 989">
              <a:extLst>
                <a:ext uri="{FF2B5EF4-FFF2-40B4-BE49-F238E27FC236}">
                  <a16:creationId xmlns:a16="http://schemas.microsoft.com/office/drawing/2014/main" id="{B0AE02BC-45B6-904A-F5AB-A34C2AC8EF13}"/>
                </a:ext>
              </a:extLst>
            </p:cNvPr>
            <p:cNvSpPr/>
            <p:nvPr/>
          </p:nvSpPr>
          <p:spPr>
            <a:xfrm>
              <a:off x="4537363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1" name="Полилиния 990">
              <a:extLst>
                <a:ext uri="{FF2B5EF4-FFF2-40B4-BE49-F238E27FC236}">
                  <a16:creationId xmlns:a16="http://schemas.microsoft.com/office/drawing/2014/main" id="{7CBA3058-F24D-517E-ADB3-C19F0A75E759}"/>
                </a:ext>
              </a:extLst>
            </p:cNvPr>
            <p:cNvSpPr/>
            <p:nvPr/>
          </p:nvSpPr>
          <p:spPr>
            <a:xfrm>
              <a:off x="4745181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2" name="Полилиния 991">
              <a:extLst>
                <a:ext uri="{FF2B5EF4-FFF2-40B4-BE49-F238E27FC236}">
                  <a16:creationId xmlns:a16="http://schemas.microsoft.com/office/drawing/2014/main" id="{87542E72-067F-25F9-2669-4015C84F53A8}"/>
                </a:ext>
              </a:extLst>
            </p:cNvPr>
            <p:cNvSpPr/>
            <p:nvPr/>
          </p:nvSpPr>
          <p:spPr>
            <a:xfrm>
              <a:off x="4953000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3" name="Полилиния 992">
              <a:extLst>
                <a:ext uri="{FF2B5EF4-FFF2-40B4-BE49-F238E27FC236}">
                  <a16:creationId xmlns:a16="http://schemas.microsoft.com/office/drawing/2014/main" id="{65402F75-E105-F8CF-E960-E24FED17EFD8}"/>
                </a:ext>
              </a:extLst>
            </p:cNvPr>
            <p:cNvSpPr/>
            <p:nvPr/>
          </p:nvSpPr>
          <p:spPr>
            <a:xfrm rot="5400000">
              <a:off x="5160818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4" name="Полилиния 993">
              <a:extLst>
                <a:ext uri="{FF2B5EF4-FFF2-40B4-BE49-F238E27FC236}">
                  <a16:creationId xmlns:a16="http://schemas.microsoft.com/office/drawing/2014/main" id="{71B22082-3DF7-3733-23F9-D7BDA0523F0F}"/>
                </a:ext>
              </a:extLst>
            </p:cNvPr>
            <p:cNvSpPr/>
            <p:nvPr/>
          </p:nvSpPr>
          <p:spPr>
            <a:xfrm rot="5400000">
              <a:off x="6407727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5" name="Полилиния 994">
              <a:extLst>
                <a:ext uri="{FF2B5EF4-FFF2-40B4-BE49-F238E27FC236}">
                  <a16:creationId xmlns:a16="http://schemas.microsoft.com/office/drawing/2014/main" id="{DE9C49A4-C965-EB82-D456-1904BAE64749}"/>
                </a:ext>
              </a:extLst>
            </p:cNvPr>
            <p:cNvSpPr/>
            <p:nvPr/>
          </p:nvSpPr>
          <p:spPr>
            <a:xfrm>
              <a:off x="6823363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6" name="Полилиния 995">
              <a:extLst>
                <a:ext uri="{FF2B5EF4-FFF2-40B4-BE49-F238E27FC236}">
                  <a16:creationId xmlns:a16="http://schemas.microsoft.com/office/drawing/2014/main" id="{AFF68D50-7271-8763-211F-DD32BD8C8DA6}"/>
                </a:ext>
              </a:extLst>
            </p:cNvPr>
            <p:cNvSpPr/>
            <p:nvPr/>
          </p:nvSpPr>
          <p:spPr>
            <a:xfrm rot="-5400000">
              <a:off x="7239000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7" name="Полилиния 996">
              <a:extLst>
                <a:ext uri="{FF2B5EF4-FFF2-40B4-BE49-F238E27FC236}">
                  <a16:creationId xmlns:a16="http://schemas.microsoft.com/office/drawing/2014/main" id="{8ADE9B34-DCF6-68E7-3FA9-5D0E7B40A6A8}"/>
                </a:ext>
              </a:extLst>
            </p:cNvPr>
            <p:cNvSpPr/>
            <p:nvPr/>
          </p:nvSpPr>
          <p:spPr>
            <a:xfrm>
              <a:off x="7446818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8" name="Полилиния 997">
              <a:extLst>
                <a:ext uri="{FF2B5EF4-FFF2-40B4-BE49-F238E27FC236}">
                  <a16:creationId xmlns:a16="http://schemas.microsoft.com/office/drawing/2014/main" id="{398AB59A-D24E-B304-86AD-9FD95580D902}"/>
                </a:ext>
              </a:extLst>
            </p:cNvPr>
            <p:cNvSpPr/>
            <p:nvPr/>
          </p:nvSpPr>
          <p:spPr>
            <a:xfrm>
              <a:off x="8901545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9" name="Полилиния 998">
              <a:extLst>
                <a:ext uri="{FF2B5EF4-FFF2-40B4-BE49-F238E27FC236}">
                  <a16:creationId xmlns:a16="http://schemas.microsoft.com/office/drawing/2014/main" id="{7D722DDD-835F-A712-35C3-F657B86DAF69}"/>
                </a:ext>
              </a:extLst>
            </p:cNvPr>
            <p:cNvSpPr/>
            <p:nvPr/>
          </p:nvSpPr>
          <p:spPr>
            <a:xfrm>
              <a:off x="3290454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0" name="Полилиния 999">
              <a:extLst>
                <a:ext uri="{FF2B5EF4-FFF2-40B4-BE49-F238E27FC236}">
                  <a16:creationId xmlns:a16="http://schemas.microsoft.com/office/drawing/2014/main" id="{AD202747-CF13-A1B6-7231-8EC6C7C3F731}"/>
                </a:ext>
              </a:extLst>
            </p:cNvPr>
            <p:cNvSpPr/>
            <p:nvPr/>
          </p:nvSpPr>
          <p:spPr>
            <a:xfrm rot="5400000">
              <a:off x="3498272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1" name="Полилиния 1000">
              <a:extLst>
                <a:ext uri="{FF2B5EF4-FFF2-40B4-BE49-F238E27FC236}">
                  <a16:creationId xmlns:a16="http://schemas.microsoft.com/office/drawing/2014/main" id="{B7CE7628-FB5A-DB92-B45D-80B210437834}"/>
                </a:ext>
              </a:extLst>
            </p:cNvPr>
            <p:cNvSpPr/>
            <p:nvPr/>
          </p:nvSpPr>
          <p:spPr>
            <a:xfrm rot="-5400000">
              <a:off x="3913909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2" name="Полилиния 1001">
              <a:extLst>
                <a:ext uri="{FF2B5EF4-FFF2-40B4-BE49-F238E27FC236}">
                  <a16:creationId xmlns:a16="http://schemas.microsoft.com/office/drawing/2014/main" id="{E6446210-74CC-9D0B-9AB4-4C54FC0F6968}"/>
                </a:ext>
              </a:extLst>
            </p:cNvPr>
            <p:cNvSpPr/>
            <p:nvPr/>
          </p:nvSpPr>
          <p:spPr>
            <a:xfrm>
              <a:off x="4745181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3" name="Полилиния 1002">
              <a:extLst>
                <a:ext uri="{FF2B5EF4-FFF2-40B4-BE49-F238E27FC236}">
                  <a16:creationId xmlns:a16="http://schemas.microsoft.com/office/drawing/2014/main" id="{2414B28D-9F6A-FA36-E14B-36A4A49883E7}"/>
                </a:ext>
              </a:extLst>
            </p:cNvPr>
            <p:cNvSpPr/>
            <p:nvPr/>
          </p:nvSpPr>
          <p:spPr>
            <a:xfrm rot="5400000">
              <a:off x="4953000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4" name="Полилиния 1003">
              <a:extLst>
                <a:ext uri="{FF2B5EF4-FFF2-40B4-BE49-F238E27FC236}">
                  <a16:creationId xmlns:a16="http://schemas.microsoft.com/office/drawing/2014/main" id="{D4DE665D-1C5E-6C49-44D3-EDA9B57F2736}"/>
                </a:ext>
              </a:extLst>
            </p:cNvPr>
            <p:cNvSpPr/>
            <p:nvPr/>
          </p:nvSpPr>
          <p:spPr>
            <a:xfrm rot="5400000">
              <a:off x="5368636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5" name="Полилиния 1004">
              <a:extLst>
                <a:ext uri="{FF2B5EF4-FFF2-40B4-BE49-F238E27FC236}">
                  <a16:creationId xmlns:a16="http://schemas.microsoft.com/office/drawing/2014/main" id="{766523B3-CDE0-691F-617F-6E15641DF9B5}"/>
                </a:ext>
              </a:extLst>
            </p:cNvPr>
            <p:cNvSpPr/>
            <p:nvPr/>
          </p:nvSpPr>
          <p:spPr>
            <a:xfrm rot="-5400000">
              <a:off x="6199909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6" name="Полилиния 1005">
              <a:extLst>
                <a:ext uri="{FF2B5EF4-FFF2-40B4-BE49-F238E27FC236}">
                  <a16:creationId xmlns:a16="http://schemas.microsoft.com/office/drawing/2014/main" id="{3EDC60B2-77B7-C83C-B10D-9205C267D07D}"/>
                </a:ext>
              </a:extLst>
            </p:cNvPr>
            <p:cNvSpPr/>
            <p:nvPr/>
          </p:nvSpPr>
          <p:spPr>
            <a:xfrm rot="-5400000">
              <a:off x="6615545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7" name="Полилиния 1006">
              <a:extLst>
                <a:ext uri="{FF2B5EF4-FFF2-40B4-BE49-F238E27FC236}">
                  <a16:creationId xmlns:a16="http://schemas.microsoft.com/office/drawing/2014/main" id="{AACD86C5-0B0C-1698-4A65-8AE2A899497C}"/>
                </a:ext>
              </a:extLst>
            </p:cNvPr>
            <p:cNvSpPr/>
            <p:nvPr/>
          </p:nvSpPr>
          <p:spPr>
            <a:xfrm>
              <a:off x="6823363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8" name="Полилиния 1007">
              <a:extLst>
                <a:ext uri="{FF2B5EF4-FFF2-40B4-BE49-F238E27FC236}">
                  <a16:creationId xmlns:a16="http://schemas.microsoft.com/office/drawing/2014/main" id="{DE0DD9DD-9E3E-715B-DC44-C2E7A3C3C151}"/>
                </a:ext>
              </a:extLst>
            </p:cNvPr>
            <p:cNvSpPr/>
            <p:nvPr/>
          </p:nvSpPr>
          <p:spPr>
            <a:xfrm>
              <a:off x="7031181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9" name="Полилиния 1008">
              <a:extLst>
                <a:ext uri="{FF2B5EF4-FFF2-40B4-BE49-F238E27FC236}">
                  <a16:creationId xmlns:a16="http://schemas.microsoft.com/office/drawing/2014/main" id="{A701D832-7849-84AF-3D34-F036A65E86BE}"/>
                </a:ext>
              </a:extLst>
            </p:cNvPr>
            <p:cNvSpPr/>
            <p:nvPr/>
          </p:nvSpPr>
          <p:spPr>
            <a:xfrm>
              <a:off x="7239000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0" name="Полилиния 1009">
              <a:extLst>
                <a:ext uri="{FF2B5EF4-FFF2-40B4-BE49-F238E27FC236}">
                  <a16:creationId xmlns:a16="http://schemas.microsoft.com/office/drawing/2014/main" id="{2E7C7788-6BFC-9ADE-73AE-84EB29D63075}"/>
                </a:ext>
              </a:extLst>
            </p:cNvPr>
            <p:cNvSpPr/>
            <p:nvPr/>
          </p:nvSpPr>
          <p:spPr>
            <a:xfrm rot="5400000">
              <a:off x="7446818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1" name="Полилиния 1010">
              <a:extLst>
                <a:ext uri="{FF2B5EF4-FFF2-40B4-BE49-F238E27FC236}">
                  <a16:creationId xmlns:a16="http://schemas.microsoft.com/office/drawing/2014/main" id="{894BC783-1027-E6B8-C0D3-B95C9E1CF6B8}"/>
                </a:ext>
              </a:extLst>
            </p:cNvPr>
            <p:cNvSpPr/>
            <p:nvPr/>
          </p:nvSpPr>
          <p:spPr>
            <a:xfrm rot="5400000">
              <a:off x="8070272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2" name="Полилиния 1011">
              <a:extLst>
                <a:ext uri="{FF2B5EF4-FFF2-40B4-BE49-F238E27FC236}">
                  <a16:creationId xmlns:a16="http://schemas.microsoft.com/office/drawing/2014/main" id="{3F823A8F-1953-A989-D115-D8E7A9990585}"/>
                </a:ext>
              </a:extLst>
            </p:cNvPr>
            <p:cNvSpPr/>
            <p:nvPr/>
          </p:nvSpPr>
          <p:spPr>
            <a:xfrm rot="-5400000">
              <a:off x="8693727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3" name="Полилиния 1012">
              <a:extLst>
                <a:ext uri="{FF2B5EF4-FFF2-40B4-BE49-F238E27FC236}">
                  <a16:creationId xmlns:a16="http://schemas.microsoft.com/office/drawing/2014/main" id="{33552D3B-DD94-E7EC-21B3-F92DA4554ED0}"/>
                </a:ext>
              </a:extLst>
            </p:cNvPr>
            <p:cNvSpPr/>
            <p:nvPr/>
          </p:nvSpPr>
          <p:spPr>
            <a:xfrm>
              <a:off x="8901545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4" name="Полилиния 1013">
              <a:extLst>
                <a:ext uri="{FF2B5EF4-FFF2-40B4-BE49-F238E27FC236}">
                  <a16:creationId xmlns:a16="http://schemas.microsoft.com/office/drawing/2014/main" id="{298EC83B-524E-33C0-16A3-C92CF09BFD93}"/>
                </a:ext>
              </a:extLst>
            </p:cNvPr>
            <p:cNvSpPr/>
            <p:nvPr/>
          </p:nvSpPr>
          <p:spPr>
            <a:xfrm rot="-5400000">
              <a:off x="3082636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5" name="Полилиния 1014">
              <a:extLst>
                <a:ext uri="{FF2B5EF4-FFF2-40B4-BE49-F238E27FC236}">
                  <a16:creationId xmlns:a16="http://schemas.microsoft.com/office/drawing/2014/main" id="{F2B4AF57-69DC-DD01-5A80-2F70D934DD1A}"/>
                </a:ext>
              </a:extLst>
            </p:cNvPr>
            <p:cNvSpPr/>
            <p:nvPr/>
          </p:nvSpPr>
          <p:spPr>
            <a:xfrm>
              <a:off x="3290454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6" name="Полилиния 1015">
              <a:extLst>
                <a:ext uri="{FF2B5EF4-FFF2-40B4-BE49-F238E27FC236}">
                  <a16:creationId xmlns:a16="http://schemas.microsoft.com/office/drawing/2014/main" id="{02AEA0C6-6CC5-1D93-B22A-6F28F0BD57F0}"/>
                </a:ext>
              </a:extLst>
            </p:cNvPr>
            <p:cNvSpPr/>
            <p:nvPr/>
          </p:nvSpPr>
          <p:spPr>
            <a:xfrm>
              <a:off x="3913909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7" name="Полилиния 1016">
              <a:extLst>
                <a:ext uri="{FF2B5EF4-FFF2-40B4-BE49-F238E27FC236}">
                  <a16:creationId xmlns:a16="http://schemas.microsoft.com/office/drawing/2014/main" id="{CCD8F69E-9BC7-2266-B710-28B346211CB0}"/>
                </a:ext>
              </a:extLst>
            </p:cNvPr>
            <p:cNvSpPr/>
            <p:nvPr/>
          </p:nvSpPr>
          <p:spPr>
            <a:xfrm rot="5400000">
              <a:off x="4329545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6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8" name="Полилиния 1017">
              <a:extLst>
                <a:ext uri="{FF2B5EF4-FFF2-40B4-BE49-F238E27FC236}">
                  <a16:creationId xmlns:a16="http://schemas.microsoft.com/office/drawing/2014/main" id="{16724B75-2065-51A3-2D79-93E577FD5910}"/>
                </a:ext>
              </a:extLst>
            </p:cNvPr>
            <p:cNvSpPr/>
            <p:nvPr/>
          </p:nvSpPr>
          <p:spPr>
            <a:xfrm rot="5400000">
              <a:off x="4745181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9" name="Полилиния 1018">
              <a:extLst>
                <a:ext uri="{FF2B5EF4-FFF2-40B4-BE49-F238E27FC236}">
                  <a16:creationId xmlns:a16="http://schemas.microsoft.com/office/drawing/2014/main" id="{4B4EE22A-5079-88E6-9532-272C1BCAFF0C}"/>
                </a:ext>
              </a:extLst>
            </p:cNvPr>
            <p:cNvSpPr/>
            <p:nvPr/>
          </p:nvSpPr>
          <p:spPr>
            <a:xfrm rot="-5400000">
              <a:off x="5160818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0" name="Полилиния 1019">
              <a:extLst>
                <a:ext uri="{FF2B5EF4-FFF2-40B4-BE49-F238E27FC236}">
                  <a16:creationId xmlns:a16="http://schemas.microsoft.com/office/drawing/2014/main" id="{D0E49DED-44BE-7735-8E7C-6C700BAC36BB}"/>
                </a:ext>
              </a:extLst>
            </p:cNvPr>
            <p:cNvSpPr/>
            <p:nvPr/>
          </p:nvSpPr>
          <p:spPr>
            <a:xfrm rot="-5400000">
              <a:off x="5576454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1" name="Полилиния 1020">
              <a:extLst>
                <a:ext uri="{FF2B5EF4-FFF2-40B4-BE49-F238E27FC236}">
                  <a16:creationId xmlns:a16="http://schemas.microsoft.com/office/drawing/2014/main" id="{A8F1D485-84ED-0DBB-9248-47C5C938F11D}"/>
                </a:ext>
              </a:extLst>
            </p:cNvPr>
            <p:cNvSpPr/>
            <p:nvPr/>
          </p:nvSpPr>
          <p:spPr>
            <a:xfrm rot="5400000">
              <a:off x="5784272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2" name="Полилиния 1021">
              <a:extLst>
                <a:ext uri="{FF2B5EF4-FFF2-40B4-BE49-F238E27FC236}">
                  <a16:creationId xmlns:a16="http://schemas.microsoft.com/office/drawing/2014/main" id="{462D3C42-4F54-4CD1-A336-B97CE71C3B5C}"/>
                </a:ext>
              </a:extLst>
            </p:cNvPr>
            <p:cNvSpPr/>
            <p:nvPr/>
          </p:nvSpPr>
          <p:spPr>
            <a:xfrm>
              <a:off x="6199909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3" name="Полилиния 1022">
              <a:extLst>
                <a:ext uri="{FF2B5EF4-FFF2-40B4-BE49-F238E27FC236}">
                  <a16:creationId xmlns:a16="http://schemas.microsoft.com/office/drawing/2014/main" id="{2EDCAF90-2E6F-3EA1-3401-400B72D63F9D}"/>
                </a:ext>
              </a:extLst>
            </p:cNvPr>
            <p:cNvSpPr/>
            <p:nvPr/>
          </p:nvSpPr>
          <p:spPr>
            <a:xfrm>
              <a:off x="6407727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4" name="Полилиния 1023">
              <a:extLst>
                <a:ext uri="{FF2B5EF4-FFF2-40B4-BE49-F238E27FC236}">
                  <a16:creationId xmlns:a16="http://schemas.microsoft.com/office/drawing/2014/main" id="{8140B8C5-5239-4C74-ACA1-264A9F860A66}"/>
                </a:ext>
              </a:extLst>
            </p:cNvPr>
            <p:cNvSpPr/>
            <p:nvPr/>
          </p:nvSpPr>
          <p:spPr>
            <a:xfrm rot="5400000">
              <a:off x="6615545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5" name="Полилиния 1024">
              <a:extLst>
                <a:ext uri="{FF2B5EF4-FFF2-40B4-BE49-F238E27FC236}">
                  <a16:creationId xmlns:a16="http://schemas.microsoft.com/office/drawing/2014/main" id="{682F943E-AB4F-E15E-6180-87611B64398E}"/>
                </a:ext>
              </a:extLst>
            </p:cNvPr>
            <p:cNvSpPr/>
            <p:nvPr/>
          </p:nvSpPr>
          <p:spPr>
            <a:xfrm rot="5400000">
              <a:off x="7239000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6" name="Полилиния 1025">
              <a:extLst>
                <a:ext uri="{FF2B5EF4-FFF2-40B4-BE49-F238E27FC236}">
                  <a16:creationId xmlns:a16="http://schemas.microsoft.com/office/drawing/2014/main" id="{D2B04006-B246-2692-BFE5-85417DCC7B01}"/>
                </a:ext>
              </a:extLst>
            </p:cNvPr>
            <p:cNvSpPr/>
            <p:nvPr/>
          </p:nvSpPr>
          <p:spPr>
            <a:xfrm rot="5400000">
              <a:off x="7862454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7" name="Полилиния 1026">
              <a:extLst>
                <a:ext uri="{FF2B5EF4-FFF2-40B4-BE49-F238E27FC236}">
                  <a16:creationId xmlns:a16="http://schemas.microsoft.com/office/drawing/2014/main" id="{709CFD3A-DF32-F62A-9DCF-3EA7E0C5B8A3}"/>
                </a:ext>
              </a:extLst>
            </p:cNvPr>
            <p:cNvSpPr/>
            <p:nvPr/>
          </p:nvSpPr>
          <p:spPr>
            <a:xfrm rot="5400000">
              <a:off x="8278090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8" name="Полилиния 1027">
              <a:extLst>
                <a:ext uri="{FF2B5EF4-FFF2-40B4-BE49-F238E27FC236}">
                  <a16:creationId xmlns:a16="http://schemas.microsoft.com/office/drawing/2014/main" id="{7B6B313D-44D0-56A2-B681-B32ADC102728}"/>
                </a:ext>
              </a:extLst>
            </p:cNvPr>
            <p:cNvSpPr/>
            <p:nvPr/>
          </p:nvSpPr>
          <p:spPr>
            <a:xfrm>
              <a:off x="8901545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9" name="Полилиния 1028">
              <a:extLst>
                <a:ext uri="{FF2B5EF4-FFF2-40B4-BE49-F238E27FC236}">
                  <a16:creationId xmlns:a16="http://schemas.microsoft.com/office/drawing/2014/main" id="{D69E4EF9-D506-83AA-E2C8-29F4A7DC2CA6}"/>
                </a:ext>
              </a:extLst>
            </p:cNvPr>
            <p:cNvSpPr/>
            <p:nvPr/>
          </p:nvSpPr>
          <p:spPr>
            <a:xfrm>
              <a:off x="3082636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0" name="Полилиния 1029">
              <a:extLst>
                <a:ext uri="{FF2B5EF4-FFF2-40B4-BE49-F238E27FC236}">
                  <a16:creationId xmlns:a16="http://schemas.microsoft.com/office/drawing/2014/main" id="{99DF1269-3D04-ED60-4DB5-8CD983B21891}"/>
                </a:ext>
              </a:extLst>
            </p:cNvPr>
            <p:cNvSpPr/>
            <p:nvPr/>
          </p:nvSpPr>
          <p:spPr>
            <a:xfrm>
              <a:off x="3290454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1" name="Полилиния 1030">
              <a:extLst>
                <a:ext uri="{FF2B5EF4-FFF2-40B4-BE49-F238E27FC236}">
                  <a16:creationId xmlns:a16="http://schemas.microsoft.com/office/drawing/2014/main" id="{A6242D0B-F5B6-78AA-BF59-3E5AEDD44CF4}"/>
                </a:ext>
              </a:extLst>
            </p:cNvPr>
            <p:cNvSpPr/>
            <p:nvPr/>
          </p:nvSpPr>
          <p:spPr>
            <a:xfrm>
              <a:off x="3913909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2" name="Полилиния 1031">
              <a:extLst>
                <a:ext uri="{FF2B5EF4-FFF2-40B4-BE49-F238E27FC236}">
                  <a16:creationId xmlns:a16="http://schemas.microsoft.com/office/drawing/2014/main" id="{1595D30E-EFD6-6122-1C7B-673827C41EA5}"/>
                </a:ext>
              </a:extLst>
            </p:cNvPr>
            <p:cNvSpPr/>
            <p:nvPr/>
          </p:nvSpPr>
          <p:spPr>
            <a:xfrm rot="5400000">
              <a:off x="4121727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3" name="Полилиния 1032">
              <a:extLst>
                <a:ext uri="{FF2B5EF4-FFF2-40B4-BE49-F238E27FC236}">
                  <a16:creationId xmlns:a16="http://schemas.microsoft.com/office/drawing/2014/main" id="{8E0AAB06-07B3-87EF-BD58-FB75AE8B6CD4}"/>
                </a:ext>
              </a:extLst>
            </p:cNvPr>
            <p:cNvSpPr/>
            <p:nvPr/>
          </p:nvSpPr>
          <p:spPr>
            <a:xfrm rot="-5400000">
              <a:off x="4537363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4" name="Полилиния 1033">
              <a:extLst>
                <a:ext uri="{FF2B5EF4-FFF2-40B4-BE49-F238E27FC236}">
                  <a16:creationId xmlns:a16="http://schemas.microsoft.com/office/drawing/2014/main" id="{9DAAF09E-8F44-9D22-368D-EF3E6490B132}"/>
                </a:ext>
              </a:extLst>
            </p:cNvPr>
            <p:cNvSpPr/>
            <p:nvPr/>
          </p:nvSpPr>
          <p:spPr>
            <a:xfrm rot="-5400000">
              <a:off x="4953000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5" name="Полилиния 1034">
              <a:extLst>
                <a:ext uri="{FF2B5EF4-FFF2-40B4-BE49-F238E27FC236}">
                  <a16:creationId xmlns:a16="http://schemas.microsoft.com/office/drawing/2014/main" id="{B5686327-56F5-6861-F35A-A73AD8C29194}"/>
                </a:ext>
              </a:extLst>
            </p:cNvPr>
            <p:cNvSpPr/>
            <p:nvPr/>
          </p:nvSpPr>
          <p:spPr>
            <a:xfrm>
              <a:off x="5160818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6" name="Полилиния 1035">
              <a:extLst>
                <a:ext uri="{FF2B5EF4-FFF2-40B4-BE49-F238E27FC236}">
                  <a16:creationId xmlns:a16="http://schemas.microsoft.com/office/drawing/2014/main" id="{B9C7025B-A3A8-BE1D-1654-C1EF5C6DD1D4}"/>
                </a:ext>
              </a:extLst>
            </p:cNvPr>
            <p:cNvSpPr/>
            <p:nvPr/>
          </p:nvSpPr>
          <p:spPr>
            <a:xfrm>
              <a:off x="5368636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7" name="Полилиния 1036">
              <a:extLst>
                <a:ext uri="{FF2B5EF4-FFF2-40B4-BE49-F238E27FC236}">
                  <a16:creationId xmlns:a16="http://schemas.microsoft.com/office/drawing/2014/main" id="{474AFA6F-210A-4582-D76E-32693447B707}"/>
                </a:ext>
              </a:extLst>
            </p:cNvPr>
            <p:cNvSpPr/>
            <p:nvPr/>
          </p:nvSpPr>
          <p:spPr>
            <a:xfrm rot="-5400000">
              <a:off x="5992090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8" name="Полилиния 1037">
              <a:extLst>
                <a:ext uri="{FF2B5EF4-FFF2-40B4-BE49-F238E27FC236}">
                  <a16:creationId xmlns:a16="http://schemas.microsoft.com/office/drawing/2014/main" id="{6E3207E7-CAE6-4697-58C8-FD76AB1301FA}"/>
                </a:ext>
              </a:extLst>
            </p:cNvPr>
            <p:cNvSpPr/>
            <p:nvPr/>
          </p:nvSpPr>
          <p:spPr>
            <a:xfrm>
              <a:off x="6199909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9" name="Полилиния 1038">
              <a:extLst>
                <a:ext uri="{FF2B5EF4-FFF2-40B4-BE49-F238E27FC236}">
                  <a16:creationId xmlns:a16="http://schemas.microsoft.com/office/drawing/2014/main" id="{AD1F7C17-7606-06D8-E773-C9C18D748313}"/>
                </a:ext>
              </a:extLst>
            </p:cNvPr>
            <p:cNvSpPr/>
            <p:nvPr/>
          </p:nvSpPr>
          <p:spPr>
            <a:xfrm>
              <a:off x="6407727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0" name="Полилиния 1039">
              <a:extLst>
                <a:ext uri="{FF2B5EF4-FFF2-40B4-BE49-F238E27FC236}">
                  <a16:creationId xmlns:a16="http://schemas.microsoft.com/office/drawing/2014/main" id="{A30B134D-6D44-924F-2F8D-3142FB9F7857}"/>
                </a:ext>
              </a:extLst>
            </p:cNvPr>
            <p:cNvSpPr/>
            <p:nvPr/>
          </p:nvSpPr>
          <p:spPr>
            <a:xfrm rot="5400000">
              <a:off x="6823363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1" name="Полилиния 1040">
              <a:extLst>
                <a:ext uri="{FF2B5EF4-FFF2-40B4-BE49-F238E27FC236}">
                  <a16:creationId xmlns:a16="http://schemas.microsoft.com/office/drawing/2014/main" id="{556FBD2D-E5DE-DFA1-CBF0-F25B6CD7E93F}"/>
                </a:ext>
              </a:extLst>
            </p:cNvPr>
            <p:cNvSpPr/>
            <p:nvPr/>
          </p:nvSpPr>
          <p:spPr>
            <a:xfrm rot="5400000">
              <a:off x="7654636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2" name="Полилиния 1041">
              <a:extLst>
                <a:ext uri="{FF2B5EF4-FFF2-40B4-BE49-F238E27FC236}">
                  <a16:creationId xmlns:a16="http://schemas.microsoft.com/office/drawing/2014/main" id="{C106EDB3-F0F4-A88E-7415-A070431AA8DB}"/>
                </a:ext>
              </a:extLst>
            </p:cNvPr>
            <p:cNvSpPr/>
            <p:nvPr/>
          </p:nvSpPr>
          <p:spPr>
            <a:xfrm rot="-5400000">
              <a:off x="8070272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3" name="Полилиния 1042">
              <a:extLst>
                <a:ext uri="{FF2B5EF4-FFF2-40B4-BE49-F238E27FC236}">
                  <a16:creationId xmlns:a16="http://schemas.microsoft.com/office/drawing/2014/main" id="{93AC380F-56FF-F91F-DD75-41DCE73BB627}"/>
                </a:ext>
              </a:extLst>
            </p:cNvPr>
            <p:cNvSpPr/>
            <p:nvPr/>
          </p:nvSpPr>
          <p:spPr>
            <a:xfrm rot="5400000">
              <a:off x="8485909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4" name="Полилиния 1043">
              <a:extLst>
                <a:ext uri="{FF2B5EF4-FFF2-40B4-BE49-F238E27FC236}">
                  <a16:creationId xmlns:a16="http://schemas.microsoft.com/office/drawing/2014/main" id="{258AE3EB-1BEA-F347-1526-DF991CBEE8A6}"/>
                </a:ext>
              </a:extLst>
            </p:cNvPr>
            <p:cNvSpPr/>
            <p:nvPr/>
          </p:nvSpPr>
          <p:spPr>
            <a:xfrm>
              <a:off x="8901545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5" name="Полилиния 1044">
              <a:extLst>
                <a:ext uri="{FF2B5EF4-FFF2-40B4-BE49-F238E27FC236}">
                  <a16:creationId xmlns:a16="http://schemas.microsoft.com/office/drawing/2014/main" id="{C57389E9-8598-F852-6502-E0E550F6F98E}"/>
                </a:ext>
              </a:extLst>
            </p:cNvPr>
            <p:cNvSpPr/>
            <p:nvPr/>
          </p:nvSpPr>
          <p:spPr>
            <a:xfrm>
              <a:off x="3082636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6" name="Полилиния 1045">
              <a:extLst>
                <a:ext uri="{FF2B5EF4-FFF2-40B4-BE49-F238E27FC236}">
                  <a16:creationId xmlns:a16="http://schemas.microsoft.com/office/drawing/2014/main" id="{5C0C2AEA-18D3-388F-A20F-FD508EDBF1EE}"/>
                </a:ext>
              </a:extLst>
            </p:cNvPr>
            <p:cNvSpPr/>
            <p:nvPr/>
          </p:nvSpPr>
          <p:spPr>
            <a:xfrm>
              <a:off x="3290454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7" name="Полилиния 1046">
              <a:extLst>
                <a:ext uri="{FF2B5EF4-FFF2-40B4-BE49-F238E27FC236}">
                  <a16:creationId xmlns:a16="http://schemas.microsoft.com/office/drawing/2014/main" id="{A8D5F154-5FC0-4117-8D9B-A8FFB5A448B3}"/>
                </a:ext>
              </a:extLst>
            </p:cNvPr>
            <p:cNvSpPr/>
            <p:nvPr/>
          </p:nvSpPr>
          <p:spPr>
            <a:xfrm>
              <a:off x="3498272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8" name="Полилиния 1047">
              <a:extLst>
                <a:ext uri="{FF2B5EF4-FFF2-40B4-BE49-F238E27FC236}">
                  <a16:creationId xmlns:a16="http://schemas.microsoft.com/office/drawing/2014/main" id="{C8039040-F9D0-0176-20AA-AF2C3EFAFD53}"/>
                </a:ext>
              </a:extLst>
            </p:cNvPr>
            <p:cNvSpPr/>
            <p:nvPr/>
          </p:nvSpPr>
          <p:spPr>
            <a:xfrm rot="-5400000">
              <a:off x="4329545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9" name="Полилиния 1048">
              <a:extLst>
                <a:ext uri="{FF2B5EF4-FFF2-40B4-BE49-F238E27FC236}">
                  <a16:creationId xmlns:a16="http://schemas.microsoft.com/office/drawing/2014/main" id="{3F14B82C-12D5-6C4C-F7C0-19FEA8E65583}"/>
                </a:ext>
              </a:extLst>
            </p:cNvPr>
            <p:cNvSpPr/>
            <p:nvPr/>
          </p:nvSpPr>
          <p:spPr>
            <a:xfrm>
              <a:off x="4537363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0" name="Полилиния 1049">
              <a:extLst>
                <a:ext uri="{FF2B5EF4-FFF2-40B4-BE49-F238E27FC236}">
                  <a16:creationId xmlns:a16="http://schemas.microsoft.com/office/drawing/2014/main" id="{D13F57E5-260C-E818-D5A5-45179215BFD0}"/>
                </a:ext>
              </a:extLst>
            </p:cNvPr>
            <p:cNvSpPr/>
            <p:nvPr/>
          </p:nvSpPr>
          <p:spPr>
            <a:xfrm>
              <a:off x="4745181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1" name="Полилиния 1050">
              <a:extLst>
                <a:ext uri="{FF2B5EF4-FFF2-40B4-BE49-F238E27FC236}">
                  <a16:creationId xmlns:a16="http://schemas.microsoft.com/office/drawing/2014/main" id="{7102DC75-6862-3D3A-F1EE-B037F4337EA0}"/>
                </a:ext>
              </a:extLst>
            </p:cNvPr>
            <p:cNvSpPr/>
            <p:nvPr/>
          </p:nvSpPr>
          <p:spPr>
            <a:xfrm>
              <a:off x="4953000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2" name="Полилиния 1051">
              <a:extLst>
                <a:ext uri="{FF2B5EF4-FFF2-40B4-BE49-F238E27FC236}">
                  <a16:creationId xmlns:a16="http://schemas.microsoft.com/office/drawing/2014/main" id="{719E1EEA-E320-EA50-1E51-0B89E3E9504C}"/>
                </a:ext>
              </a:extLst>
            </p:cNvPr>
            <p:cNvSpPr/>
            <p:nvPr/>
          </p:nvSpPr>
          <p:spPr>
            <a:xfrm>
              <a:off x="5368636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3" name="Полилиния 1052">
              <a:extLst>
                <a:ext uri="{FF2B5EF4-FFF2-40B4-BE49-F238E27FC236}">
                  <a16:creationId xmlns:a16="http://schemas.microsoft.com/office/drawing/2014/main" id="{33835D4B-52A0-3BC7-0CD9-98A9D0C6DFC8}"/>
                </a:ext>
              </a:extLst>
            </p:cNvPr>
            <p:cNvSpPr/>
            <p:nvPr/>
          </p:nvSpPr>
          <p:spPr>
            <a:xfrm rot="-5400000">
              <a:off x="5784272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4" name="Полилиния 1053">
              <a:extLst>
                <a:ext uri="{FF2B5EF4-FFF2-40B4-BE49-F238E27FC236}">
                  <a16:creationId xmlns:a16="http://schemas.microsoft.com/office/drawing/2014/main" id="{B7B062FE-21FD-77C3-D261-873B04DA0B6E}"/>
                </a:ext>
              </a:extLst>
            </p:cNvPr>
            <p:cNvSpPr/>
            <p:nvPr/>
          </p:nvSpPr>
          <p:spPr>
            <a:xfrm>
              <a:off x="5992090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5" name="Полилиния 1054">
              <a:extLst>
                <a:ext uri="{FF2B5EF4-FFF2-40B4-BE49-F238E27FC236}">
                  <a16:creationId xmlns:a16="http://schemas.microsoft.com/office/drawing/2014/main" id="{F6EE051F-DFE9-3562-7380-E49523B031DE}"/>
                </a:ext>
              </a:extLst>
            </p:cNvPr>
            <p:cNvSpPr/>
            <p:nvPr/>
          </p:nvSpPr>
          <p:spPr>
            <a:xfrm>
              <a:off x="6199909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6" name="Полилиния 1055">
              <a:extLst>
                <a:ext uri="{FF2B5EF4-FFF2-40B4-BE49-F238E27FC236}">
                  <a16:creationId xmlns:a16="http://schemas.microsoft.com/office/drawing/2014/main" id="{0E59B348-9C8A-FB6F-00D6-10E115D98D58}"/>
                </a:ext>
              </a:extLst>
            </p:cNvPr>
            <p:cNvSpPr/>
            <p:nvPr/>
          </p:nvSpPr>
          <p:spPr>
            <a:xfrm>
              <a:off x="6407727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7" name="Полилиния 1056">
              <a:extLst>
                <a:ext uri="{FF2B5EF4-FFF2-40B4-BE49-F238E27FC236}">
                  <a16:creationId xmlns:a16="http://schemas.microsoft.com/office/drawing/2014/main" id="{F7271629-FB4D-57E0-B42F-1A873D359119}"/>
                </a:ext>
              </a:extLst>
            </p:cNvPr>
            <p:cNvSpPr/>
            <p:nvPr/>
          </p:nvSpPr>
          <p:spPr>
            <a:xfrm>
              <a:off x="6615545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8" name="Полилиния 1057">
              <a:extLst>
                <a:ext uri="{FF2B5EF4-FFF2-40B4-BE49-F238E27FC236}">
                  <a16:creationId xmlns:a16="http://schemas.microsoft.com/office/drawing/2014/main" id="{D4EFAE93-131B-5E65-232B-5D5E8D77D109}"/>
                </a:ext>
              </a:extLst>
            </p:cNvPr>
            <p:cNvSpPr/>
            <p:nvPr/>
          </p:nvSpPr>
          <p:spPr>
            <a:xfrm rot="5400000">
              <a:off x="7239000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9" name="Полилиния 1058">
              <a:extLst>
                <a:ext uri="{FF2B5EF4-FFF2-40B4-BE49-F238E27FC236}">
                  <a16:creationId xmlns:a16="http://schemas.microsoft.com/office/drawing/2014/main" id="{BC6DA106-C5D0-7A76-7B40-8965F08029BC}"/>
                </a:ext>
              </a:extLst>
            </p:cNvPr>
            <p:cNvSpPr/>
            <p:nvPr/>
          </p:nvSpPr>
          <p:spPr>
            <a:xfrm rot="5400000">
              <a:off x="8070272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0" name="Полилиния 1059">
              <a:extLst>
                <a:ext uri="{FF2B5EF4-FFF2-40B4-BE49-F238E27FC236}">
                  <a16:creationId xmlns:a16="http://schemas.microsoft.com/office/drawing/2014/main" id="{6937DC5F-69C0-7579-B18E-DB7C33CD5AE6}"/>
                </a:ext>
              </a:extLst>
            </p:cNvPr>
            <p:cNvSpPr/>
            <p:nvPr/>
          </p:nvSpPr>
          <p:spPr>
            <a:xfrm>
              <a:off x="8901545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1" name="Полилиния 1060">
              <a:extLst>
                <a:ext uri="{FF2B5EF4-FFF2-40B4-BE49-F238E27FC236}">
                  <a16:creationId xmlns:a16="http://schemas.microsoft.com/office/drawing/2014/main" id="{128DE992-D6C6-6C5D-FA6D-05EF6B6AA535}"/>
                </a:ext>
              </a:extLst>
            </p:cNvPr>
            <p:cNvSpPr/>
            <p:nvPr/>
          </p:nvSpPr>
          <p:spPr>
            <a:xfrm rot="5400000">
              <a:off x="3082636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2" name="Полилиния 1061">
              <a:extLst>
                <a:ext uri="{FF2B5EF4-FFF2-40B4-BE49-F238E27FC236}">
                  <a16:creationId xmlns:a16="http://schemas.microsoft.com/office/drawing/2014/main" id="{7372A147-83A0-CDD7-2FFF-856171A72424}"/>
                </a:ext>
              </a:extLst>
            </p:cNvPr>
            <p:cNvSpPr/>
            <p:nvPr/>
          </p:nvSpPr>
          <p:spPr>
            <a:xfrm>
              <a:off x="3498272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3" name="Полилиния 1062">
              <a:extLst>
                <a:ext uri="{FF2B5EF4-FFF2-40B4-BE49-F238E27FC236}">
                  <a16:creationId xmlns:a16="http://schemas.microsoft.com/office/drawing/2014/main" id="{D635E862-A938-F395-8C91-0362D5A2A89A}"/>
                </a:ext>
              </a:extLst>
            </p:cNvPr>
            <p:cNvSpPr/>
            <p:nvPr/>
          </p:nvSpPr>
          <p:spPr>
            <a:xfrm rot="5400000">
              <a:off x="3913909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6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4" name="Полилиния 1063">
              <a:extLst>
                <a:ext uri="{FF2B5EF4-FFF2-40B4-BE49-F238E27FC236}">
                  <a16:creationId xmlns:a16="http://schemas.microsoft.com/office/drawing/2014/main" id="{EEE51525-969A-90A4-C679-33AC00F90183}"/>
                </a:ext>
              </a:extLst>
            </p:cNvPr>
            <p:cNvSpPr/>
            <p:nvPr/>
          </p:nvSpPr>
          <p:spPr>
            <a:xfrm>
              <a:off x="4537363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5" name="Полилиния 1064">
              <a:extLst>
                <a:ext uri="{FF2B5EF4-FFF2-40B4-BE49-F238E27FC236}">
                  <a16:creationId xmlns:a16="http://schemas.microsoft.com/office/drawing/2014/main" id="{B621AD01-96A6-CE42-87C8-5210056726E6}"/>
                </a:ext>
              </a:extLst>
            </p:cNvPr>
            <p:cNvSpPr/>
            <p:nvPr/>
          </p:nvSpPr>
          <p:spPr>
            <a:xfrm>
              <a:off x="4953000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6" name="Полилиния 1065">
              <a:extLst>
                <a:ext uri="{FF2B5EF4-FFF2-40B4-BE49-F238E27FC236}">
                  <a16:creationId xmlns:a16="http://schemas.microsoft.com/office/drawing/2014/main" id="{2913887F-E6CA-5D3C-724D-DF0295830230}"/>
                </a:ext>
              </a:extLst>
            </p:cNvPr>
            <p:cNvSpPr/>
            <p:nvPr/>
          </p:nvSpPr>
          <p:spPr>
            <a:xfrm>
              <a:off x="5160818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7" name="Полилиния 1066">
              <a:extLst>
                <a:ext uri="{FF2B5EF4-FFF2-40B4-BE49-F238E27FC236}">
                  <a16:creationId xmlns:a16="http://schemas.microsoft.com/office/drawing/2014/main" id="{A2020C8F-C6BD-7A51-5BAA-031489F7783E}"/>
                </a:ext>
              </a:extLst>
            </p:cNvPr>
            <p:cNvSpPr/>
            <p:nvPr/>
          </p:nvSpPr>
          <p:spPr>
            <a:xfrm rot="5400000">
              <a:off x="5368636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8" name="Полилиния 1067">
              <a:extLst>
                <a:ext uri="{FF2B5EF4-FFF2-40B4-BE49-F238E27FC236}">
                  <a16:creationId xmlns:a16="http://schemas.microsoft.com/office/drawing/2014/main" id="{51EB671D-C3FE-4D10-E2EC-D7800867527C}"/>
                </a:ext>
              </a:extLst>
            </p:cNvPr>
            <p:cNvSpPr/>
            <p:nvPr/>
          </p:nvSpPr>
          <p:spPr>
            <a:xfrm>
              <a:off x="5784272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9" name="Полилиния 1068">
              <a:extLst>
                <a:ext uri="{FF2B5EF4-FFF2-40B4-BE49-F238E27FC236}">
                  <a16:creationId xmlns:a16="http://schemas.microsoft.com/office/drawing/2014/main" id="{2B9A673B-C8CC-E96D-6E3B-04B48C6AD292}"/>
                </a:ext>
              </a:extLst>
            </p:cNvPr>
            <p:cNvSpPr/>
            <p:nvPr/>
          </p:nvSpPr>
          <p:spPr>
            <a:xfrm>
              <a:off x="5992090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0" name="Полилиния 1069">
              <a:extLst>
                <a:ext uri="{FF2B5EF4-FFF2-40B4-BE49-F238E27FC236}">
                  <a16:creationId xmlns:a16="http://schemas.microsoft.com/office/drawing/2014/main" id="{1F5EDFFA-4A75-E8C5-1606-8FA2DCB8A4E4}"/>
                </a:ext>
              </a:extLst>
            </p:cNvPr>
            <p:cNvSpPr/>
            <p:nvPr/>
          </p:nvSpPr>
          <p:spPr>
            <a:xfrm>
              <a:off x="6199909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1" name="Полилиния 1070">
              <a:extLst>
                <a:ext uri="{FF2B5EF4-FFF2-40B4-BE49-F238E27FC236}">
                  <a16:creationId xmlns:a16="http://schemas.microsoft.com/office/drawing/2014/main" id="{4F88CDAC-EC3C-69F2-B8A4-30586C3A4B1A}"/>
                </a:ext>
              </a:extLst>
            </p:cNvPr>
            <p:cNvSpPr/>
            <p:nvPr/>
          </p:nvSpPr>
          <p:spPr>
            <a:xfrm>
              <a:off x="6407727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2" name="Полилиния 1071">
              <a:extLst>
                <a:ext uri="{FF2B5EF4-FFF2-40B4-BE49-F238E27FC236}">
                  <a16:creationId xmlns:a16="http://schemas.microsoft.com/office/drawing/2014/main" id="{E5942B4A-677F-4A6A-394E-274E8C5248D9}"/>
                </a:ext>
              </a:extLst>
            </p:cNvPr>
            <p:cNvSpPr/>
            <p:nvPr/>
          </p:nvSpPr>
          <p:spPr>
            <a:xfrm>
              <a:off x="6615545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3" name="Полилиния 1072">
              <a:extLst>
                <a:ext uri="{FF2B5EF4-FFF2-40B4-BE49-F238E27FC236}">
                  <a16:creationId xmlns:a16="http://schemas.microsoft.com/office/drawing/2014/main" id="{0C19B57A-55B0-BC14-6789-834A73BF934E}"/>
                </a:ext>
              </a:extLst>
            </p:cNvPr>
            <p:cNvSpPr/>
            <p:nvPr/>
          </p:nvSpPr>
          <p:spPr>
            <a:xfrm>
              <a:off x="6823363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4" name="Полилиния 1073">
              <a:extLst>
                <a:ext uri="{FF2B5EF4-FFF2-40B4-BE49-F238E27FC236}">
                  <a16:creationId xmlns:a16="http://schemas.microsoft.com/office/drawing/2014/main" id="{27976395-B14F-AC84-4B86-6F45E988E5B1}"/>
                </a:ext>
              </a:extLst>
            </p:cNvPr>
            <p:cNvSpPr/>
            <p:nvPr/>
          </p:nvSpPr>
          <p:spPr>
            <a:xfrm rot="5400000">
              <a:off x="7862454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5" name="Полилиния 1074">
              <a:extLst>
                <a:ext uri="{FF2B5EF4-FFF2-40B4-BE49-F238E27FC236}">
                  <a16:creationId xmlns:a16="http://schemas.microsoft.com/office/drawing/2014/main" id="{B0381914-B28C-D6B4-1878-BCED27D1814F}"/>
                </a:ext>
              </a:extLst>
            </p:cNvPr>
            <p:cNvSpPr/>
            <p:nvPr/>
          </p:nvSpPr>
          <p:spPr>
            <a:xfrm rot="5400000">
              <a:off x="8278090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6" name="Полилиния 1075">
              <a:extLst>
                <a:ext uri="{FF2B5EF4-FFF2-40B4-BE49-F238E27FC236}">
                  <a16:creationId xmlns:a16="http://schemas.microsoft.com/office/drawing/2014/main" id="{42CD4AC9-CFFA-025D-3F65-4504279CD2C7}"/>
                </a:ext>
              </a:extLst>
            </p:cNvPr>
            <p:cNvSpPr/>
            <p:nvPr/>
          </p:nvSpPr>
          <p:spPr>
            <a:xfrm rot="5400000">
              <a:off x="8901545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7" name="Полилиния 1076">
              <a:extLst>
                <a:ext uri="{FF2B5EF4-FFF2-40B4-BE49-F238E27FC236}">
                  <a16:creationId xmlns:a16="http://schemas.microsoft.com/office/drawing/2014/main" id="{03EEA2C3-416F-9E39-F320-BA9E106D4928}"/>
                </a:ext>
              </a:extLst>
            </p:cNvPr>
            <p:cNvSpPr/>
            <p:nvPr/>
          </p:nvSpPr>
          <p:spPr>
            <a:xfrm rot="5400000">
              <a:off x="3498272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8" name="Полилиния 1077">
              <a:extLst>
                <a:ext uri="{FF2B5EF4-FFF2-40B4-BE49-F238E27FC236}">
                  <a16:creationId xmlns:a16="http://schemas.microsoft.com/office/drawing/2014/main" id="{7352CF2F-D8EB-DBC2-9A5A-A96F236FAC95}"/>
                </a:ext>
              </a:extLst>
            </p:cNvPr>
            <p:cNvSpPr/>
            <p:nvPr/>
          </p:nvSpPr>
          <p:spPr>
            <a:xfrm rot="-5400000">
              <a:off x="4121727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9" name="Полилиния 1078">
              <a:extLst>
                <a:ext uri="{FF2B5EF4-FFF2-40B4-BE49-F238E27FC236}">
                  <a16:creationId xmlns:a16="http://schemas.microsoft.com/office/drawing/2014/main" id="{2E033EB7-D266-8BF0-1B5A-0E0769A7267E}"/>
                </a:ext>
              </a:extLst>
            </p:cNvPr>
            <p:cNvSpPr/>
            <p:nvPr/>
          </p:nvSpPr>
          <p:spPr>
            <a:xfrm>
              <a:off x="4329545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0" name="Полилиния 1079">
              <a:extLst>
                <a:ext uri="{FF2B5EF4-FFF2-40B4-BE49-F238E27FC236}">
                  <a16:creationId xmlns:a16="http://schemas.microsoft.com/office/drawing/2014/main" id="{46EF9E56-255E-6EC2-7667-AD4627786584}"/>
                </a:ext>
              </a:extLst>
            </p:cNvPr>
            <p:cNvSpPr/>
            <p:nvPr/>
          </p:nvSpPr>
          <p:spPr>
            <a:xfrm>
              <a:off x="4537363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1" name="Полилиния 1080">
              <a:extLst>
                <a:ext uri="{FF2B5EF4-FFF2-40B4-BE49-F238E27FC236}">
                  <a16:creationId xmlns:a16="http://schemas.microsoft.com/office/drawing/2014/main" id="{2A0AE4E7-1593-D7FF-D459-63D360B09ABD}"/>
                </a:ext>
              </a:extLst>
            </p:cNvPr>
            <p:cNvSpPr/>
            <p:nvPr/>
          </p:nvSpPr>
          <p:spPr>
            <a:xfrm rot="5400000">
              <a:off x="4745181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2" name="Полилиния 1081">
              <a:extLst>
                <a:ext uri="{FF2B5EF4-FFF2-40B4-BE49-F238E27FC236}">
                  <a16:creationId xmlns:a16="http://schemas.microsoft.com/office/drawing/2014/main" id="{CE100104-07C1-0DED-926B-C0120B6154EC}"/>
                </a:ext>
              </a:extLst>
            </p:cNvPr>
            <p:cNvSpPr/>
            <p:nvPr/>
          </p:nvSpPr>
          <p:spPr>
            <a:xfrm rot="5400000">
              <a:off x="5160818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3" name="Полилиния 1082">
              <a:extLst>
                <a:ext uri="{FF2B5EF4-FFF2-40B4-BE49-F238E27FC236}">
                  <a16:creationId xmlns:a16="http://schemas.microsoft.com/office/drawing/2014/main" id="{9CAD8582-85E1-D849-30B6-065B4A1087FF}"/>
                </a:ext>
              </a:extLst>
            </p:cNvPr>
            <p:cNvSpPr/>
            <p:nvPr/>
          </p:nvSpPr>
          <p:spPr>
            <a:xfrm rot="-5400000">
              <a:off x="5576454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4" name="Полилиния 1083">
              <a:extLst>
                <a:ext uri="{FF2B5EF4-FFF2-40B4-BE49-F238E27FC236}">
                  <a16:creationId xmlns:a16="http://schemas.microsoft.com/office/drawing/2014/main" id="{FE7ED0FB-EB68-7A88-C856-0556BCDE3E0D}"/>
                </a:ext>
              </a:extLst>
            </p:cNvPr>
            <p:cNvSpPr/>
            <p:nvPr/>
          </p:nvSpPr>
          <p:spPr>
            <a:xfrm>
              <a:off x="5784272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5" name="Полилиния 1084">
              <a:extLst>
                <a:ext uri="{FF2B5EF4-FFF2-40B4-BE49-F238E27FC236}">
                  <a16:creationId xmlns:a16="http://schemas.microsoft.com/office/drawing/2014/main" id="{4FFC237B-585C-6632-E63E-8842A37ECAF6}"/>
                </a:ext>
              </a:extLst>
            </p:cNvPr>
            <p:cNvSpPr/>
            <p:nvPr/>
          </p:nvSpPr>
          <p:spPr>
            <a:xfrm>
              <a:off x="5992090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6" name="Полилиния 1085">
              <a:extLst>
                <a:ext uri="{FF2B5EF4-FFF2-40B4-BE49-F238E27FC236}">
                  <a16:creationId xmlns:a16="http://schemas.microsoft.com/office/drawing/2014/main" id="{78C5B8D8-8F8B-107A-9FDE-1993003146C2}"/>
                </a:ext>
              </a:extLst>
            </p:cNvPr>
            <p:cNvSpPr/>
            <p:nvPr/>
          </p:nvSpPr>
          <p:spPr>
            <a:xfrm rot="5400000">
              <a:off x="6199909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7" name="Полилиния 1086">
              <a:extLst>
                <a:ext uri="{FF2B5EF4-FFF2-40B4-BE49-F238E27FC236}">
                  <a16:creationId xmlns:a16="http://schemas.microsoft.com/office/drawing/2014/main" id="{B96B562B-28B7-CD20-11C9-A8194CCE193A}"/>
                </a:ext>
              </a:extLst>
            </p:cNvPr>
            <p:cNvSpPr/>
            <p:nvPr/>
          </p:nvSpPr>
          <p:spPr>
            <a:xfrm>
              <a:off x="6823363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8" name="Полилиния 1087">
              <a:extLst>
                <a:ext uri="{FF2B5EF4-FFF2-40B4-BE49-F238E27FC236}">
                  <a16:creationId xmlns:a16="http://schemas.microsoft.com/office/drawing/2014/main" id="{351D1A73-A00A-7698-753F-5CB683E39DA1}"/>
                </a:ext>
              </a:extLst>
            </p:cNvPr>
            <p:cNvSpPr/>
            <p:nvPr/>
          </p:nvSpPr>
          <p:spPr>
            <a:xfrm>
              <a:off x="7031181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9" name="Полилиния 1088">
              <a:extLst>
                <a:ext uri="{FF2B5EF4-FFF2-40B4-BE49-F238E27FC236}">
                  <a16:creationId xmlns:a16="http://schemas.microsoft.com/office/drawing/2014/main" id="{1976ED04-012F-656B-9163-8E76E4F66AEE}"/>
                </a:ext>
              </a:extLst>
            </p:cNvPr>
            <p:cNvSpPr/>
            <p:nvPr/>
          </p:nvSpPr>
          <p:spPr>
            <a:xfrm>
              <a:off x="7239000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0" name="Полилиния 1089">
              <a:extLst>
                <a:ext uri="{FF2B5EF4-FFF2-40B4-BE49-F238E27FC236}">
                  <a16:creationId xmlns:a16="http://schemas.microsoft.com/office/drawing/2014/main" id="{2A735F77-58C5-394C-CC9A-C24B7F1196CB}"/>
                </a:ext>
              </a:extLst>
            </p:cNvPr>
            <p:cNvSpPr/>
            <p:nvPr/>
          </p:nvSpPr>
          <p:spPr>
            <a:xfrm rot="5400000">
              <a:off x="7446818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1" name="Полилиния 1090">
              <a:extLst>
                <a:ext uri="{FF2B5EF4-FFF2-40B4-BE49-F238E27FC236}">
                  <a16:creationId xmlns:a16="http://schemas.microsoft.com/office/drawing/2014/main" id="{4BF9CE17-FED3-7E4A-40EB-25A4A49F821C}"/>
                </a:ext>
              </a:extLst>
            </p:cNvPr>
            <p:cNvSpPr/>
            <p:nvPr/>
          </p:nvSpPr>
          <p:spPr>
            <a:xfrm rot="-5400000">
              <a:off x="3082636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2" name="Полилиния 1091">
              <a:extLst>
                <a:ext uri="{FF2B5EF4-FFF2-40B4-BE49-F238E27FC236}">
                  <a16:creationId xmlns:a16="http://schemas.microsoft.com/office/drawing/2014/main" id="{2513F795-D5BC-633D-9286-2DC7CA0D0B22}"/>
                </a:ext>
              </a:extLst>
            </p:cNvPr>
            <p:cNvSpPr/>
            <p:nvPr/>
          </p:nvSpPr>
          <p:spPr>
            <a:xfrm rot="5400000">
              <a:off x="3290454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3" name="Полилиния 1092">
              <a:extLst>
                <a:ext uri="{FF2B5EF4-FFF2-40B4-BE49-F238E27FC236}">
                  <a16:creationId xmlns:a16="http://schemas.microsoft.com/office/drawing/2014/main" id="{2EAE34B4-73E6-1C8D-6F3D-D223B687F6F1}"/>
                </a:ext>
              </a:extLst>
            </p:cNvPr>
            <p:cNvSpPr/>
            <p:nvPr/>
          </p:nvSpPr>
          <p:spPr>
            <a:xfrm rot="-5400000">
              <a:off x="3913909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4" name="Полилиния 1093">
              <a:extLst>
                <a:ext uri="{FF2B5EF4-FFF2-40B4-BE49-F238E27FC236}">
                  <a16:creationId xmlns:a16="http://schemas.microsoft.com/office/drawing/2014/main" id="{B18D9852-24AE-6A93-0BA1-1EB8BA9FDD08}"/>
                </a:ext>
              </a:extLst>
            </p:cNvPr>
            <p:cNvSpPr/>
            <p:nvPr/>
          </p:nvSpPr>
          <p:spPr>
            <a:xfrm>
              <a:off x="4121727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5" name="Полилиния 1094">
              <a:extLst>
                <a:ext uri="{FF2B5EF4-FFF2-40B4-BE49-F238E27FC236}">
                  <a16:creationId xmlns:a16="http://schemas.microsoft.com/office/drawing/2014/main" id="{0EABC3E3-B856-DC3E-2B3E-4D9757839548}"/>
                </a:ext>
              </a:extLst>
            </p:cNvPr>
            <p:cNvSpPr/>
            <p:nvPr/>
          </p:nvSpPr>
          <p:spPr>
            <a:xfrm>
              <a:off x="5784272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6" name="Полилиния 1095">
              <a:extLst>
                <a:ext uri="{FF2B5EF4-FFF2-40B4-BE49-F238E27FC236}">
                  <a16:creationId xmlns:a16="http://schemas.microsoft.com/office/drawing/2014/main" id="{10B8657C-9F93-7251-FBA7-B55B5FD6068B}"/>
                </a:ext>
              </a:extLst>
            </p:cNvPr>
            <p:cNvSpPr/>
            <p:nvPr/>
          </p:nvSpPr>
          <p:spPr>
            <a:xfrm rot="-5400000">
              <a:off x="6407727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7" name="Полилиния 1096">
              <a:extLst>
                <a:ext uri="{FF2B5EF4-FFF2-40B4-BE49-F238E27FC236}">
                  <a16:creationId xmlns:a16="http://schemas.microsoft.com/office/drawing/2014/main" id="{1F7C04D2-4D73-D1D0-6A4D-4152E64F865B}"/>
                </a:ext>
              </a:extLst>
            </p:cNvPr>
            <p:cNvSpPr/>
            <p:nvPr/>
          </p:nvSpPr>
          <p:spPr>
            <a:xfrm rot="5400000">
              <a:off x="6615545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8" name="Полилиния 1097">
              <a:extLst>
                <a:ext uri="{FF2B5EF4-FFF2-40B4-BE49-F238E27FC236}">
                  <a16:creationId xmlns:a16="http://schemas.microsoft.com/office/drawing/2014/main" id="{0BB17FDF-CC9C-420D-8299-C341ED0A4975}"/>
                </a:ext>
              </a:extLst>
            </p:cNvPr>
            <p:cNvSpPr/>
            <p:nvPr/>
          </p:nvSpPr>
          <p:spPr>
            <a:xfrm rot="-5400000">
              <a:off x="7654636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9" name="Полилиния 1098">
              <a:extLst>
                <a:ext uri="{FF2B5EF4-FFF2-40B4-BE49-F238E27FC236}">
                  <a16:creationId xmlns:a16="http://schemas.microsoft.com/office/drawing/2014/main" id="{A1F72AE6-EC56-5CE4-9D1F-089EC0EF0E68}"/>
                </a:ext>
              </a:extLst>
            </p:cNvPr>
            <p:cNvSpPr/>
            <p:nvPr/>
          </p:nvSpPr>
          <p:spPr>
            <a:xfrm>
              <a:off x="7862454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0" name="Полилиния 1099">
              <a:extLst>
                <a:ext uri="{FF2B5EF4-FFF2-40B4-BE49-F238E27FC236}">
                  <a16:creationId xmlns:a16="http://schemas.microsoft.com/office/drawing/2014/main" id="{A7DB0869-CC77-39B9-32FB-B9D56A0C9C4B}"/>
                </a:ext>
              </a:extLst>
            </p:cNvPr>
            <p:cNvSpPr/>
            <p:nvPr/>
          </p:nvSpPr>
          <p:spPr>
            <a:xfrm>
              <a:off x="8070272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1" name="Полилиния 1100">
              <a:extLst>
                <a:ext uri="{FF2B5EF4-FFF2-40B4-BE49-F238E27FC236}">
                  <a16:creationId xmlns:a16="http://schemas.microsoft.com/office/drawing/2014/main" id="{6479B152-3D4B-5088-4EE7-640E7F893458}"/>
                </a:ext>
              </a:extLst>
            </p:cNvPr>
            <p:cNvSpPr/>
            <p:nvPr/>
          </p:nvSpPr>
          <p:spPr>
            <a:xfrm rot="-5400000">
              <a:off x="8901545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2" name="Полилиния 1101">
              <a:extLst>
                <a:ext uri="{FF2B5EF4-FFF2-40B4-BE49-F238E27FC236}">
                  <a16:creationId xmlns:a16="http://schemas.microsoft.com/office/drawing/2014/main" id="{3BD77545-4929-3829-4699-6FEA1CCF15B6}"/>
                </a:ext>
              </a:extLst>
            </p:cNvPr>
            <p:cNvSpPr/>
            <p:nvPr/>
          </p:nvSpPr>
          <p:spPr>
            <a:xfrm>
              <a:off x="4121727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3" name="Полилиния 1102">
              <a:extLst>
                <a:ext uri="{FF2B5EF4-FFF2-40B4-BE49-F238E27FC236}">
                  <a16:creationId xmlns:a16="http://schemas.microsoft.com/office/drawing/2014/main" id="{05F87480-9CB9-3016-30F8-DDE1E1AB3248}"/>
                </a:ext>
              </a:extLst>
            </p:cNvPr>
            <p:cNvSpPr/>
            <p:nvPr/>
          </p:nvSpPr>
          <p:spPr>
            <a:xfrm>
              <a:off x="4329545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4" name="Полилиния 1103">
              <a:extLst>
                <a:ext uri="{FF2B5EF4-FFF2-40B4-BE49-F238E27FC236}">
                  <a16:creationId xmlns:a16="http://schemas.microsoft.com/office/drawing/2014/main" id="{625226F3-B95D-805D-9ED9-EBE0B7F3485D}"/>
                </a:ext>
              </a:extLst>
            </p:cNvPr>
            <p:cNvSpPr/>
            <p:nvPr/>
          </p:nvSpPr>
          <p:spPr>
            <a:xfrm>
              <a:off x="4537363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5" name="Полилиния 1104">
              <a:extLst>
                <a:ext uri="{FF2B5EF4-FFF2-40B4-BE49-F238E27FC236}">
                  <a16:creationId xmlns:a16="http://schemas.microsoft.com/office/drawing/2014/main" id="{652D89E9-8E39-A226-2FF2-E909F987A7CF}"/>
                </a:ext>
              </a:extLst>
            </p:cNvPr>
            <p:cNvSpPr/>
            <p:nvPr/>
          </p:nvSpPr>
          <p:spPr>
            <a:xfrm>
              <a:off x="4745181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6" name="Полилиния 1105">
              <a:extLst>
                <a:ext uri="{FF2B5EF4-FFF2-40B4-BE49-F238E27FC236}">
                  <a16:creationId xmlns:a16="http://schemas.microsoft.com/office/drawing/2014/main" id="{89B11D4E-157C-4826-63CD-8EBF23803FB8}"/>
                </a:ext>
              </a:extLst>
            </p:cNvPr>
            <p:cNvSpPr/>
            <p:nvPr/>
          </p:nvSpPr>
          <p:spPr>
            <a:xfrm>
              <a:off x="4953000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7" name="Полилиния 1106">
              <a:extLst>
                <a:ext uri="{FF2B5EF4-FFF2-40B4-BE49-F238E27FC236}">
                  <a16:creationId xmlns:a16="http://schemas.microsoft.com/office/drawing/2014/main" id="{6DF82E43-4377-C92B-F942-6A636E210063}"/>
                </a:ext>
              </a:extLst>
            </p:cNvPr>
            <p:cNvSpPr/>
            <p:nvPr/>
          </p:nvSpPr>
          <p:spPr>
            <a:xfrm rot="-5400000">
              <a:off x="5368636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8" name="Полилиния 1107">
              <a:extLst>
                <a:ext uri="{FF2B5EF4-FFF2-40B4-BE49-F238E27FC236}">
                  <a16:creationId xmlns:a16="http://schemas.microsoft.com/office/drawing/2014/main" id="{457CAFDF-9800-70D7-1F6F-87BC8606C78B}"/>
                </a:ext>
              </a:extLst>
            </p:cNvPr>
            <p:cNvSpPr/>
            <p:nvPr/>
          </p:nvSpPr>
          <p:spPr>
            <a:xfrm rot="5400000">
              <a:off x="5784272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9" name="Полилиния 1108">
              <a:extLst>
                <a:ext uri="{FF2B5EF4-FFF2-40B4-BE49-F238E27FC236}">
                  <a16:creationId xmlns:a16="http://schemas.microsoft.com/office/drawing/2014/main" id="{7D368DD3-62F7-5E7C-833D-4278429069E2}"/>
                </a:ext>
              </a:extLst>
            </p:cNvPr>
            <p:cNvSpPr/>
            <p:nvPr/>
          </p:nvSpPr>
          <p:spPr>
            <a:xfrm rot="5400000">
              <a:off x="6407727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0" name="Полилиния 1109">
              <a:extLst>
                <a:ext uri="{FF2B5EF4-FFF2-40B4-BE49-F238E27FC236}">
                  <a16:creationId xmlns:a16="http://schemas.microsoft.com/office/drawing/2014/main" id="{C9C05B7D-2F59-853F-AB2C-50F33027DA2A}"/>
                </a:ext>
              </a:extLst>
            </p:cNvPr>
            <p:cNvSpPr/>
            <p:nvPr/>
          </p:nvSpPr>
          <p:spPr>
            <a:xfrm rot="5400000">
              <a:off x="6823363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1" name="Полилиния 1110">
              <a:extLst>
                <a:ext uri="{FF2B5EF4-FFF2-40B4-BE49-F238E27FC236}">
                  <a16:creationId xmlns:a16="http://schemas.microsoft.com/office/drawing/2014/main" id="{9F4B9137-F8F8-9F31-D31A-F21B1D4BC70C}"/>
                </a:ext>
              </a:extLst>
            </p:cNvPr>
            <p:cNvSpPr/>
            <p:nvPr/>
          </p:nvSpPr>
          <p:spPr>
            <a:xfrm>
              <a:off x="8070272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2" name="Полилиния 1111">
              <a:extLst>
                <a:ext uri="{FF2B5EF4-FFF2-40B4-BE49-F238E27FC236}">
                  <a16:creationId xmlns:a16="http://schemas.microsoft.com/office/drawing/2014/main" id="{B40ECB70-E948-7560-D12E-7EDFFFA89A61}"/>
                </a:ext>
              </a:extLst>
            </p:cNvPr>
            <p:cNvSpPr/>
            <p:nvPr/>
          </p:nvSpPr>
          <p:spPr>
            <a:xfrm rot="5400000">
              <a:off x="8485909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3" name="Полилиния 1112">
              <a:extLst>
                <a:ext uri="{FF2B5EF4-FFF2-40B4-BE49-F238E27FC236}">
                  <a16:creationId xmlns:a16="http://schemas.microsoft.com/office/drawing/2014/main" id="{F6127EA3-4C5D-9134-B9F9-0D4F3E8D96FD}"/>
                </a:ext>
              </a:extLst>
            </p:cNvPr>
            <p:cNvSpPr/>
            <p:nvPr/>
          </p:nvSpPr>
          <p:spPr>
            <a:xfrm rot="5400000">
              <a:off x="8901545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4" name="Полилиния 1113">
              <a:extLst>
                <a:ext uri="{FF2B5EF4-FFF2-40B4-BE49-F238E27FC236}">
                  <a16:creationId xmlns:a16="http://schemas.microsoft.com/office/drawing/2014/main" id="{660322FC-371F-8C4D-414D-0EECFF6DC0AD}"/>
                </a:ext>
              </a:extLst>
            </p:cNvPr>
            <p:cNvSpPr/>
            <p:nvPr/>
          </p:nvSpPr>
          <p:spPr>
            <a:xfrm rot="-5400000">
              <a:off x="3913909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5" name="Полилиния 1114">
              <a:extLst>
                <a:ext uri="{FF2B5EF4-FFF2-40B4-BE49-F238E27FC236}">
                  <a16:creationId xmlns:a16="http://schemas.microsoft.com/office/drawing/2014/main" id="{359440FF-B3F4-3663-8789-773CF6F751CD}"/>
                </a:ext>
              </a:extLst>
            </p:cNvPr>
            <p:cNvSpPr/>
            <p:nvPr/>
          </p:nvSpPr>
          <p:spPr>
            <a:xfrm>
              <a:off x="4121727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6" name="Полилиния 1115">
              <a:extLst>
                <a:ext uri="{FF2B5EF4-FFF2-40B4-BE49-F238E27FC236}">
                  <a16:creationId xmlns:a16="http://schemas.microsoft.com/office/drawing/2014/main" id="{EB590D8F-308D-7527-4C9E-7A352C2C56B2}"/>
                </a:ext>
              </a:extLst>
            </p:cNvPr>
            <p:cNvSpPr/>
            <p:nvPr/>
          </p:nvSpPr>
          <p:spPr>
            <a:xfrm>
              <a:off x="495300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7" name="Полилиния 1116">
              <a:extLst>
                <a:ext uri="{FF2B5EF4-FFF2-40B4-BE49-F238E27FC236}">
                  <a16:creationId xmlns:a16="http://schemas.microsoft.com/office/drawing/2014/main" id="{21DD54A9-4D26-40F2-3FE3-856048CBA108}"/>
                </a:ext>
              </a:extLst>
            </p:cNvPr>
            <p:cNvSpPr/>
            <p:nvPr/>
          </p:nvSpPr>
          <p:spPr>
            <a:xfrm>
              <a:off x="5160818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8" name="Полилиния 1117">
              <a:extLst>
                <a:ext uri="{FF2B5EF4-FFF2-40B4-BE49-F238E27FC236}">
                  <a16:creationId xmlns:a16="http://schemas.microsoft.com/office/drawing/2014/main" id="{3AD10356-807A-0113-246A-7FF214723458}"/>
                </a:ext>
              </a:extLst>
            </p:cNvPr>
            <p:cNvSpPr/>
            <p:nvPr/>
          </p:nvSpPr>
          <p:spPr>
            <a:xfrm>
              <a:off x="5368636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9" name="Полилиния 1118">
              <a:extLst>
                <a:ext uri="{FF2B5EF4-FFF2-40B4-BE49-F238E27FC236}">
                  <a16:creationId xmlns:a16="http://schemas.microsoft.com/office/drawing/2014/main" id="{2BEA9B64-73CC-2B72-2A31-953091185C07}"/>
                </a:ext>
              </a:extLst>
            </p:cNvPr>
            <p:cNvSpPr/>
            <p:nvPr/>
          </p:nvSpPr>
          <p:spPr>
            <a:xfrm rot="5400000">
              <a:off x="5576454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0" name="Полилиния 1119">
              <a:extLst>
                <a:ext uri="{FF2B5EF4-FFF2-40B4-BE49-F238E27FC236}">
                  <a16:creationId xmlns:a16="http://schemas.microsoft.com/office/drawing/2014/main" id="{AAEC33F4-BBCA-3070-60F5-7CFB40B26609}"/>
                </a:ext>
              </a:extLst>
            </p:cNvPr>
            <p:cNvSpPr/>
            <p:nvPr/>
          </p:nvSpPr>
          <p:spPr>
            <a:xfrm rot="-5400000">
              <a:off x="599209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1" name="Полилиния 1120">
              <a:extLst>
                <a:ext uri="{FF2B5EF4-FFF2-40B4-BE49-F238E27FC236}">
                  <a16:creationId xmlns:a16="http://schemas.microsoft.com/office/drawing/2014/main" id="{E4BCFBDB-96D5-3267-8B22-F2111D67FB6F}"/>
                </a:ext>
              </a:extLst>
            </p:cNvPr>
            <p:cNvSpPr/>
            <p:nvPr/>
          </p:nvSpPr>
          <p:spPr>
            <a:xfrm rot="-5400000">
              <a:off x="6615545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2" name="Полилиния 1121">
              <a:extLst>
                <a:ext uri="{FF2B5EF4-FFF2-40B4-BE49-F238E27FC236}">
                  <a16:creationId xmlns:a16="http://schemas.microsoft.com/office/drawing/2014/main" id="{FCFAA514-9D39-C25A-6E6C-D900D34D29F7}"/>
                </a:ext>
              </a:extLst>
            </p:cNvPr>
            <p:cNvSpPr/>
            <p:nvPr/>
          </p:nvSpPr>
          <p:spPr>
            <a:xfrm rot="-5400000">
              <a:off x="723900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3" name="Полилиния 1122">
              <a:extLst>
                <a:ext uri="{FF2B5EF4-FFF2-40B4-BE49-F238E27FC236}">
                  <a16:creationId xmlns:a16="http://schemas.microsoft.com/office/drawing/2014/main" id="{C0C6E59C-C252-8191-F0A0-CE6CF2A758C3}"/>
                </a:ext>
              </a:extLst>
            </p:cNvPr>
            <p:cNvSpPr/>
            <p:nvPr/>
          </p:nvSpPr>
          <p:spPr>
            <a:xfrm>
              <a:off x="8070272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4" name="Полилиния 1123">
              <a:extLst>
                <a:ext uri="{FF2B5EF4-FFF2-40B4-BE49-F238E27FC236}">
                  <a16:creationId xmlns:a16="http://schemas.microsoft.com/office/drawing/2014/main" id="{417971BF-A887-B8A6-5FB1-BC64C0730898}"/>
                </a:ext>
              </a:extLst>
            </p:cNvPr>
            <p:cNvSpPr/>
            <p:nvPr/>
          </p:nvSpPr>
          <p:spPr>
            <a:xfrm>
              <a:off x="827809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5" name="Полилиния 1124">
              <a:extLst>
                <a:ext uri="{FF2B5EF4-FFF2-40B4-BE49-F238E27FC236}">
                  <a16:creationId xmlns:a16="http://schemas.microsoft.com/office/drawing/2014/main" id="{A073CB16-749D-2023-A93C-2F7FD0BB3590}"/>
                </a:ext>
              </a:extLst>
            </p:cNvPr>
            <p:cNvSpPr/>
            <p:nvPr/>
          </p:nvSpPr>
          <p:spPr>
            <a:xfrm rot="-5400000">
              <a:off x="3082636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6" name="Полилиния 1125">
              <a:extLst>
                <a:ext uri="{FF2B5EF4-FFF2-40B4-BE49-F238E27FC236}">
                  <a16:creationId xmlns:a16="http://schemas.microsoft.com/office/drawing/2014/main" id="{75235AF7-6E61-BB45-5203-39EF21A0FC28}"/>
                </a:ext>
              </a:extLst>
            </p:cNvPr>
            <p:cNvSpPr/>
            <p:nvPr/>
          </p:nvSpPr>
          <p:spPr>
            <a:xfrm>
              <a:off x="3290454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7" name="Полилиния 1126">
              <a:extLst>
                <a:ext uri="{FF2B5EF4-FFF2-40B4-BE49-F238E27FC236}">
                  <a16:creationId xmlns:a16="http://schemas.microsoft.com/office/drawing/2014/main" id="{0DC77C3B-3DB7-7FFC-7F12-0540AE2D5249}"/>
                </a:ext>
              </a:extLst>
            </p:cNvPr>
            <p:cNvSpPr/>
            <p:nvPr/>
          </p:nvSpPr>
          <p:spPr>
            <a:xfrm>
              <a:off x="3498272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8" name="Полилиния 1127">
              <a:extLst>
                <a:ext uri="{FF2B5EF4-FFF2-40B4-BE49-F238E27FC236}">
                  <a16:creationId xmlns:a16="http://schemas.microsoft.com/office/drawing/2014/main" id="{2A6B65D6-DA5E-EFEB-AC6A-63DECC742FED}"/>
                </a:ext>
              </a:extLst>
            </p:cNvPr>
            <p:cNvSpPr/>
            <p:nvPr/>
          </p:nvSpPr>
          <p:spPr>
            <a:xfrm>
              <a:off x="370609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9" name="Полилиния 1128">
              <a:extLst>
                <a:ext uri="{FF2B5EF4-FFF2-40B4-BE49-F238E27FC236}">
                  <a16:creationId xmlns:a16="http://schemas.microsoft.com/office/drawing/2014/main" id="{953C29EB-1E8F-BBDC-1076-8180FDE9E4B9}"/>
                </a:ext>
              </a:extLst>
            </p:cNvPr>
            <p:cNvSpPr/>
            <p:nvPr/>
          </p:nvSpPr>
          <p:spPr>
            <a:xfrm>
              <a:off x="3913909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0" name="Полилиния 1129">
              <a:extLst>
                <a:ext uri="{FF2B5EF4-FFF2-40B4-BE49-F238E27FC236}">
                  <a16:creationId xmlns:a16="http://schemas.microsoft.com/office/drawing/2014/main" id="{FB858045-1F16-434B-65F3-536899B72E6E}"/>
                </a:ext>
              </a:extLst>
            </p:cNvPr>
            <p:cNvSpPr/>
            <p:nvPr/>
          </p:nvSpPr>
          <p:spPr>
            <a:xfrm>
              <a:off x="4121727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1" name="Полилиния 1130">
              <a:extLst>
                <a:ext uri="{FF2B5EF4-FFF2-40B4-BE49-F238E27FC236}">
                  <a16:creationId xmlns:a16="http://schemas.microsoft.com/office/drawing/2014/main" id="{EBA9ACB5-0413-95F6-70B5-3CB74B36FCA8}"/>
                </a:ext>
              </a:extLst>
            </p:cNvPr>
            <p:cNvSpPr/>
            <p:nvPr/>
          </p:nvSpPr>
          <p:spPr>
            <a:xfrm rot="5400000">
              <a:off x="4329545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2" name="Полилиния 1131">
              <a:extLst>
                <a:ext uri="{FF2B5EF4-FFF2-40B4-BE49-F238E27FC236}">
                  <a16:creationId xmlns:a16="http://schemas.microsoft.com/office/drawing/2014/main" id="{AF657C9D-428B-7EDE-EA19-F4449E4E53B0}"/>
                </a:ext>
              </a:extLst>
            </p:cNvPr>
            <p:cNvSpPr/>
            <p:nvPr/>
          </p:nvSpPr>
          <p:spPr>
            <a:xfrm rot="-5400000">
              <a:off x="4745181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3" name="Полилиния 1132">
              <a:extLst>
                <a:ext uri="{FF2B5EF4-FFF2-40B4-BE49-F238E27FC236}">
                  <a16:creationId xmlns:a16="http://schemas.microsoft.com/office/drawing/2014/main" id="{7A497059-4D93-E201-5DE7-A653E74028F2}"/>
                </a:ext>
              </a:extLst>
            </p:cNvPr>
            <p:cNvSpPr/>
            <p:nvPr/>
          </p:nvSpPr>
          <p:spPr>
            <a:xfrm>
              <a:off x="5160818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4" name="Полилиния 1133">
              <a:extLst>
                <a:ext uri="{FF2B5EF4-FFF2-40B4-BE49-F238E27FC236}">
                  <a16:creationId xmlns:a16="http://schemas.microsoft.com/office/drawing/2014/main" id="{798EE289-4731-C118-DCCB-1AF7BF41F5F7}"/>
                </a:ext>
              </a:extLst>
            </p:cNvPr>
            <p:cNvSpPr/>
            <p:nvPr/>
          </p:nvSpPr>
          <p:spPr>
            <a:xfrm>
              <a:off x="599209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5" name="Полилиния 1134">
              <a:extLst>
                <a:ext uri="{FF2B5EF4-FFF2-40B4-BE49-F238E27FC236}">
                  <a16:creationId xmlns:a16="http://schemas.microsoft.com/office/drawing/2014/main" id="{EB003D00-1A88-92A5-4289-90251A652419}"/>
                </a:ext>
              </a:extLst>
            </p:cNvPr>
            <p:cNvSpPr/>
            <p:nvPr/>
          </p:nvSpPr>
          <p:spPr>
            <a:xfrm>
              <a:off x="6199909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6" name="Полилиния 1135">
              <a:extLst>
                <a:ext uri="{FF2B5EF4-FFF2-40B4-BE49-F238E27FC236}">
                  <a16:creationId xmlns:a16="http://schemas.microsoft.com/office/drawing/2014/main" id="{AE76F9C5-EE74-C11D-E18E-422E410AE5C4}"/>
                </a:ext>
              </a:extLst>
            </p:cNvPr>
            <p:cNvSpPr/>
            <p:nvPr/>
          </p:nvSpPr>
          <p:spPr>
            <a:xfrm>
              <a:off x="6615545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7" name="Полилиния 1136">
              <a:extLst>
                <a:ext uri="{FF2B5EF4-FFF2-40B4-BE49-F238E27FC236}">
                  <a16:creationId xmlns:a16="http://schemas.microsoft.com/office/drawing/2014/main" id="{76CEB061-DF8B-416E-BE4B-02D2FE879684}"/>
                </a:ext>
              </a:extLst>
            </p:cNvPr>
            <p:cNvSpPr/>
            <p:nvPr/>
          </p:nvSpPr>
          <p:spPr>
            <a:xfrm>
              <a:off x="723900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8" name="Полилиния 1137">
              <a:extLst>
                <a:ext uri="{FF2B5EF4-FFF2-40B4-BE49-F238E27FC236}">
                  <a16:creationId xmlns:a16="http://schemas.microsoft.com/office/drawing/2014/main" id="{492CDBD1-9CA5-AEE5-8EFD-28FFA3790920}"/>
                </a:ext>
              </a:extLst>
            </p:cNvPr>
            <p:cNvSpPr/>
            <p:nvPr/>
          </p:nvSpPr>
          <p:spPr>
            <a:xfrm>
              <a:off x="7446818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9" name="Полилиния 1138">
              <a:extLst>
                <a:ext uri="{FF2B5EF4-FFF2-40B4-BE49-F238E27FC236}">
                  <a16:creationId xmlns:a16="http://schemas.microsoft.com/office/drawing/2014/main" id="{52535198-F272-D427-C0B1-D2357968E673}"/>
                </a:ext>
              </a:extLst>
            </p:cNvPr>
            <p:cNvSpPr/>
            <p:nvPr/>
          </p:nvSpPr>
          <p:spPr>
            <a:xfrm>
              <a:off x="7654636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0" name="Полилиния 1139">
              <a:extLst>
                <a:ext uri="{FF2B5EF4-FFF2-40B4-BE49-F238E27FC236}">
                  <a16:creationId xmlns:a16="http://schemas.microsoft.com/office/drawing/2014/main" id="{B02A1D8B-EAA3-20FA-8237-C42243C43107}"/>
                </a:ext>
              </a:extLst>
            </p:cNvPr>
            <p:cNvSpPr/>
            <p:nvPr/>
          </p:nvSpPr>
          <p:spPr>
            <a:xfrm>
              <a:off x="7862454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1" name="Полилиния 1140">
              <a:extLst>
                <a:ext uri="{FF2B5EF4-FFF2-40B4-BE49-F238E27FC236}">
                  <a16:creationId xmlns:a16="http://schemas.microsoft.com/office/drawing/2014/main" id="{202FB4E5-90EE-C088-9113-396C868B7F71}"/>
                </a:ext>
              </a:extLst>
            </p:cNvPr>
            <p:cNvSpPr/>
            <p:nvPr/>
          </p:nvSpPr>
          <p:spPr>
            <a:xfrm>
              <a:off x="8070272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2" name="Полилиния 1141">
              <a:extLst>
                <a:ext uri="{FF2B5EF4-FFF2-40B4-BE49-F238E27FC236}">
                  <a16:creationId xmlns:a16="http://schemas.microsoft.com/office/drawing/2014/main" id="{62BDFBED-4909-8A37-6E57-4E17B10E0059}"/>
                </a:ext>
              </a:extLst>
            </p:cNvPr>
            <p:cNvSpPr/>
            <p:nvPr/>
          </p:nvSpPr>
          <p:spPr>
            <a:xfrm rot="5400000">
              <a:off x="827809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3" name="Полилиния 1142">
              <a:extLst>
                <a:ext uri="{FF2B5EF4-FFF2-40B4-BE49-F238E27FC236}">
                  <a16:creationId xmlns:a16="http://schemas.microsoft.com/office/drawing/2014/main" id="{6DCB2CA2-3BB1-68A7-4382-CF7DB5B21776}"/>
                </a:ext>
              </a:extLst>
            </p:cNvPr>
            <p:cNvSpPr/>
            <p:nvPr/>
          </p:nvSpPr>
          <p:spPr>
            <a:xfrm rot="-5400000">
              <a:off x="8901545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4" name="Полилиния 1143">
              <a:extLst>
                <a:ext uri="{FF2B5EF4-FFF2-40B4-BE49-F238E27FC236}">
                  <a16:creationId xmlns:a16="http://schemas.microsoft.com/office/drawing/2014/main" id="{60657E32-D2BD-CA9B-1EAD-F21FFE69479A}"/>
                </a:ext>
              </a:extLst>
            </p:cNvPr>
            <p:cNvSpPr/>
            <p:nvPr/>
          </p:nvSpPr>
          <p:spPr>
            <a:xfrm rot="5400000">
              <a:off x="4745181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5" name="Полилиния 1144">
              <a:extLst>
                <a:ext uri="{FF2B5EF4-FFF2-40B4-BE49-F238E27FC236}">
                  <a16:creationId xmlns:a16="http://schemas.microsoft.com/office/drawing/2014/main" id="{E81A0969-F75D-339F-75A0-57095772E0CB}"/>
                </a:ext>
              </a:extLst>
            </p:cNvPr>
            <p:cNvSpPr/>
            <p:nvPr/>
          </p:nvSpPr>
          <p:spPr>
            <a:xfrm rot="5400000">
              <a:off x="5160818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6" name="Полилиния 1145">
              <a:extLst>
                <a:ext uri="{FF2B5EF4-FFF2-40B4-BE49-F238E27FC236}">
                  <a16:creationId xmlns:a16="http://schemas.microsoft.com/office/drawing/2014/main" id="{D25365B6-3528-1F4C-326C-5C4F056BB507}"/>
                </a:ext>
              </a:extLst>
            </p:cNvPr>
            <p:cNvSpPr/>
            <p:nvPr/>
          </p:nvSpPr>
          <p:spPr>
            <a:xfrm rot="-5400000">
              <a:off x="5784272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7" name="Полилиния 1146">
              <a:extLst>
                <a:ext uri="{FF2B5EF4-FFF2-40B4-BE49-F238E27FC236}">
                  <a16:creationId xmlns:a16="http://schemas.microsoft.com/office/drawing/2014/main" id="{1583B414-136F-4193-0868-F0D0D247E890}"/>
                </a:ext>
              </a:extLst>
            </p:cNvPr>
            <p:cNvSpPr/>
            <p:nvPr/>
          </p:nvSpPr>
          <p:spPr>
            <a:xfrm>
              <a:off x="6199909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8" name="Полилиния 1147">
              <a:extLst>
                <a:ext uri="{FF2B5EF4-FFF2-40B4-BE49-F238E27FC236}">
                  <a16:creationId xmlns:a16="http://schemas.microsoft.com/office/drawing/2014/main" id="{3FB66BF9-C8DA-D951-7F5D-07F93FF1BAFD}"/>
                </a:ext>
              </a:extLst>
            </p:cNvPr>
            <p:cNvSpPr/>
            <p:nvPr/>
          </p:nvSpPr>
          <p:spPr>
            <a:xfrm>
              <a:off x="6407727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9" name="Полилиния 1148">
              <a:extLst>
                <a:ext uri="{FF2B5EF4-FFF2-40B4-BE49-F238E27FC236}">
                  <a16:creationId xmlns:a16="http://schemas.microsoft.com/office/drawing/2014/main" id="{BA5CC923-6595-6493-2A35-82B6DD905540}"/>
                </a:ext>
              </a:extLst>
            </p:cNvPr>
            <p:cNvSpPr/>
            <p:nvPr/>
          </p:nvSpPr>
          <p:spPr>
            <a:xfrm>
              <a:off x="6615545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0" name="Полилиния 1149">
              <a:extLst>
                <a:ext uri="{FF2B5EF4-FFF2-40B4-BE49-F238E27FC236}">
                  <a16:creationId xmlns:a16="http://schemas.microsoft.com/office/drawing/2014/main" id="{D3952FF0-AAC9-CD43-73A3-9D2F758396B6}"/>
                </a:ext>
              </a:extLst>
            </p:cNvPr>
            <p:cNvSpPr/>
            <p:nvPr/>
          </p:nvSpPr>
          <p:spPr>
            <a:xfrm>
              <a:off x="6823363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1" name="Полилиния 1150">
              <a:extLst>
                <a:ext uri="{FF2B5EF4-FFF2-40B4-BE49-F238E27FC236}">
                  <a16:creationId xmlns:a16="http://schemas.microsoft.com/office/drawing/2014/main" id="{D1915FC0-8876-12EC-85DA-D3148810399A}"/>
                </a:ext>
              </a:extLst>
            </p:cNvPr>
            <p:cNvSpPr/>
            <p:nvPr/>
          </p:nvSpPr>
          <p:spPr>
            <a:xfrm>
              <a:off x="7031181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2" name="Полилиния 1151">
              <a:extLst>
                <a:ext uri="{FF2B5EF4-FFF2-40B4-BE49-F238E27FC236}">
                  <a16:creationId xmlns:a16="http://schemas.microsoft.com/office/drawing/2014/main" id="{D9F56856-AAB6-1553-7BAA-0019CD0C1602}"/>
                </a:ext>
              </a:extLst>
            </p:cNvPr>
            <p:cNvSpPr/>
            <p:nvPr/>
          </p:nvSpPr>
          <p:spPr>
            <a:xfrm>
              <a:off x="7239000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3" name="Полилиния 1152">
              <a:extLst>
                <a:ext uri="{FF2B5EF4-FFF2-40B4-BE49-F238E27FC236}">
                  <a16:creationId xmlns:a16="http://schemas.microsoft.com/office/drawing/2014/main" id="{B61A7CAF-92AA-2780-593C-9A7F4898F800}"/>
                </a:ext>
              </a:extLst>
            </p:cNvPr>
            <p:cNvSpPr/>
            <p:nvPr/>
          </p:nvSpPr>
          <p:spPr>
            <a:xfrm>
              <a:off x="8070272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4" name="Полилиния 1153">
              <a:extLst>
                <a:ext uri="{FF2B5EF4-FFF2-40B4-BE49-F238E27FC236}">
                  <a16:creationId xmlns:a16="http://schemas.microsoft.com/office/drawing/2014/main" id="{5F8A7A16-1E27-DD7D-70A1-AA2281F9B761}"/>
                </a:ext>
              </a:extLst>
            </p:cNvPr>
            <p:cNvSpPr/>
            <p:nvPr/>
          </p:nvSpPr>
          <p:spPr>
            <a:xfrm rot="5400000">
              <a:off x="8485909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5" name="Полилиния 1154">
              <a:extLst>
                <a:ext uri="{FF2B5EF4-FFF2-40B4-BE49-F238E27FC236}">
                  <a16:creationId xmlns:a16="http://schemas.microsoft.com/office/drawing/2014/main" id="{7D811FA4-EC98-5EEF-D4E1-8BD01E418103}"/>
                </a:ext>
              </a:extLst>
            </p:cNvPr>
            <p:cNvSpPr/>
            <p:nvPr/>
          </p:nvSpPr>
          <p:spPr>
            <a:xfrm>
              <a:off x="8901545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6" name="Полилиния 1155">
              <a:extLst>
                <a:ext uri="{FF2B5EF4-FFF2-40B4-BE49-F238E27FC236}">
                  <a16:creationId xmlns:a16="http://schemas.microsoft.com/office/drawing/2014/main" id="{2C3E19B0-0AD5-E528-F41D-6CDD6C399039}"/>
                </a:ext>
              </a:extLst>
            </p:cNvPr>
            <p:cNvSpPr/>
            <p:nvPr/>
          </p:nvSpPr>
          <p:spPr>
            <a:xfrm rot="-5400000">
              <a:off x="5368636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7" name="Полилиния 1156">
              <a:extLst>
                <a:ext uri="{FF2B5EF4-FFF2-40B4-BE49-F238E27FC236}">
                  <a16:creationId xmlns:a16="http://schemas.microsoft.com/office/drawing/2014/main" id="{3222B69E-DCCC-9E9A-D25C-4A06A59A818A}"/>
                </a:ext>
              </a:extLst>
            </p:cNvPr>
            <p:cNvSpPr/>
            <p:nvPr/>
          </p:nvSpPr>
          <p:spPr>
            <a:xfrm>
              <a:off x="5576454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8" name="Полилиния 1157">
              <a:extLst>
                <a:ext uri="{FF2B5EF4-FFF2-40B4-BE49-F238E27FC236}">
                  <a16:creationId xmlns:a16="http://schemas.microsoft.com/office/drawing/2014/main" id="{5D048854-BE99-1E7D-9AE6-D49223105B2A}"/>
                </a:ext>
              </a:extLst>
            </p:cNvPr>
            <p:cNvSpPr/>
            <p:nvPr/>
          </p:nvSpPr>
          <p:spPr>
            <a:xfrm rot="5400000">
              <a:off x="5784272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9" name="Полилиния 1158">
              <a:extLst>
                <a:ext uri="{FF2B5EF4-FFF2-40B4-BE49-F238E27FC236}">
                  <a16:creationId xmlns:a16="http://schemas.microsoft.com/office/drawing/2014/main" id="{C889EB7B-BF5D-AA10-44DB-26D62E29146A}"/>
                </a:ext>
              </a:extLst>
            </p:cNvPr>
            <p:cNvSpPr/>
            <p:nvPr/>
          </p:nvSpPr>
          <p:spPr>
            <a:xfrm>
              <a:off x="6199909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0" name="Полилиния 1159">
              <a:extLst>
                <a:ext uri="{FF2B5EF4-FFF2-40B4-BE49-F238E27FC236}">
                  <a16:creationId xmlns:a16="http://schemas.microsoft.com/office/drawing/2014/main" id="{BF8709EF-19F5-F3F8-2ED8-EB14155E0AFC}"/>
                </a:ext>
              </a:extLst>
            </p:cNvPr>
            <p:cNvSpPr/>
            <p:nvPr/>
          </p:nvSpPr>
          <p:spPr>
            <a:xfrm rot="5400000">
              <a:off x="6407727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1" name="Полилиния 1160">
              <a:extLst>
                <a:ext uri="{FF2B5EF4-FFF2-40B4-BE49-F238E27FC236}">
                  <a16:creationId xmlns:a16="http://schemas.microsoft.com/office/drawing/2014/main" id="{D8134DE2-142E-FEBB-C26A-E15EF596D2E0}"/>
                </a:ext>
              </a:extLst>
            </p:cNvPr>
            <p:cNvSpPr/>
            <p:nvPr/>
          </p:nvSpPr>
          <p:spPr>
            <a:xfrm>
              <a:off x="6823363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2" name="Полилиния 1161">
              <a:extLst>
                <a:ext uri="{FF2B5EF4-FFF2-40B4-BE49-F238E27FC236}">
                  <a16:creationId xmlns:a16="http://schemas.microsoft.com/office/drawing/2014/main" id="{F502E6DF-1889-6486-D1D6-AF7D4527CCA4}"/>
                </a:ext>
              </a:extLst>
            </p:cNvPr>
            <p:cNvSpPr/>
            <p:nvPr/>
          </p:nvSpPr>
          <p:spPr>
            <a:xfrm>
              <a:off x="7031181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3" name="Полилиния 1162">
              <a:extLst>
                <a:ext uri="{FF2B5EF4-FFF2-40B4-BE49-F238E27FC236}">
                  <a16:creationId xmlns:a16="http://schemas.microsoft.com/office/drawing/2014/main" id="{EEE3B7CE-D83F-FDF2-51B5-EFBDBDA968C0}"/>
                </a:ext>
              </a:extLst>
            </p:cNvPr>
            <p:cNvSpPr/>
            <p:nvPr/>
          </p:nvSpPr>
          <p:spPr>
            <a:xfrm>
              <a:off x="7239000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4" name="Полилиния 1163">
              <a:extLst>
                <a:ext uri="{FF2B5EF4-FFF2-40B4-BE49-F238E27FC236}">
                  <a16:creationId xmlns:a16="http://schemas.microsoft.com/office/drawing/2014/main" id="{CD1B634F-481A-A71C-86A8-372CA090ADFE}"/>
                </a:ext>
              </a:extLst>
            </p:cNvPr>
            <p:cNvSpPr/>
            <p:nvPr/>
          </p:nvSpPr>
          <p:spPr>
            <a:xfrm rot="5400000">
              <a:off x="7654636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5" name="Полилиния 1164">
              <a:extLst>
                <a:ext uri="{FF2B5EF4-FFF2-40B4-BE49-F238E27FC236}">
                  <a16:creationId xmlns:a16="http://schemas.microsoft.com/office/drawing/2014/main" id="{20F82DAA-DBA2-61A7-DBB0-FFAFDEAA8D30}"/>
                </a:ext>
              </a:extLst>
            </p:cNvPr>
            <p:cNvSpPr/>
            <p:nvPr/>
          </p:nvSpPr>
          <p:spPr>
            <a:xfrm>
              <a:off x="8070272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6" name="Полилиния 1165">
              <a:extLst>
                <a:ext uri="{FF2B5EF4-FFF2-40B4-BE49-F238E27FC236}">
                  <a16:creationId xmlns:a16="http://schemas.microsoft.com/office/drawing/2014/main" id="{B9EE2E31-BC63-EB8D-4435-B4EE1694FC15}"/>
                </a:ext>
              </a:extLst>
            </p:cNvPr>
            <p:cNvSpPr/>
            <p:nvPr/>
          </p:nvSpPr>
          <p:spPr>
            <a:xfrm>
              <a:off x="8901545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7" name="Полилиния 1166">
              <a:extLst>
                <a:ext uri="{FF2B5EF4-FFF2-40B4-BE49-F238E27FC236}">
                  <a16:creationId xmlns:a16="http://schemas.microsoft.com/office/drawing/2014/main" id="{420FAD73-5299-CF3C-3984-339428F23889}"/>
                </a:ext>
              </a:extLst>
            </p:cNvPr>
            <p:cNvSpPr/>
            <p:nvPr/>
          </p:nvSpPr>
          <p:spPr>
            <a:xfrm rot="-5400000">
              <a:off x="495300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8" name="Полилиния 1167">
              <a:extLst>
                <a:ext uri="{FF2B5EF4-FFF2-40B4-BE49-F238E27FC236}">
                  <a16:creationId xmlns:a16="http://schemas.microsoft.com/office/drawing/2014/main" id="{23E1B098-4D07-FFB6-F103-227134D65A64}"/>
                </a:ext>
              </a:extLst>
            </p:cNvPr>
            <p:cNvSpPr/>
            <p:nvPr/>
          </p:nvSpPr>
          <p:spPr>
            <a:xfrm>
              <a:off x="5160818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9" name="Полилиния 1168">
              <a:extLst>
                <a:ext uri="{FF2B5EF4-FFF2-40B4-BE49-F238E27FC236}">
                  <a16:creationId xmlns:a16="http://schemas.microsoft.com/office/drawing/2014/main" id="{4F0DD88F-DB43-3539-9A0F-16C6FB93822E}"/>
                </a:ext>
              </a:extLst>
            </p:cNvPr>
            <p:cNvSpPr/>
            <p:nvPr/>
          </p:nvSpPr>
          <p:spPr>
            <a:xfrm>
              <a:off x="5368636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0" name="Полилиния 1169">
              <a:extLst>
                <a:ext uri="{FF2B5EF4-FFF2-40B4-BE49-F238E27FC236}">
                  <a16:creationId xmlns:a16="http://schemas.microsoft.com/office/drawing/2014/main" id="{8293B38D-5B31-71F3-9456-3A77731F925C}"/>
                </a:ext>
              </a:extLst>
            </p:cNvPr>
            <p:cNvSpPr/>
            <p:nvPr/>
          </p:nvSpPr>
          <p:spPr>
            <a:xfrm rot="5400000">
              <a:off x="5576454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1" name="Полилиния 1170">
              <a:extLst>
                <a:ext uri="{FF2B5EF4-FFF2-40B4-BE49-F238E27FC236}">
                  <a16:creationId xmlns:a16="http://schemas.microsoft.com/office/drawing/2014/main" id="{DE5033AA-06F0-5D7E-B556-BB1B80892FCF}"/>
                </a:ext>
              </a:extLst>
            </p:cNvPr>
            <p:cNvSpPr/>
            <p:nvPr/>
          </p:nvSpPr>
          <p:spPr>
            <a:xfrm rot="-5400000">
              <a:off x="599209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2" name="Полилиния 1171">
              <a:extLst>
                <a:ext uri="{FF2B5EF4-FFF2-40B4-BE49-F238E27FC236}">
                  <a16:creationId xmlns:a16="http://schemas.microsoft.com/office/drawing/2014/main" id="{6BCA5133-69AB-05E5-1DC8-E8E1117F91B4}"/>
                </a:ext>
              </a:extLst>
            </p:cNvPr>
            <p:cNvSpPr/>
            <p:nvPr/>
          </p:nvSpPr>
          <p:spPr>
            <a:xfrm>
              <a:off x="7031181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3" name="Полилиния 1172">
              <a:extLst>
                <a:ext uri="{FF2B5EF4-FFF2-40B4-BE49-F238E27FC236}">
                  <a16:creationId xmlns:a16="http://schemas.microsoft.com/office/drawing/2014/main" id="{A9C9B2C4-6D8A-FDDC-3269-054312FC40B6}"/>
                </a:ext>
              </a:extLst>
            </p:cNvPr>
            <p:cNvSpPr/>
            <p:nvPr/>
          </p:nvSpPr>
          <p:spPr>
            <a:xfrm>
              <a:off x="723900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4" name="Полилиния 1173">
              <a:extLst>
                <a:ext uri="{FF2B5EF4-FFF2-40B4-BE49-F238E27FC236}">
                  <a16:creationId xmlns:a16="http://schemas.microsoft.com/office/drawing/2014/main" id="{34B8B5A3-FC66-2AB1-4253-DFA4C78E2AD5}"/>
                </a:ext>
              </a:extLst>
            </p:cNvPr>
            <p:cNvSpPr/>
            <p:nvPr/>
          </p:nvSpPr>
          <p:spPr>
            <a:xfrm>
              <a:off x="8070272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5" name="Полилиния 1174">
              <a:extLst>
                <a:ext uri="{FF2B5EF4-FFF2-40B4-BE49-F238E27FC236}">
                  <a16:creationId xmlns:a16="http://schemas.microsoft.com/office/drawing/2014/main" id="{1F25836B-9C5B-683A-40EF-1E5B3973085A}"/>
                </a:ext>
              </a:extLst>
            </p:cNvPr>
            <p:cNvSpPr/>
            <p:nvPr/>
          </p:nvSpPr>
          <p:spPr>
            <a:xfrm rot="5400000">
              <a:off x="827809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6" name="Полилиния 1175">
              <a:extLst>
                <a:ext uri="{FF2B5EF4-FFF2-40B4-BE49-F238E27FC236}">
                  <a16:creationId xmlns:a16="http://schemas.microsoft.com/office/drawing/2014/main" id="{AD6F7119-4C48-0CFB-61F3-EEFCFA185078}"/>
                </a:ext>
              </a:extLst>
            </p:cNvPr>
            <p:cNvSpPr/>
            <p:nvPr/>
          </p:nvSpPr>
          <p:spPr>
            <a:xfrm rot="-5400000">
              <a:off x="8693727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7" name="Полилиния 1176">
              <a:extLst>
                <a:ext uri="{FF2B5EF4-FFF2-40B4-BE49-F238E27FC236}">
                  <a16:creationId xmlns:a16="http://schemas.microsoft.com/office/drawing/2014/main" id="{D306894C-90EA-A49F-ED6E-1DAC78B94FAC}"/>
                </a:ext>
              </a:extLst>
            </p:cNvPr>
            <p:cNvSpPr/>
            <p:nvPr/>
          </p:nvSpPr>
          <p:spPr>
            <a:xfrm>
              <a:off x="8901545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8" name="Полилиния 1177">
              <a:extLst>
                <a:ext uri="{FF2B5EF4-FFF2-40B4-BE49-F238E27FC236}">
                  <a16:creationId xmlns:a16="http://schemas.microsoft.com/office/drawing/2014/main" id="{3220E5A8-1995-7030-2F08-76E41E11BECF}"/>
                </a:ext>
              </a:extLst>
            </p:cNvPr>
            <p:cNvSpPr/>
            <p:nvPr/>
          </p:nvSpPr>
          <p:spPr>
            <a:xfrm rot="5400000">
              <a:off x="4745181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9" name="Полилиния 1178">
              <a:extLst>
                <a:ext uri="{FF2B5EF4-FFF2-40B4-BE49-F238E27FC236}">
                  <a16:creationId xmlns:a16="http://schemas.microsoft.com/office/drawing/2014/main" id="{CCBD8517-AEB9-0B50-FCC8-6554A3E7BD94}"/>
                </a:ext>
              </a:extLst>
            </p:cNvPr>
            <p:cNvSpPr/>
            <p:nvPr/>
          </p:nvSpPr>
          <p:spPr>
            <a:xfrm rot="-5400000">
              <a:off x="5784272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0" name="Полилиния 1179">
              <a:extLst>
                <a:ext uri="{FF2B5EF4-FFF2-40B4-BE49-F238E27FC236}">
                  <a16:creationId xmlns:a16="http://schemas.microsoft.com/office/drawing/2014/main" id="{07E3F29E-D330-E0F4-AA9C-F91300B72D7F}"/>
                </a:ext>
              </a:extLst>
            </p:cNvPr>
            <p:cNvSpPr/>
            <p:nvPr/>
          </p:nvSpPr>
          <p:spPr>
            <a:xfrm rot="5400000">
              <a:off x="5992090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1" name="Полилиния 1180">
              <a:extLst>
                <a:ext uri="{FF2B5EF4-FFF2-40B4-BE49-F238E27FC236}">
                  <a16:creationId xmlns:a16="http://schemas.microsoft.com/office/drawing/2014/main" id="{E3AA5279-0613-232E-16FA-F278C8A4194D}"/>
                </a:ext>
              </a:extLst>
            </p:cNvPr>
            <p:cNvSpPr/>
            <p:nvPr/>
          </p:nvSpPr>
          <p:spPr>
            <a:xfrm rot="5400000">
              <a:off x="6407727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2" name="Полилиния 1181">
              <a:extLst>
                <a:ext uri="{FF2B5EF4-FFF2-40B4-BE49-F238E27FC236}">
                  <a16:creationId xmlns:a16="http://schemas.microsoft.com/office/drawing/2014/main" id="{4CEAFA2F-97BE-8541-EA73-BE072666A0CC}"/>
                </a:ext>
              </a:extLst>
            </p:cNvPr>
            <p:cNvSpPr/>
            <p:nvPr/>
          </p:nvSpPr>
          <p:spPr>
            <a:xfrm>
              <a:off x="7031181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3" name="Полилиния 1182">
              <a:extLst>
                <a:ext uri="{FF2B5EF4-FFF2-40B4-BE49-F238E27FC236}">
                  <a16:creationId xmlns:a16="http://schemas.microsoft.com/office/drawing/2014/main" id="{4073455A-28DC-C1DC-9FBA-DE0076ABF7BA}"/>
                </a:ext>
              </a:extLst>
            </p:cNvPr>
            <p:cNvSpPr/>
            <p:nvPr/>
          </p:nvSpPr>
          <p:spPr>
            <a:xfrm>
              <a:off x="7239000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4" name="Полилиния 1183">
              <a:extLst>
                <a:ext uri="{FF2B5EF4-FFF2-40B4-BE49-F238E27FC236}">
                  <a16:creationId xmlns:a16="http://schemas.microsoft.com/office/drawing/2014/main" id="{637F2CE4-8B12-4B86-1591-7578CD979554}"/>
                </a:ext>
              </a:extLst>
            </p:cNvPr>
            <p:cNvSpPr/>
            <p:nvPr/>
          </p:nvSpPr>
          <p:spPr>
            <a:xfrm>
              <a:off x="7446818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5" name="Полилиния 1184">
              <a:extLst>
                <a:ext uri="{FF2B5EF4-FFF2-40B4-BE49-F238E27FC236}">
                  <a16:creationId xmlns:a16="http://schemas.microsoft.com/office/drawing/2014/main" id="{38498441-8AC4-6A76-1E10-3AF8C549DDCE}"/>
                </a:ext>
              </a:extLst>
            </p:cNvPr>
            <p:cNvSpPr/>
            <p:nvPr/>
          </p:nvSpPr>
          <p:spPr>
            <a:xfrm>
              <a:off x="7654636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6" name="Полилиния 1185">
              <a:extLst>
                <a:ext uri="{FF2B5EF4-FFF2-40B4-BE49-F238E27FC236}">
                  <a16:creationId xmlns:a16="http://schemas.microsoft.com/office/drawing/2014/main" id="{04E6639A-1DE2-A5FC-AE9A-E706BAF145CB}"/>
                </a:ext>
              </a:extLst>
            </p:cNvPr>
            <p:cNvSpPr/>
            <p:nvPr/>
          </p:nvSpPr>
          <p:spPr>
            <a:xfrm>
              <a:off x="7862454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7" name="Полилиния 1186">
              <a:extLst>
                <a:ext uri="{FF2B5EF4-FFF2-40B4-BE49-F238E27FC236}">
                  <a16:creationId xmlns:a16="http://schemas.microsoft.com/office/drawing/2014/main" id="{E45D9897-4CC3-5165-342D-ABDA307E318D}"/>
                </a:ext>
              </a:extLst>
            </p:cNvPr>
            <p:cNvSpPr/>
            <p:nvPr/>
          </p:nvSpPr>
          <p:spPr>
            <a:xfrm rot="5400000">
              <a:off x="8070272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8" name="Полилиния 1187">
              <a:extLst>
                <a:ext uri="{FF2B5EF4-FFF2-40B4-BE49-F238E27FC236}">
                  <a16:creationId xmlns:a16="http://schemas.microsoft.com/office/drawing/2014/main" id="{0FC65448-108A-7E66-1CF0-F8DE12BC618E}"/>
                </a:ext>
              </a:extLst>
            </p:cNvPr>
            <p:cNvSpPr/>
            <p:nvPr/>
          </p:nvSpPr>
          <p:spPr>
            <a:xfrm>
              <a:off x="8693727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9" name="Полилиния 1188">
              <a:extLst>
                <a:ext uri="{FF2B5EF4-FFF2-40B4-BE49-F238E27FC236}">
                  <a16:creationId xmlns:a16="http://schemas.microsoft.com/office/drawing/2014/main" id="{2EB60D13-268B-E7BE-D0BE-338E802D9E5F}"/>
                </a:ext>
              </a:extLst>
            </p:cNvPr>
            <p:cNvSpPr/>
            <p:nvPr/>
          </p:nvSpPr>
          <p:spPr>
            <a:xfrm rot="5400000">
              <a:off x="8901545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0" name="Полилиния 1189">
              <a:extLst>
                <a:ext uri="{FF2B5EF4-FFF2-40B4-BE49-F238E27FC236}">
                  <a16:creationId xmlns:a16="http://schemas.microsoft.com/office/drawing/2014/main" id="{1D71E204-AD77-92E6-A946-7B83BA120BE9}"/>
                </a:ext>
              </a:extLst>
            </p:cNvPr>
            <p:cNvSpPr/>
            <p:nvPr/>
          </p:nvSpPr>
          <p:spPr>
            <a:xfrm rot="-5400000">
              <a:off x="5160818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1" name="Полилиния 1190">
              <a:extLst>
                <a:ext uri="{FF2B5EF4-FFF2-40B4-BE49-F238E27FC236}">
                  <a16:creationId xmlns:a16="http://schemas.microsoft.com/office/drawing/2014/main" id="{9DEBD0C7-302C-6F46-5CF9-BF4C55AFF232}"/>
                </a:ext>
              </a:extLst>
            </p:cNvPr>
            <p:cNvSpPr/>
            <p:nvPr/>
          </p:nvSpPr>
          <p:spPr>
            <a:xfrm>
              <a:off x="5368636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2" name="Полилиния 1191">
              <a:extLst>
                <a:ext uri="{FF2B5EF4-FFF2-40B4-BE49-F238E27FC236}">
                  <a16:creationId xmlns:a16="http://schemas.microsoft.com/office/drawing/2014/main" id="{6C7376FB-E069-4CB2-BC79-42C487D4DECB}"/>
                </a:ext>
              </a:extLst>
            </p:cNvPr>
            <p:cNvSpPr/>
            <p:nvPr/>
          </p:nvSpPr>
          <p:spPr>
            <a:xfrm>
              <a:off x="5576454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3" name="Полилиния 1192">
              <a:extLst>
                <a:ext uri="{FF2B5EF4-FFF2-40B4-BE49-F238E27FC236}">
                  <a16:creationId xmlns:a16="http://schemas.microsoft.com/office/drawing/2014/main" id="{7D978A1B-F22E-8D8B-382B-9E41BEB47611}"/>
                </a:ext>
              </a:extLst>
            </p:cNvPr>
            <p:cNvSpPr/>
            <p:nvPr/>
          </p:nvSpPr>
          <p:spPr>
            <a:xfrm>
              <a:off x="5784272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4" name="Полилиния 1193">
              <a:extLst>
                <a:ext uri="{FF2B5EF4-FFF2-40B4-BE49-F238E27FC236}">
                  <a16:creationId xmlns:a16="http://schemas.microsoft.com/office/drawing/2014/main" id="{E8E06340-7758-893F-C916-87D412F15456}"/>
                </a:ext>
              </a:extLst>
            </p:cNvPr>
            <p:cNvSpPr/>
            <p:nvPr/>
          </p:nvSpPr>
          <p:spPr>
            <a:xfrm rot="-5400000">
              <a:off x="6615545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5" name="Полилиния 1194">
              <a:extLst>
                <a:ext uri="{FF2B5EF4-FFF2-40B4-BE49-F238E27FC236}">
                  <a16:creationId xmlns:a16="http://schemas.microsoft.com/office/drawing/2014/main" id="{460544B4-CB2B-75BB-0325-B2F15A10789D}"/>
                </a:ext>
              </a:extLst>
            </p:cNvPr>
            <p:cNvSpPr/>
            <p:nvPr/>
          </p:nvSpPr>
          <p:spPr>
            <a:xfrm>
              <a:off x="6823363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6" name="Полилиния 1195">
              <a:extLst>
                <a:ext uri="{FF2B5EF4-FFF2-40B4-BE49-F238E27FC236}">
                  <a16:creationId xmlns:a16="http://schemas.microsoft.com/office/drawing/2014/main" id="{5A985F70-93AC-AE4E-2CED-74E5922A0B7A}"/>
                </a:ext>
              </a:extLst>
            </p:cNvPr>
            <p:cNvSpPr/>
            <p:nvPr/>
          </p:nvSpPr>
          <p:spPr>
            <a:xfrm rot="5400000">
              <a:off x="7862454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7" name="Полилиния 1196">
              <a:extLst>
                <a:ext uri="{FF2B5EF4-FFF2-40B4-BE49-F238E27FC236}">
                  <a16:creationId xmlns:a16="http://schemas.microsoft.com/office/drawing/2014/main" id="{32A2E737-7567-C80C-A935-C7DFBC8CD2C4}"/>
                </a:ext>
              </a:extLst>
            </p:cNvPr>
            <p:cNvSpPr/>
            <p:nvPr/>
          </p:nvSpPr>
          <p:spPr>
            <a:xfrm rot="-5400000">
              <a:off x="8278090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8" name="Полилиния 1197">
              <a:extLst>
                <a:ext uri="{FF2B5EF4-FFF2-40B4-BE49-F238E27FC236}">
                  <a16:creationId xmlns:a16="http://schemas.microsoft.com/office/drawing/2014/main" id="{E3565AC6-3585-67F5-4893-FB4D504EC32C}"/>
                </a:ext>
              </a:extLst>
            </p:cNvPr>
            <p:cNvSpPr/>
            <p:nvPr/>
          </p:nvSpPr>
          <p:spPr>
            <a:xfrm>
              <a:off x="8485909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9" name="Полилиния 1198">
              <a:extLst>
                <a:ext uri="{FF2B5EF4-FFF2-40B4-BE49-F238E27FC236}">
                  <a16:creationId xmlns:a16="http://schemas.microsoft.com/office/drawing/2014/main" id="{412B5311-0362-660E-B0D6-BACFC8A90E6E}"/>
                </a:ext>
              </a:extLst>
            </p:cNvPr>
            <p:cNvSpPr/>
            <p:nvPr/>
          </p:nvSpPr>
          <p:spPr>
            <a:xfrm>
              <a:off x="8693727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0" name="Полилиния 1199">
              <a:extLst>
                <a:ext uri="{FF2B5EF4-FFF2-40B4-BE49-F238E27FC236}">
                  <a16:creationId xmlns:a16="http://schemas.microsoft.com/office/drawing/2014/main" id="{5F109394-F8BF-E255-53BC-FC71BD80A74C}"/>
                </a:ext>
              </a:extLst>
            </p:cNvPr>
            <p:cNvSpPr/>
            <p:nvPr/>
          </p:nvSpPr>
          <p:spPr>
            <a:xfrm rot="-5400000">
              <a:off x="495300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1" name="Полилиния 1200">
              <a:extLst>
                <a:ext uri="{FF2B5EF4-FFF2-40B4-BE49-F238E27FC236}">
                  <a16:creationId xmlns:a16="http://schemas.microsoft.com/office/drawing/2014/main" id="{EE888A10-969A-EBCF-E071-64E24C0B2B67}"/>
                </a:ext>
              </a:extLst>
            </p:cNvPr>
            <p:cNvSpPr/>
            <p:nvPr/>
          </p:nvSpPr>
          <p:spPr>
            <a:xfrm rot="5400000">
              <a:off x="5160818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2" name="Полилиния 1201">
              <a:extLst>
                <a:ext uri="{FF2B5EF4-FFF2-40B4-BE49-F238E27FC236}">
                  <a16:creationId xmlns:a16="http://schemas.microsoft.com/office/drawing/2014/main" id="{414ACD16-6583-3362-3229-75B584878AD2}"/>
                </a:ext>
              </a:extLst>
            </p:cNvPr>
            <p:cNvSpPr/>
            <p:nvPr/>
          </p:nvSpPr>
          <p:spPr>
            <a:xfrm>
              <a:off x="5784272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3" name="Полилиния 1202">
              <a:extLst>
                <a:ext uri="{FF2B5EF4-FFF2-40B4-BE49-F238E27FC236}">
                  <a16:creationId xmlns:a16="http://schemas.microsoft.com/office/drawing/2014/main" id="{CC437F6E-8D57-6F97-432E-433E6393E747}"/>
                </a:ext>
              </a:extLst>
            </p:cNvPr>
            <p:cNvSpPr/>
            <p:nvPr/>
          </p:nvSpPr>
          <p:spPr>
            <a:xfrm>
              <a:off x="599209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4" name="Полилиния 1203">
              <a:extLst>
                <a:ext uri="{FF2B5EF4-FFF2-40B4-BE49-F238E27FC236}">
                  <a16:creationId xmlns:a16="http://schemas.microsoft.com/office/drawing/2014/main" id="{39D5F331-8171-905B-1684-D9158A36A5D2}"/>
                </a:ext>
              </a:extLst>
            </p:cNvPr>
            <p:cNvSpPr/>
            <p:nvPr/>
          </p:nvSpPr>
          <p:spPr>
            <a:xfrm>
              <a:off x="6199909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5" name="Полилиния 1204">
              <a:extLst>
                <a:ext uri="{FF2B5EF4-FFF2-40B4-BE49-F238E27FC236}">
                  <a16:creationId xmlns:a16="http://schemas.microsoft.com/office/drawing/2014/main" id="{FEEE8D1F-BD5B-D9F8-BC39-C29A1E536CF7}"/>
                </a:ext>
              </a:extLst>
            </p:cNvPr>
            <p:cNvSpPr/>
            <p:nvPr/>
          </p:nvSpPr>
          <p:spPr>
            <a:xfrm>
              <a:off x="6823363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6" name="Полилиния 1205">
              <a:extLst>
                <a:ext uri="{FF2B5EF4-FFF2-40B4-BE49-F238E27FC236}">
                  <a16:creationId xmlns:a16="http://schemas.microsoft.com/office/drawing/2014/main" id="{CA7483F9-AA1B-A998-4536-7047CFDDA06E}"/>
                </a:ext>
              </a:extLst>
            </p:cNvPr>
            <p:cNvSpPr/>
            <p:nvPr/>
          </p:nvSpPr>
          <p:spPr>
            <a:xfrm>
              <a:off x="7031181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7" name="Полилиния 1206">
              <a:extLst>
                <a:ext uri="{FF2B5EF4-FFF2-40B4-BE49-F238E27FC236}">
                  <a16:creationId xmlns:a16="http://schemas.microsoft.com/office/drawing/2014/main" id="{84D3F44E-8FE1-F8E7-8A8A-D5D1D9AF8D69}"/>
                </a:ext>
              </a:extLst>
            </p:cNvPr>
            <p:cNvSpPr/>
            <p:nvPr/>
          </p:nvSpPr>
          <p:spPr>
            <a:xfrm>
              <a:off x="723900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8" name="Полилиния 1207">
              <a:extLst>
                <a:ext uri="{FF2B5EF4-FFF2-40B4-BE49-F238E27FC236}">
                  <a16:creationId xmlns:a16="http://schemas.microsoft.com/office/drawing/2014/main" id="{094085E5-A348-EA93-2980-E06798F137CC}"/>
                </a:ext>
              </a:extLst>
            </p:cNvPr>
            <p:cNvSpPr/>
            <p:nvPr/>
          </p:nvSpPr>
          <p:spPr>
            <a:xfrm>
              <a:off x="7446818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9" name="Полилиния 1208">
              <a:extLst>
                <a:ext uri="{FF2B5EF4-FFF2-40B4-BE49-F238E27FC236}">
                  <a16:creationId xmlns:a16="http://schemas.microsoft.com/office/drawing/2014/main" id="{DB6B1B0E-C98E-1AD6-7B64-497BFA53F829}"/>
                </a:ext>
              </a:extLst>
            </p:cNvPr>
            <p:cNvSpPr/>
            <p:nvPr/>
          </p:nvSpPr>
          <p:spPr>
            <a:xfrm>
              <a:off x="827809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0" name="Полилиния 1209">
              <a:extLst>
                <a:ext uri="{FF2B5EF4-FFF2-40B4-BE49-F238E27FC236}">
                  <a16:creationId xmlns:a16="http://schemas.microsoft.com/office/drawing/2014/main" id="{016E691C-58BB-1A83-E715-BD59508FF9B7}"/>
                </a:ext>
              </a:extLst>
            </p:cNvPr>
            <p:cNvSpPr/>
            <p:nvPr/>
          </p:nvSpPr>
          <p:spPr>
            <a:xfrm>
              <a:off x="8485909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1" name="Полилиния 1210">
              <a:extLst>
                <a:ext uri="{FF2B5EF4-FFF2-40B4-BE49-F238E27FC236}">
                  <a16:creationId xmlns:a16="http://schemas.microsoft.com/office/drawing/2014/main" id="{7CF00A08-2281-44C5-2FEB-1F2ED56146F6}"/>
                </a:ext>
              </a:extLst>
            </p:cNvPr>
            <p:cNvSpPr/>
            <p:nvPr/>
          </p:nvSpPr>
          <p:spPr>
            <a:xfrm>
              <a:off x="8693727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2" name="Полилиния 1211">
              <a:extLst>
                <a:ext uri="{FF2B5EF4-FFF2-40B4-BE49-F238E27FC236}">
                  <a16:creationId xmlns:a16="http://schemas.microsoft.com/office/drawing/2014/main" id="{E14291CD-482B-26B5-4F0B-135EBF6372F3}"/>
                </a:ext>
              </a:extLst>
            </p:cNvPr>
            <p:cNvSpPr/>
            <p:nvPr/>
          </p:nvSpPr>
          <p:spPr>
            <a:xfrm>
              <a:off x="8901545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3" name="Полилиния 1212">
              <a:extLst>
                <a:ext uri="{FF2B5EF4-FFF2-40B4-BE49-F238E27FC236}">
                  <a16:creationId xmlns:a16="http://schemas.microsoft.com/office/drawing/2014/main" id="{9987543A-79E2-EA18-6182-7882BC7862EE}"/>
                </a:ext>
              </a:extLst>
            </p:cNvPr>
            <p:cNvSpPr/>
            <p:nvPr/>
          </p:nvSpPr>
          <p:spPr>
            <a:xfrm rot="-5400000">
              <a:off x="4745181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4" name="Полилиния 1213">
              <a:extLst>
                <a:ext uri="{FF2B5EF4-FFF2-40B4-BE49-F238E27FC236}">
                  <a16:creationId xmlns:a16="http://schemas.microsoft.com/office/drawing/2014/main" id="{95E18D02-76CC-3CBE-BAC4-55B862C5A909}"/>
                </a:ext>
              </a:extLst>
            </p:cNvPr>
            <p:cNvSpPr/>
            <p:nvPr/>
          </p:nvSpPr>
          <p:spPr>
            <a:xfrm>
              <a:off x="4953000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5" name="Полилиния 1214">
              <a:extLst>
                <a:ext uri="{FF2B5EF4-FFF2-40B4-BE49-F238E27FC236}">
                  <a16:creationId xmlns:a16="http://schemas.microsoft.com/office/drawing/2014/main" id="{4E4422CE-3F00-82AF-8C79-AE7E263B65A4}"/>
                </a:ext>
              </a:extLst>
            </p:cNvPr>
            <p:cNvSpPr/>
            <p:nvPr/>
          </p:nvSpPr>
          <p:spPr>
            <a:xfrm rot="-5400000">
              <a:off x="5368636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6" name="Полилиния 1215">
              <a:extLst>
                <a:ext uri="{FF2B5EF4-FFF2-40B4-BE49-F238E27FC236}">
                  <a16:creationId xmlns:a16="http://schemas.microsoft.com/office/drawing/2014/main" id="{DB032F92-3870-FCDC-27F9-B068931B2F2E}"/>
                </a:ext>
              </a:extLst>
            </p:cNvPr>
            <p:cNvSpPr/>
            <p:nvPr/>
          </p:nvSpPr>
          <p:spPr>
            <a:xfrm rot="5400000">
              <a:off x="5576454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7" name="Полилиния 1216">
              <a:extLst>
                <a:ext uri="{FF2B5EF4-FFF2-40B4-BE49-F238E27FC236}">
                  <a16:creationId xmlns:a16="http://schemas.microsoft.com/office/drawing/2014/main" id="{EE01962F-0E7C-579A-3536-AF0B78CDF7F7}"/>
                </a:ext>
              </a:extLst>
            </p:cNvPr>
            <p:cNvSpPr/>
            <p:nvPr/>
          </p:nvSpPr>
          <p:spPr>
            <a:xfrm>
              <a:off x="6199909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8" name="Полилиния 1217">
              <a:extLst>
                <a:ext uri="{FF2B5EF4-FFF2-40B4-BE49-F238E27FC236}">
                  <a16:creationId xmlns:a16="http://schemas.microsoft.com/office/drawing/2014/main" id="{600ECD61-BAA2-B434-F4DE-5339CFB31118}"/>
                </a:ext>
              </a:extLst>
            </p:cNvPr>
            <p:cNvSpPr/>
            <p:nvPr/>
          </p:nvSpPr>
          <p:spPr>
            <a:xfrm>
              <a:off x="6407727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9" name="Полилиния 1218">
              <a:extLst>
                <a:ext uri="{FF2B5EF4-FFF2-40B4-BE49-F238E27FC236}">
                  <a16:creationId xmlns:a16="http://schemas.microsoft.com/office/drawing/2014/main" id="{C586E4A9-6A4C-8D03-3E32-8EB172836D44}"/>
                </a:ext>
              </a:extLst>
            </p:cNvPr>
            <p:cNvSpPr/>
            <p:nvPr/>
          </p:nvSpPr>
          <p:spPr>
            <a:xfrm>
              <a:off x="6615545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0" name="Полилиния 1219">
              <a:extLst>
                <a:ext uri="{FF2B5EF4-FFF2-40B4-BE49-F238E27FC236}">
                  <a16:creationId xmlns:a16="http://schemas.microsoft.com/office/drawing/2014/main" id="{1E5F4F8D-E8A4-B1D7-F753-881ADE22D97E}"/>
                </a:ext>
              </a:extLst>
            </p:cNvPr>
            <p:cNvSpPr/>
            <p:nvPr/>
          </p:nvSpPr>
          <p:spPr>
            <a:xfrm rot="5400000">
              <a:off x="6823363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1" name="Полилиния 1220">
              <a:extLst>
                <a:ext uri="{FF2B5EF4-FFF2-40B4-BE49-F238E27FC236}">
                  <a16:creationId xmlns:a16="http://schemas.microsoft.com/office/drawing/2014/main" id="{D051B733-9809-335B-75CB-CB7B37131952}"/>
                </a:ext>
              </a:extLst>
            </p:cNvPr>
            <p:cNvSpPr/>
            <p:nvPr/>
          </p:nvSpPr>
          <p:spPr>
            <a:xfrm>
              <a:off x="7239000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2" name="Полилиния 1221">
              <a:extLst>
                <a:ext uri="{FF2B5EF4-FFF2-40B4-BE49-F238E27FC236}">
                  <a16:creationId xmlns:a16="http://schemas.microsoft.com/office/drawing/2014/main" id="{FA9A7B69-FB18-4FBA-0A5C-F02DDAC6B849}"/>
                </a:ext>
              </a:extLst>
            </p:cNvPr>
            <p:cNvSpPr/>
            <p:nvPr/>
          </p:nvSpPr>
          <p:spPr>
            <a:xfrm>
              <a:off x="7446818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3" name="Полилиния 1222">
              <a:extLst>
                <a:ext uri="{FF2B5EF4-FFF2-40B4-BE49-F238E27FC236}">
                  <a16:creationId xmlns:a16="http://schemas.microsoft.com/office/drawing/2014/main" id="{9FF90DB9-0BDB-5C4D-6073-C90B844F108D}"/>
                </a:ext>
              </a:extLst>
            </p:cNvPr>
            <p:cNvSpPr/>
            <p:nvPr/>
          </p:nvSpPr>
          <p:spPr>
            <a:xfrm>
              <a:off x="7654636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4" name="Полилиния 1223">
              <a:extLst>
                <a:ext uri="{FF2B5EF4-FFF2-40B4-BE49-F238E27FC236}">
                  <a16:creationId xmlns:a16="http://schemas.microsoft.com/office/drawing/2014/main" id="{FEE81F73-289D-7071-1F72-75175BD36CF7}"/>
                </a:ext>
              </a:extLst>
            </p:cNvPr>
            <p:cNvSpPr/>
            <p:nvPr/>
          </p:nvSpPr>
          <p:spPr>
            <a:xfrm rot="5400000">
              <a:off x="7862454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5" name="Полилиния 1224">
              <a:extLst>
                <a:ext uri="{FF2B5EF4-FFF2-40B4-BE49-F238E27FC236}">
                  <a16:creationId xmlns:a16="http://schemas.microsoft.com/office/drawing/2014/main" id="{5AA42ADE-C396-E4DF-ACDC-640CB4505D21}"/>
                </a:ext>
              </a:extLst>
            </p:cNvPr>
            <p:cNvSpPr/>
            <p:nvPr/>
          </p:nvSpPr>
          <p:spPr>
            <a:xfrm>
              <a:off x="8278090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6" name="Полилиния 1225">
              <a:extLst>
                <a:ext uri="{FF2B5EF4-FFF2-40B4-BE49-F238E27FC236}">
                  <a16:creationId xmlns:a16="http://schemas.microsoft.com/office/drawing/2014/main" id="{E97A90E5-99B8-2E80-B22B-B40947EEFC06}"/>
                </a:ext>
              </a:extLst>
            </p:cNvPr>
            <p:cNvSpPr/>
            <p:nvPr/>
          </p:nvSpPr>
          <p:spPr>
            <a:xfrm>
              <a:off x="8693727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7" name="Полилиния 1226">
              <a:extLst>
                <a:ext uri="{FF2B5EF4-FFF2-40B4-BE49-F238E27FC236}">
                  <a16:creationId xmlns:a16="http://schemas.microsoft.com/office/drawing/2014/main" id="{DBFB57C0-51E8-45B1-79E9-B366CAF2E90A}"/>
                </a:ext>
              </a:extLst>
            </p:cNvPr>
            <p:cNvSpPr/>
            <p:nvPr/>
          </p:nvSpPr>
          <p:spPr>
            <a:xfrm rot="5400000">
              <a:off x="8901545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8" name="Полилиния 1227">
              <a:extLst>
                <a:ext uri="{FF2B5EF4-FFF2-40B4-BE49-F238E27FC236}">
                  <a16:creationId xmlns:a16="http://schemas.microsoft.com/office/drawing/2014/main" id="{5D2EF125-BE8B-FE18-4749-09B55C8FF50C}"/>
                </a:ext>
              </a:extLst>
            </p:cNvPr>
            <p:cNvSpPr/>
            <p:nvPr/>
          </p:nvSpPr>
          <p:spPr>
            <a:xfrm>
              <a:off x="4953000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9" name="Полилиния 1228">
              <a:extLst>
                <a:ext uri="{FF2B5EF4-FFF2-40B4-BE49-F238E27FC236}">
                  <a16:creationId xmlns:a16="http://schemas.microsoft.com/office/drawing/2014/main" id="{025C0BD4-7BE9-188A-BD1C-BDDBAA9C51AB}"/>
                </a:ext>
              </a:extLst>
            </p:cNvPr>
            <p:cNvSpPr/>
            <p:nvPr/>
          </p:nvSpPr>
          <p:spPr>
            <a:xfrm rot="5400000">
              <a:off x="5160818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0" name="Полилиния 1229">
              <a:extLst>
                <a:ext uri="{FF2B5EF4-FFF2-40B4-BE49-F238E27FC236}">
                  <a16:creationId xmlns:a16="http://schemas.microsoft.com/office/drawing/2014/main" id="{771EE213-0BE6-3BD6-F20C-DF89E0D7D8E0}"/>
                </a:ext>
              </a:extLst>
            </p:cNvPr>
            <p:cNvSpPr/>
            <p:nvPr/>
          </p:nvSpPr>
          <p:spPr>
            <a:xfrm>
              <a:off x="6407727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1" name="Полилиния 1230">
              <a:extLst>
                <a:ext uri="{FF2B5EF4-FFF2-40B4-BE49-F238E27FC236}">
                  <a16:creationId xmlns:a16="http://schemas.microsoft.com/office/drawing/2014/main" id="{1DCF9181-2529-9569-CCF2-65C57BC62EB8}"/>
                </a:ext>
              </a:extLst>
            </p:cNvPr>
            <p:cNvSpPr/>
            <p:nvPr/>
          </p:nvSpPr>
          <p:spPr>
            <a:xfrm rot="5400000">
              <a:off x="6615545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2" name="Полилиния 1231">
              <a:extLst>
                <a:ext uri="{FF2B5EF4-FFF2-40B4-BE49-F238E27FC236}">
                  <a16:creationId xmlns:a16="http://schemas.microsoft.com/office/drawing/2014/main" id="{336D54B1-39F4-4853-B26A-A3974753A26F}"/>
                </a:ext>
              </a:extLst>
            </p:cNvPr>
            <p:cNvSpPr/>
            <p:nvPr/>
          </p:nvSpPr>
          <p:spPr>
            <a:xfrm rot="5400000">
              <a:off x="7239000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3" name="Полилиния 1232">
              <a:extLst>
                <a:ext uri="{FF2B5EF4-FFF2-40B4-BE49-F238E27FC236}">
                  <a16:creationId xmlns:a16="http://schemas.microsoft.com/office/drawing/2014/main" id="{9E0CB32D-E7BC-1A51-917F-4DC675920E53}"/>
                </a:ext>
              </a:extLst>
            </p:cNvPr>
            <p:cNvSpPr/>
            <p:nvPr/>
          </p:nvSpPr>
          <p:spPr>
            <a:xfrm rot="5400000">
              <a:off x="7654636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4" name="Полилиния 1233">
              <a:extLst>
                <a:ext uri="{FF2B5EF4-FFF2-40B4-BE49-F238E27FC236}">
                  <a16:creationId xmlns:a16="http://schemas.microsoft.com/office/drawing/2014/main" id="{DD376484-FEB6-D2C6-74A1-C39F3000A368}"/>
                </a:ext>
              </a:extLst>
            </p:cNvPr>
            <p:cNvSpPr/>
            <p:nvPr/>
          </p:nvSpPr>
          <p:spPr>
            <a:xfrm rot="-5400000">
              <a:off x="8070272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5" name="Полилиния 1234">
              <a:extLst>
                <a:ext uri="{FF2B5EF4-FFF2-40B4-BE49-F238E27FC236}">
                  <a16:creationId xmlns:a16="http://schemas.microsoft.com/office/drawing/2014/main" id="{5603DF74-9B12-A6CE-172C-E1F3A90F7FC1}"/>
                </a:ext>
              </a:extLst>
            </p:cNvPr>
            <p:cNvSpPr/>
            <p:nvPr/>
          </p:nvSpPr>
          <p:spPr>
            <a:xfrm rot="5400000">
              <a:off x="8278090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6" name="Полилиния 1235">
              <a:extLst>
                <a:ext uri="{FF2B5EF4-FFF2-40B4-BE49-F238E27FC236}">
                  <a16:creationId xmlns:a16="http://schemas.microsoft.com/office/drawing/2014/main" id="{76231764-CBE5-52D9-02D7-2EEC01582B6D}"/>
                </a:ext>
              </a:extLst>
            </p:cNvPr>
            <p:cNvSpPr/>
            <p:nvPr/>
          </p:nvSpPr>
          <p:spPr>
            <a:xfrm rot="5400000">
              <a:off x="8693727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7094014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2.59259E-6 L 0.06576 2.59259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2.59259E-6 L 0.06575 2.59259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1.11111E-6 L 0.06576 1.11111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1.11111E-6 L 0.06576 1.11111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3.7037E-7 L 0.06576 -3.7037E-7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3.7037E-7 L 0.06575 -3.7037E-7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4820C330-AFE2-A7B7-C987-08EC320A90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C0DCFD">
                  <a:alpha val="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" name="Oval 131">
            <a:extLst>
              <a:ext uri="{FF2B5EF4-FFF2-40B4-BE49-F238E27FC236}">
                <a16:creationId xmlns:a16="http://schemas.microsoft.com/office/drawing/2014/main" id="{276EEF5D-F78C-B26E-DECD-C77D3F1482D1}"/>
              </a:ext>
            </a:extLst>
          </p:cNvPr>
          <p:cNvSpPr/>
          <p:nvPr/>
        </p:nvSpPr>
        <p:spPr>
          <a:xfrm>
            <a:off x="7073256" y="-717856"/>
            <a:ext cx="6485696" cy="6485696"/>
          </a:xfrm>
          <a:prstGeom prst="ellipse">
            <a:avLst/>
          </a:prstGeom>
          <a:gradFill flip="none" rotWithShape="1">
            <a:gsLst>
              <a:gs pos="100000">
                <a:srgbClr val="C0DCFD">
                  <a:alpha val="0"/>
                </a:srgbClr>
              </a:gs>
              <a:gs pos="0">
                <a:srgbClr val="620CFD">
                  <a:alpha val="28632"/>
                </a:srgbClr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9" name="Group 73">
            <a:extLst>
              <a:ext uri="{FF2B5EF4-FFF2-40B4-BE49-F238E27FC236}">
                <a16:creationId xmlns:a16="http://schemas.microsoft.com/office/drawing/2014/main" id="{35E67D2F-B7C3-B295-35E6-FC63796E3A00}"/>
              </a:ext>
            </a:extLst>
          </p:cNvPr>
          <p:cNvGrpSpPr/>
          <p:nvPr/>
        </p:nvGrpSpPr>
        <p:grpSpPr>
          <a:xfrm>
            <a:off x="-293771" y="3554050"/>
            <a:ext cx="13464284" cy="9792204"/>
            <a:chOff x="-2" y="0"/>
            <a:chExt cx="6428641" cy="6858000"/>
          </a:xfrm>
        </p:grpSpPr>
        <p:sp>
          <p:nvSpPr>
            <p:cNvPr id="30" name="Rectangle 36">
              <a:extLst>
                <a:ext uri="{FF2B5EF4-FFF2-40B4-BE49-F238E27FC236}">
                  <a16:creationId xmlns:a16="http://schemas.microsoft.com/office/drawing/2014/main" id="{6B639D09-947B-C295-89E5-D3A7FED4C562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C53A0486-4FEC-606C-49B2-3FDFBA486CDC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CB477ED-8E12-B1BF-B8A7-3C0791AD06EE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941091D-EDDA-A164-26A5-C572323EC7A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200F815-13CC-7E6B-07CF-6C3058F6FC6E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128BDE-2C15-EEFD-DC03-849CC99CC0F5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F04D5FF-393F-4F2F-7D30-44C7741775D5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7" name="Rectangle 37">
              <a:extLst>
                <a:ext uri="{FF2B5EF4-FFF2-40B4-BE49-F238E27FC236}">
                  <a16:creationId xmlns:a16="http://schemas.microsoft.com/office/drawing/2014/main" id="{E77182A8-0D9D-1D4B-7DE2-D3C02E6B9837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8" name="Rectangle 48">
              <a:extLst>
                <a:ext uri="{FF2B5EF4-FFF2-40B4-BE49-F238E27FC236}">
                  <a16:creationId xmlns:a16="http://schemas.microsoft.com/office/drawing/2014/main" id="{2D657C40-FF42-B366-A67D-3943F761017E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9" name="Rectangle 49">
              <a:extLst>
                <a:ext uri="{FF2B5EF4-FFF2-40B4-BE49-F238E27FC236}">
                  <a16:creationId xmlns:a16="http://schemas.microsoft.com/office/drawing/2014/main" id="{A4E5D924-F2E5-0073-3EFE-88569B3773E2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8E2067B-2AE3-38F9-43E7-4B95E4B09078}"/>
              </a:ext>
            </a:extLst>
          </p:cNvPr>
          <p:cNvGrpSpPr/>
          <p:nvPr/>
        </p:nvGrpSpPr>
        <p:grpSpPr>
          <a:xfrm flipV="1">
            <a:off x="15303401" y="8547715"/>
            <a:ext cx="1456851" cy="408879"/>
            <a:chOff x="611777" y="2405270"/>
            <a:chExt cx="4857016" cy="1363166"/>
          </a:xfrm>
        </p:grpSpPr>
        <p:sp>
          <p:nvSpPr>
            <p:cNvPr id="5" name="Скругленный прямоугольник 4">
              <a:extLst>
                <a:ext uri="{FF2B5EF4-FFF2-40B4-BE49-F238E27FC236}">
                  <a16:creationId xmlns:a16="http://schemas.microsoft.com/office/drawing/2014/main" id="{A7F4FB1F-7CB9-0392-E88E-05F8570BD35A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1C36F64-CC19-9AA3-6893-F3FE7D967910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На какие презентации делают ставку компании сегодня</a:t>
              </a: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19197928-64DB-9EA7-85E1-312760B10401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9AFEDB3-80B5-9A2A-AD4C-89FC4DCFFA98}"/>
              </a:ext>
            </a:extLst>
          </p:cNvPr>
          <p:cNvGrpSpPr/>
          <p:nvPr/>
        </p:nvGrpSpPr>
        <p:grpSpPr>
          <a:xfrm flipV="1">
            <a:off x="15667789" y="10092497"/>
            <a:ext cx="1456851" cy="408879"/>
            <a:chOff x="611777" y="2405270"/>
            <a:chExt cx="4857016" cy="1363166"/>
          </a:xfrm>
        </p:grpSpPr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04266423-83B6-B053-32BE-FA22D1949E9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92F0A0F-B8D9-CC2B-4135-042748D7E5ED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ый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и современный визуал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Разбираем терминологию</a:t>
              </a: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BF6A9C1A-6EA0-F8AC-74EC-7FD19A995EBC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5F9BCE64-2736-D050-26B1-B81E3AD61828}"/>
              </a:ext>
            </a:extLst>
          </p:cNvPr>
          <p:cNvGrpSpPr/>
          <p:nvPr/>
        </p:nvGrpSpPr>
        <p:grpSpPr>
          <a:xfrm flipV="1">
            <a:off x="15001953" y="11637279"/>
            <a:ext cx="1456851" cy="408879"/>
            <a:chOff x="611777" y="2405270"/>
            <a:chExt cx="4857016" cy="1363166"/>
          </a:xfrm>
        </p:grpSpPr>
        <p:sp>
          <p:nvSpPr>
            <p:cNvPr id="15" name="Скругленный прямоугольник 14">
              <a:extLst>
                <a:ext uri="{FF2B5EF4-FFF2-40B4-BE49-F238E27FC236}">
                  <a16:creationId xmlns:a16="http://schemas.microsoft.com/office/drawing/2014/main" id="{3BA1765F-B5D6-C20A-0972-59DF1A8D3A1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3006BE3-2E8B-0497-3D07-C701AF6EA6A1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Тренды дизайн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 ближайшее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5-летие </a:t>
              </a: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B87F739B-4D12-3F01-E7F6-8B2159450E25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AEDE9B22-2CD9-D79F-D8C3-683B6E11B10D}"/>
              </a:ext>
            </a:extLst>
          </p:cNvPr>
          <p:cNvGrpSpPr/>
          <p:nvPr/>
        </p:nvGrpSpPr>
        <p:grpSpPr>
          <a:xfrm flipV="1">
            <a:off x="20423132" y="8547715"/>
            <a:ext cx="1456851" cy="408879"/>
            <a:chOff x="611777" y="2405270"/>
            <a:chExt cx="4857016" cy="1363166"/>
          </a:xfrm>
        </p:grpSpPr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CF04D4B2-EFA1-1BE0-9334-A3C11FB0404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8DF981C-58D9-6EFC-B35D-28D92119103A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Азбу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ого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изуала</a:t>
              </a: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D9D36EAF-E32C-E2F6-ECE4-F55205B9259B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2A22449B-F3F2-9012-D8EB-6828B988225F}"/>
              </a:ext>
            </a:extLst>
          </p:cNvPr>
          <p:cNvGrpSpPr/>
          <p:nvPr/>
        </p:nvGrpSpPr>
        <p:grpSpPr>
          <a:xfrm flipV="1">
            <a:off x="20787520" y="10092497"/>
            <a:ext cx="1456851" cy="408879"/>
            <a:chOff x="611777" y="2405270"/>
            <a:chExt cx="4857016" cy="1363166"/>
          </a:xfrm>
        </p:grpSpPr>
        <p:sp>
          <p:nvSpPr>
            <p:cNvPr id="23" name="Скругленный прямоугольник 22">
              <a:extLst>
                <a:ext uri="{FF2B5EF4-FFF2-40B4-BE49-F238E27FC236}">
                  <a16:creationId xmlns:a16="http://schemas.microsoft.com/office/drawing/2014/main" id="{F19019FB-484B-063A-C0F1-75F5F3B3CFD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BBBBF49-432E-C74C-DF03-D20345CEDC74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Методи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оформления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слайдов на практике</a:t>
              </a: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D3399DB1-82A0-B6CF-384C-9EA39DF495AD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0AEB9D68-0AAB-CD6D-25A5-FC460F1FFE21}"/>
              </a:ext>
            </a:extLst>
          </p:cNvPr>
          <p:cNvGrpSpPr/>
          <p:nvPr/>
        </p:nvGrpSpPr>
        <p:grpSpPr>
          <a:xfrm flipV="1">
            <a:off x="20121684" y="11637279"/>
            <a:ext cx="1456851" cy="408879"/>
            <a:chOff x="611777" y="2405270"/>
            <a:chExt cx="4857016" cy="1363166"/>
          </a:xfrm>
        </p:grpSpPr>
        <p:sp>
          <p:nvSpPr>
            <p:cNvPr id="27" name="Скругленный прямоугольник 26">
              <a:extLst>
                <a:ext uri="{FF2B5EF4-FFF2-40B4-BE49-F238E27FC236}">
                  <a16:creationId xmlns:a16="http://schemas.microsoft.com/office/drawing/2014/main" id="{2A288FAD-4AD3-DE3D-94C2-865EDD5A7CE3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A8691D3-AEB8-607D-0A93-0F3654F79B76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резентации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+ </a:t>
              </a:r>
              <a:r>
                <a:rPr lang="ru-RU" sz="2000" dirty="0" err="1">
                  <a:latin typeface="Unbounded" panose="020B0305040102020103" pitchFamily="34" charset="0"/>
                  <a:cs typeface="Times New Roman" panose="02020603050405020304" pitchFamily="18" charset="0"/>
                </a:rPr>
                <a:t>ТенЧат</a:t>
              </a: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= результат</a:t>
              </a:r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9C58F58E-156F-0E6B-4B76-D9E0FBDED56F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1" name="Скругленный прямоугольник 40">
            <a:extLst>
              <a:ext uri="{FF2B5EF4-FFF2-40B4-BE49-F238E27FC236}">
                <a16:creationId xmlns:a16="http://schemas.microsoft.com/office/drawing/2014/main" id="{B2D5F329-37AC-F436-20FB-AD090F27DC43}"/>
              </a:ext>
            </a:extLst>
          </p:cNvPr>
          <p:cNvSpPr/>
          <p:nvPr/>
        </p:nvSpPr>
        <p:spPr>
          <a:xfrm>
            <a:off x="4331457" y="7486218"/>
            <a:ext cx="52098" cy="2475022"/>
          </a:xfrm>
          <a:prstGeom prst="roundRect">
            <a:avLst/>
          </a:prstGeom>
          <a:gradFill>
            <a:gsLst>
              <a:gs pos="100000">
                <a:srgbClr val="C0DCFD">
                  <a:alpha val="4267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0B03D86C-0C8C-7285-0A3C-A4E4022B6418}"/>
              </a:ext>
            </a:extLst>
          </p:cNvPr>
          <p:cNvSpPr/>
          <p:nvPr/>
        </p:nvSpPr>
        <p:spPr>
          <a:xfrm>
            <a:off x="612041" y="1307566"/>
            <a:ext cx="3539147" cy="5217059"/>
          </a:xfrm>
          <a:prstGeom prst="roundRect">
            <a:avLst>
              <a:gd name="adj" fmla="val 10818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6FF4A3-D37D-9E42-6CD4-E7F96A3F3ADB}"/>
              </a:ext>
            </a:extLst>
          </p:cNvPr>
          <p:cNvSpPr txBox="1"/>
          <p:nvPr/>
        </p:nvSpPr>
        <p:spPr>
          <a:xfrm>
            <a:off x="630518" y="751532"/>
            <a:ext cx="3412348" cy="483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1</a:t>
            </a:r>
            <a:endParaRPr lang="ru-RU" sz="2000" b="1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2FADAEE-DBC1-0E32-C25A-F2B902A696D7}"/>
              </a:ext>
            </a:extLst>
          </p:cNvPr>
          <p:cNvSpPr txBox="1"/>
          <p:nvPr/>
        </p:nvSpPr>
        <p:spPr>
          <a:xfrm>
            <a:off x="894075" y="1581949"/>
            <a:ext cx="3297640" cy="1396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оверенные структуры бизнес-презентаций 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од разные задачи</a:t>
            </a:r>
          </a:p>
        </p:txBody>
      </p:sp>
      <p:sp>
        <p:nvSpPr>
          <p:cNvPr id="47" name="Rectangle: Rounded Corners 70">
            <a:extLst>
              <a:ext uri="{FF2B5EF4-FFF2-40B4-BE49-F238E27FC236}">
                <a16:creationId xmlns:a16="http://schemas.microsoft.com/office/drawing/2014/main" id="{B757CB36-0058-A064-BCF0-2CFE89591F63}"/>
              </a:ext>
            </a:extLst>
          </p:cNvPr>
          <p:cNvSpPr/>
          <p:nvPr/>
        </p:nvSpPr>
        <p:spPr>
          <a:xfrm rot="10800000">
            <a:off x="965960" y="3243232"/>
            <a:ext cx="2752824" cy="3050061"/>
          </a:xfrm>
          <a:prstGeom prst="roundRect">
            <a:avLst>
              <a:gd name="adj" fmla="val 13536"/>
            </a:avLst>
          </a:prstGeom>
          <a:solidFill>
            <a:schemeClr val="bg1">
              <a:alpha val="10036"/>
            </a:schemeClr>
          </a:solidFill>
          <a:ln w="15875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AA1DE7CE-024A-A818-C56B-9FF6157E666B}"/>
              </a:ext>
            </a:extLst>
          </p:cNvPr>
          <p:cNvSpPr/>
          <p:nvPr/>
        </p:nvSpPr>
        <p:spPr>
          <a:xfrm>
            <a:off x="818980" y="3233093"/>
            <a:ext cx="3105632" cy="57135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Unbounded" panose="020B0305040102020103" pitchFamily="34" charset="0"/>
              </a:rPr>
              <a:t>antonovlad.com</a:t>
            </a:r>
            <a:r>
              <a:rPr lang="e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" panose="020B0305040102020103" pitchFamily="34" charset="0"/>
              </a:rPr>
              <a:t>/blog</a:t>
            </a:r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latin typeface="Unbounded" panose="020B0305040102020103" pitchFamily="34" charset="0"/>
            </a:endParaRPr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E2BB15DE-E2D4-2561-E3F7-8B367DD8C95A}"/>
              </a:ext>
            </a:extLst>
          </p:cNvPr>
          <p:cNvSpPr/>
          <p:nvPr/>
        </p:nvSpPr>
        <p:spPr>
          <a:xfrm>
            <a:off x="8293524" y="584200"/>
            <a:ext cx="3539147" cy="5924985"/>
          </a:xfrm>
          <a:prstGeom prst="roundRect">
            <a:avLst>
              <a:gd name="adj" fmla="val 10818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!!4343">
            <a:extLst>
              <a:ext uri="{FF2B5EF4-FFF2-40B4-BE49-F238E27FC236}">
                <a16:creationId xmlns:a16="http://schemas.microsoft.com/office/drawing/2014/main" id="{23AF5462-4393-580B-AF82-9D387BC77140}"/>
              </a:ext>
            </a:extLst>
          </p:cNvPr>
          <p:cNvSpPr/>
          <p:nvPr/>
        </p:nvSpPr>
        <p:spPr>
          <a:xfrm>
            <a:off x="4462156" y="1307566"/>
            <a:ext cx="3539147" cy="5217059"/>
          </a:xfrm>
          <a:prstGeom prst="roundRect">
            <a:avLst>
              <a:gd name="adj" fmla="val 10818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FD28223-618F-0293-B82B-E6AC455FC384}"/>
              </a:ext>
            </a:extLst>
          </p:cNvPr>
          <p:cNvSpPr txBox="1"/>
          <p:nvPr/>
        </p:nvSpPr>
        <p:spPr>
          <a:xfrm>
            <a:off x="4480633" y="751532"/>
            <a:ext cx="3412348" cy="483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2</a:t>
            </a:r>
            <a:endParaRPr lang="ru-RU" sz="2000" b="1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25" name="TextBox 524">
            <a:extLst>
              <a:ext uri="{FF2B5EF4-FFF2-40B4-BE49-F238E27FC236}">
                <a16:creationId xmlns:a16="http://schemas.microsoft.com/office/drawing/2014/main" id="{57A48E63-0815-E583-E306-7CD135CC61BA}"/>
              </a:ext>
            </a:extLst>
          </p:cNvPr>
          <p:cNvSpPr txBox="1"/>
          <p:nvPr/>
        </p:nvSpPr>
        <p:spPr>
          <a:xfrm>
            <a:off x="4744190" y="1581949"/>
            <a:ext cx="3297640" cy="1396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Как эффективно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именять презентации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компании сегодня</a:t>
            </a:r>
          </a:p>
        </p:txBody>
      </p:sp>
      <p:grpSp>
        <p:nvGrpSpPr>
          <p:cNvPr id="528" name="Группа 527">
            <a:extLst>
              <a:ext uri="{FF2B5EF4-FFF2-40B4-BE49-F238E27FC236}">
                <a16:creationId xmlns:a16="http://schemas.microsoft.com/office/drawing/2014/main" id="{F7D6AA21-21ED-53E6-BA50-1F7F703BE28A}"/>
              </a:ext>
            </a:extLst>
          </p:cNvPr>
          <p:cNvGrpSpPr/>
          <p:nvPr/>
        </p:nvGrpSpPr>
        <p:grpSpPr>
          <a:xfrm>
            <a:off x="4669095" y="3233093"/>
            <a:ext cx="3105632" cy="3060200"/>
            <a:chOff x="1100253" y="3123154"/>
            <a:chExt cx="3105632" cy="3060200"/>
          </a:xfrm>
        </p:grpSpPr>
        <p:sp>
          <p:nvSpPr>
            <p:cNvPr id="529" name="Rectangle: Rounded Corners 70">
              <a:extLst>
                <a:ext uri="{FF2B5EF4-FFF2-40B4-BE49-F238E27FC236}">
                  <a16:creationId xmlns:a16="http://schemas.microsoft.com/office/drawing/2014/main" id="{70572287-E5D5-985D-8219-59B9F50BFB33}"/>
                </a:ext>
              </a:extLst>
            </p:cNvPr>
            <p:cNvSpPr/>
            <p:nvPr/>
          </p:nvSpPr>
          <p:spPr>
            <a:xfrm rot="10800000">
              <a:off x="1247233" y="3133293"/>
              <a:ext cx="2752824" cy="3050061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10036"/>
              </a:schemeClr>
            </a:solidFill>
            <a:ln w="15875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530" name="Скругленный прямоугольник 529">
              <a:extLst>
                <a:ext uri="{FF2B5EF4-FFF2-40B4-BE49-F238E27FC236}">
                  <a16:creationId xmlns:a16="http://schemas.microsoft.com/office/drawing/2014/main" id="{1D2E158B-969B-8BD3-7103-7012E250055B}"/>
                </a:ext>
              </a:extLst>
            </p:cNvPr>
            <p:cNvSpPr/>
            <p:nvPr/>
          </p:nvSpPr>
          <p:spPr>
            <a:xfrm>
              <a:off x="1100253" y="3123154"/>
              <a:ext cx="3105632" cy="571358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" panose="020B0305040102020103" pitchFamily="34" charset="0"/>
                </a:rPr>
                <a:t>https://</a:t>
              </a:r>
              <a:r>
                <a:rPr lang="en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" panose="020B0305040102020103" pitchFamily="34" charset="0"/>
                </a:rPr>
                <a:t>goo.su</a:t>
              </a:r>
              <a:r>
                <a:rPr lang="en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" panose="020B0305040102020103" pitchFamily="34" charset="0"/>
                </a:rPr>
                <a:t>/bon_1</a:t>
              </a:r>
              <a:endPara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" panose="020B0305040102020103" pitchFamily="34" charset="0"/>
              </a:endParaRPr>
            </a:p>
          </p:txBody>
        </p:sp>
        <p:grpSp>
          <p:nvGrpSpPr>
            <p:cNvPr id="531" name="Рисунок 167">
              <a:extLst>
                <a:ext uri="{FF2B5EF4-FFF2-40B4-BE49-F238E27FC236}">
                  <a16:creationId xmlns:a16="http://schemas.microsoft.com/office/drawing/2014/main" id="{29C969BD-1E9A-63CF-C0D0-F034B339063C}"/>
                </a:ext>
              </a:extLst>
            </p:cNvPr>
            <p:cNvGrpSpPr/>
            <p:nvPr/>
          </p:nvGrpSpPr>
          <p:grpSpPr>
            <a:xfrm>
              <a:off x="1644213" y="4007606"/>
              <a:ext cx="1883766" cy="1883766"/>
              <a:chOff x="1252377" y="3901076"/>
              <a:chExt cx="2279357" cy="2279357"/>
            </a:xfrm>
            <a:solidFill>
              <a:schemeClr val="bg1"/>
            </a:solidFill>
          </p:grpSpPr>
          <p:sp>
            <p:nvSpPr>
              <p:cNvPr id="532" name="Полилиния 531">
                <a:extLst>
                  <a:ext uri="{FF2B5EF4-FFF2-40B4-BE49-F238E27FC236}">
                    <a16:creationId xmlns:a16="http://schemas.microsoft.com/office/drawing/2014/main" id="{86878A70-E046-7E8D-657C-5B115C9BDDFF}"/>
                  </a:ext>
                </a:extLst>
              </p:cNvPr>
              <p:cNvSpPr/>
              <p:nvPr/>
            </p:nvSpPr>
            <p:spPr>
              <a:xfrm rot="-5400000">
                <a:off x="1434726" y="5724562"/>
                <a:ext cx="273522" cy="273522"/>
              </a:xfrm>
              <a:custGeom>
                <a:avLst/>
                <a:gdLst>
                  <a:gd name="connsiteX0" fmla="*/ 273523 w 273522"/>
                  <a:gd name="connsiteY0" fmla="*/ 136761 h 273522"/>
                  <a:gd name="connsiteX1" fmla="*/ 136761 w 273522"/>
                  <a:gd name="connsiteY1" fmla="*/ 273523 h 273522"/>
                  <a:gd name="connsiteX2" fmla="*/ 0 w 273522"/>
                  <a:gd name="connsiteY2" fmla="*/ 136761 h 273522"/>
                  <a:gd name="connsiteX3" fmla="*/ 136761 w 273522"/>
                  <a:gd name="connsiteY3" fmla="*/ 0 h 273522"/>
                  <a:gd name="connsiteX4" fmla="*/ 273523 w 273522"/>
                  <a:gd name="connsiteY4" fmla="*/ 136761 h 273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522" h="273522">
                    <a:moveTo>
                      <a:pt x="273523" y="136761"/>
                    </a:moveTo>
                    <a:cubicBezTo>
                      <a:pt x="273523" y="212293"/>
                      <a:pt x="212293" y="273523"/>
                      <a:pt x="136761" y="273523"/>
                    </a:cubicBezTo>
                    <a:cubicBezTo>
                      <a:pt x="61230" y="273523"/>
                      <a:pt x="0" y="212293"/>
                      <a:pt x="0" y="136761"/>
                    </a:cubicBezTo>
                    <a:cubicBezTo>
                      <a:pt x="0" y="61230"/>
                      <a:pt x="61230" y="0"/>
                      <a:pt x="136761" y="0"/>
                    </a:cubicBezTo>
                    <a:cubicBezTo>
                      <a:pt x="212293" y="0"/>
                      <a:pt x="273523" y="61230"/>
                      <a:pt x="273523" y="136761"/>
                    </a:cubicBez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3" name="Полилиния 532">
                <a:extLst>
                  <a:ext uri="{FF2B5EF4-FFF2-40B4-BE49-F238E27FC236}">
                    <a16:creationId xmlns:a16="http://schemas.microsoft.com/office/drawing/2014/main" id="{23628D8D-C1A1-631C-5836-723E8A7A4857}"/>
                  </a:ext>
                </a:extLst>
              </p:cNvPr>
              <p:cNvSpPr/>
              <p:nvPr/>
            </p:nvSpPr>
            <p:spPr>
              <a:xfrm rot="-5400000">
                <a:off x="1252377" y="5542214"/>
                <a:ext cx="638220" cy="638220"/>
              </a:xfrm>
              <a:custGeom>
                <a:avLst/>
                <a:gdLst>
                  <a:gd name="connsiteX0" fmla="*/ 0 w 638220"/>
                  <a:gd name="connsiteY0" fmla="*/ 227936 h 638220"/>
                  <a:gd name="connsiteX1" fmla="*/ 0 w 638220"/>
                  <a:gd name="connsiteY1" fmla="*/ 410284 h 638220"/>
                  <a:gd name="connsiteX2" fmla="*/ 227936 w 638220"/>
                  <a:gd name="connsiteY2" fmla="*/ 638220 h 638220"/>
                  <a:gd name="connsiteX3" fmla="*/ 410284 w 638220"/>
                  <a:gd name="connsiteY3" fmla="*/ 638220 h 638220"/>
                  <a:gd name="connsiteX4" fmla="*/ 638220 w 638220"/>
                  <a:gd name="connsiteY4" fmla="*/ 410284 h 638220"/>
                  <a:gd name="connsiteX5" fmla="*/ 638220 w 638220"/>
                  <a:gd name="connsiteY5" fmla="*/ 227936 h 638220"/>
                  <a:gd name="connsiteX6" fmla="*/ 410284 w 638220"/>
                  <a:gd name="connsiteY6" fmla="*/ 0 h 638220"/>
                  <a:gd name="connsiteX7" fmla="*/ 227936 w 638220"/>
                  <a:gd name="connsiteY7" fmla="*/ 0 h 638220"/>
                  <a:gd name="connsiteX8" fmla="*/ 0 w 638220"/>
                  <a:gd name="connsiteY8" fmla="*/ 227936 h 638220"/>
                  <a:gd name="connsiteX9" fmla="*/ 227936 w 638220"/>
                  <a:gd name="connsiteY9" fmla="*/ 91174 h 638220"/>
                  <a:gd name="connsiteX10" fmla="*/ 410284 w 638220"/>
                  <a:gd name="connsiteY10" fmla="*/ 91174 h 638220"/>
                  <a:gd name="connsiteX11" fmla="*/ 547046 w 638220"/>
                  <a:gd name="connsiteY11" fmla="*/ 227936 h 638220"/>
                  <a:gd name="connsiteX12" fmla="*/ 547046 w 638220"/>
                  <a:gd name="connsiteY12" fmla="*/ 410284 h 638220"/>
                  <a:gd name="connsiteX13" fmla="*/ 410284 w 638220"/>
                  <a:gd name="connsiteY13" fmla="*/ 547046 h 638220"/>
                  <a:gd name="connsiteX14" fmla="*/ 227936 w 638220"/>
                  <a:gd name="connsiteY14" fmla="*/ 547046 h 638220"/>
                  <a:gd name="connsiteX15" fmla="*/ 91174 w 638220"/>
                  <a:gd name="connsiteY15" fmla="*/ 410284 h 638220"/>
                  <a:gd name="connsiteX16" fmla="*/ 91174 w 638220"/>
                  <a:gd name="connsiteY16" fmla="*/ 227936 h 638220"/>
                  <a:gd name="connsiteX17" fmla="*/ 227936 w 638220"/>
                  <a:gd name="connsiteY17" fmla="*/ 91174 h 63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38220" h="638220">
                    <a:moveTo>
                      <a:pt x="0" y="227936"/>
                    </a:moveTo>
                    <a:lnTo>
                      <a:pt x="0" y="410284"/>
                    </a:lnTo>
                    <a:cubicBezTo>
                      <a:pt x="0" y="536170"/>
                      <a:pt x="102050" y="638220"/>
                      <a:pt x="227936" y="638220"/>
                    </a:cubicBezTo>
                    <a:lnTo>
                      <a:pt x="410284" y="638220"/>
                    </a:lnTo>
                    <a:cubicBezTo>
                      <a:pt x="536170" y="638220"/>
                      <a:pt x="638220" y="536170"/>
                      <a:pt x="638220" y="410284"/>
                    </a:cubicBezTo>
                    <a:lnTo>
                      <a:pt x="638220" y="227936"/>
                    </a:lnTo>
                    <a:cubicBezTo>
                      <a:pt x="638220" y="102050"/>
                      <a:pt x="536170" y="0"/>
                      <a:pt x="410284" y="0"/>
                    </a:cubicBezTo>
                    <a:lnTo>
                      <a:pt x="227936" y="0"/>
                    </a:lnTo>
                    <a:cubicBezTo>
                      <a:pt x="102050" y="0"/>
                      <a:pt x="0" y="102050"/>
                      <a:pt x="0" y="227936"/>
                    </a:cubicBezTo>
                    <a:moveTo>
                      <a:pt x="227936" y="91174"/>
                    </a:moveTo>
                    <a:lnTo>
                      <a:pt x="410284" y="91174"/>
                    </a:lnTo>
                    <a:cubicBezTo>
                      <a:pt x="485816" y="91174"/>
                      <a:pt x="547046" y="152405"/>
                      <a:pt x="547046" y="227936"/>
                    </a:cubicBezTo>
                    <a:lnTo>
                      <a:pt x="547046" y="410284"/>
                    </a:lnTo>
                    <a:cubicBezTo>
                      <a:pt x="547046" y="485816"/>
                      <a:pt x="485816" y="547046"/>
                      <a:pt x="410284" y="547046"/>
                    </a:cubicBezTo>
                    <a:lnTo>
                      <a:pt x="227936" y="547046"/>
                    </a:lnTo>
                    <a:cubicBezTo>
                      <a:pt x="152405" y="547046"/>
                      <a:pt x="91174" y="485816"/>
                      <a:pt x="91174" y="410284"/>
                    </a:cubicBezTo>
                    <a:lnTo>
                      <a:pt x="91174" y="227936"/>
                    </a:lnTo>
                    <a:cubicBezTo>
                      <a:pt x="91174" y="152405"/>
                      <a:pt x="152405" y="91174"/>
                      <a:pt x="227936" y="91174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4" name="Полилиния 533">
                <a:extLst>
                  <a:ext uri="{FF2B5EF4-FFF2-40B4-BE49-F238E27FC236}">
                    <a16:creationId xmlns:a16="http://schemas.microsoft.com/office/drawing/2014/main" id="{6CB63FE4-9EF8-E37A-FA0D-8072C5AAFEA8}"/>
                  </a:ext>
                </a:extLst>
              </p:cNvPr>
              <p:cNvSpPr/>
              <p:nvPr/>
            </p:nvSpPr>
            <p:spPr>
              <a:xfrm rot="5400000">
                <a:off x="3075863" y="4083425"/>
                <a:ext cx="273522" cy="273522"/>
              </a:xfrm>
              <a:custGeom>
                <a:avLst/>
                <a:gdLst>
                  <a:gd name="connsiteX0" fmla="*/ 273523 w 273522"/>
                  <a:gd name="connsiteY0" fmla="*/ 136761 h 273522"/>
                  <a:gd name="connsiteX1" fmla="*/ 136761 w 273522"/>
                  <a:gd name="connsiteY1" fmla="*/ 273523 h 273522"/>
                  <a:gd name="connsiteX2" fmla="*/ 0 w 273522"/>
                  <a:gd name="connsiteY2" fmla="*/ 136761 h 273522"/>
                  <a:gd name="connsiteX3" fmla="*/ 136761 w 273522"/>
                  <a:gd name="connsiteY3" fmla="*/ 0 h 273522"/>
                  <a:gd name="connsiteX4" fmla="*/ 273523 w 273522"/>
                  <a:gd name="connsiteY4" fmla="*/ 136761 h 273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522" h="273522">
                    <a:moveTo>
                      <a:pt x="273523" y="136761"/>
                    </a:moveTo>
                    <a:cubicBezTo>
                      <a:pt x="273523" y="212293"/>
                      <a:pt x="212293" y="273523"/>
                      <a:pt x="136761" y="273523"/>
                    </a:cubicBezTo>
                    <a:cubicBezTo>
                      <a:pt x="61230" y="273523"/>
                      <a:pt x="0" y="212293"/>
                      <a:pt x="0" y="136761"/>
                    </a:cubicBezTo>
                    <a:cubicBezTo>
                      <a:pt x="0" y="61230"/>
                      <a:pt x="61230" y="0"/>
                      <a:pt x="136761" y="0"/>
                    </a:cubicBezTo>
                    <a:cubicBezTo>
                      <a:pt x="212293" y="0"/>
                      <a:pt x="273523" y="61230"/>
                      <a:pt x="273523" y="136761"/>
                    </a:cubicBez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5" name="Полилиния 534">
                <a:extLst>
                  <a:ext uri="{FF2B5EF4-FFF2-40B4-BE49-F238E27FC236}">
                    <a16:creationId xmlns:a16="http://schemas.microsoft.com/office/drawing/2014/main" id="{581A6E66-2779-B117-1F4A-CD19B0B17DC8}"/>
                  </a:ext>
                </a:extLst>
              </p:cNvPr>
              <p:cNvSpPr/>
              <p:nvPr/>
            </p:nvSpPr>
            <p:spPr>
              <a:xfrm rot="5400000">
                <a:off x="2893515" y="3901076"/>
                <a:ext cx="638220" cy="638220"/>
              </a:xfrm>
              <a:custGeom>
                <a:avLst/>
                <a:gdLst>
                  <a:gd name="connsiteX0" fmla="*/ 0 w 638220"/>
                  <a:gd name="connsiteY0" fmla="*/ 227936 h 638220"/>
                  <a:gd name="connsiteX1" fmla="*/ 0 w 638220"/>
                  <a:gd name="connsiteY1" fmla="*/ 410284 h 638220"/>
                  <a:gd name="connsiteX2" fmla="*/ 227936 w 638220"/>
                  <a:gd name="connsiteY2" fmla="*/ 638220 h 638220"/>
                  <a:gd name="connsiteX3" fmla="*/ 410284 w 638220"/>
                  <a:gd name="connsiteY3" fmla="*/ 638220 h 638220"/>
                  <a:gd name="connsiteX4" fmla="*/ 638220 w 638220"/>
                  <a:gd name="connsiteY4" fmla="*/ 410284 h 638220"/>
                  <a:gd name="connsiteX5" fmla="*/ 638220 w 638220"/>
                  <a:gd name="connsiteY5" fmla="*/ 227936 h 638220"/>
                  <a:gd name="connsiteX6" fmla="*/ 410284 w 638220"/>
                  <a:gd name="connsiteY6" fmla="*/ 0 h 638220"/>
                  <a:gd name="connsiteX7" fmla="*/ 227936 w 638220"/>
                  <a:gd name="connsiteY7" fmla="*/ 0 h 638220"/>
                  <a:gd name="connsiteX8" fmla="*/ 0 w 638220"/>
                  <a:gd name="connsiteY8" fmla="*/ 227936 h 638220"/>
                  <a:gd name="connsiteX9" fmla="*/ 227936 w 638220"/>
                  <a:gd name="connsiteY9" fmla="*/ 91174 h 638220"/>
                  <a:gd name="connsiteX10" fmla="*/ 410284 w 638220"/>
                  <a:gd name="connsiteY10" fmla="*/ 91174 h 638220"/>
                  <a:gd name="connsiteX11" fmla="*/ 547046 w 638220"/>
                  <a:gd name="connsiteY11" fmla="*/ 227936 h 638220"/>
                  <a:gd name="connsiteX12" fmla="*/ 547046 w 638220"/>
                  <a:gd name="connsiteY12" fmla="*/ 410284 h 638220"/>
                  <a:gd name="connsiteX13" fmla="*/ 410284 w 638220"/>
                  <a:gd name="connsiteY13" fmla="*/ 547046 h 638220"/>
                  <a:gd name="connsiteX14" fmla="*/ 227936 w 638220"/>
                  <a:gd name="connsiteY14" fmla="*/ 547046 h 638220"/>
                  <a:gd name="connsiteX15" fmla="*/ 91174 w 638220"/>
                  <a:gd name="connsiteY15" fmla="*/ 410284 h 638220"/>
                  <a:gd name="connsiteX16" fmla="*/ 91174 w 638220"/>
                  <a:gd name="connsiteY16" fmla="*/ 227936 h 638220"/>
                  <a:gd name="connsiteX17" fmla="*/ 227936 w 638220"/>
                  <a:gd name="connsiteY17" fmla="*/ 91174 h 63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38220" h="638220">
                    <a:moveTo>
                      <a:pt x="0" y="227936"/>
                    </a:moveTo>
                    <a:lnTo>
                      <a:pt x="0" y="410284"/>
                    </a:lnTo>
                    <a:cubicBezTo>
                      <a:pt x="0" y="536170"/>
                      <a:pt x="102050" y="638220"/>
                      <a:pt x="227936" y="638220"/>
                    </a:cubicBezTo>
                    <a:lnTo>
                      <a:pt x="410284" y="638220"/>
                    </a:lnTo>
                    <a:cubicBezTo>
                      <a:pt x="536170" y="638220"/>
                      <a:pt x="638220" y="536170"/>
                      <a:pt x="638220" y="410284"/>
                    </a:cubicBezTo>
                    <a:lnTo>
                      <a:pt x="638220" y="227936"/>
                    </a:lnTo>
                    <a:cubicBezTo>
                      <a:pt x="638220" y="102050"/>
                      <a:pt x="536170" y="0"/>
                      <a:pt x="410284" y="0"/>
                    </a:cubicBezTo>
                    <a:lnTo>
                      <a:pt x="227936" y="0"/>
                    </a:lnTo>
                    <a:cubicBezTo>
                      <a:pt x="102050" y="0"/>
                      <a:pt x="0" y="102050"/>
                      <a:pt x="0" y="227936"/>
                    </a:cubicBezTo>
                    <a:moveTo>
                      <a:pt x="227936" y="91174"/>
                    </a:moveTo>
                    <a:lnTo>
                      <a:pt x="410284" y="91174"/>
                    </a:lnTo>
                    <a:cubicBezTo>
                      <a:pt x="485816" y="91174"/>
                      <a:pt x="547046" y="152405"/>
                      <a:pt x="547046" y="227936"/>
                    </a:cubicBezTo>
                    <a:lnTo>
                      <a:pt x="547046" y="410284"/>
                    </a:lnTo>
                    <a:cubicBezTo>
                      <a:pt x="547046" y="485816"/>
                      <a:pt x="485816" y="547046"/>
                      <a:pt x="410284" y="547046"/>
                    </a:cubicBezTo>
                    <a:lnTo>
                      <a:pt x="227936" y="547046"/>
                    </a:lnTo>
                    <a:cubicBezTo>
                      <a:pt x="152405" y="547046"/>
                      <a:pt x="91174" y="485816"/>
                      <a:pt x="91174" y="410284"/>
                    </a:cubicBezTo>
                    <a:lnTo>
                      <a:pt x="91174" y="227936"/>
                    </a:lnTo>
                    <a:cubicBezTo>
                      <a:pt x="91174" y="152405"/>
                      <a:pt x="152405" y="91174"/>
                      <a:pt x="227936" y="91174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6" name="Полилиния 535">
                <a:extLst>
                  <a:ext uri="{FF2B5EF4-FFF2-40B4-BE49-F238E27FC236}">
                    <a16:creationId xmlns:a16="http://schemas.microsoft.com/office/drawing/2014/main" id="{8493BEBD-9DB3-1266-2A23-12D0BCC49B81}"/>
                  </a:ext>
                </a:extLst>
              </p:cNvPr>
              <p:cNvSpPr/>
              <p:nvPr/>
            </p:nvSpPr>
            <p:spPr>
              <a:xfrm>
                <a:off x="1434726" y="4083425"/>
                <a:ext cx="273522" cy="273522"/>
              </a:xfrm>
              <a:custGeom>
                <a:avLst/>
                <a:gdLst>
                  <a:gd name="connsiteX0" fmla="*/ 273523 w 273522"/>
                  <a:gd name="connsiteY0" fmla="*/ 136761 h 273522"/>
                  <a:gd name="connsiteX1" fmla="*/ 136761 w 273522"/>
                  <a:gd name="connsiteY1" fmla="*/ 273523 h 273522"/>
                  <a:gd name="connsiteX2" fmla="*/ 0 w 273522"/>
                  <a:gd name="connsiteY2" fmla="*/ 136761 h 273522"/>
                  <a:gd name="connsiteX3" fmla="*/ 136761 w 273522"/>
                  <a:gd name="connsiteY3" fmla="*/ 0 h 273522"/>
                  <a:gd name="connsiteX4" fmla="*/ 273523 w 273522"/>
                  <a:gd name="connsiteY4" fmla="*/ 136761 h 273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522" h="273522">
                    <a:moveTo>
                      <a:pt x="273523" y="136761"/>
                    </a:moveTo>
                    <a:cubicBezTo>
                      <a:pt x="273523" y="212293"/>
                      <a:pt x="212293" y="273523"/>
                      <a:pt x="136761" y="273523"/>
                    </a:cubicBezTo>
                    <a:cubicBezTo>
                      <a:pt x="61230" y="273523"/>
                      <a:pt x="0" y="212293"/>
                      <a:pt x="0" y="136761"/>
                    </a:cubicBezTo>
                    <a:cubicBezTo>
                      <a:pt x="0" y="61230"/>
                      <a:pt x="61230" y="0"/>
                      <a:pt x="136761" y="0"/>
                    </a:cubicBezTo>
                    <a:cubicBezTo>
                      <a:pt x="212293" y="0"/>
                      <a:pt x="273523" y="61230"/>
                      <a:pt x="273523" y="136761"/>
                    </a:cubicBez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7" name="Полилиния 536">
                <a:extLst>
                  <a:ext uri="{FF2B5EF4-FFF2-40B4-BE49-F238E27FC236}">
                    <a16:creationId xmlns:a16="http://schemas.microsoft.com/office/drawing/2014/main" id="{8BD4C8DA-3CD1-0C9C-B538-FC20834F9289}"/>
                  </a:ext>
                </a:extLst>
              </p:cNvPr>
              <p:cNvSpPr/>
              <p:nvPr/>
            </p:nvSpPr>
            <p:spPr>
              <a:xfrm>
                <a:off x="1252377" y="3901076"/>
                <a:ext cx="638220" cy="638220"/>
              </a:xfrm>
              <a:custGeom>
                <a:avLst/>
                <a:gdLst>
                  <a:gd name="connsiteX0" fmla="*/ 0 w 638220"/>
                  <a:gd name="connsiteY0" fmla="*/ 227936 h 638220"/>
                  <a:gd name="connsiteX1" fmla="*/ 0 w 638220"/>
                  <a:gd name="connsiteY1" fmla="*/ 410284 h 638220"/>
                  <a:gd name="connsiteX2" fmla="*/ 227936 w 638220"/>
                  <a:gd name="connsiteY2" fmla="*/ 638220 h 638220"/>
                  <a:gd name="connsiteX3" fmla="*/ 410284 w 638220"/>
                  <a:gd name="connsiteY3" fmla="*/ 638220 h 638220"/>
                  <a:gd name="connsiteX4" fmla="*/ 638220 w 638220"/>
                  <a:gd name="connsiteY4" fmla="*/ 410284 h 638220"/>
                  <a:gd name="connsiteX5" fmla="*/ 638220 w 638220"/>
                  <a:gd name="connsiteY5" fmla="*/ 227936 h 638220"/>
                  <a:gd name="connsiteX6" fmla="*/ 410284 w 638220"/>
                  <a:gd name="connsiteY6" fmla="*/ 0 h 638220"/>
                  <a:gd name="connsiteX7" fmla="*/ 227936 w 638220"/>
                  <a:gd name="connsiteY7" fmla="*/ 0 h 638220"/>
                  <a:gd name="connsiteX8" fmla="*/ 0 w 638220"/>
                  <a:gd name="connsiteY8" fmla="*/ 227936 h 638220"/>
                  <a:gd name="connsiteX9" fmla="*/ 227936 w 638220"/>
                  <a:gd name="connsiteY9" fmla="*/ 91174 h 638220"/>
                  <a:gd name="connsiteX10" fmla="*/ 410284 w 638220"/>
                  <a:gd name="connsiteY10" fmla="*/ 91174 h 638220"/>
                  <a:gd name="connsiteX11" fmla="*/ 547046 w 638220"/>
                  <a:gd name="connsiteY11" fmla="*/ 227936 h 638220"/>
                  <a:gd name="connsiteX12" fmla="*/ 547046 w 638220"/>
                  <a:gd name="connsiteY12" fmla="*/ 410284 h 638220"/>
                  <a:gd name="connsiteX13" fmla="*/ 410284 w 638220"/>
                  <a:gd name="connsiteY13" fmla="*/ 547046 h 638220"/>
                  <a:gd name="connsiteX14" fmla="*/ 227936 w 638220"/>
                  <a:gd name="connsiteY14" fmla="*/ 547046 h 638220"/>
                  <a:gd name="connsiteX15" fmla="*/ 91174 w 638220"/>
                  <a:gd name="connsiteY15" fmla="*/ 410284 h 638220"/>
                  <a:gd name="connsiteX16" fmla="*/ 91174 w 638220"/>
                  <a:gd name="connsiteY16" fmla="*/ 227936 h 638220"/>
                  <a:gd name="connsiteX17" fmla="*/ 227936 w 638220"/>
                  <a:gd name="connsiteY17" fmla="*/ 91174 h 63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38220" h="638220">
                    <a:moveTo>
                      <a:pt x="0" y="227936"/>
                    </a:moveTo>
                    <a:lnTo>
                      <a:pt x="0" y="410284"/>
                    </a:lnTo>
                    <a:cubicBezTo>
                      <a:pt x="0" y="536170"/>
                      <a:pt x="102050" y="638220"/>
                      <a:pt x="227936" y="638220"/>
                    </a:cubicBezTo>
                    <a:lnTo>
                      <a:pt x="410284" y="638220"/>
                    </a:lnTo>
                    <a:cubicBezTo>
                      <a:pt x="536170" y="638220"/>
                      <a:pt x="638220" y="536170"/>
                      <a:pt x="638220" y="410284"/>
                    </a:cubicBezTo>
                    <a:lnTo>
                      <a:pt x="638220" y="227936"/>
                    </a:lnTo>
                    <a:cubicBezTo>
                      <a:pt x="638220" y="102050"/>
                      <a:pt x="536170" y="0"/>
                      <a:pt x="410284" y="0"/>
                    </a:cubicBezTo>
                    <a:lnTo>
                      <a:pt x="227936" y="0"/>
                    </a:lnTo>
                    <a:cubicBezTo>
                      <a:pt x="102050" y="0"/>
                      <a:pt x="0" y="102050"/>
                      <a:pt x="0" y="227936"/>
                    </a:cubicBezTo>
                    <a:moveTo>
                      <a:pt x="227936" y="91174"/>
                    </a:moveTo>
                    <a:lnTo>
                      <a:pt x="410284" y="91174"/>
                    </a:lnTo>
                    <a:cubicBezTo>
                      <a:pt x="485816" y="91174"/>
                      <a:pt x="547046" y="152405"/>
                      <a:pt x="547046" y="227936"/>
                    </a:cubicBezTo>
                    <a:lnTo>
                      <a:pt x="547046" y="410284"/>
                    </a:lnTo>
                    <a:cubicBezTo>
                      <a:pt x="547046" y="485816"/>
                      <a:pt x="485816" y="547046"/>
                      <a:pt x="410284" y="547046"/>
                    </a:cubicBezTo>
                    <a:lnTo>
                      <a:pt x="227936" y="547046"/>
                    </a:lnTo>
                    <a:cubicBezTo>
                      <a:pt x="152405" y="547046"/>
                      <a:pt x="91174" y="485816"/>
                      <a:pt x="91174" y="410284"/>
                    </a:cubicBezTo>
                    <a:lnTo>
                      <a:pt x="91174" y="227936"/>
                    </a:lnTo>
                    <a:cubicBezTo>
                      <a:pt x="91174" y="152405"/>
                      <a:pt x="152405" y="91174"/>
                      <a:pt x="227936" y="91174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8" name="Полилиния 537">
                <a:extLst>
                  <a:ext uri="{FF2B5EF4-FFF2-40B4-BE49-F238E27FC236}">
                    <a16:creationId xmlns:a16="http://schemas.microsoft.com/office/drawing/2014/main" id="{C462F85D-7870-EBB5-3B3B-576DF6013C94}"/>
                  </a:ext>
                </a:extLst>
              </p:cNvPr>
              <p:cNvSpPr/>
              <p:nvPr/>
            </p:nvSpPr>
            <p:spPr>
              <a:xfrm rot="-5400000">
                <a:off x="2346469" y="390107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9" name="Полилиния 538">
                <a:extLst>
                  <a:ext uri="{FF2B5EF4-FFF2-40B4-BE49-F238E27FC236}">
                    <a16:creationId xmlns:a16="http://schemas.microsoft.com/office/drawing/2014/main" id="{6916A1DE-91DD-2194-FEB7-A370B7D02E50}"/>
                  </a:ext>
                </a:extLst>
              </p:cNvPr>
              <p:cNvSpPr/>
              <p:nvPr/>
            </p:nvSpPr>
            <p:spPr>
              <a:xfrm rot="5400000">
                <a:off x="2528817" y="390107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0" name="Полилиния 539">
                <a:extLst>
                  <a:ext uri="{FF2B5EF4-FFF2-40B4-BE49-F238E27FC236}">
                    <a16:creationId xmlns:a16="http://schemas.microsoft.com/office/drawing/2014/main" id="{61829902-13A0-0AC5-B784-E7C955E04684}"/>
                  </a:ext>
                </a:extLst>
              </p:cNvPr>
              <p:cNvSpPr/>
              <p:nvPr/>
            </p:nvSpPr>
            <p:spPr>
              <a:xfrm rot="-5400000">
                <a:off x="1981772" y="399225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1" name="Полилиния 540">
                <a:extLst>
                  <a:ext uri="{FF2B5EF4-FFF2-40B4-BE49-F238E27FC236}">
                    <a16:creationId xmlns:a16="http://schemas.microsoft.com/office/drawing/2014/main" id="{F3670A4C-A28F-8D08-72A0-6574FEA0F63B}"/>
                  </a:ext>
                </a:extLst>
              </p:cNvPr>
              <p:cNvSpPr/>
              <p:nvPr/>
            </p:nvSpPr>
            <p:spPr>
              <a:xfrm>
                <a:off x="2072946" y="399225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2" name="Полилиния 541">
                <a:extLst>
                  <a:ext uri="{FF2B5EF4-FFF2-40B4-BE49-F238E27FC236}">
                    <a16:creationId xmlns:a16="http://schemas.microsoft.com/office/drawing/2014/main" id="{93AB6487-F0F2-DB71-2B12-5361D8D73F7E}"/>
                  </a:ext>
                </a:extLst>
              </p:cNvPr>
              <p:cNvSpPr/>
              <p:nvPr/>
            </p:nvSpPr>
            <p:spPr>
              <a:xfrm>
                <a:off x="2164120" y="399225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3" name="Полилиния 542">
                <a:extLst>
                  <a:ext uri="{FF2B5EF4-FFF2-40B4-BE49-F238E27FC236}">
                    <a16:creationId xmlns:a16="http://schemas.microsoft.com/office/drawing/2014/main" id="{0EBDDBD2-8B63-8671-960D-8C212DFD5B6B}"/>
                  </a:ext>
                </a:extLst>
              </p:cNvPr>
              <p:cNvSpPr/>
              <p:nvPr/>
            </p:nvSpPr>
            <p:spPr>
              <a:xfrm rot="5400000">
                <a:off x="2346469" y="399225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4" name="Полилиния 543">
                <a:extLst>
                  <a:ext uri="{FF2B5EF4-FFF2-40B4-BE49-F238E27FC236}">
                    <a16:creationId xmlns:a16="http://schemas.microsoft.com/office/drawing/2014/main" id="{7C24BF08-24EC-E337-5827-A8E9594F8183}"/>
                  </a:ext>
                </a:extLst>
              </p:cNvPr>
              <p:cNvSpPr/>
              <p:nvPr/>
            </p:nvSpPr>
            <p:spPr>
              <a:xfrm rot="5400000">
                <a:off x="2711166" y="399225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5" name="Полилиния 544">
                <a:extLst>
                  <a:ext uri="{FF2B5EF4-FFF2-40B4-BE49-F238E27FC236}">
                    <a16:creationId xmlns:a16="http://schemas.microsoft.com/office/drawing/2014/main" id="{448D075C-0B21-B34A-A401-D48209292EC2}"/>
                  </a:ext>
                </a:extLst>
              </p:cNvPr>
              <p:cNvSpPr/>
              <p:nvPr/>
            </p:nvSpPr>
            <p:spPr>
              <a:xfrm>
                <a:off x="2072946" y="408342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6" name="Полилиния 545">
                <a:extLst>
                  <a:ext uri="{FF2B5EF4-FFF2-40B4-BE49-F238E27FC236}">
                    <a16:creationId xmlns:a16="http://schemas.microsoft.com/office/drawing/2014/main" id="{31AC5AEF-E787-3E4B-0D42-C021C3F35A2A}"/>
                  </a:ext>
                </a:extLst>
              </p:cNvPr>
              <p:cNvSpPr/>
              <p:nvPr/>
            </p:nvSpPr>
            <p:spPr>
              <a:xfrm>
                <a:off x="2164120" y="408342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7" name="Полилиния 546">
                <a:extLst>
                  <a:ext uri="{FF2B5EF4-FFF2-40B4-BE49-F238E27FC236}">
                    <a16:creationId xmlns:a16="http://schemas.microsoft.com/office/drawing/2014/main" id="{F6867C03-3D05-018F-BDF1-9968EF051D40}"/>
                  </a:ext>
                </a:extLst>
              </p:cNvPr>
              <p:cNvSpPr/>
              <p:nvPr/>
            </p:nvSpPr>
            <p:spPr>
              <a:xfrm rot="5400000">
                <a:off x="2437643" y="408342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8" name="Полилиния 547">
                <a:extLst>
                  <a:ext uri="{FF2B5EF4-FFF2-40B4-BE49-F238E27FC236}">
                    <a16:creationId xmlns:a16="http://schemas.microsoft.com/office/drawing/2014/main" id="{DCAA18AF-9622-A270-E31D-FDFA42D550EB}"/>
                  </a:ext>
                </a:extLst>
              </p:cNvPr>
              <p:cNvSpPr/>
              <p:nvPr/>
            </p:nvSpPr>
            <p:spPr>
              <a:xfrm rot="-5400000">
                <a:off x="1981772" y="417459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9" name="Полилиния 548">
                <a:extLst>
                  <a:ext uri="{FF2B5EF4-FFF2-40B4-BE49-F238E27FC236}">
                    <a16:creationId xmlns:a16="http://schemas.microsoft.com/office/drawing/2014/main" id="{1C1528F3-24C9-E7BC-18D8-C709303A4B20}"/>
                  </a:ext>
                </a:extLst>
              </p:cNvPr>
              <p:cNvSpPr/>
              <p:nvPr/>
            </p:nvSpPr>
            <p:spPr>
              <a:xfrm rot="5400000">
                <a:off x="2164120" y="417459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0" name="Полилиния 549">
                <a:extLst>
                  <a:ext uri="{FF2B5EF4-FFF2-40B4-BE49-F238E27FC236}">
                    <a16:creationId xmlns:a16="http://schemas.microsoft.com/office/drawing/2014/main" id="{E95E1220-6670-997F-12D0-07FC33D70693}"/>
                  </a:ext>
                </a:extLst>
              </p:cNvPr>
              <p:cNvSpPr/>
              <p:nvPr/>
            </p:nvSpPr>
            <p:spPr>
              <a:xfrm rot="-5400000">
                <a:off x="2619992" y="417459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1" name="Полилиния 550">
                <a:extLst>
                  <a:ext uri="{FF2B5EF4-FFF2-40B4-BE49-F238E27FC236}">
                    <a16:creationId xmlns:a16="http://schemas.microsoft.com/office/drawing/2014/main" id="{E82DEAC8-5F62-77F7-E74A-CF0912F5F468}"/>
                  </a:ext>
                </a:extLst>
              </p:cNvPr>
              <p:cNvSpPr/>
              <p:nvPr/>
            </p:nvSpPr>
            <p:spPr>
              <a:xfrm>
                <a:off x="2711166" y="417459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2" name="Полилиния 551">
                <a:extLst>
                  <a:ext uri="{FF2B5EF4-FFF2-40B4-BE49-F238E27FC236}">
                    <a16:creationId xmlns:a16="http://schemas.microsoft.com/office/drawing/2014/main" id="{43A14014-4979-D327-CA0A-1FBFC8CE9A46}"/>
                  </a:ext>
                </a:extLst>
              </p:cNvPr>
              <p:cNvSpPr/>
              <p:nvPr/>
            </p:nvSpPr>
            <p:spPr>
              <a:xfrm>
                <a:off x="1981772" y="4265773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3" name="Полилиния 552">
                <a:extLst>
                  <a:ext uri="{FF2B5EF4-FFF2-40B4-BE49-F238E27FC236}">
                    <a16:creationId xmlns:a16="http://schemas.microsoft.com/office/drawing/2014/main" id="{B4099D71-5406-EDEF-43AD-3529CFCADB25}"/>
                  </a:ext>
                </a:extLst>
              </p:cNvPr>
              <p:cNvSpPr/>
              <p:nvPr/>
            </p:nvSpPr>
            <p:spPr>
              <a:xfrm rot="5400000">
                <a:off x="2072946" y="4265773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4" name="Полилиния 553">
                <a:extLst>
                  <a:ext uri="{FF2B5EF4-FFF2-40B4-BE49-F238E27FC236}">
                    <a16:creationId xmlns:a16="http://schemas.microsoft.com/office/drawing/2014/main" id="{88E2D3A8-FA69-FD5D-309D-2A7BFFD93182}"/>
                  </a:ext>
                </a:extLst>
              </p:cNvPr>
              <p:cNvSpPr/>
              <p:nvPr/>
            </p:nvSpPr>
            <p:spPr>
              <a:xfrm rot="-5400000">
                <a:off x="2346469" y="4265773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5" name="Полилиния 554">
                <a:extLst>
                  <a:ext uri="{FF2B5EF4-FFF2-40B4-BE49-F238E27FC236}">
                    <a16:creationId xmlns:a16="http://schemas.microsoft.com/office/drawing/2014/main" id="{ECE9B67F-2C92-A670-191A-5C7B4EFA8B4E}"/>
                  </a:ext>
                </a:extLst>
              </p:cNvPr>
              <p:cNvSpPr/>
              <p:nvPr/>
            </p:nvSpPr>
            <p:spPr>
              <a:xfrm>
                <a:off x="2437643" y="4265773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6" name="Полилиния 555">
                <a:extLst>
                  <a:ext uri="{FF2B5EF4-FFF2-40B4-BE49-F238E27FC236}">
                    <a16:creationId xmlns:a16="http://schemas.microsoft.com/office/drawing/2014/main" id="{1B1B83E4-7A5E-F4E1-962F-408BC8C0A17C}"/>
                  </a:ext>
                </a:extLst>
              </p:cNvPr>
              <p:cNvSpPr/>
              <p:nvPr/>
            </p:nvSpPr>
            <p:spPr>
              <a:xfrm>
                <a:off x="2711166" y="4265773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7" name="Полилиния 556">
                <a:extLst>
                  <a:ext uri="{FF2B5EF4-FFF2-40B4-BE49-F238E27FC236}">
                    <a16:creationId xmlns:a16="http://schemas.microsoft.com/office/drawing/2014/main" id="{AE8D0D8C-06A4-C018-77E9-13CE13E7A973}"/>
                  </a:ext>
                </a:extLst>
              </p:cNvPr>
              <p:cNvSpPr/>
              <p:nvPr/>
            </p:nvSpPr>
            <p:spPr>
              <a:xfrm rot="-5400000">
                <a:off x="2164120" y="435694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8" name="Полилиния 557">
                <a:extLst>
                  <a:ext uri="{FF2B5EF4-FFF2-40B4-BE49-F238E27FC236}">
                    <a16:creationId xmlns:a16="http://schemas.microsoft.com/office/drawing/2014/main" id="{AD6AE965-1580-2526-BFD2-8F4C372FE99E}"/>
                  </a:ext>
                </a:extLst>
              </p:cNvPr>
              <p:cNvSpPr/>
              <p:nvPr/>
            </p:nvSpPr>
            <p:spPr>
              <a:xfrm>
                <a:off x="2346469" y="435694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9" name="Полилиния 558">
                <a:extLst>
                  <a:ext uri="{FF2B5EF4-FFF2-40B4-BE49-F238E27FC236}">
                    <a16:creationId xmlns:a16="http://schemas.microsoft.com/office/drawing/2014/main" id="{C7775B17-FAA0-2E59-8549-9055E87B90DC}"/>
                  </a:ext>
                </a:extLst>
              </p:cNvPr>
              <p:cNvSpPr/>
              <p:nvPr/>
            </p:nvSpPr>
            <p:spPr>
              <a:xfrm>
                <a:off x="2437643" y="435694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0" name="Полилиния 559">
                <a:extLst>
                  <a:ext uri="{FF2B5EF4-FFF2-40B4-BE49-F238E27FC236}">
                    <a16:creationId xmlns:a16="http://schemas.microsoft.com/office/drawing/2014/main" id="{89167D5B-3FBF-CFF8-350B-EA9ACC518A3B}"/>
                  </a:ext>
                </a:extLst>
              </p:cNvPr>
              <p:cNvSpPr/>
              <p:nvPr/>
            </p:nvSpPr>
            <p:spPr>
              <a:xfrm>
                <a:off x="2528817" y="435694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1" name="Полилиния 560">
                <a:extLst>
                  <a:ext uri="{FF2B5EF4-FFF2-40B4-BE49-F238E27FC236}">
                    <a16:creationId xmlns:a16="http://schemas.microsoft.com/office/drawing/2014/main" id="{CF8DC306-3D59-A19B-108F-6A01CC6C9BC5}"/>
                  </a:ext>
                </a:extLst>
              </p:cNvPr>
              <p:cNvSpPr/>
              <p:nvPr/>
            </p:nvSpPr>
            <p:spPr>
              <a:xfrm>
                <a:off x="2711166" y="435694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2" name="Полилиния 561">
                <a:extLst>
                  <a:ext uri="{FF2B5EF4-FFF2-40B4-BE49-F238E27FC236}">
                    <a16:creationId xmlns:a16="http://schemas.microsoft.com/office/drawing/2014/main" id="{EC909E0F-BAAF-FF6A-804B-CEE987D6EADF}"/>
                  </a:ext>
                </a:extLst>
              </p:cNvPr>
              <p:cNvSpPr/>
              <p:nvPr/>
            </p:nvSpPr>
            <p:spPr>
              <a:xfrm rot="-5400000">
                <a:off x="1981772" y="444812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3" name="Полилиния 562">
                <a:extLst>
                  <a:ext uri="{FF2B5EF4-FFF2-40B4-BE49-F238E27FC236}">
                    <a16:creationId xmlns:a16="http://schemas.microsoft.com/office/drawing/2014/main" id="{3D82B215-B134-D096-0BEC-13AD582E8845}"/>
                  </a:ext>
                </a:extLst>
              </p:cNvPr>
              <p:cNvSpPr/>
              <p:nvPr/>
            </p:nvSpPr>
            <p:spPr>
              <a:xfrm rot="5400000">
                <a:off x="2164120" y="444812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4" name="Полилиния 563">
                <a:extLst>
                  <a:ext uri="{FF2B5EF4-FFF2-40B4-BE49-F238E27FC236}">
                    <a16:creationId xmlns:a16="http://schemas.microsoft.com/office/drawing/2014/main" id="{447D75E7-0966-1B4E-88B4-BDC391EEB165}"/>
                  </a:ext>
                </a:extLst>
              </p:cNvPr>
              <p:cNvSpPr/>
              <p:nvPr/>
            </p:nvSpPr>
            <p:spPr>
              <a:xfrm>
                <a:off x="2346469" y="444812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5" name="Полилиния 564">
                <a:extLst>
                  <a:ext uri="{FF2B5EF4-FFF2-40B4-BE49-F238E27FC236}">
                    <a16:creationId xmlns:a16="http://schemas.microsoft.com/office/drawing/2014/main" id="{A4FE7A6A-E2E0-F880-D777-856500FA4BFF}"/>
                  </a:ext>
                </a:extLst>
              </p:cNvPr>
              <p:cNvSpPr/>
              <p:nvPr/>
            </p:nvSpPr>
            <p:spPr>
              <a:xfrm rot="5400000">
                <a:off x="2528817" y="444812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6" name="Полилиния 565">
                <a:extLst>
                  <a:ext uri="{FF2B5EF4-FFF2-40B4-BE49-F238E27FC236}">
                    <a16:creationId xmlns:a16="http://schemas.microsoft.com/office/drawing/2014/main" id="{F77456D8-2129-1079-990C-74FA9D22E4C2}"/>
                  </a:ext>
                </a:extLst>
              </p:cNvPr>
              <p:cNvSpPr/>
              <p:nvPr/>
            </p:nvSpPr>
            <p:spPr>
              <a:xfrm rot="5400000">
                <a:off x="2711166" y="444812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7" name="Полилиния 566">
                <a:extLst>
                  <a:ext uri="{FF2B5EF4-FFF2-40B4-BE49-F238E27FC236}">
                    <a16:creationId xmlns:a16="http://schemas.microsoft.com/office/drawing/2014/main" id="{38A48F69-F788-3977-0E25-6D0AB3592C47}"/>
                  </a:ext>
                </a:extLst>
              </p:cNvPr>
              <p:cNvSpPr/>
              <p:nvPr/>
            </p:nvSpPr>
            <p:spPr>
              <a:xfrm>
                <a:off x="1981772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8" name="Полилиния 567">
                <a:extLst>
                  <a:ext uri="{FF2B5EF4-FFF2-40B4-BE49-F238E27FC236}">
                    <a16:creationId xmlns:a16="http://schemas.microsoft.com/office/drawing/2014/main" id="{D8871AEB-7BE7-78EA-F624-AE824D495398}"/>
                  </a:ext>
                </a:extLst>
              </p:cNvPr>
              <p:cNvSpPr/>
              <p:nvPr/>
            </p:nvSpPr>
            <p:spPr>
              <a:xfrm rot="5400000">
                <a:off x="2072946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9" name="Полилиния 568">
                <a:extLst>
                  <a:ext uri="{FF2B5EF4-FFF2-40B4-BE49-F238E27FC236}">
                    <a16:creationId xmlns:a16="http://schemas.microsoft.com/office/drawing/2014/main" id="{C06CD3CA-5226-239F-DC2C-9810A0B072E7}"/>
                  </a:ext>
                </a:extLst>
              </p:cNvPr>
              <p:cNvSpPr/>
              <p:nvPr/>
            </p:nvSpPr>
            <p:spPr>
              <a:xfrm rot="-5400000">
                <a:off x="2255295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0" name="Полилиния 569">
                <a:extLst>
                  <a:ext uri="{FF2B5EF4-FFF2-40B4-BE49-F238E27FC236}">
                    <a16:creationId xmlns:a16="http://schemas.microsoft.com/office/drawing/2014/main" id="{5AC41434-86A3-317E-B585-7123BAD1B5AB}"/>
                  </a:ext>
                </a:extLst>
              </p:cNvPr>
              <p:cNvSpPr/>
              <p:nvPr/>
            </p:nvSpPr>
            <p:spPr>
              <a:xfrm>
                <a:off x="2346469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1" name="Полилиния 570">
                <a:extLst>
                  <a:ext uri="{FF2B5EF4-FFF2-40B4-BE49-F238E27FC236}">
                    <a16:creationId xmlns:a16="http://schemas.microsoft.com/office/drawing/2014/main" id="{D3F0385F-E46C-471A-1FAF-362430086E52}"/>
                  </a:ext>
                </a:extLst>
              </p:cNvPr>
              <p:cNvSpPr/>
              <p:nvPr/>
            </p:nvSpPr>
            <p:spPr>
              <a:xfrm rot="5400000">
                <a:off x="2437643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2" name="Полилиния 571">
                <a:extLst>
                  <a:ext uri="{FF2B5EF4-FFF2-40B4-BE49-F238E27FC236}">
                    <a16:creationId xmlns:a16="http://schemas.microsoft.com/office/drawing/2014/main" id="{EEA14819-5B9D-4462-21CB-F06DE72F21E5}"/>
                  </a:ext>
                </a:extLst>
              </p:cNvPr>
              <p:cNvSpPr/>
              <p:nvPr/>
            </p:nvSpPr>
            <p:spPr>
              <a:xfrm rot="-5400000">
                <a:off x="2619992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3" name="Полилиния 572">
                <a:extLst>
                  <a:ext uri="{FF2B5EF4-FFF2-40B4-BE49-F238E27FC236}">
                    <a16:creationId xmlns:a16="http://schemas.microsoft.com/office/drawing/2014/main" id="{D6239881-EA77-71E8-181E-0E89FBC7B1A1}"/>
                  </a:ext>
                </a:extLst>
              </p:cNvPr>
              <p:cNvSpPr/>
              <p:nvPr/>
            </p:nvSpPr>
            <p:spPr>
              <a:xfrm rot="-5400000">
                <a:off x="1343551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4" name="Полилиния 573">
                <a:extLst>
                  <a:ext uri="{FF2B5EF4-FFF2-40B4-BE49-F238E27FC236}">
                    <a16:creationId xmlns:a16="http://schemas.microsoft.com/office/drawing/2014/main" id="{6AEEA2D3-6169-1935-EBED-7E5AC60F2F91}"/>
                  </a:ext>
                </a:extLst>
              </p:cNvPr>
              <p:cNvSpPr/>
              <p:nvPr/>
            </p:nvSpPr>
            <p:spPr>
              <a:xfrm rot="-5400000">
                <a:off x="1525900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5" name="Полилиния 574">
                <a:extLst>
                  <a:ext uri="{FF2B5EF4-FFF2-40B4-BE49-F238E27FC236}">
                    <a16:creationId xmlns:a16="http://schemas.microsoft.com/office/drawing/2014/main" id="{915A62BA-392F-4A79-5464-1B6566670C38}"/>
                  </a:ext>
                </a:extLst>
              </p:cNvPr>
              <p:cNvSpPr/>
              <p:nvPr/>
            </p:nvSpPr>
            <p:spPr>
              <a:xfrm>
                <a:off x="1617074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4" name="Полилиния 703">
                <a:extLst>
                  <a:ext uri="{FF2B5EF4-FFF2-40B4-BE49-F238E27FC236}">
                    <a16:creationId xmlns:a16="http://schemas.microsoft.com/office/drawing/2014/main" id="{4C162FCB-7D93-3D3B-449B-C534D94C73E2}"/>
                  </a:ext>
                </a:extLst>
              </p:cNvPr>
              <p:cNvSpPr/>
              <p:nvPr/>
            </p:nvSpPr>
            <p:spPr>
              <a:xfrm>
                <a:off x="1708249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5" name="Полилиния 704">
                <a:extLst>
                  <a:ext uri="{FF2B5EF4-FFF2-40B4-BE49-F238E27FC236}">
                    <a16:creationId xmlns:a16="http://schemas.microsoft.com/office/drawing/2014/main" id="{7F994058-8A50-92CC-1A0E-DBBEDB0E64B5}"/>
                  </a:ext>
                </a:extLst>
              </p:cNvPr>
              <p:cNvSpPr/>
              <p:nvPr/>
            </p:nvSpPr>
            <p:spPr>
              <a:xfrm rot="5400000">
                <a:off x="1799423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6" name="Полилиния 705">
                <a:extLst>
                  <a:ext uri="{FF2B5EF4-FFF2-40B4-BE49-F238E27FC236}">
                    <a16:creationId xmlns:a16="http://schemas.microsoft.com/office/drawing/2014/main" id="{BCBA7C62-245C-177A-3FCC-AE395F5E65AC}"/>
                  </a:ext>
                </a:extLst>
              </p:cNvPr>
              <p:cNvSpPr/>
              <p:nvPr/>
            </p:nvSpPr>
            <p:spPr>
              <a:xfrm rot="5400000">
                <a:off x="1981772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7" name="Полилиния 706">
                <a:extLst>
                  <a:ext uri="{FF2B5EF4-FFF2-40B4-BE49-F238E27FC236}">
                    <a16:creationId xmlns:a16="http://schemas.microsoft.com/office/drawing/2014/main" id="{E1E0A6B3-132C-5ACB-8584-CD89BD2CF2F3}"/>
                  </a:ext>
                </a:extLst>
              </p:cNvPr>
              <p:cNvSpPr/>
              <p:nvPr/>
            </p:nvSpPr>
            <p:spPr>
              <a:xfrm>
                <a:off x="2619992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8" name="Полилиния 707">
                <a:extLst>
                  <a:ext uri="{FF2B5EF4-FFF2-40B4-BE49-F238E27FC236}">
                    <a16:creationId xmlns:a16="http://schemas.microsoft.com/office/drawing/2014/main" id="{3DB72606-7DD4-3773-753D-A08F7BB7D5C6}"/>
                  </a:ext>
                </a:extLst>
              </p:cNvPr>
              <p:cNvSpPr/>
              <p:nvPr/>
            </p:nvSpPr>
            <p:spPr>
              <a:xfrm>
                <a:off x="2711166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9" name="Полилиния 708">
                <a:extLst>
                  <a:ext uri="{FF2B5EF4-FFF2-40B4-BE49-F238E27FC236}">
                    <a16:creationId xmlns:a16="http://schemas.microsoft.com/office/drawing/2014/main" id="{E1000CA3-5200-3C2B-DEF0-BAFB053129FD}"/>
                  </a:ext>
                </a:extLst>
              </p:cNvPr>
              <p:cNvSpPr/>
              <p:nvPr/>
            </p:nvSpPr>
            <p:spPr>
              <a:xfrm>
                <a:off x="2802340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0" name="Полилиния 709">
                <a:extLst>
                  <a:ext uri="{FF2B5EF4-FFF2-40B4-BE49-F238E27FC236}">
                    <a16:creationId xmlns:a16="http://schemas.microsoft.com/office/drawing/2014/main" id="{D9ED52A5-B1A6-0227-FF4F-834BDEF039C9}"/>
                  </a:ext>
                </a:extLst>
              </p:cNvPr>
              <p:cNvSpPr/>
              <p:nvPr/>
            </p:nvSpPr>
            <p:spPr>
              <a:xfrm rot="5400000">
                <a:off x="2893515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1" name="Полилиния 710">
                <a:extLst>
                  <a:ext uri="{FF2B5EF4-FFF2-40B4-BE49-F238E27FC236}">
                    <a16:creationId xmlns:a16="http://schemas.microsoft.com/office/drawing/2014/main" id="{BA0D2F2E-74C4-5446-A67A-73E57F6984D5}"/>
                  </a:ext>
                </a:extLst>
              </p:cNvPr>
              <p:cNvSpPr/>
              <p:nvPr/>
            </p:nvSpPr>
            <p:spPr>
              <a:xfrm rot="-5400000">
                <a:off x="3075863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2" name="Полилиния 711">
                <a:extLst>
                  <a:ext uri="{FF2B5EF4-FFF2-40B4-BE49-F238E27FC236}">
                    <a16:creationId xmlns:a16="http://schemas.microsoft.com/office/drawing/2014/main" id="{7272C2E1-D799-FFF9-0627-3ED2F5A853F8}"/>
                  </a:ext>
                </a:extLst>
              </p:cNvPr>
              <p:cNvSpPr/>
              <p:nvPr/>
            </p:nvSpPr>
            <p:spPr>
              <a:xfrm>
                <a:off x="3167038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3" name="Полилиния 712">
                <a:extLst>
                  <a:ext uri="{FF2B5EF4-FFF2-40B4-BE49-F238E27FC236}">
                    <a16:creationId xmlns:a16="http://schemas.microsoft.com/office/drawing/2014/main" id="{3A715B7D-A954-6D32-D76C-74D2FCCE4728}"/>
                  </a:ext>
                </a:extLst>
              </p:cNvPr>
              <p:cNvSpPr/>
              <p:nvPr/>
            </p:nvSpPr>
            <p:spPr>
              <a:xfrm rot="-5400000">
                <a:off x="3349386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4" name="Полилиния 713">
                <a:extLst>
                  <a:ext uri="{FF2B5EF4-FFF2-40B4-BE49-F238E27FC236}">
                    <a16:creationId xmlns:a16="http://schemas.microsoft.com/office/drawing/2014/main" id="{42C833C0-DE94-3EB1-40E6-6137F28A9F1A}"/>
                  </a:ext>
                </a:extLst>
              </p:cNvPr>
              <p:cNvSpPr/>
              <p:nvPr/>
            </p:nvSpPr>
            <p:spPr>
              <a:xfrm rot="-5400000">
                <a:off x="1252377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5" name="Полилиния 714">
                <a:extLst>
                  <a:ext uri="{FF2B5EF4-FFF2-40B4-BE49-F238E27FC236}">
                    <a16:creationId xmlns:a16="http://schemas.microsoft.com/office/drawing/2014/main" id="{186D4A0A-1E8A-C327-5091-8EEC0614445D}"/>
                  </a:ext>
                </a:extLst>
              </p:cNvPr>
              <p:cNvSpPr/>
              <p:nvPr/>
            </p:nvSpPr>
            <p:spPr>
              <a:xfrm>
                <a:off x="1343551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6" name="Полилиния 715">
                <a:extLst>
                  <a:ext uri="{FF2B5EF4-FFF2-40B4-BE49-F238E27FC236}">
                    <a16:creationId xmlns:a16="http://schemas.microsoft.com/office/drawing/2014/main" id="{18AE950C-693B-C98C-6D62-97ECCE29E574}"/>
                  </a:ext>
                </a:extLst>
              </p:cNvPr>
              <p:cNvSpPr/>
              <p:nvPr/>
            </p:nvSpPr>
            <p:spPr>
              <a:xfrm>
                <a:off x="1434726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7" name="Полилиния 716">
                <a:extLst>
                  <a:ext uri="{FF2B5EF4-FFF2-40B4-BE49-F238E27FC236}">
                    <a16:creationId xmlns:a16="http://schemas.microsoft.com/office/drawing/2014/main" id="{5257BBE5-81A2-04FF-1181-42CDE0FB42AA}"/>
                  </a:ext>
                </a:extLst>
              </p:cNvPr>
              <p:cNvSpPr/>
              <p:nvPr/>
            </p:nvSpPr>
            <p:spPr>
              <a:xfrm>
                <a:off x="1525900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8" name="Полилиния 717">
                <a:extLst>
                  <a:ext uri="{FF2B5EF4-FFF2-40B4-BE49-F238E27FC236}">
                    <a16:creationId xmlns:a16="http://schemas.microsoft.com/office/drawing/2014/main" id="{712C0273-8C89-9AC3-182E-39565C6FDCDA}"/>
                  </a:ext>
                </a:extLst>
              </p:cNvPr>
              <p:cNvSpPr/>
              <p:nvPr/>
            </p:nvSpPr>
            <p:spPr>
              <a:xfrm>
                <a:off x="1617074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9" name="Полилиния 718">
                <a:extLst>
                  <a:ext uri="{FF2B5EF4-FFF2-40B4-BE49-F238E27FC236}">
                    <a16:creationId xmlns:a16="http://schemas.microsoft.com/office/drawing/2014/main" id="{210164BA-0F17-AF0B-4C42-CFACBC14B677}"/>
                  </a:ext>
                </a:extLst>
              </p:cNvPr>
              <p:cNvSpPr/>
              <p:nvPr/>
            </p:nvSpPr>
            <p:spPr>
              <a:xfrm>
                <a:off x="1708249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0" name="Полилиния 719">
                <a:extLst>
                  <a:ext uri="{FF2B5EF4-FFF2-40B4-BE49-F238E27FC236}">
                    <a16:creationId xmlns:a16="http://schemas.microsoft.com/office/drawing/2014/main" id="{C60EE525-76AF-D68B-D786-DEBFA80EB144}"/>
                  </a:ext>
                </a:extLst>
              </p:cNvPr>
              <p:cNvSpPr/>
              <p:nvPr/>
            </p:nvSpPr>
            <p:spPr>
              <a:xfrm rot="-5400000">
                <a:off x="1890597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1" name="Полилиния 720">
                <a:extLst>
                  <a:ext uri="{FF2B5EF4-FFF2-40B4-BE49-F238E27FC236}">
                    <a16:creationId xmlns:a16="http://schemas.microsoft.com/office/drawing/2014/main" id="{506B8887-0525-1DB2-D364-0228FE5AF7C1}"/>
                  </a:ext>
                </a:extLst>
              </p:cNvPr>
              <p:cNvSpPr/>
              <p:nvPr/>
            </p:nvSpPr>
            <p:spPr>
              <a:xfrm rot="-5400000">
                <a:off x="2072946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2" name="Полилиния 721">
                <a:extLst>
                  <a:ext uri="{FF2B5EF4-FFF2-40B4-BE49-F238E27FC236}">
                    <a16:creationId xmlns:a16="http://schemas.microsoft.com/office/drawing/2014/main" id="{1A31C3AC-8519-02CF-1D62-029273B7BF5B}"/>
                  </a:ext>
                </a:extLst>
              </p:cNvPr>
              <p:cNvSpPr/>
              <p:nvPr/>
            </p:nvSpPr>
            <p:spPr>
              <a:xfrm rot="5400000">
                <a:off x="2164120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3" name="Полилиния 722">
                <a:extLst>
                  <a:ext uri="{FF2B5EF4-FFF2-40B4-BE49-F238E27FC236}">
                    <a16:creationId xmlns:a16="http://schemas.microsoft.com/office/drawing/2014/main" id="{3A70AFEC-F1AB-8C52-7B46-287B6F78CE96}"/>
                  </a:ext>
                </a:extLst>
              </p:cNvPr>
              <p:cNvSpPr/>
              <p:nvPr/>
            </p:nvSpPr>
            <p:spPr>
              <a:xfrm rot="-5400000">
                <a:off x="2346469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4" name="Полилиния 723">
                <a:extLst>
                  <a:ext uri="{FF2B5EF4-FFF2-40B4-BE49-F238E27FC236}">
                    <a16:creationId xmlns:a16="http://schemas.microsoft.com/office/drawing/2014/main" id="{1FFEB704-7ED4-414C-40D5-DBF294088AA8}"/>
                  </a:ext>
                </a:extLst>
              </p:cNvPr>
              <p:cNvSpPr/>
              <p:nvPr/>
            </p:nvSpPr>
            <p:spPr>
              <a:xfrm>
                <a:off x="2619992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5" name="Полилиния 724">
                <a:extLst>
                  <a:ext uri="{FF2B5EF4-FFF2-40B4-BE49-F238E27FC236}">
                    <a16:creationId xmlns:a16="http://schemas.microsoft.com/office/drawing/2014/main" id="{7D3CA8FF-F0B8-F452-C9DA-4134E8E9069D}"/>
                  </a:ext>
                </a:extLst>
              </p:cNvPr>
              <p:cNvSpPr/>
              <p:nvPr/>
            </p:nvSpPr>
            <p:spPr>
              <a:xfrm rot="-5400000">
                <a:off x="2984689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6" name="Полилиния 725">
                <a:extLst>
                  <a:ext uri="{FF2B5EF4-FFF2-40B4-BE49-F238E27FC236}">
                    <a16:creationId xmlns:a16="http://schemas.microsoft.com/office/drawing/2014/main" id="{F6D33AB1-15E6-5C0B-53CD-BDC52DD188F1}"/>
                  </a:ext>
                </a:extLst>
              </p:cNvPr>
              <p:cNvSpPr/>
              <p:nvPr/>
            </p:nvSpPr>
            <p:spPr>
              <a:xfrm>
                <a:off x="3075863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7" name="Полилиния 726">
                <a:extLst>
                  <a:ext uri="{FF2B5EF4-FFF2-40B4-BE49-F238E27FC236}">
                    <a16:creationId xmlns:a16="http://schemas.microsoft.com/office/drawing/2014/main" id="{D2F90DD3-5FD3-475E-DAF2-92F1593D7D80}"/>
                  </a:ext>
                </a:extLst>
              </p:cNvPr>
              <p:cNvSpPr/>
              <p:nvPr/>
            </p:nvSpPr>
            <p:spPr>
              <a:xfrm>
                <a:off x="3167038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8" name="Полилиния 727">
                <a:extLst>
                  <a:ext uri="{FF2B5EF4-FFF2-40B4-BE49-F238E27FC236}">
                    <a16:creationId xmlns:a16="http://schemas.microsoft.com/office/drawing/2014/main" id="{27EDA6BC-DDCC-EC2F-FA24-CED0E07A87DE}"/>
                  </a:ext>
                </a:extLst>
              </p:cNvPr>
              <p:cNvSpPr/>
              <p:nvPr/>
            </p:nvSpPr>
            <p:spPr>
              <a:xfrm>
                <a:off x="3258212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9" name="Полилиния 728">
                <a:extLst>
                  <a:ext uri="{FF2B5EF4-FFF2-40B4-BE49-F238E27FC236}">
                    <a16:creationId xmlns:a16="http://schemas.microsoft.com/office/drawing/2014/main" id="{D9EE93BD-E3B0-4CC1-E9AF-A561F3722CAA}"/>
                  </a:ext>
                </a:extLst>
              </p:cNvPr>
              <p:cNvSpPr/>
              <p:nvPr/>
            </p:nvSpPr>
            <p:spPr>
              <a:xfrm rot="5400000">
                <a:off x="3349386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0" name="Полилиния 729">
                <a:extLst>
                  <a:ext uri="{FF2B5EF4-FFF2-40B4-BE49-F238E27FC236}">
                    <a16:creationId xmlns:a16="http://schemas.microsoft.com/office/drawing/2014/main" id="{7AEA3D03-5931-F131-9771-FFBD0A290D57}"/>
                  </a:ext>
                </a:extLst>
              </p:cNvPr>
              <p:cNvSpPr/>
              <p:nvPr/>
            </p:nvSpPr>
            <p:spPr>
              <a:xfrm rot="5400000">
                <a:off x="1525900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1" name="Полилиния 730">
                <a:extLst>
                  <a:ext uri="{FF2B5EF4-FFF2-40B4-BE49-F238E27FC236}">
                    <a16:creationId xmlns:a16="http://schemas.microsoft.com/office/drawing/2014/main" id="{973187BD-60A5-E870-965F-18761ED9E4D6}"/>
                  </a:ext>
                </a:extLst>
              </p:cNvPr>
              <p:cNvSpPr/>
              <p:nvPr/>
            </p:nvSpPr>
            <p:spPr>
              <a:xfrm>
                <a:off x="1708249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2" name="Полилиния 731">
                <a:extLst>
                  <a:ext uri="{FF2B5EF4-FFF2-40B4-BE49-F238E27FC236}">
                    <a16:creationId xmlns:a16="http://schemas.microsoft.com/office/drawing/2014/main" id="{5CEF9A34-299C-B43F-3506-8E47BF75856D}"/>
                  </a:ext>
                </a:extLst>
              </p:cNvPr>
              <p:cNvSpPr/>
              <p:nvPr/>
            </p:nvSpPr>
            <p:spPr>
              <a:xfrm>
                <a:off x="1799423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3" name="Полилиния 732">
                <a:extLst>
                  <a:ext uri="{FF2B5EF4-FFF2-40B4-BE49-F238E27FC236}">
                    <a16:creationId xmlns:a16="http://schemas.microsoft.com/office/drawing/2014/main" id="{D7640FE4-DC14-F128-6CB1-23E648812395}"/>
                  </a:ext>
                </a:extLst>
              </p:cNvPr>
              <p:cNvSpPr/>
              <p:nvPr/>
            </p:nvSpPr>
            <p:spPr>
              <a:xfrm>
                <a:off x="1890597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4" name="Полилиния 733">
                <a:extLst>
                  <a:ext uri="{FF2B5EF4-FFF2-40B4-BE49-F238E27FC236}">
                    <a16:creationId xmlns:a16="http://schemas.microsoft.com/office/drawing/2014/main" id="{3AE0FFC9-0239-F513-711F-B71FBD285304}"/>
                  </a:ext>
                </a:extLst>
              </p:cNvPr>
              <p:cNvSpPr/>
              <p:nvPr/>
            </p:nvSpPr>
            <p:spPr>
              <a:xfrm rot="-5400000">
                <a:off x="2255295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5" name="Полилиния 734">
                <a:extLst>
                  <a:ext uri="{FF2B5EF4-FFF2-40B4-BE49-F238E27FC236}">
                    <a16:creationId xmlns:a16="http://schemas.microsoft.com/office/drawing/2014/main" id="{A5F4C6B8-24BF-98C5-58BE-0BBEE22210CF}"/>
                  </a:ext>
                </a:extLst>
              </p:cNvPr>
              <p:cNvSpPr/>
              <p:nvPr/>
            </p:nvSpPr>
            <p:spPr>
              <a:xfrm rot="5400000">
                <a:off x="2346469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6" name="Полилиния 735">
                <a:extLst>
                  <a:ext uri="{FF2B5EF4-FFF2-40B4-BE49-F238E27FC236}">
                    <a16:creationId xmlns:a16="http://schemas.microsoft.com/office/drawing/2014/main" id="{0488B066-DB40-83EC-D5EB-BD003781E564}"/>
                  </a:ext>
                </a:extLst>
              </p:cNvPr>
              <p:cNvSpPr/>
              <p:nvPr/>
            </p:nvSpPr>
            <p:spPr>
              <a:xfrm rot="-5400000">
                <a:off x="2528817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7" name="Полилиния 736">
                <a:extLst>
                  <a:ext uri="{FF2B5EF4-FFF2-40B4-BE49-F238E27FC236}">
                    <a16:creationId xmlns:a16="http://schemas.microsoft.com/office/drawing/2014/main" id="{64FA8BF5-43BE-AE04-01D6-024426AEAFAF}"/>
                  </a:ext>
                </a:extLst>
              </p:cNvPr>
              <p:cNvSpPr/>
              <p:nvPr/>
            </p:nvSpPr>
            <p:spPr>
              <a:xfrm>
                <a:off x="2619992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8" name="Полилиния 737">
                <a:extLst>
                  <a:ext uri="{FF2B5EF4-FFF2-40B4-BE49-F238E27FC236}">
                    <a16:creationId xmlns:a16="http://schemas.microsoft.com/office/drawing/2014/main" id="{1A407647-AB8D-0FD2-286B-A88CD10AFAEE}"/>
                  </a:ext>
                </a:extLst>
              </p:cNvPr>
              <p:cNvSpPr/>
              <p:nvPr/>
            </p:nvSpPr>
            <p:spPr>
              <a:xfrm rot="5400000">
                <a:off x="2711166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9" name="Полилиния 738">
                <a:extLst>
                  <a:ext uri="{FF2B5EF4-FFF2-40B4-BE49-F238E27FC236}">
                    <a16:creationId xmlns:a16="http://schemas.microsoft.com/office/drawing/2014/main" id="{5FA4E4D0-6A25-A90E-1C2F-02EA6EC141D9}"/>
                  </a:ext>
                </a:extLst>
              </p:cNvPr>
              <p:cNvSpPr/>
              <p:nvPr/>
            </p:nvSpPr>
            <p:spPr>
              <a:xfrm>
                <a:off x="2984689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0" name="Полилиния 739">
                <a:extLst>
                  <a:ext uri="{FF2B5EF4-FFF2-40B4-BE49-F238E27FC236}">
                    <a16:creationId xmlns:a16="http://schemas.microsoft.com/office/drawing/2014/main" id="{BE425AC8-0CCE-65A8-E0F5-13D78908070E}"/>
                  </a:ext>
                </a:extLst>
              </p:cNvPr>
              <p:cNvSpPr/>
              <p:nvPr/>
            </p:nvSpPr>
            <p:spPr>
              <a:xfrm>
                <a:off x="3167038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1" name="Полилиния 740">
                <a:extLst>
                  <a:ext uri="{FF2B5EF4-FFF2-40B4-BE49-F238E27FC236}">
                    <a16:creationId xmlns:a16="http://schemas.microsoft.com/office/drawing/2014/main" id="{CB4CA7E8-3C6D-076D-FF6B-91D4E09779B9}"/>
                  </a:ext>
                </a:extLst>
              </p:cNvPr>
              <p:cNvSpPr/>
              <p:nvPr/>
            </p:nvSpPr>
            <p:spPr>
              <a:xfrm rot="-5400000">
                <a:off x="3440561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2" name="Полилиния 741">
                <a:extLst>
                  <a:ext uri="{FF2B5EF4-FFF2-40B4-BE49-F238E27FC236}">
                    <a16:creationId xmlns:a16="http://schemas.microsoft.com/office/drawing/2014/main" id="{DD30A194-9115-26E6-DCE0-9FFCCF8844C8}"/>
                  </a:ext>
                </a:extLst>
              </p:cNvPr>
              <p:cNvSpPr/>
              <p:nvPr/>
            </p:nvSpPr>
            <p:spPr>
              <a:xfrm rot="-5400000">
                <a:off x="1343551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3" name="Полилиния 742">
                <a:extLst>
                  <a:ext uri="{FF2B5EF4-FFF2-40B4-BE49-F238E27FC236}">
                    <a16:creationId xmlns:a16="http://schemas.microsoft.com/office/drawing/2014/main" id="{7EDA9E04-3B00-9FB0-6DDF-6937510F85CF}"/>
                  </a:ext>
                </a:extLst>
              </p:cNvPr>
              <p:cNvSpPr/>
              <p:nvPr/>
            </p:nvSpPr>
            <p:spPr>
              <a:xfrm>
                <a:off x="1434726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4" name="Полилиния 743">
                <a:extLst>
                  <a:ext uri="{FF2B5EF4-FFF2-40B4-BE49-F238E27FC236}">
                    <a16:creationId xmlns:a16="http://schemas.microsoft.com/office/drawing/2014/main" id="{1A420C7E-CE5B-9D7C-83EE-F116F8D9629C}"/>
                  </a:ext>
                </a:extLst>
              </p:cNvPr>
              <p:cNvSpPr/>
              <p:nvPr/>
            </p:nvSpPr>
            <p:spPr>
              <a:xfrm rot="5400000">
                <a:off x="1617074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5" name="Полилиния 744">
                <a:extLst>
                  <a:ext uri="{FF2B5EF4-FFF2-40B4-BE49-F238E27FC236}">
                    <a16:creationId xmlns:a16="http://schemas.microsoft.com/office/drawing/2014/main" id="{CB10C1CE-3CDF-EFD0-6660-DFC39134904D}"/>
                  </a:ext>
                </a:extLst>
              </p:cNvPr>
              <p:cNvSpPr/>
              <p:nvPr/>
            </p:nvSpPr>
            <p:spPr>
              <a:xfrm>
                <a:off x="1890597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6" name="Полилиния 745">
                <a:extLst>
                  <a:ext uri="{FF2B5EF4-FFF2-40B4-BE49-F238E27FC236}">
                    <a16:creationId xmlns:a16="http://schemas.microsoft.com/office/drawing/2014/main" id="{B11A8213-8AA6-9960-63C6-F370A571ECDA}"/>
                  </a:ext>
                </a:extLst>
              </p:cNvPr>
              <p:cNvSpPr/>
              <p:nvPr/>
            </p:nvSpPr>
            <p:spPr>
              <a:xfrm>
                <a:off x="1981772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7" name="Полилиния 746">
                <a:extLst>
                  <a:ext uri="{FF2B5EF4-FFF2-40B4-BE49-F238E27FC236}">
                    <a16:creationId xmlns:a16="http://schemas.microsoft.com/office/drawing/2014/main" id="{49AF6862-3A91-AAC7-808E-25A0CC5E2047}"/>
                  </a:ext>
                </a:extLst>
              </p:cNvPr>
              <p:cNvSpPr/>
              <p:nvPr/>
            </p:nvSpPr>
            <p:spPr>
              <a:xfrm rot="5400000">
                <a:off x="2072946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8" name="Полилиния 747">
                <a:extLst>
                  <a:ext uri="{FF2B5EF4-FFF2-40B4-BE49-F238E27FC236}">
                    <a16:creationId xmlns:a16="http://schemas.microsoft.com/office/drawing/2014/main" id="{963CD911-643E-CE89-B146-EA835A5F949B}"/>
                  </a:ext>
                </a:extLst>
              </p:cNvPr>
              <p:cNvSpPr/>
              <p:nvPr/>
            </p:nvSpPr>
            <p:spPr>
              <a:xfrm>
                <a:off x="2528817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9" name="Полилиния 748">
                <a:extLst>
                  <a:ext uri="{FF2B5EF4-FFF2-40B4-BE49-F238E27FC236}">
                    <a16:creationId xmlns:a16="http://schemas.microsoft.com/office/drawing/2014/main" id="{6BF1758C-363A-3911-44CB-5C483C5C4F65}"/>
                  </a:ext>
                </a:extLst>
              </p:cNvPr>
              <p:cNvSpPr/>
              <p:nvPr/>
            </p:nvSpPr>
            <p:spPr>
              <a:xfrm rot="5400000">
                <a:off x="2619992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0" name="Полилиния 749">
                <a:extLst>
                  <a:ext uri="{FF2B5EF4-FFF2-40B4-BE49-F238E27FC236}">
                    <a16:creationId xmlns:a16="http://schemas.microsoft.com/office/drawing/2014/main" id="{A7DB97F3-8579-6F96-2E1E-2A2CC74D130D}"/>
                  </a:ext>
                </a:extLst>
              </p:cNvPr>
              <p:cNvSpPr/>
              <p:nvPr/>
            </p:nvSpPr>
            <p:spPr>
              <a:xfrm>
                <a:off x="2984689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1" name="Полилиния 750">
                <a:extLst>
                  <a:ext uri="{FF2B5EF4-FFF2-40B4-BE49-F238E27FC236}">
                    <a16:creationId xmlns:a16="http://schemas.microsoft.com/office/drawing/2014/main" id="{E51EA759-6D13-B4D2-19FB-081BDB47C44D}"/>
                  </a:ext>
                </a:extLst>
              </p:cNvPr>
              <p:cNvSpPr/>
              <p:nvPr/>
            </p:nvSpPr>
            <p:spPr>
              <a:xfrm>
                <a:off x="3167038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2" name="Полилиния 751">
                <a:extLst>
                  <a:ext uri="{FF2B5EF4-FFF2-40B4-BE49-F238E27FC236}">
                    <a16:creationId xmlns:a16="http://schemas.microsoft.com/office/drawing/2014/main" id="{60154151-333A-841F-5612-160CCB133EEE}"/>
                  </a:ext>
                </a:extLst>
              </p:cNvPr>
              <p:cNvSpPr/>
              <p:nvPr/>
            </p:nvSpPr>
            <p:spPr>
              <a:xfrm>
                <a:off x="3258212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3" name="Полилиния 752">
                <a:extLst>
                  <a:ext uri="{FF2B5EF4-FFF2-40B4-BE49-F238E27FC236}">
                    <a16:creationId xmlns:a16="http://schemas.microsoft.com/office/drawing/2014/main" id="{AFFA4CD6-3876-A468-9F09-03DC0783C7EF}"/>
                  </a:ext>
                </a:extLst>
              </p:cNvPr>
              <p:cNvSpPr/>
              <p:nvPr/>
            </p:nvSpPr>
            <p:spPr>
              <a:xfrm>
                <a:off x="3349386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4" name="Полилиния 753">
                <a:extLst>
                  <a:ext uri="{FF2B5EF4-FFF2-40B4-BE49-F238E27FC236}">
                    <a16:creationId xmlns:a16="http://schemas.microsoft.com/office/drawing/2014/main" id="{55E7847E-3438-FB81-CD7B-FFE44B4F9840}"/>
                  </a:ext>
                </a:extLst>
              </p:cNvPr>
              <p:cNvSpPr/>
              <p:nvPr/>
            </p:nvSpPr>
            <p:spPr>
              <a:xfrm>
                <a:off x="3440561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5" name="Полилиния 754">
                <a:extLst>
                  <a:ext uri="{FF2B5EF4-FFF2-40B4-BE49-F238E27FC236}">
                    <a16:creationId xmlns:a16="http://schemas.microsoft.com/office/drawing/2014/main" id="{6141A13D-1C0C-4255-3610-9817E8BE127C}"/>
                  </a:ext>
                </a:extLst>
              </p:cNvPr>
              <p:cNvSpPr/>
              <p:nvPr/>
            </p:nvSpPr>
            <p:spPr>
              <a:xfrm rot="-5400000">
                <a:off x="1252377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6" name="Полилиния 755">
                <a:extLst>
                  <a:ext uri="{FF2B5EF4-FFF2-40B4-BE49-F238E27FC236}">
                    <a16:creationId xmlns:a16="http://schemas.microsoft.com/office/drawing/2014/main" id="{D0B5C0CC-E28C-A912-B931-1D2612ACF13F}"/>
                  </a:ext>
                </a:extLst>
              </p:cNvPr>
              <p:cNvSpPr/>
              <p:nvPr/>
            </p:nvSpPr>
            <p:spPr>
              <a:xfrm>
                <a:off x="1343551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7" name="Полилиния 756">
                <a:extLst>
                  <a:ext uri="{FF2B5EF4-FFF2-40B4-BE49-F238E27FC236}">
                    <a16:creationId xmlns:a16="http://schemas.microsoft.com/office/drawing/2014/main" id="{0F7A53FD-1BED-B141-8106-00745855A4AB}"/>
                  </a:ext>
                </a:extLst>
              </p:cNvPr>
              <p:cNvSpPr/>
              <p:nvPr/>
            </p:nvSpPr>
            <p:spPr>
              <a:xfrm>
                <a:off x="1434726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8" name="Полилиния 757">
                <a:extLst>
                  <a:ext uri="{FF2B5EF4-FFF2-40B4-BE49-F238E27FC236}">
                    <a16:creationId xmlns:a16="http://schemas.microsoft.com/office/drawing/2014/main" id="{264643EF-748F-4F49-9514-FE2E4ADC8F53}"/>
                  </a:ext>
                </a:extLst>
              </p:cNvPr>
              <p:cNvSpPr/>
              <p:nvPr/>
            </p:nvSpPr>
            <p:spPr>
              <a:xfrm rot="5400000">
                <a:off x="1799423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9" name="Полилиния 758">
                <a:extLst>
                  <a:ext uri="{FF2B5EF4-FFF2-40B4-BE49-F238E27FC236}">
                    <a16:creationId xmlns:a16="http://schemas.microsoft.com/office/drawing/2014/main" id="{BB7D1062-7A94-8B8C-9D10-366CC61C27F8}"/>
                  </a:ext>
                </a:extLst>
              </p:cNvPr>
              <p:cNvSpPr/>
              <p:nvPr/>
            </p:nvSpPr>
            <p:spPr>
              <a:xfrm rot="5400000">
                <a:off x="1981772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0" name="Полилиния 759">
                <a:extLst>
                  <a:ext uri="{FF2B5EF4-FFF2-40B4-BE49-F238E27FC236}">
                    <a16:creationId xmlns:a16="http://schemas.microsoft.com/office/drawing/2014/main" id="{6FFF7A1A-7EAC-C3FA-284C-F1D66B1D0190}"/>
                  </a:ext>
                </a:extLst>
              </p:cNvPr>
              <p:cNvSpPr/>
              <p:nvPr/>
            </p:nvSpPr>
            <p:spPr>
              <a:xfrm rot="5400000">
                <a:off x="2255295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1" name="Полилиния 760">
                <a:extLst>
                  <a:ext uri="{FF2B5EF4-FFF2-40B4-BE49-F238E27FC236}">
                    <a16:creationId xmlns:a16="http://schemas.microsoft.com/office/drawing/2014/main" id="{47896A44-58CB-DF42-6289-77EE4E710FF0}"/>
                  </a:ext>
                </a:extLst>
              </p:cNvPr>
              <p:cNvSpPr/>
              <p:nvPr/>
            </p:nvSpPr>
            <p:spPr>
              <a:xfrm rot="-5400000">
                <a:off x="2437643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2" name="Полилиния 761">
                <a:extLst>
                  <a:ext uri="{FF2B5EF4-FFF2-40B4-BE49-F238E27FC236}">
                    <a16:creationId xmlns:a16="http://schemas.microsoft.com/office/drawing/2014/main" id="{A0BD64B4-C172-7085-3485-611C4CD92007}"/>
                  </a:ext>
                </a:extLst>
              </p:cNvPr>
              <p:cNvSpPr/>
              <p:nvPr/>
            </p:nvSpPr>
            <p:spPr>
              <a:xfrm>
                <a:off x="2528817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3" name="Полилиния 762">
                <a:extLst>
                  <a:ext uri="{FF2B5EF4-FFF2-40B4-BE49-F238E27FC236}">
                    <a16:creationId xmlns:a16="http://schemas.microsoft.com/office/drawing/2014/main" id="{A16E8D62-A443-3080-4568-0D28717D726F}"/>
                  </a:ext>
                </a:extLst>
              </p:cNvPr>
              <p:cNvSpPr/>
              <p:nvPr/>
            </p:nvSpPr>
            <p:spPr>
              <a:xfrm rot="5400000">
                <a:off x="2711166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4" name="Полилиния 763">
                <a:extLst>
                  <a:ext uri="{FF2B5EF4-FFF2-40B4-BE49-F238E27FC236}">
                    <a16:creationId xmlns:a16="http://schemas.microsoft.com/office/drawing/2014/main" id="{C2AFF86F-15B8-B07E-72CE-9D02AB429E2A}"/>
                  </a:ext>
                </a:extLst>
              </p:cNvPr>
              <p:cNvSpPr/>
              <p:nvPr/>
            </p:nvSpPr>
            <p:spPr>
              <a:xfrm rot="-5400000">
                <a:off x="2893515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5" name="Полилиния 764">
                <a:extLst>
                  <a:ext uri="{FF2B5EF4-FFF2-40B4-BE49-F238E27FC236}">
                    <a16:creationId xmlns:a16="http://schemas.microsoft.com/office/drawing/2014/main" id="{AF9B310F-2710-BECB-1798-271C7E6FEA8D}"/>
                  </a:ext>
                </a:extLst>
              </p:cNvPr>
              <p:cNvSpPr/>
              <p:nvPr/>
            </p:nvSpPr>
            <p:spPr>
              <a:xfrm rot="5400000">
                <a:off x="2984689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7" name="Полилиния 766">
                <a:extLst>
                  <a:ext uri="{FF2B5EF4-FFF2-40B4-BE49-F238E27FC236}">
                    <a16:creationId xmlns:a16="http://schemas.microsoft.com/office/drawing/2014/main" id="{717A1999-A75D-3966-335B-E3043A57C045}"/>
                  </a:ext>
                </a:extLst>
              </p:cNvPr>
              <p:cNvSpPr/>
              <p:nvPr/>
            </p:nvSpPr>
            <p:spPr>
              <a:xfrm rot="5400000">
                <a:off x="3440561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8" name="Полилиния 767">
                <a:extLst>
                  <a:ext uri="{FF2B5EF4-FFF2-40B4-BE49-F238E27FC236}">
                    <a16:creationId xmlns:a16="http://schemas.microsoft.com/office/drawing/2014/main" id="{2926F927-8028-6CF7-0F46-97014BA548B0}"/>
                  </a:ext>
                </a:extLst>
              </p:cNvPr>
              <p:cNvSpPr/>
              <p:nvPr/>
            </p:nvSpPr>
            <p:spPr>
              <a:xfrm>
                <a:off x="1252377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9" name="Полилиния 768">
                <a:extLst>
                  <a:ext uri="{FF2B5EF4-FFF2-40B4-BE49-F238E27FC236}">
                    <a16:creationId xmlns:a16="http://schemas.microsoft.com/office/drawing/2014/main" id="{E4C5E04A-66FD-10CB-9D96-5FC86CD12409}"/>
                  </a:ext>
                </a:extLst>
              </p:cNvPr>
              <p:cNvSpPr/>
              <p:nvPr/>
            </p:nvSpPr>
            <p:spPr>
              <a:xfrm>
                <a:off x="1343551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0" name="Полилиния 769">
                <a:extLst>
                  <a:ext uri="{FF2B5EF4-FFF2-40B4-BE49-F238E27FC236}">
                    <a16:creationId xmlns:a16="http://schemas.microsoft.com/office/drawing/2014/main" id="{03E7C53C-9D87-3BCA-5A85-3A58C18AC7D9}"/>
                  </a:ext>
                </a:extLst>
              </p:cNvPr>
              <p:cNvSpPr/>
              <p:nvPr/>
            </p:nvSpPr>
            <p:spPr>
              <a:xfrm>
                <a:off x="1434726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1" name="Полилиния 770">
                <a:extLst>
                  <a:ext uri="{FF2B5EF4-FFF2-40B4-BE49-F238E27FC236}">
                    <a16:creationId xmlns:a16="http://schemas.microsoft.com/office/drawing/2014/main" id="{B313ECB1-88B4-6CC6-9CBD-00CB6724F597}"/>
                  </a:ext>
                </a:extLst>
              </p:cNvPr>
              <p:cNvSpPr/>
              <p:nvPr/>
            </p:nvSpPr>
            <p:spPr>
              <a:xfrm rot="5400000">
                <a:off x="1708249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2" name="Полилиния 771">
                <a:extLst>
                  <a:ext uri="{FF2B5EF4-FFF2-40B4-BE49-F238E27FC236}">
                    <a16:creationId xmlns:a16="http://schemas.microsoft.com/office/drawing/2014/main" id="{132DD3B8-2479-949F-28B9-336B697F88B9}"/>
                  </a:ext>
                </a:extLst>
              </p:cNvPr>
              <p:cNvSpPr/>
              <p:nvPr/>
            </p:nvSpPr>
            <p:spPr>
              <a:xfrm rot="5400000">
                <a:off x="1890597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3" name="Полилиния 772">
                <a:extLst>
                  <a:ext uri="{FF2B5EF4-FFF2-40B4-BE49-F238E27FC236}">
                    <a16:creationId xmlns:a16="http://schemas.microsoft.com/office/drawing/2014/main" id="{7B4BA375-F452-FE20-B512-73AF9F77911D}"/>
                  </a:ext>
                </a:extLst>
              </p:cNvPr>
              <p:cNvSpPr/>
              <p:nvPr/>
            </p:nvSpPr>
            <p:spPr>
              <a:xfrm rot="5400000">
                <a:off x="2072946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4" name="Полилиния 773">
                <a:extLst>
                  <a:ext uri="{FF2B5EF4-FFF2-40B4-BE49-F238E27FC236}">
                    <a16:creationId xmlns:a16="http://schemas.microsoft.com/office/drawing/2014/main" id="{0454EF6D-94DE-640B-2773-28FC28BBC721}"/>
                  </a:ext>
                </a:extLst>
              </p:cNvPr>
              <p:cNvSpPr/>
              <p:nvPr/>
            </p:nvSpPr>
            <p:spPr>
              <a:xfrm rot="-5400000">
                <a:off x="2346469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5" name="Полилиния 774">
                <a:extLst>
                  <a:ext uri="{FF2B5EF4-FFF2-40B4-BE49-F238E27FC236}">
                    <a16:creationId xmlns:a16="http://schemas.microsoft.com/office/drawing/2014/main" id="{0338189C-B635-37D0-E9F7-E1A3156A1158}"/>
                  </a:ext>
                </a:extLst>
              </p:cNvPr>
              <p:cNvSpPr/>
              <p:nvPr/>
            </p:nvSpPr>
            <p:spPr>
              <a:xfrm>
                <a:off x="2437643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6" name="Полилиния 775">
                <a:extLst>
                  <a:ext uri="{FF2B5EF4-FFF2-40B4-BE49-F238E27FC236}">
                    <a16:creationId xmlns:a16="http://schemas.microsoft.com/office/drawing/2014/main" id="{64E288B0-9AD4-4DDD-3905-B7A1C2CC917A}"/>
                  </a:ext>
                </a:extLst>
              </p:cNvPr>
              <p:cNvSpPr/>
              <p:nvPr/>
            </p:nvSpPr>
            <p:spPr>
              <a:xfrm>
                <a:off x="2528817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7" name="Полилиния 776">
                <a:extLst>
                  <a:ext uri="{FF2B5EF4-FFF2-40B4-BE49-F238E27FC236}">
                    <a16:creationId xmlns:a16="http://schemas.microsoft.com/office/drawing/2014/main" id="{839BB8A4-A04E-A7DD-4570-079557251F61}"/>
                  </a:ext>
                </a:extLst>
              </p:cNvPr>
              <p:cNvSpPr/>
              <p:nvPr/>
            </p:nvSpPr>
            <p:spPr>
              <a:xfrm>
                <a:off x="2619992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8" name="Полилиния 777">
                <a:extLst>
                  <a:ext uri="{FF2B5EF4-FFF2-40B4-BE49-F238E27FC236}">
                    <a16:creationId xmlns:a16="http://schemas.microsoft.com/office/drawing/2014/main" id="{31A9D023-B5C5-A905-0714-BE1D1BFF270F}"/>
                  </a:ext>
                </a:extLst>
              </p:cNvPr>
              <p:cNvSpPr/>
              <p:nvPr/>
            </p:nvSpPr>
            <p:spPr>
              <a:xfrm rot="-5400000">
                <a:off x="3075863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9" name="Полилиния 778">
                <a:extLst>
                  <a:ext uri="{FF2B5EF4-FFF2-40B4-BE49-F238E27FC236}">
                    <a16:creationId xmlns:a16="http://schemas.microsoft.com/office/drawing/2014/main" id="{84781572-6821-9EB1-E020-8E2B250D8614}"/>
                  </a:ext>
                </a:extLst>
              </p:cNvPr>
              <p:cNvSpPr/>
              <p:nvPr/>
            </p:nvSpPr>
            <p:spPr>
              <a:xfrm rot="-5400000">
                <a:off x="3349386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0" name="Полилиния 779">
                <a:extLst>
                  <a:ext uri="{FF2B5EF4-FFF2-40B4-BE49-F238E27FC236}">
                    <a16:creationId xmlns:a16="http://schemas.microsoft.com/office/drawing/2014/main" id="{A8107BD0-4DB1-175D-BFDE-AD1B9FD7893F}"/>
                  </a:ext>
                </a:extLst>
              </p:cNvPr>
              <p:cNvSpPr/>
              <p:nvPr/>
            </p:nvSpPr>
            <p:spPr>
              <a:xfrm>
                <a:off x="1252377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1" name="Полилиния 780">
                <a:extLst>
                  <a:ext uri="{FF2B5EF4-FFF2-40B4-BE49-F238E27FC236}">
                    <a16:creationId xmlns:a16="http://schemas.microsoft.com/office/drawing/2014/main" id="{697F78C4-4B77-7B1A-3224-854023FEEF0D}"/>
                  </a:ext>
                </a:extLst>
              </p:cNvPr>
              <p:cNvSpPr/>
              <p:nvPr/>
            </p:nvSpPr>
            <p:spPr>
              <a:xfrm>
                <a:off x="1343551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2" name="Полилиния 781">
                <a:extLst>
                  <a:ext uri="{FF2B5EF4-FFF2-40B4-BE49-F238E27FC236}">
                    <a16:creationId xmlns:a16="http://schemas.microsoft.com/office/drawing/2014/main" id="{9BFB7818-5F64-F6F0-AD70-DFA0D03DB9A9}"/>
                  </a:ext>
                </a:extLst>
              </p:cNvPr>
              <p:cNvSpPr/>
              <p:nvPr/>
            </p:nvSpPr>
            <p:spPr>
              <a:xfrm>
                <a:off x="1434726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3" name="Полилиния 782">
                <a:extLst>
                  <a:ext uri="{FF2B5EF4-FFF2-40B4-BE49-F238E27FC236}">
                    <a16:creationId xmlns:a16="http://schemas.microsoft.com/office/drawing/2014/main" id="{CEECED3E-7E4E-623C-0072-9023AC8AEA75}"/>
                  </a:ext>
                </a:extLst>
              </p:cNvPr>
              <p:cNvSpPr/>
              <p:nvPr/>
            </p:nvSpPr>
            <p:spPr>
              <a:xfrm rot="5400000">
                <a:off x="1617074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4" name="Полилиния 783">
                <a:extLst>
                  <a:ext uri="{FF2B5EF4-FFF2-40B4-BE49-F238E27FC236}">
                    <a16:creationId xmlns:a16="http://schemas.microsoft.com/office/drawing/2014/main" id="{AC5BEB53-4522-CD0B-CED5-209C1D4DBD24}"/>
                  </a:ext>
                </a:extLst>
              </p:cNvPr>
              <p:cNvSpPr/>
              <p:nvPr/>
            </p:nvSpPr>
            <p:spPr>
              <a:xfrm rot="5400000">
                <a:off x="1799423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5" name="Полилиния 784">
                <a:extLst>
                  <a:ext uri="{FF2B5EF4-FFF2-40B4-BE49-F238E27FC236}">
                    <a16:creationId xmlns:a16="http://schemas.microsoft.com/office/drawing/2014/main" id="{7383094E-6446-8964-93DE-1CB8192FC56C}"/>
                  </a:ext>
                </a:extLst>
              </p:cNvPr>
              <p:cNvSpPr/>
              <p:nvPr/>
            </p:nvSpPr>
            <p:spPr>
              <a:xfrm rot="-5400000">
                <a:off x="2164120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6" name="Полилиния 785">
                <a:extLst>
                  <a:ext uri="{FF2B5EF4-FFF2-40B4-BE49-F238E27FC236}">
                    <a16:creationId xmlns:a16="http://schemas.microsoft.com/office/drawing/2014/main" id="{24C5A309-CE6B-5F30-13DB-6F6209556615}"/>
                  </a:ext>
                </a:extLst>
              </p:cNvPr>
              <p:cNvSpPr/>
              <p:nvPr/>
            </p:nvSpPr>
            <p:spPr>
              <a:xfrm rot="5400000">
                <a:off x="2346469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7" name="Полилиния 786">
                <a:extLst>
                  <a:ext uri="{FF2B5EF4-FFF2-40B4-BE49-F238E27FC236}">
                    <a16:creationId xmlns:a16="http://schemas.microsoft.com/office/drawing/2014/main" id="{44BF3A3C-EBE9-F781-FA3A-5287141199B9}"/>
                  </a:ext>
                </a:extLst>
              </p:cNvPr>
              <p:cNvSpPr/>
              <p:nvPr/>
            </p:nvSpPr>
            <p:spPr>
              <a:xfrm>
                <a:off x="2528817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8" name="Полилиния 787">
                <a:extLst>
                  <a:ext uri="{FF2B5EF4-FFF2-40B4-BE49-F238E27FC236}">
                    <a16:creationId xmlns:a16="http://schemas.microsoft.com/office/drawing/2014/main" id="{A9466290-FC4B-D280-2198-9C7CCCF9372F}"/>
                  </a:ext>
                </a:extLst>
              </p:cNvPr>
              <p:cNvSpPr/>
              <p:nvPr/>
            </p:nvSpPr>
            <p:spPr>
              <a:xfrm rot="5400000">
                <a:off x="2619992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9" name="Полилиния 788">
                <a:extLst>
                  <a:ext uri="{FF2B5EF4-FFF2-40B4-BE49-F238E27FC236}">
                    <a16:creationId xmlns:a16="http://schemas.microsoft.com/office/drawing/2014/main" id="{650F1F33-979A-48BA-FF72-36A78F3C4ACA}"/>
                  </a:ext>
                </a:extLst>
              </p:cNvPr>
              <p:cNvSpPr/>
              <p:nvPr/>
            </p:nvSpPr>
            <p:spPr>
              <a:xfrm rot="-5400000">
                <a:off x="2802340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0" name="Полилиния 789">
                <a:extLst>
                  <a:ext uri="{FF2B5EF4-FFF2-40B4-BE49-F238E27FC236}">
                    <a16:creationId xmlns:a16="http://schemas.microsoft.com/office/drawing/2014/main" id="{C1FEC56D-6EC9-3A55-137C-906A37E2379B}"/>
                  </a:ext>
                </a:extLst>
              </p:cNvPr>
              <p:cNvSpPr/>
              <p:nvPr/>
            </p:nvSpPr>
            <p:spPr>
              <a:xfrm>
                <a:off x="3075863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1" name="Полилиния 790">
                <a:extLst>
                  <a:ext uri="{FF2B5EF4-FFF2-40B4-BE49-F238E27FC236}">
                    <a16:creationId xmlns:a16="http://schemas.microsoft.com/office/drawing/2014/main" id="{E4504287-DB7A-130A-96B4-F8F2C38C7235}"/>
                  </a:ext>
                </a:extLst>
              </p:cNvPr>
              <p:cNvSpPr/>
              <p:nvPr/>
            </p:nvSpPr>
            <p:spPr>
              <a:xfrm>
                <a:off x="3167038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2" name="Полилиния 791">
                <a:extLst>
                  <a:ext uri="{FF2B5EF4-FFF2-40B4-BE49-F238E27FC236}">
                    <a16:creationId xmlns:a16="http://schemas.microsoft.com/office/drawing/2014/main" id="{4A945A7A-1EA3-05A0-8FDB-2CC70305C773}"/>
                  </a:ext>
                </a:extLst>
              </p:cNvPr>
              <p:cNvSpPr/>
              <p:nvPr/>
            </p:nvSpPr>
            <p:spPr>
              <a:xfrm>
                <a:off x="3258212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3" name="Полилиния 792">
                <a:extLst>
                  <a:ext uri="{FF2B5EF4-FFF2-40B4-BE49-F238E27FC236}">
                    <a16:creationId xmlns:a16="http://schemas.microsoft.com/office/drawing/2014/main" id="{EB907123-1EB3-A221-B7D6-BB422B434E8C}"/>
                  </a:ext>
                </a:extLst>
              </p:cNvPr>
              <p:cNvSpPr/>
              <p:nvPr/>
            </p:nvSpPr>
            <p:spPr>
              <a:xfrm>
                <a:off x="3349386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4" name="Полилиния 793">
                <a:extLst>
                  <a:ext uri="{FF2B5EF4-FFF2-40B4-BE49-F238E27FC236}">
                    <a16:creationId xmlns:a16="http://schemas.microsoft.com/office/drawing/2014/main" id="{107CD3D1-A1B6-E976-E599-E282367B59BF}"/>
                  </a:ext>
                </a:extLst>
              </p:cNvPr>
              <p:cNvSpPr/>
              <p:nvPr/>
            </p:nvSpPr>
            <p:spPr>
              <a:xfrm>
                <a:off x="3440561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5" name="Полилиния 794">
                <a:extLst>
                  <a:ext uri="{FF2B5EF4-FFF2-40B4-BE49-F238E27FC236}">
                    <a16:creationId xmlns:a16="http://schemas.microsoft.com/office/drawing/2014/main" id="{9C979351-8161-5A57-9E9B-D57E078A09D7}"/>
                  </a:ext>
                </a:extLst>
              </p:cNvPr>
              <p:cNvSpPr/>
              <p:nvPr/>
            </p:nvSpPr>
            <p:spPr>
              <a:xfrm>
                <a:off x="1252377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6" name="Полилиния 795">
                <a:extLst>
                  <a:ext uri="{FF2B5EF4-FFF2-40B4-BE49-F238E27FC236}">
                    <a16:creationId xmlns:a16="http://schemas.microsoft.com/office/drawing/2014/main" id="{EDD75303-F496-785E-E384-7C95D679620C}"/>
                  </a:ext>
                </a:extLst>
              </p:cNvPr>
              <p:cNvSpPr/>
              <p:nvPr/>
            </p:nvSpPr>
            <p:spPr>
              <a:xfrm>
                <a:off x="1434726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7" name="Полилиния 796">
                <a:extLst>
                  <a:ext uri="{FF2B5EF4-FFF2-40B4-BE49-F238E27FC236}">
                    <a16:creationId xmlns:a16="http://schemas.microsoft.com/office/drawing/2014/main" id="{7E1260B2-304D-7169-63FC-7E2D82D41336}"/>
                  </a:ext>
                </a:extLst>
              </p:cNvPr>
              <p:cNvSpPr/>
              <p:nvPr/>
            </p:nvSpPr>
            <p:spPr>
              <a:xfrm rot="5400000">
                <a:off x="1525900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8" name="Полилиния 797">
                <a:extLst>
                  <a:ext uri="{FF2B5EF4-FFF2-40B4-BE49-F238E27FC236}">
                    <a16:creationId xmlns:a16="http://schemas.microsoft.com/office/drawing/2014/main" id="{0136A1C0-786E-352E-FCAA-BAB344E2D5B2}"/>
                  </a:ext>
                </a:extLst>
              </p:cNvPr>
              <p:cNvSpPr/>
              <p:nvPr/>
            </p:nvSpPr>
            <p:spPr>
              <a:xfrm rot="5400000">
                <a:off x="2164120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9" name="Полилиния 798">
                <a:extLst>
                  <a:ext uri="{FF2B5EF4-FFF2-40B4-BE49-F238E27FC236}">
                    <a16:creationId xmlns:a16="http://schemas.microsoft.com/office/drawing/2014/main" id="{15F8BAB5-EFE6-D8DC-EADA-7A21DD27462F}"/>
                  </a:ext>
                </a:extLst>
              </p:cNvPr>
              <p:cNvSpPr/>
              <p:nvPr/>
            </p:nvSpPr>
            <p:spPr>
              <a:xfrm rot="-5400000">
                <a:off x="2437643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0" name="Полилиния 799">
                <a:extLst>
                  <a:ext uri="{FF2B5EF4-FFF2-40B4-BE49-F238E27FC236}">
                    <a16:creationId xmlns:a16="http://schemas.microsoft.com/office/drawing/2014/main" id="{D33C0FFB-7F3D-F370-C480-035C5E9C2B53}"/>
                  </a:ext>
                </a:extLst>
              </p:cNvPr>
              <p:cNvSpPr/>
              <p:nvPr/>
            </p:nvSpPr>
            <p:spPr>
              <a:xfrm>
                <a:off x="2802340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1" name="Полилиния 800">
                <a:extLst>
                  <a:ext uri="{FF2B5EF4-FFF2-40B4-BE49-F238E27FC236}">
                    <a16:creationId xmlns:a16="http://schemas.microsoft.com/office/drawing/2014/main" id="{82221C55-BFA1-206D-D90F-263B27FCA739}"/>
                  </a:ext>
                </a:extLst>
              </p:cNvPr>
              <p:cNvSpPr/>
              <p:nvPr/>
            </p:nvSpPr>
            <p:spPr>
              <a:xfrm rot="-5400000">
                <a:off x="2984689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2" name="Полилиния 801">
                <a:extLst>
                  <a:ext uri="{FF2B5EF4-FFF2-40B4-BE49-F238E27FC236}">
                    <a16:creationId xmlns:a16="http://schemas.microsoft.com/office/drawing/2014/main" id="{017CD9D0-5B76-0603-1499-3C2FE8C877FA}"/>
                  </a:ext>
                </a:extLst>
              </p:cNvPr>
              <p:cNvSpPr/>
              <p:nvPr/>
            </p:nvSpPr>
            <p:spPr>
              <a:xfrm>
                <a:off x="3167038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3" name="Полилиния 802">
                <a:extLst>
                  <a:ext uri="{FF2B5EF4-FFF2-40B4-BE49-F238E27FC236}">
                    <a16:creationId xmlns:a16="http://schemas.microsoft.com/office/drawing/2014/main" id="{8D412086-1F5A-D592-64C3-2DBC34E2BD7C}"/>
                  </a:ext>
                </a:extLst>
              </p:cNvPr>
              <p:cNvSpPr/>
              <p:nvPr/>
            </p:nvSpPr>
            <p:spPr>
              <a:xfrm>
                <a:off x="3258212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4" name="Полилиния 803">
                <a:extLst>
                  <a:ext uri="{FF2B5EF4-FFF2-40B4-BE49-F238E27FC236}">
                    <a16:creationId xmlns:a16="http://schemas.microsoft.com/office/drawing/2014/main" id="{54345EB4-0658-8CDC-B230-889AA1599B8F}"/>
                  </a:ext>
                </a:extLst>
              </p:cNvPr>
              <p:cNvSpPr/>
              <p:nvPr/>
            </p:nvSpPr>
            <p:spPr>
              <a:xfrm rot="5400000">
                <a:off x="3440561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5" name="Полилиния 804">
                <a:extLst>
                  <a:ext uri="{FF2B5EF4-FFF2-40B4-BE49-F238E27FC236}">
                    <a16:creationId xmlns:a16="http://schemas.microsoft.com/office/drawing/2014/main" id="{6C95F849-62DF-F882-D4BC-A2BCAB65E6FC}"/>
                  </a:ext>
                </a:extLst>
              </p:cNvPr>
              <p:cNvSpPr/>
              <p:nvPr/>
            </p:nvSpPr>
            <p:spPr>
              <a:xfrm rot="5400000">
                <a:off x="1252377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6" name="Полилиния 805">
                <a:extLst>
                  <a:ext uri="{FF2B5EF4-FFF2-40B4-BE49-F238E27FC236}">
                    <a16:creationId xmlns:a16="http://schemas.microsoft.com/office/drawing/2014/main" id="{F8543CBD-C548-253A-AC6A-10317C9F32D7}"/>
                  </a:ext>
                </a:extLst>
              </p:cNvPr>
              <p:cNvSpPr/>
              <p:nvPr/>
            </p:nvSpPr>
            <p:spPr>
              <a:xfrm rot="-5400000">
                <a:off x="1617074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7" name="Полилиния 806">
                <a:extLst>
                  <a:ext uri="{FF2B5EF4-FFF2-40B4-BE49-F238E27FC236}">
                    <a16:creationId xmlns:a16="http://schemas.microsoft.com/office/drawing/2014/main" id="{947E5750-943F-2978-E048-D7ED31F94E4D}"/>
                  </a:ext>
                </a:extLst>
              </p:cNvPr>
              <p:cNvSpPr/>
              <p:nvPr/>
            </p:nvSpPr>
            <p:spPr>
              <a:xfrm>
                <a:off x="1708249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8" name="Полилиния 807">
                <a:extLst>
                  <a:ext uri="{FF2B5EF4-FFF2-40B4-BE49-F238E27FC236}">
                    <a16:creationId xmlns:a16="http://schemas.microsoft.com/office/drawing/2014/main" id="{5E269F13-A1FB-0529-29C7-A4E29C196E59}"/>
                  </a:ext>
                </a:extLst>
              </p:cNvPr>
              <p:cNvSpPr/>
              <p:nvPr/>
            </p:nvSpPr>
            <p:spPr>
              <a:xfrm rot="5400000">
                <a:off x="1799423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9" name="Полилиния 808">
                <a:extLst>
                  <a:ext uri="{FF2B5EF4-FFF2-40B4-BE49-F238E27FC236}">
                    <a16:creationId xmlns:a16="http://schemas.microsoft.com/office/drawing/2014/main" id="{1EDE576E-63FC-453E-C03D-99FF799D4585}"/>
                  </a:ext>
                </a:extLst>
              </p:cNvPr>
              <p:cNvSpPr/>
              <p:nvPr/>
            </p:nvSpPr>
            <p:spPr>
              <a:xfrm rot="5400000">
                <a:off x="2072946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0" name="Полилиния 809">
                <a:extLst>
                  <a:ext uri="{FF2B5EF4-FFF2-40B4-BE49-F238E27FC236}">
                    <a16:creationId xmlns:a16="http://schemas.microsoft.com/office/drawing/2014/main" id="{ABD872A3-0077-81DF-58AB-9C7DDB8ACF0D}"/>
                  </a:ext>
                </a:extLst>
              </p:cNvPr>
              <p:cNvSpPr/>
              <p:nvPr/>
            </p:nvSpPr>
            <p:spPr>
              <a:xfrm rot="-5400000">
                <a:off x="2255295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1" name="Полилиния 810">
                <a:extLst>
                  <a:ext uri="{FF2B5EF4-FFF2-40B4-BE49-F238E27FC236}">
                    <a16:creationId xmlns:a16="http://schemas.microsoft.com/office/drawing/2014/main" id="{779C8A92-DEAA-9938-B9DD-A7A8B140BAEF}"/>
                  </a:ext>
                </a:extLst>
              </p:cNvPr>
              <p:cNvSpPr/>
              <p:nvPr/>
            </p:nvSpPr>
            <p:spPr>
              <a:xfrm>
                <a:off x="2437643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2" name="Полилиния 811">
                <a:extLst>
                  <a:ext uri="{FF2B5EF4-FFF2-40B4-BE49-F238E27FC236}">
                    <a16:creationId xmlns:a16="http://schemas.microsoft.com/office/drawing/2014/main" id="{87F70CBF-5932-30BE-8D58-993989D369A0}"/>
                  </a:ext>
                </a:extLst>
              </p:cNvPr>
              <p:cNvSpPr/>
              <p:nvPr/>
            </p:nvSpPr>
            <p:spPr>
              <a:xfrm>
                <a:off x="2528817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3" name="Полилиния 812">
                <a:extLst>
                  <a:ext uri="{FF2B5EF4-FFF2-40B4-BE49-F238E27FC236}">
                    <a16:creationId xmlns:a16="http://schemas.microsoft.com/office/drawing/2014/main" id="{79EB3002-F9BE-A182-A025-2FAAA696DA59}"/>
                  </a:ext>
                </a:extLst>
              </p:cNvPr>
              <p:cNvSpPr/>
              <p:nvPr/>
            </p:nvSpPr>
            <p:spPr>
              <a:xfrm>
                <a:off x="2619992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4" name="Полилиния 813">
                <a:extLst>
                  <a:ext uri="{FF2B5EF4-FFF2-40B4-BE49-F238E27FC236}">
                    <a16:creationId xmlns:a16="http://schemas.microsoft.com/office/drawing/2014/main" id="{D7B23AF1-A1F3-C0A7-1664-AAD8A86BD083}"/>
                  </a:ext>
                </a:extLst>
              </p:cNvPr>
              <p:cNvSpPr/>
              <p:nvPr/>
            </p:nvSpPr>
            <p:spPr>
              <a:xfrm>
                <a:off x="2711166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5" name="Полилиния 814">
                <a:extLst>
                  <a:ext uri="{FF2B5EF4-FFF2-40B4-BE49-F238E27FC236}">
                    <a16:creationId xmlns:a16="http://schemas.microsoft.com/office/drawing/2014/main" id="{9EE40735-CB90-F49F-E1E9-AA1E6A9C6B9C}"/>
                  </a:ext>
                </a:extLst>
              </p:cNvPr>
              <p:cNvSpPr/>
              <p:nvPr/>
            </p:nvSpPr>
            <p:spPr>
              <a:xfrm>
                <a:off x="2802340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6" name="Полилиния 815">
                <a:extLst>
                  <a:ext uri="{FF2B5EF4-FFF2-40B4-BE49-F238E27FC236}">
                    <a16:creationId xmlns:a16="http://schemas.microsoft.com/office/drawing/2014/main" id="{8DC589C7-8139-EFF5-6CB3-94F156A862E3}"/>
                  </a:ext>
                </a:extLst>
              </p:cNvPr>
              <p:cNvSpPr/>
              <p:nvPr/>
            </p:nvSpPr>
            <p:spPr>
              <a:xfrm>
                <a:off x="2893515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7" name="Полилиния 816">
                <a:extLst>
                  <a:ext uri="{FF2B5EF4-FFF2-40B4-BE49-F238E27FC236}">
                    <a16:creationId xmlns:a16="http://schemas.microsoft.com/office/drawing/2014/main" id="{D00E6B80-81D7-2300-7B38-F04EC038EF5E}"/>
                  </a:ext>
                </a:extLst>
              </p:cNvPr>
              <p:cNvSpPr/>
              <p:nvPr/>
            </p:nvSpPr>
            <p:spPr>
              <a:xfrm>
                <a:off x="2984689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8" name="Полилиния 817">
                <a:extLst>
                  <a:ext uri="{FF2B5EF4-FFF2-40B4-BE49-F238E27FC236}">
                    <a16:creationId xmlns:a16="http://schemas.microsoft.com/office/drawing/2014/main" id="{2082D887-6700-614B-48DE-8A1CB5208724}"/>
                  </a:ext>
                </a:extLst>
              </p:cNvPr>
              <p:cNvSpPr/>
              <p:nvPr/>
            </p:nvSpPr>
            <p:spPr>
              <a:xfrm>
                <a:off x="3075863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9" name="Полилиния 818">
                <a:extLst>
                  <a:ext uri="{FF2B5EF4-FFF2-40B4-BE49-F238E27FC236}">
                    <a16:creationId xmlns:a16="http://schemas.microsoft.com/office/drawing/2014/main" id="{8D49E80B-0F8C-9118-ABE3-096FFD9FC673}"/>
                  </a:ext>
                </a:extLst>
              </p:cNvPr>
              <p:cNvSpPr/>
              <p:nvPr/>
            </p:nvSpPr>
            <p:spPr>
              <a:xfrm>
                <a:off x="3258212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0" name="Полилиния 819">
                <a:extLst>
                  <a:ext uri="{FF2B5EF4-FFF2-40B4-BE49-F238E27FC236}">
                    <a16:creationId xmlns:a16="http://schemas.microsoft.com/office/drawing/2014/main" id="{3A743D44-7C0D-1CF2-ACA7-B89F67D3BDBD}"/>
                  </a:ext>
                </a:extLst>
              </p:cNvPr>
              <p:cNvSpPr/>
              <p:nvPr/>
            </p:nvSpPr>
            <p:spPr>
              <a:xfrm>
                <a:off x="3349386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1" name="Полилиния 820">
                <a:extLst>
                  <a:ext uri="{FF2B5EF4-FFF2-40B4-BE49-F238E27FC236}">
                    <a16:creationId xmlns:a16="http://schemas.microsoft.com/office/drawing/2014/main" id="{6C5EFFCC-B223-0494-4AD2-F828272BDAAB}"/>
                  </a:ext>
                </a:extLst>
              </p:cNvPr>
              <p:cNvSpPr/>
              <p:nvPr/>
            </p:nvSpPr>
            <p:spPr>
              <a:xfrm rot="5400000">
                <a:off x="1981772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2" name="Полилиния 821">
                <a:extLst>
                  <a:ext uri="{FF2B5EF4-FFF2-40B4-BE49-F238E27FC236}">
                    <a16:creationId xmlns:a16="http://schemas.microsoft.com/office/drawing/2014/main" id="{B46C4B4E-3022-63E8-DED3-DDE3BFCD98AE}"/>
                  </a:ext>
                </a:extLst>
              </p:cNvPr>
              <p:cNvSpPr/>
              <p:nvPr/>
            </p:nvSpPr>
            <p:spPr>
              <a:xfrm>
                <a:off x="2255295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3" name="Полилиния 822">
                <a:extLst>
                  <a:ext uri="{FF2B5EF4-FFF2-40B4-BE49-F238E27FC236}">
                    <a16:creationId xmlns:a16="http://schemas.microsoft.com/office/drawing/2014/main" id="{2DBBE039-4CF0-E255-0F7F-E5F6FB2F3B8A}"/>
                  </a:ext>
                </a:extLst>
              </p:cNvPr>
              <p:cNvSpPr/>
              <p:nvPr/>
            </p:nvSpPr>
            <p:spPr>
              <a:xfrm rot="5400000">
                <a:off x="2346469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4" name="Полилиния 823">
                <a:extLst>
                  <a:ext uri="{FF2B5EF4-FFF2-40B4-BE49-F238E27FC236}">
                    <a16:creationId xmlns:a16="http://schemas.microsoft.com/office/drawing/2014/main" id="{E61C9F66-43F4-1E9B-101C-D89E46F77ECB}"/>
                  </a:ext>
                </a:extLst>
              </p:cNvPr>
              <p:cNvSpPr/>
              <p:nvPr/>
            </p:nvSpPr>
            <p:spPr>
              <a:xfrm>
                <a:off x="2619992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5" name="Полилиния 824">
                <a:extLst>
                  <a:ext uri="{FF2B5EF4-FFF2-40B4-BE49-F238E27FC236}">
                    <a16:creationId xmlns:a16="http://schemas.microsoft.com/office/drawing/2014/main" id="{35E06797-D8E0-F60F-3C9D-C186DD142CA2}"/>
                  </a:ext>
                </a:extLst>
              </p:cNvPr>
              <p:cNvSpPr/>
              <p:nvPr/>
            </p:nvSpPr>
            <p:spPr>
              <a:xfrm>
                <a:off x="2711166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6" name="Полилиния 825">
                <a:extLst>
                  <a:ext uri="{FF2B5EF4-FFF2-40B4-BE49-F238E27FC236}">
                    <a16:creationId xmlns:a16="http://schemas.microsoft.com/office/drawing/2014/main" id="{049D8DE0-BCAE-00D9-94B1-FE8AE509149B}"/>
                  </a:ext>
                </a:extLst>
              </p:cNvPr>
              <p:cNvSpPr/>
              <p:nvPr/>
            </p:nvSpPr>
            <p:spPr>
              <a:xfrm>
                <a:off x="3075863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7" name="Полилиния 826">
                <a:extLst>
                  <a:ext uri="{FF2B5EF4-FFF2-40B4-BE49-F238E27FC236}">
                    <a16:creationId xmlns:a16="http://schemas.microsoft.com/office/drawing/2014/main" id="{ECF61AB9-3C6F-7B91-D153-D1A08BF45E4A}"/>
                  </a:ext>
                </a:extLst>
              </p:cNvPr>
              <p:cNvSpPr/>
              <p:nvPr/>
            </p:nvSpPr>
            <p:spPr>
              <a:xfrm>
                <a:off x="3258212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8" name="Полилиния 827">
                <a:extLst>
                  <a:ext uri="{FF2B5EF4-FFF2-40B4-BE49-F238E27FC236}">
                    <a16:creationId xmlns:a16="http://schemas.microsoft.com/office/drawing/2014/main" id="{2A5B97ED-7216-6A96-5FCF-259F157EE5C1}"/>
                  </a:ext>
                </a:extLst>
              </p:cNvPr>
              <p:cNvSpPr/>
              <p:nvPr/>
            </p:nvSpPr>
            <p:spPr>
              <a:xfrm rot="5400000">
                <a:off x="3349386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9" name="Полилиния 828">
                <a:extLst>
                  <a:ext uri="{FF2B5EF4-FFF2-40B4-BE49-F238E27FC236}">
                    <a16:creationId xmlns:a16="http://schemas.microsoft.com/office/drawing/2014/main" id="{34186A6A-3D07-EC5C-0BB7-7560AE53485B}"/>
                  </a:ext>
                </a:extLst>
              </p:cNvPr>
              <p:cNvSpPr/>
              <p:nvPr/>
            </p:nvSpPr>
            <p:spPr>
              <a:xfrm>
                <a:off x="2255295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0" name="Полилиния 829">
                <a:extLst>
                  <a:ext uri="{FF2B5EF4-FFF2-40B4-BE49-F238E27FC236}">
                    <a16:creationId xmlns:a16="http://schemas.microsoft.com/office/drawing/2014/main" id="{E2FC090A-C533-2155-E1D4-340498D60F4C}"/>
                  </a:ext>
                </a:extLst>
              </p:cNvPr>
              <p:cNvSpPr/>
              <p:nvPr/>
            </p:nvSpPr>
            <p:spPr>
              <a:xfrm rot="5400000">
                <a:off x="2437643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1" name="Полилиния 830">
                <a:extLst>
                  <a:ext uri="{FF2B5EF4-FFF2-40B4-BE49-F238E27FC236}">
                    <a16:creationId xmlns:a16="http://schemas.microsoft.com/office/drawing/2014/main" id="{3870CD64-4EAE-31E7-3DD5-BD0E84F0F64F}"/>
                  </a:ext>
                </a:extLst>
              </p:cNvPr>
              <p:cNvSpPr/>
              <p:nvPr/>
            </p:nvSpPr>
            <p:spPr>
              <a:xfrm>
                <a:off x="2711166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2" name="Полилиния 831">
                <a:extLst>
                  <a:ext uri="{FF2B5EF4-FFF2-40B4-BE49-F238E27FC236}">
                    <a16:creationId xmlns:a16="http://schemas.microsoft.com/office/drawing/2014/main" id="{611000A6-EE4E-3215-2E2E-275308F856D4}"/>
                  </a:ext>
                </a:extLst>
              </p:cNvPr>
              <p:cNvSpPr/>
              <p:nvPr/>
            </p:nvSpPr>
            <p:spPr>
              <a:xfrm rot="5400000">
                <a:off x="2893515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3" name="Полилиния 832">
                <a:extLst>
                  <a:ext uri="{FF2B5EF4-FFF2-40B4-BE49-F238E27FC236}">
                    <a16:creationId xmlns:a16="http://schemas.microsoft.com/office/drawing/2014/main" id="{3A6F9E03-1E43-D90A-9DBB-320063BC3996}"/>
                  </a:ext>
                </a:extLst>
              </p:cNvPr>
              <p:cNvSpPr/>
              <p:nvPr/>
            </p:nvSpPr>
            <p:spPr>
              <a:xfrm>
                <a:off x="3075863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4" name="Полилиния 833">
                <a:extLst>
                  <a:ext uri="{FF2B5EF4-FFF2-40B4-BE49-F238E27FC236}">
                    <a16:creationId xmlns:a16="http://schemas.microsoft.com/office/drawing/2014/main" id="{76F12956-67DC-9B77-CFC0-A67B101258F4}"/>
                  </a:ext>
                </a:extLst>
              </p:cNvPr>
              <p:cNvSpPr/>
              <p:nvPr/>
            </p:nvSpPr>
            <p:spPr>
              <a:xfrm rot="-5400000">
                <a:off x="3440561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5" name="Полилиния 834">
                <a:extLst>
                  <a:ext uri="{FF2B5EF4-FFF2-40B4-BE49-F238E27FC236}">
                    <a16:creationId xmlns:a16="http://schemas.microsoft.com/office/drawing/2014/main" id="{12705EB1-2E31-584F-A235-14EDDFAFA9A7}"/>
                  </a:ext>
                </a:extLst>
              </p:cNvPr>
              <p:cNvSpPr/>
              <p:nvPr/>
            </p:nvSpPr>
            <p:spPr>
              <a:xfrm rot="-5400000">
                <a:off x="1981772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6" name="Полилиния 835">
                <a:extLst>
                  <a:ext uri="{FF2B5EF4-FFF2-40B4-BE49-F238E27FC236}">
                    <a16:creationId xmlns:a16="http://schemas.microsoft.com/office/drawing/2014/main" id="{931A1042-D817-8EB0-DD5C-A21F444F3568}"/>
                  </a:ext>
                </a:extLst>
              </p:cNvPr>
              <p:cNvSpPr/>
              <p:nvPr/>
            </p:nvSpPr>
            <p:spPr>
              <a:xfrm>
                <a:off x="2255295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7" name="Полилиния 836">
                <a:extLst>
                  <a:ext uri="{FF2B5EF4-FFF2-40B4-BE49-F238E27FC236}">
                    <a16:creationId xmlns:a16="http://schemas.microsoft.com/office/drawing/2014/main" id="{D9718391-83DC-AD86-8065-8C3343B8FA1D}"/>
                  </a:ext>
                </a:extLst>
              </p:cNvPr>
              <p:cNvSpPr/>
              <p:nvPr/>
            </p:nvSpPr>
            <p:spPr>
              <a:xfrm rot="-5400000">
                <a:off x="2619992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8" name="Полилиния 837">
                <a:extLst>
                  <a:ext uri="{FF2B5EF4-FFF2-40B4-BE49-F238E27FC236}">
                    <a16:creationId xmlns:a16="http://schemas.microsoft.com/office/drawing/2014/main" id="{83E07249-015F-987D-65C8-CA1D89E18510}"/>
                  </a:ext>
                </a:extLst>
              </p:cNvPr>
              <p:cNvSpPr/>
              <p:nvPr/>
            </p:nvSpPr>
            <p:spPr>
              <a:xfrm>
                <a:off x="2711166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9" name="Полилиния 838">
                <a:extLst>
                  <a:ext uri="{FF2B5EF4-FFF2-40B4-BE49-F238E27FC236}">
                    <a16:creationId xmlns:a16="http://schemas.microsoft.com/office/drawing/2014/main" id="{10CB3FA8-C3A7-5CA8-6A70-C451EE9E789E}"/>
                  </a:ext>
                </a:extLst>
              </p:cNvPr>
              <p:cNvSpPr/>
              <p:nvPr/>
            </p:nvSpPr>
            <p:spPr>
              <a:xfrm>
                <a:off x="3075863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0" name="Полилиния 839">
                <a:extLst>
                  <a:ext uri="{FF2B5EF4-FFF2-40B4-BE49-F238E27FC236}">
                    <a16:creationId xmlns:a16="http://schemas.microsoft.com/office/drawing/2014/main" id="{A3BF3BB0-BBAD-BD17-8CFE-27BBBD902BF4}"/>
                  </a:ext>
                </a:extLst>
              </p:cNvPr>
              <p:cNvSpPr/>
              <p:nvPr/>
            </p:nvSpPr>
            <p:spPr>
              <a:xfrm>
                <a:off x="3440561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1" name="Полилиния 840">
                <a:extLst>
                  <a:ext uri="{FF2B5EF4-FFF2-40B4-BE49-F238E27FC236}">
                    <a16:creationId xmlns:a16="http://schemas.microsoft.com/office/drawing/2014/main" id="{67E9DEEB-ED11-A355-9EEC-D9D7B7F5F750}"/>
                  </a:ext>
                </a:extLst>
              </p:cNvPr>
              <p:cNvSpPr/>
              <p:nvPr/>
            </p:nvSpPr>
            <p:spPr>
              <a:xfrm>
                <a:off x="1981772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2" name="Полилиния 841">
                <a:extLst>
                  <a:ext uri="{FF2B5EF4-FFF2-40B4-BE49-F238E27FC236}">
                    <a16:creationId xmlns:a16="http://schemas.microsoft.com/office/drawing/2014/main" id="{8F9059AC-8115-DD94-085D-6A31F051737E}"/>
                  </a:ext>
                </a:extLst>
              </p:cNvPr>
              <p:cNvSpPr/>
              <p:nvPr/>
            </p:nvSpPr>
            <p:spPr>
              <a:xfrm rot="-5400000">
                <a:off x="2164120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3" name="Полилиния 842">
                <a:extLst>
                  <a:ext uri="{FF2B5EF4-FFF2-40B4-BE49-F238E27FC236}">
                    <a16:creationId xmlns:a16="http://schemas.microsoft.com/office/drawing/2014/main" id="{8F534931-4F3A-29CA-704B-D495E331B6CA}"/>
                  </a:ext>
                </a:extLst>
              </p:cNvPr>
              <p:cNvSpPr/>
              <p:nvPr/>
            </p:nvSpPr>
            <p:spPr>
              <a:xfrm>
                <a:off x="2255295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4" name="Полилиния 843">
                <a:extLst>
                  <a:ext uri="{FF2B5EF4-FFF2-40B4-BE49-F238E27FC236}">
                    <a16:creationId xmlns:a16="http://schemas.microsoft.com/office/drawing/2014/main" id="{84E1D542-BC40-0E4B-5EEE-D9618ED99DD6}"/>
                  </a:ext>
                </a:extLst>
              </p:cNvPr>
              <p:cNvSpPr/>
              <p:nvPr/>
            </p:nvSpPr>
            <p:spPr>
              <a:xfrm>
                <a:off x="2346469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5" name="Полилиния 844">
                <a:extLst>
                  <a:ext uri="{FF2B5EF4-FFF2-40B4-BE49-F238E27FC236}">
                    <a16:creationId xmlns:a16="http://schemas.microsoft.com/office/drawing/2014/main" id="{7457609A-7378-48D0-4142-2595F4D631A1}"/>
                  </a:ext>
                </a:extLst>
              </p:cNvPr>
              <p:cNvSpPr/>
              <p:nvPr/>
            </p:nvSpPr>
            <p:spPr>
              <a:xfrm>
                <a:off x="2437643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6" name="Полилиния 845">
                <a:extLst>
                  <a:ext uri="{FF2B5EF4-FFF2-40B4-BE49-F238E27FC236}">
                    <a16:creationId xmlns:a16="http://schemas.microsoft.com/office/drawing/2014/main" id="{C8D21FE2-5731-DDCD-0D81-05BC0AD4D82B}"/>
                  </a:ext>
                </a:extLst>
              </p:cNvPr>
              <p:cNvSpPr/>
              <p:nvPr/>
            </p:nvSpPr>
            <p:spPr>
              <a:xfrm>
                <a:off x="2528817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7" name="Полилиния 846">
                <a:extLst>
                  <a:ext uri="{FF2B5EF4-FFF2-40B4-BE49-F238E27FC236}">
                    <a16:creationId xmlns:a16="http://schemas.microsoft.com/office/drawing/2014/main" id="{BBB6B7BF-1DD2-897C-7215-1F5FF3088D28}"/>
                  </a:ext>
                </a:extLst>
              </p:cNvPr>
              <p:cNvSpPr/>
              <p:nvPr/>
            </p:nvSpPr>
            <p:spPr>
              <a:xfrm>
                <a:off x="2619992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8" name="Полилиния 847">
                <a:extLst>
                  <a:ext uri="{FF2B5EF4-FFF2-40B4-BE49-F238E27FC236}">
                    <a16:creationId xmlns:a16="http://schemas.microsoft.com/office/drawing/2014/main" id="{8ECB727F-DF11-9ABA-C544-23069F28D147}"/>
                  </a:ext>
                </a:extLst>
              </p:cNvPr>
              <p:cNvSpPr/>
              <p:nvPr/>
            </p:nvSpPr>
            <p:spPr>
              <a:xfrm>
                <a:off x="2711166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9" name="Полилиния 848">
                <a:extLst>
                  <a:ext uri="{FF2B5EF4-FFF2-40B4-BE49-F238E27FC236}">
                    <a16:creationId xmlns:a16="http://schemas.microsoft.com/office/drawing/2014/main" id="{92E119C7-9AA3-74C2-37CD-81280E48116E}"/>
                  </a:ext>
                </a:extLst>
              </p:cNvPr>
              <p:cNvSpPr/>
              <p:nvPr/>
            </p:nvSpPr>
            <p:spPr>
              <a:xfrm>
                <a:off x="2802340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0" name="Полилиния 849">
                <a:extLst>
                  <a:ext uri="{FF2B5EF4-FFF2-40B4-BE49-F238E27FC236}">
                    <a16:creationId xmlns:a16="http://schemas.microsoft.com/office/drawing/2014/main" id="{A7F184CE-83A2-93CF-BCDE-7A457EA255C3}"/>
                  </a:ext>
                </a:extLst>
              </p:cNvPr>
              <p:cNvSpPr/>
              <p:nvPr/>
            </p:nvSpPr>
            <p:spPr>
              <a:xfrm>
                <a:off x="2893515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1" name="Полилиния 850">
                <a:extLst>
                  <a:ext uri="{FF2B5EF4-FFF2-40B4-BE49-F238E27FC236}">
                    <a16:creationId xmlns:a16="http://schemas.microsoft.com/office/drawing/2014/main" id="{8A378B42-3EC7-EBA6-B265-F733F430A50F}"/>
                  </a:ext>
                </a:extLst>
              </p:cNvPr>
              <p:cNvSpPr/>
              <p:nvPr/>
            </p:nvSpPr>
            <p:spPr>
              <a:xfrm>
                <a:off x="2984689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2" name="Полилиния 851">
                <a:extLst>
                  <a:ext uri="{FF2B5EF4-FFF2-40B4-BE49-F238E27FC236}">
                    <a16:creationId xmlns:a16="http://schemas.microsoft.com/office/drawing/2014/main" id="{2C87C76A-4DA9-AE63-C514-D14ACD5E808E}"/>
                  </a:ext>
                </a:extLst>
              </p:cNvPr>
              <p:cNvSpPr/>
              <p:nvPr/>
            </p:nvSpPr>
            <p:spPr>
              <a:xfrm rot="5400000">
                <a:off x="3075863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3" name="Полилиния 852">
                <a:extLst>
                  <a:ext uri="{FF2B5EF4-FFF2-40B4-BE49-F238E27FC236}">
                    <a16:creationId xmlns:a16="http://schemas.microsoft.com/office/drawing/2014/main" id="{F18587EF-D307-AF62-618A-81628E5AD21B}"/>
                  </a:ext>
                </a:extLst>
              </p:cNvPr>
              <p:cNvSpPr/>
              <p:nvPr/>
            </p:nvSpPr>
            <p:spPr>
              <a:xfrm rot="-5400000">
                <a:off x="3349386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4" name="Полилиния 853">
                <a:extLst>
                  <a:ext uri="{FF2B5EF4-FFF2-40B4-BE49-F238E27FC236}">
                    <a16:creationId xmlns:a16="http://schemas.microsoft.com/office/drawing/2014/main" id="{7453C610-D3DE-E3B8-E25D-8F382C1D556F}"/>
                  </a:ext>
                </a:extLst>
              </p:cNvPr>
              <p:cNvSpPr/>
              <p:nvPr/>
            </p:nvSpPr>
            <p:spPr>
              <a:xfrm>
                <a:off x="3440561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5" name="Полилиния 854">
                <a:extLst>
                  <a:ext uri="{FF2B5EF4-FFF2-40B4-BE49-F238E27FC236}">
                    <a16:creationId xmlns:a16="http://schemas.microsoft.com/office/drawing/2014/main" id="{2B96A9E9-0C39-D241-CDD7-224D4F5CBA84}"/>
                  </a:ext>
                </a:extLst>
              </p:cNvPr>
              <p:cNvSpPr/>
              <p:nvPr/>
            </p:nvSpPr>
            <p:spPr>
              <a:xfrm>
                <a:off x="1981772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6" name="Полилиния 855">
                <a:extLst>
                  <a:ext uri="{FF2B5EF4-FFF2-40B4-BE49-F238E27FC236}">
                    <a16:creationId xmlns:a16="http://schemas.microsoft.com/office/drawing/2014/main" id="{5A34AC47-AF1A-E511-657A-B917AE7AD647}"/>
                  </a:ext>
                </a:extLst>
              </p:cNvPr>
              <p:cNvSpPr/>
              <p:nvPr/>
            </p:nvSpPr>
            <p:spPr>
              <a:xfrm>
                <a:off x="2072946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7" name="Полилиния 856">
                <a:extLst>
                  <a:ext uri="{FF2B5EF4-FFF2-40B4-BE49-F238E27FC236}">
                    <a16:creationId xmlns:a16="http://schemas.microsoft.com/office/drawing/2014/main" id="{DD5E05B3-7128-EF63-6C07-31399E428098}"/>
                  </a:ext>
                </a:extLst>
              </p:cNvPr>
              <p:cNvSpPr/>
              <p:nvPr/>
            </p:nvSpPr>
            <p:spPr>
              <a:xfrm>
                <a:off x="2528817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8" name="Полилиния 857">
                <a:extLst>
                  <a:ext uri="{FF2B5EF4-FFF2-40B4-BE49-F238E27FC236}">
                    <a16:creationId xmlns:a16="http://schemas.microsoft.com/office/drawing/2014/main" id="{4EC0D508-243D-DF06-1B8A-CFE4F1278EA4}"/>
                  </a:ext>
                </a:extLst>
              </p:cNvPr>
              <p:cNvSpPr/>
              <p:nvPr/>
            </p:nvSpPr>
            <p:spPr>
              <a:xfrm>
                <a:off x="2619992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9" name="Полилиния 858">
                <a:extLst>
                  <a:ext uri="{FF2B5EF4-FFF2-40B4-BE49-F238E27FC236}">
                    <a16:creationId xmlns:a16="http://schemas.microsoft.com/office/drawing/2014/main" id="{BC252442-2406-F28F-3E3D-F95478C41409}"/>
                  </a:ext>
                </a:extLst>
              </p:cNvPr>
              <p:cNvSpPr/>
              <p:nvPr/>
            </p:nvSpPr>
            <p:spPr>
              <a:xfrm rot="5400000">
                <a:off x="2893515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0" name="Полилиния 859">
                <a:extLst>
                  <a:ext uri="{FF2B5EF4-FFF2-40B4-BE49-F238E27FC236}">
                    <a16:creationId xmlns:a16="http://schemas.microsoft.com/office/drawing/2014/main" id="{85F32B7D-44C3-9A5B-B256-4B37C6F32C72}"/>
                  </a:ext>
                </a:extLst>
              </p:cNvPr>
              <p:cNvSpPr/>
              <p:nvPr/>
            </p:nvSpPr>
            <p:spPr>
              <a:xfrm>
                <a:off x="3349386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1" name="Полилиния 860">
                <a:extLst>
                  <a:ext uri="{FF2B5EF4-FFF2-40B4-BE49-F238E27FC236}">
                    <a16:creationId xmlns:a16="http://schemas.microsoft.com/office/drawing/2014/main" id="{D37BC6DA-A791-3238-0698-52BAF7A2AF3D}"/>
                  </a:ext>
                </a:extLst>
              </p:cNvPr>
              <p:cNvSpPr/>
              <p:nvPr/>
            </p:nvSpPr>
            <p:spPr>
              <a:xfrm>
                <a:off x="3440561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2" name="Полилиния 861">
                <a:extLst>
                  <a:ext uri="{FF2B5EF4-FFF2-40B4-BE49-F238E27FC236}">
                    <a16:creationId xmlns:a16="http://schemas.microsoft.com/office/drawing/2014/main" id="{D244DD90-B047-710F-0EE0-40CD9AC21615}"/>
                  </a:ext>
                </a:extLst>
              </p:cNvPr>
              <p:cNvSpPr/>
              <p:nvPr/>
            </p:nvSpPr>
            <p:spPr>
              <a:xfrm>
                <a:off x="2072946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3" name="Полилиния 862">
                <a:extLst>
                  <a:ext uri="{FF2B5EF4-FFF2-40B4-BE49-F238E27FC236}">
                    <a16:creationId xmlns:a16="http://schemas.microsoft.com/office/drawing/2014/main" id="{FC1D6F64-99FD-7550-50DD-16895FD8C782}"/>
                  </a:ext>
                </a:extLst>
              </p:cNvPr>
              <p:cNvSpPr/>
              <p:nvPr/>
            </p:nvSpPr>
            <p:spPr>
              <a:xfrm>
                <a:off x="2164120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4" name="Полилиния 863">
                <a:extLst>
                  <a:ext uri="{FF2B5EF4-FFF2-40B4-BE49-F238E27FC236}">
                    <a16:creationId xmlns:a16="http://schemas.microsoft.com/office/drawing/2014/main" id="{13C254C1-4566-7870-5B51-8900DBDED9A9}"/>
                  </a:ext>
                </a:extLst>
              </p:cNvPr>
              <p:cNvSpPr/>
              <p:nvPr/>
            </p:nvSpPr>
            <p:spPr>
              <a:xfrm>
                <a:off x="2255295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5" name="Полилиния 864">
                <a:extLst>
                  <a:ext uri="{FF2B5EF4-FFF2-40B4-BE49-F238E27FC236}">
                    <a16:creationId xmlns:a16="http://schemas.microsoft.com/office/drawing/2014/main" id="{F800024A-E688-7367-5B56-ECD79103E09F}"/>
                  </a:ext>
                </a:extLst>
              </p:cNvPr>
              <p:cNvSpPr/>
              <p:nvPr/>
            </p:nvSpPr>
            <p:spPr>
              <a:xfrm>
                <a:off x="2346469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6" name="Полилиния 865">
                <a:extLst>
                  <a:ext uri="{FF2B5EF4-FFF2-40B4-BE49-F238E27FC236}">
                    <a16:creationId xmlns:a16="http://schemas.microsoft.com/office/drawing/2014/main" id="{206B7069-8FC5-2DDD-DF09-E34D97ED00D0}"/>
                  </a:ext>
                </a:extLst>
              </p:cNvPr>
              <p:cNvSpPr/>
              <p:nvPr/>
            </p:nvSpPr>
            <p:spPr>
              <a:xfrm>
                <a:off x="2437643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7" name="Полилиния 866">
                <a:extLst>
                  <a:ext uri="{FF2B5EF4-FFF2-40B4-BE49-F238E27FC236}">
                    <a16:creationId xmlns:a16="http://schemas.microsoft.com/office/drawing/2014/main" id="{C741362A-EEB1-0481-11CF-FAB3B7393AAE}"/>
                  </a:ext>
                </a:extLst>
              </p:cNvPr>
              <p:cNvSpPr/>
              <p:nvPr/>
            </p:nvSpPr>
            <p:spPr>
              <a:xfrm>
                <a:off x="2528817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8" name="Полилиния 867">
                <a:extLst>
                  <a:ext uri="{FF2B5EF4-FFF2-40B4-BE49-F238E27FC236}">
                    <a16:creationId xmlns:a16="http://schemas.microsoft.com/office/drawing/2014/main" id="{C71F67D2-7E60-1A9C-370E-A2A5D0E5BF58}"/>
                  </a:ext>
                </a:extLst>
              </p:cNvPr>
              <p:cNvSpPr/>
              <p:nvPr/>
            </p:nvSpPr>
            <p:spPr>
              <a:xfrm>
                <a:off x="2619992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9" name="Полилиния 868">
                <a:extLst>
                  <a:ext uri="{FF2B5EF4-FFF2-40B4-BE49-F238E27FC236}">
                    <a16:creationId xmlns:a16="http://schemas.microsoft.com/office/drawing/2014/main" id="{BE4EDC6C-48AC-0368-3983-52503EFEBD5E}"/>
                  </a:ext>
                </a:extLst>
              </p:cNvPr>
              <p:cNvSpPr/>
              <p:nvPr/>
            </p:nvSpPr>
            <p:spPr>
              <a:xfrm rot="5400000">
                <a:off x="2802340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0" name="Полилиния 869">
                <a:extLst>
                  <a:ext uri="{FF2B5EF4-FFF2-40B4-BE49-F238E27FC236}">
                    <a16:creationId xmlns:a16="http://schemas.microsoft.com/office/drawing/2014/main" id="{802E67CF-C4F6-E812-3149-90EDE0CB35E6}"/>
                  </a:ext>
                </a:extLst>
              </p:cNvPr>
              <p:cNvSpPr/>
              <p:nvPr/>
            </p:nvSpPr>
            <p:spPr>
              <a:xfrm rot="-5400000">
                <a:off x="3075863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1" name="Полилиния 870">
                <a:extLst>
                  <a:ext uri="{FF2B5EF4-FFF2-40B4-BE49-F238E27FC236}">
                    <a16:creationId xmlns:a16="http://schemas.microsoft.com/office/drawing/2014/main" id="{11A6A411-A12F-C0C4-EE63-4FF202C691D7}"/>
                  </a:ext>
                </a:extLst>
              </p:cNvPr>
              <p:cNvSpPr/>
              <p:nvPr/>
            </p:nvSpPr>
            <p:spPr>
              <a:xfrm>
                <a:off x="3167038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2" name="Полилиния 871">
                <a:extLst>
                  <a:ext uri="{FF2B5EF4-FFF2-40B4-BE49-F238E27FC236}">
                    <a16:creationId xmlns:a16="http://schemas.microsoft.com/office/drawing/2014/main" id="{19215C31-F84C-8F27-780D-1D047849027C}"/>
                  </a:ext>
                </a:extLst>
              </p:cNvPr>
              <p:cNvSpPr/>
              <p:nvPr/>
            </p:nvSpPr>
            <p:spPr>
              <a:xfrm>
                <a:off x="3258212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3" name="Полилиния 872">
                <a:extLst>
                  <a:ext uri="{FF2B5EF4-FFF2-40B4-BE49-F238E27FC236}">
                    <a16:creationId xmlns:a16="http://schemas.microsoft.com/office/drawing/2014/main" id="{4806153C-BE2D-BAC0-695C-955FC6C57AAA}"/>
                  </a:ext>
                </a:extLst>
              </p:cNvPr>
              <p:cNvSpPr/>
              <p:nvPr/>
            </p:nvSpPr>
            <p:spPr>
              <a:xfrm>
                <a:off x="3349386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4" name="Полилиния 873">
                <a:extLst>
                  <a:ext uri="{FF2B5EF4-FFF2-40B4-BE49-F238E27FC236}">
                    <a16:creationId xmlns:a16="http://schemas.microsoft.com/office/drawing/2014/main" id="{F647BDC5-C9B1-536C-0566-ED0C6AE8BE01}"/>
                  </a:ext>
                </a:extLst>
              </p:cNvPr>
              <p:cNvSpPr/>
              <p:nvPr/>
            </p:nvSpPr>
            <p:spPr>
              <a:xfrm>
                <a:off x="3440561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5" name="Полилиния 874">
                <a:extLst>
                  <a:ext uri="{FF2B5EF4-FFF2-40B4-BE49-F238E27FC236}">
                    <a16:creationId xmlns:a16="http://schemas.microsoft.com/office/drawing/2014/main" id="{115AE795-00A6-7556-3DAB-D4FDF197CAE8}"/>
                  </a:ext>
                </a:extLst>
              </p:cNvPr>
              <p:cNvSpPr/>
              <p:nvPr/>
            </p:nvSpPr>
            <p:spPr>
              <a:xfrm rot="5400000">
                <a:off x="1981772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6" name="Полилиния 875">
                <a:extLst>
                  <a:ext uri="{FF2B5EF4-FFF2-40B4-BE49-F238E27FC236}">
                    <a16:creationId xmlns:a16="http://schemas.microsoft.com/office/drawing/2014/main" id="{393931D4-3DB8-925A-93D2-49305A936B90}"/>
                  </a:ext>
                </a:extLst>
              </p:cNvPr>
              <p:cNvSpPr/>
              <p:nvPr/>
            </p:nvSpPr>
            <p:spPr>
              <a:xfrm>
                <a:off x="2164120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7" name="Полилиния 876">
                <a:extLst>
                  <a:ext uri="{FF2B5EF4-FFF2-40B4-BE49-F238E27FC236}">
                    <a16:creationId xmlns:a16="http://schemas.microsoft.com/office/drawing/2014/main" id="{FB919DD9-98A3-EB8D-8385-EE89CF1BC3D3}"/>
                  </a:ext>
                </a:extLst>
              </p:cNvPr>
              <p:cNvSpPr/>
              <p:nvPr/>
            </p:nvSpPr>
            <p:spPr>
              <a:xfrm>
                <a:off x="2255295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8" name="Полилиния 877">
                <a:extLst>
                  <a:ext uri="{FF2B5EF4-FFF2-40B4-BE49-F238E27FC236}">
                    <a16:creationId xmlns:a16="http://schemas.microsoft.com/office/drawing/2014/main" id="{F1F089E9-6A02-52F8-BC61-D61E3E3D130E}"/>
                  </a:ext>
                </a:extLst>
              </p:cNvPr>
              <p:cNvSpPr/>
              <p:nvPr/>
            </p:nvSpPr>
            <p:spPr>
              <a:xfrm>
                <a:off x="2437643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9" name="Полилиния 878">
                <a:extLst>
                  <a:ext uri="{FF2B5EF4-FFF2-40B4-BE49-F238E27FC236}">
                    <a16:creationId xmlns:a16="http://schemas.microsoft.com/office/drawing/2014/main" id="{3DDC204D-905F-C14A-6264-99F1487AAB71}"/>
                  </a:ext>
                </a:extLst>
              </p:cNvPr>
              <p:cNvSpPr/>
              <p:nvPr/>
            </p:nvSpPr>
            <p:spPr>
              <a:xfrm rot="5400000">
                <a:off x="2619992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0" name="Полилиния 879">
                <a:extLst>
                  <a:ext uri="{FF2B5EF4-FFF2-40B4-BE49-F238E27FC236}">
                    <a16:creationId xmlns:a16="http://schemas.microsoft.com/office/drawing/2014/main" id="{A3638DBB-86A5-0BC9-41A4-0CDDC0915372}"/>
                  </a:ext>
                </a:extLst>
              </p:cNvPr>
              <p:cNvSpPr/>
              <p:nvPr/>
            </p:nvSpPr>
            <p:spPr>
              <a:xfrm rot="-5400000">
                <a:off x="2984689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1" name="Полилиния 880">
                <a:extLst>
                  <a:ext uri="{FF2B5EF4-FFF2-40B4-BE49-F238E27FC236}">
                    <a16:creationId xmlns:a16="http://schemas.microsoft.com/office/drawing/2014/main" id="{BA1882EC-CE22-E5B4-D3C4-8B2C3267F434}"/>
                  </a:ext>
                </a:extLst>
              </p:cNvPr>
              <p:cNvSpPr/>
              <p:nvPr/>
            </p:nvSpPr>
            <p:spPr>
              <a:xfrm rot="5400000">
                <a:off x="3075863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2" name="Полилиния 881">
                <a:extLst>
                  <a:ext uri="{FF2B5EF4-FFF2-40B4-BE49-F238E27FC236}">
                    <a16:creationId xmlns:a16="http://schemas.microsoft.com/office/drawing/2014/main" id="{E6D55AD4-3218-17D3-1661-A9459443FDD7}"/>
                  </a:ext>
                </a:extLst>
              </p:cNvPr>
              <p:cNvSpPr/>
              <p:nvPr/>
            </p:nvSpPr>
            <p:spPr>
              <a:xfrm>
                <a:off x="3258212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3" name="Полилиния 882">
                <a:extLst>
                  <a:ext uri="{FF2B5EF4-FFF2-40B4-BE49-F238E27FC236}">
                    <a16:creationId xmlns:a16="http://schemas.microsoft.com/office/drawing/2014/main" id="{0578B67C-E301-492E-E83A-C13E58827A05}"/>
                  </a:ext>
                </a:extLst>
              </p:cNvPr>
              <p:cNvSpPr/>
              <p:nvPr/>
            </p:nvSpPr>
            <p:spPr>
              <a:xfrm>
                <a:off x="3349386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4" name="Полилиния 883">
                <a:extLst>
                  <a:ext uri="{FF2B5EF4-FFF2-40B4-BE49-F238E27FC236}">
                    <a16:creationId xmlns:a16="http://schemas.microsoft.com/office/drawing/2014/main" id="{8E1C5138-2D04-F009-2C65-A6EF577EAFF6}"/>
                  </a:ext>
                </a:extLst>
              </p:cNvPr>
              <p:cNvSpPr/>
              <p:nvPr/>
            </p:nvSpPr>
            <p:spPr>
              <a:xfrm>
                <a:off x="3440561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5" name="Полилиния 884">
                <a:extLst>
                  <a:ext uri="{FF2B5EF4-FFF2-40B4-BE49-F238E27FC236}">
                    <a16:creationId xmlns:a16="http://schemas.microsoft.com/office/drawing/2014/main" id="{E2D8AE6D-963E-BC07-54E4-54E3D85A5467}"/>
                  </a:ext>
                </a:extLst>
              </p:cNvPr>
              <p:cNvSpPr/>
              <p:nvPr/>
            </p:nvSpPr>
            <p:spPr>
              <a:xfrm rot="-5400000">
                <a:off x="2072946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6" name="Полилиния 885">
                <a:extLst>
                  <a:ext uri="{FF2B5EF4-FFF2-40B4-BE49-F238E27FC236}">
                    <a16:creationId xmlns:a16="http://schemas.microsoft.com/office/drawing/2014/main" id="{EE960FF9-A931-06DD-3519-C2A583B32D43}"/>
                  </a:ext>
                </a:extLst>
              </p:cNvPr>
              <p:cNvSpPr/>
              <p:nvPr/>
            </p:nvSpPr>
            <p:spPr>
              <a:xfrm>
                <a:off x="2164120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7" name="Полилиния 886">
                <a:extLst>
                  <a:ext uri="{FF2B5EF4-FFF2-40B4-BE49-F238E27FC236}">
                    <a16:creationId xmlns:a16="http://schemas.microsoft.com/office/drawing/2014/main" id="{04ACFB17-5532-0BA1-6BFF-401EBF1A011E}"/>
                  </a:ext>
                </a:extLst>
              </p:cNvPr>
              <p:cNvSpPr/>
              <p:nvPr/>
            </p:nvSpPr>
            <p:spPr>
              <a:xfrm rot="5400000">
                <a:off x="2255295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8" name="Полилиния 887">
                <a:extLst>
                  <a:ext uri="{FF2B5EF4-FFF2-40B4-BE49-F238E27FC236}">
                    <a16:creationId xmlns:a16="http://schemas.microsoft.com/office/drawing/2014/main" id="{A1BAD802-25FA-A194-4975-5D0DC638FAB9}"/>
                  </a:ext>
                </a:extLst>
              </p:cNvPr>
              <p:cNvSpPr/>
              <p:nvPr/>
            </p:nvSpPr>
            <p:spPr>
              <a:xfrm>
                <a:off x="2437643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9" name="Полилиния 888">
                <a:extLst>
                  <a:ext uri="{FF2B5EF4-FFF2-40B4-BE49-F238E27FC236}">
                    <a16:creationId xmlns:a16="http://schemas.microsoft.com/office/drawing/2014/main" id="{6079525E-0EE5-FB31-FDB8-D1F64A918753}"/>
                  </a:ext>
                </a:extLst>
              </p:cNvPr>
              <p:cNvSpPr/>
              <p:nvPr/>
            </p:nvSpPr>
            <p:spPr>
              <a:xfrm rot="5400000">
                <a:off x="2528817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90" name="Полилиния 889">
                <a:extLst>
                  <a:ext uri="{FF2B5EF4-FFF2-40B4-BE49-F238E27FC236}">
                    <a16:creationId xmlns:a16="http://schemas.microsoft.com/office/drawing/2014/main" id="{28B16514-1CAD-E4BE-2839-E2482C1D7A07}"/>
                  </a:ext>
                </a:extLst>
              </p:cNvPr>
              <p:cNvSpPr/>
              <p:nvPr/>
            </p:nvSpPr>
            <p:spPr>
              <a:xfrm rot="-5400000">
                <a:off x="2711166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91" name="Полилиния 890">
                <a:extLst>
                  <a:ext uri="{FF2B5EF4-FFF2-40B4-BE49-F238E27FC236}">
                    <a16:creationId xmlns:a16="http://schemas.microsoft.com/office/drawing/2014/main" id="{30255FFE-D197-D7C4-DB85-2BD702F1FA23}"/>
                  </a:ext>
                </a:extLst>
              </p:cNvPr>
              <p:cNvSpPr/>
              <p:nvPr/>
            </p:nvSpPr>
            <p:spPr>
              <a:xfrm rot="5400000">
                <a:off x="2802340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92" name="Полилиния 891">
                <a:extLst>
                  <a:ext uri="{FF2B5EF4-FFF2-40B4-BE49-F238E27FC236}">
                    <a16:creationId xmlns:a16="http://schemas.microsoft.com/office/drawing/2014/main" id="{EAB5991B-4AD1-8838-784B-195E7C924DFC}"/>
                  </a:ext>
                </a:extLst>
              </p:cNvPr>
              <p:cNvSpPr/>
              <p:nvPr/>
            </p:nvSpPr>
            <p:spPr>
              <a:xfrm rot="5400000">
                <a:off x="3167038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93" name="Полилиния 892">
                <a:extLst>
                  <a:ext uri="{FF2B5EF4-FFF2-40B4-BE49-F238E27FC236}">
                    <a16:creationId xmlns:a16="http://schemas.microsoft.com/office/drawing/2014/main" id="{B8556A1D-ACDF-4757-DBAE-FF5537DC324C}"/>
                  </a:ext>
                </a:extLst>
              </p:cNvPr>
              <p:cNvSpPr/>
              <p:nvPr/>
            </p:nvSpPr>
            <p:spPr>
              <a:xfrm rot="5400000">
                <a:off x="3440561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sp>
        <p:nvSpPr>
          <p:cNvPr id="512" name="TextBox 511">
            <a:extLst>
              <a:ext uri="{FF2B5EF4-FFF2-40B4-BE49-F238E27FC236}">
                <a16:creationId xmlns:a16="http://schemas.microsoft.com/office/drawing/2014/main" id="{4EDC9C22-BC7F-8E5C-1559-677F3F12C3DE}"/>
              </a:ext>
            </a:extLst>
          </p:cNvPr>
          <p:cNvSpPr txBox="1"/>
          <p:nvPr/>
        </p:nvSpPr>
        <p:spPr>
          <a:xfrm>
            <a:off x="8566278" y="802528"/>
            <a:ext cx="3297640" cy="27183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rPr>
              <a:t>Бизнес-шаблон презентации 20+ слайдов в </a:t>
            </a:r>
            <a:r>
              <a:rPr lang="en-US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rPr>
              <a:t>PowerPoint </a:t>
            </a:r>
            <a:br>
              <a:rPr lang="ru-RU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rPr>
            </a:br>
            <a:br>
              <a:rPr lang="ru-RU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Напишите мне </a:t>
            </a:r>
            <a:br>
              <a:rPr lang="ru-RU" sz="1600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в личных сообщениях </a:t>
            </a:r>
            <a:r>
              <a:rPr lang="ru-RU" sz="1600" dirty="0" err="1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ТенЧат</a:t>
            </a:r>
            <a:r>
              <a:rPr lang="ru-RU" sz="1600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«БОНУС»</a:t>
            </a:r>
            <a:endParaRPr lang="ru-RU" b="1" dirty="0">
              <a:solidFill>
                <a:schemeClr val="bg1"/>
              </a:solidFill>
              <a:latin typeface="Unbounded" panose="020B0305040102020103" pitchFamily="34" charset="0"/>
              <a:cs typeface="Times New Roman" panose="02020603050405020304" pitchFamily="18" charset="0"/>
            </a:endParaRPr>
          </a:p>
        </p:txBody>
      </p:sp>
      <p:sp>
        <p:nvSpPr>
          <p:cNvPr id="514" name="Rectangle: Rounded Corners 70">
            <a:extLst>
              <a:ext uri="{FF2B5EF4-FFF2-40B4-BE49-F238E27FC236}">
                <a16:creationId xmlns:a16="http://schemas.microsoft.com/office/drawing/2014/main" id="{C11D6B79-24DD-1B5A-CA89-B356E3DF7744}"/>
              </a:ext>
            </a:extLst>
          </p:cNvPr>
          <p:cNvSpPr/>
          <p:nvPr/>
        </p:nvSpPr>
        <p:spPr>
          <a:xfrm rot="10800000">
            <a:off x="8638163" y="3739229"/>
            <a:ext cx="2752824" cy="2554063"/>
          </a:xfrm>
          <a:prstGeom prst="roundRect">
            <a:avLst>
              <a:gd name="adj" fmla="val 13536"/>
            </a:avLst>
          </a:prstGeom>
          <a:solidFill>
            <a:schemeClr val="bg1">
              <a:alpha val="10036"/>
            </a:schemeClr>
          </a:solidFill>
          <a:ln w="15875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grpSp>
        <p:nvGrpSpPr>
          <p:cNvPr id="1085" name="Рисунок 1081">
            <a:extLst>
              <a:ext uri="{FF2B5EF4-FFF2-40B4-BE49-F238E27FC236}">
                <a16:creationId xmlns:a16="http://schemas.microsoft.com/office/drawing/2014/main" id="{00711918-A114-FAFD-374D-538DF2ACF457}"/>
              </a:ext>
            </a:extLst>
          </p:cNvPr>
          <p:cNvGrpSpPr/>
          <p:nvPr/>
        </p:nvGrpSpPr>
        <p:grpSpPr>
          <a:xfrm>
            <a:off x="9050056" y="4051742"/>
            <a:ext cx="1929038" cy="1929038"/>
            <a:chOff x="6534639" y="2216418"/>
            <a:chExt cx="5912068" cy="5912068"/>
          </a:xfrm>
          <a:solidFill>
            <a:schemeClr val="bg1"/>
          </a:solidFill>
        </p:grpSpPr>
        <p:sp>
          <p:nvSpPr>
            <p:cNvPr id="1086" name="Полилиния 1085">
              <a:extLst>
                <a:ext uri="{FF2B5EF4-FFF2-40B4-BE49-F238E27FC236}">
                  <a16:creationId xmlns:a16="http://schemas.microsoft.com/office/drawing/2014/main" id="{DEC805DE-2497-5EB9-0556-77B3533ECC2E}"/>
                </a:ext>
              </a:extLst>
            </p:cNvPr>
            <p:cNvSpPr/>
            <p:nvPr/>
          </p:nvSpPr>
          <p:spPr>
            <a:xfrm rot="-5400000">
              <a:off x="7007605" y="6946073"/>
              <a:ext cx="709448" cy="709448"/>
            </a:xfrm>
            <a:custGeom>
              <a:avLst/>
              <a:gdLst>
                <a:gd name="connsiteX0" fmla="*/ 709448 w 709448"/>
                <a:gd name="connsiteY0" fmla="*/ 354724 h 709448"/>
                <a:gd name="connsiteX1" fmla="*/ 354724 w 709448"/>
                <a:gd name="connsiteY1" fmla="*/ 709448 h 709448"/>
                <a:gd name="connsiteX2" fmla="*/ 0 w 709448"/>
                <a:gd name="connsiteY2" fmla="*/ 354724 h 709448"/>
                <a:gd name="connsiteX3" fmla="*/ 354724 w 709448"/>
                <a:gd name="connsiteY3" fmla="*/ 0 h 709448"/>
                <a:gd name="connsiteX4" fmla="*/ 709448 w 709448"/>
                <a:gd name="connsiteY4" fmla="*/ 354724 h 70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448" h="709448">
                  <a:moveTo>
                    <a:pt x="709448" y="354724"/>
                  </a:moveTo>
                  <a:cubicBezTo>
                    <a:pt x="709448" y="550633"/>
                    <a:pt x="550633" y="709448"/>
                    <a:pt x="354724" y="709448"/>
                  </a:cubicBezTo>
                  <a:cubicBezTo>
                    <a:pt x="158815" y="709448"/>
                    <a:pt x="0" y="550633"/>
                    <a:pt x="0" y="354724"/>
                  </a:cubicBezTo>
                  <a:cubicBezTo>
                    <a:pt x="0" y="158816"/>
                    <a:pt x="158815" y="0"/>
                    <a:pt x="354724" y="0"/>
                  </a:cubicBezTo>
                  <a:cubicBezTo>
                    <a:pt x="550633" y="0"/>
                    <a:pt x="709448" y="158816"/>
                    <a:pt x="709448" y="354724"/>
                  </a:cubicBez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7" name="Полилиния 1086">
              <a:extLst>
                <a:ext uri="{FF2B5EF4-FFF2-40B4-BE49-F238E27FC236}">
                  <a16:creationId xmlns:a16="http://schemas.microsoft.com/office/drawing/2014/main" id="{95D04F35-8F96-BC6F-A3CE-D0A4BCD7BC0B}"/>
                </a:ext>
              </a:extLst>
            </p:cNvPr>
            <p:cNvSpPr/>
            <p:nvPr/>
          </p:nvSpPr>
          <p:spPr>
            <a:xfrm rot="-5400000">
              <a:off x="6534639" y="6473108"/>
              <a:ext cx="1655379" cy="1655379"/>
            </a:xfrm>
            <a:custGeom>
              <a:avLst/>
              <a:gdLst>
                <a:gd name="connsiteX0" fmla="*/ 0 w 1655379"/>
                <a:gd name="connsiteY0" fmla="*/ 591207 h 1655379"/>
                <a:gd name="connsiteX1" fmla="*/ 0 w 1655379"/>
                <a:gd name="connsiteY1" fmla="*/ 1064172 h 1655379"/>
                <a:gd name="connsiteX2" fmla="*/ 591207 w 1655379"/>
                <a:gd name="connsiteY2" fmla="*/ 1655379 h 1655379"/>
                <a:gd name="connsiteX3" fmla="*/ 1064172 w 1655379"/>
                <a:gd name="connsiteY3" fmla="*/ 1655379 h 1655379"/>
                <a:gd name="connsiteX4" fmla="*/ 1655379 w 1655379"/>
                <a:gd name="connsiteY4" fmla="*/ 1064172 h 1655379"/>
                <a:gd name="connsiteX5" fmla="*/ 1655379 w 1655379"/>
                <a:gd name="connsiteY5" fmla="*/ 591207 h 1655379"/>
                <a:gd name="connsiteX6" fmla="*/ 1064172 w 1655379"/>
                <a:gd name="connsiteY6" fmla="*/ 0 h 1655379"/>
                <a:gd name="connsiteX7" fmla="*/ 591207 w 1655379"/>
                <a:gd name="connsiteY7" fmla="*/ 0 h 1655379"/>
                <a:gd name="connsiteX8" fmla="*/ 0 w 1655379"/>
                <a:gd name="connsiteY8" fmla="*/ 591207 h 1655379"/>
                <a:gd name="connsiteX9" fmla="*/ 591207 w 1655379"/>
                <a:gd name="connsiteY9" fmla="*/ 236483 h 1655379"/>
                <a:gd name="connsiteX10" fmla="*/ 1064172 w 1655379"/>
                <a:gd name="connsiteY10" fmla="*/ 236483 h 1655379"/>
                <a:gd name="connsiteX11" fmla="*/ 1418897 w 1655379"/>
                <a:gd name="connsiteY11" fmla="*/ 591207 h 1655379"/>
                <a:gd name="connsiteX12" fmla="*/ 1418897 w 1655379"/>
                <a:gd name="connsiteY12" fmla="*/ 1064172 h 1655379"/>
                <a:gd name="connsiteX13" fmla="*/ 1064172 w 1655379"/>
                <a:gd name="connsiteY13" fmla="*/ 1418897 h 1655379"/>
                <a:gd name="connsiteX14" fmla="*/ 591207 w 1655379"/>
                <a:gd name="connsiteY14" fmla="*/ 1418897 h 1655379"/>
                <a:gd name="connsiteX15" fmla="*/ 236483 w 1655379"/>
                <a:gd name="connsiteY15" fmla="*/ 1064172 h 1655379"/>
                <a:gd name="connsiteX16" fmla="*/ 236483 w 1655379"/>
                <a:gd name="connsiteY16" fmla="*/ 591207 h 1655379"/>
                <a:gd name="connsiteX17" fmla="*/ 591207 w 1655379"/>
                <a:gd name="connsiteY17" fmla="*/ 236483 h 1655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55379" h="1655379">
                  <a:moveTo>
                    <a:pt x="0" y="591207"/>
                  </a:moveTo>
                  <a:lnTo>
                    <a:pt x="0" y="1064172"/>
                  </a:lnTo>
                  <a:cubicBezTo>
                    <a:pt x="0" y="1390687"/>
                    <a:pt x="264692" y="1655379"/>
                    <a:pt x="591207" y="1655379"/>
                  </a:cubicBezTo>
                  <a:lnTo>
                    <a:pt x="1064172" y="1655379"/>
                  </a:lnTo>
                  <a:cubicBezTo>
                    <a:pt x="1390687" y="1655379"/>
                    <a:pt x="1655379" y="1390687"/>
                    <a:pt x="1655379" y="1064172"/>
                  </a:cubicBezTo>
                  <a:lnTo>
                    <a:pt x="1655379" y="591207"/>
                  </a:lnTo>
                  <a:cubicBezTo>
                    <a:pt x="1655379" y="264692"/>
                    <a:pt x="1390687" y="0"/>
                    <a:pt x="1064172" y="0"/>
                  </a:cubicBezTo>
                  <a:lnTo>
                    <a:pt x="591207" y="0"/>
                  </a:lnTo>
                  <a:cubicBezTo>
                    <a:pt x="264692" y="0"/>
                    <a:pt x="0" y="264692"/>
                    <a:pt x="0" y="591207"/>
                  </a:cubicBezTo>
                  <a:moveTo>
                    <a:pt x="591207" y="236483"/>
                  </a:moveTo>
                  <a:lnTo>
                    <a:pt x="1064172" y="236483"/>
                  </a:lnTo>
                  <a:cubicBezTo>
                    <a:pt x="1260081" y="236483"/>
                    <a:pt x="1418897" y="395298"/>
                    <a:pt x="1418897" y="591207"/>
                  </a:cubicBezTo>
                  <a:lnTo>
                    <a:pt x="1418897" y="1064172"/>
                  </a:lnTo>
                  <a:cubicBezTo>
                    <a:pt x="1418897" y="1260081"/>
                    <a:pt x="1260081" y="1418897"/>
                    <a:pt x="1064172" y="1418897"/>
                  </a:cubicBezTo>
                  <a:lnTo>
                    <a:pt x="591207" y="1418897"/>
                  </a:lnTo>
                  <a:cubicBezTo>
                    <a:pt x="395298" y="1418897"/>
                    <a:pt x="236483" y="1260081"/>
                    <a:pt x="236483" y="1064172"/>
                  </a:cubicBezTo>
                  <a:lnTo>
                    <a:pt x="236483" y="591207"/>
                  </a:lnTo>
                  <a:cubicBezTo>
                    <a:pt x="236483" y="395298"/>
                    <a:pt x="395298" y="236483"/>
                    <a:pt x="591207" y="236483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8" name="Полилиния 1087">
              <a:extLst>
                <a:ext uri="{FF2B5EF4-FFF2-40B4-BE49-F238E27FC236}">
                  <a16:creationId xmlns:a16="http://schemas.microsoft.com/office/drawing/2014/main" id="{30A35441-05FA-F8A1-C7AB-C27AA97E1010}"/>
                </a:ext>
              </a:extLst>
            </p:cNvPr>
            <p:cNvSpPr/>
            <p:nvPr/>
          </p:nvSpPr>
          <p:spPr>
            <a:xfrm rot="5400000">
              <a:off x="11264294" y="2689384"/>
              <a:ext cx="709448" cy="709448"/>
            </a:xfrm>
            <a:custGeom>
              <a:avLst/>
              <a:gdLst>
                <a:gd name="connsiteX0" fmla="*/ 709448 w 709448"/>
                <a:gd name="connsiteY0" fmla="*/ 354724 h 709448"/>
                <a:gd name="connsiteX1" fmla="*/ 354724 w 709448"/>
                <a:gd name="connsiteY1" fmla="*/ 709448 h 709448"/>
                <a:gd name="connsiteX2" fmla="*/ 0 w 709448"/>
                <a:gd name="connsiteY2" fmla="*/ 354724 h 709448"/>
                <a:gd name="connsiteX3" fmla="*/ 354724 w 709448"/>
                <a:gd name="connsiteY3" fmla="*/ 0 h 709448"/>
                <a:gd name="connsiteX4" fmla="*/ 709448 w 709448"/>
                <a:gd name="connsiteY4" fmla="*/ 354724 h 70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448" h="709448">
                  <a:moveTo>
                    <a:pt x="709448" y="354724"/>
                  </a:moveTo>
                  <a:cubicBezTo>
                    <a:pt x="709448" y="550633"/>
                    <a:pt x="550633" y="709448"/>
                    <a:pt x="354724" y="709448"/>
                  </a:cubicBezTo>
                  <a:cubicBezTo>
                    <a:pt x="158816" y="709448"/>
                    <a:pt x="0" y="550633"/>
                    <a:pt x="0" y="354724"/>
                  </a:cubicBezTo>
                  <a:cubicBezTo>
                    <a:pt x="0" y="158815"/>
                    <a:pt x="158816" y="0"/>
                    <a:pt x="354724" y="0"/>
                  </a:cubicBezTo>
                  <a:cubicBezTo>
                    <a:pt x="550633" y="0"/>
                    <a:pt x="709448" y="158815"/>
                    <a:pt x="709448" y="354724"/>
                  </a:cubicBez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9" name="Полилиния 1088">
              <a:extLst>
                <a:ext uri="{FF2B5EF4-FFF2-40B4-BE49-F238E27FC236}">
                  <a16:creationId xmlns:a16="http://schemas.microsoft.com/office/drawing/2014/main" id="{2579919E-E8C4-95E3-0883-15A82091F9BE}"/>
                </a:ext>
              </a:extLst>
            </p:cNvPr>
            <p:cNvSpPr/>
            <p:nvPr/>
          </p:nvSpPr>
          <p:spPr>
            <a:xfrm rot="5400000">
              <a:off x="10791329" y="2216418"/>
              <a:ext cx="1655379" cy="1655379"/>
            </a:xfrm>
            <a:custGeom>
              <a:avLst/>
              <a:gdLst>
                <a:gd name="connsiteX0" fmla="*/ 0 w 1655379"/>
                <a:gd name="connsiteY0" fmla="*/ 591207 h 1655379"/>
                <a:gd name="connsiteX1" fmla="*/ 0 w 1655379"/>
                <a:gd name="connsiteY1" fmla="*/ 1064172 h 1655379"/>
                <a:gd name="connsiteX2" fmla="*/ 591207 w 1655379"/>
                <a:gd name="connsiteY2" fmla="*/ 1655379 h 1655379"/>
                <a:gd name="connsiteX3" fmla="*/ 1064172 w 1655379"/>
                <a:gd name="connsiteY3" fmla="*/ 1655379 h 1655379"/>
                <a:gd name="connsiteX4" fmla="*/ 1655379 w 1655379"/>
                <a:gd name="connsiteY4" fmla="*/ 1064172 h 1655379"/>
                <a:gd name="connsiteX5" fmla="*/ 1655379 w 1655379"/>
                <a:gd name="connsiteY5" fmla="*/ 591207 h 1655379"/>
                <a:gd name="connsiteX6" fmla="*/ 1064172 w 1655379"/>
                <a:gd name="connsiteY6" fmla="*/ 0 h 1655379"/>
                <a:gd name="connsiteX7" fmla="*/ 591207 w 1655379"/>
                <a:gd name="connsiteY7" fmla="*/ 0 h 1655379"/>
                <a:gd name="connsiteX8" fmla="*/ 0 w 1655379"/>
                <a:gd name="connsiteY8" fmla="*/ 591207 h 1655379"/>
                <a:gd name="connsiteX9" fmla="*/ 591207 w 1655379"/>
                <a:gd name="connsiteY9" fmla="*/ 236483 h 1655379"/>
                <a:gd name="connsiteX10" fmla="*/ 1064172 w 1655379"/>
                <a:gd name="connsiteY10" fmla="*/ 236483 h 1655379"/>
                <a:gd name="connsiteX11" fmla="*/ 1418897 w 1655379"/>
                <a:gd name="connsiteY11" fmla="*/ 591207 h 1655379"/>
                <a:gd name="connsiteX12" fmla="*/ 1418897 w 1655379"/>
                <a:gd name="connsiteY12" fmla="*/ 1064172 h 1655379"/>
                <a:gd name="connsiteX13" fmla="*/ 1064172 w 1655379"/>
                <a:gd name="connsiteY13" fmla="*/ 1418897 h 1655379"/>
                <a:gd name="connsiteX14" fmla="*/ 591207 w 1655379"/>
                <a:gd name="connsiteY14" fmla="*/ 1418897 h 1655379"/>
                <a:gd name="connsiteX15" fmla="*/ 236483 w 1655379"/>
                <a:gd name="connsiteY15" fmla="*/ 1064172 h 1655379"/>
                <a:gd name="connsiteX16" fmla="*/ 236483 w 1655379"/>
                <a:gd name="connsiteY16" fmla="*/ 591207 h 1655379"/>
                <a:gd name="connsiteX17" fmla="*/ 591207 w 1655379"/>
                <a:gd name="connsiteY17" fmla="*/ 236483 h 1655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55379" h="1655379">
                  <a:moveTo>
                    <a:pt x="0" y="591207"/>
                  </a:moveTo>
                  <a:lnTo>
                    <a:pt x="0" y="1064172"/>
                  </a:lnTo>
                  <a:cubicBezTo>
                    <a:pt x="0" y="1390687"/>
                    <a:pt x="264692" y="1655379"/>
                    <a:pt x="591207" y="1655379"/>
                  </a:cubicBezTo>
                  <a:lnTo>
                    <a:pt x="1064172" y="1655379"/>
                  </a:lnTo>
                  <a:cubicBezTo>
                    <a:pt x="1390687" y="1655379"/>
                    <a:pt x="1655379" y="1390687"/>
                    <a:pt x="1655379" y="1064172"/>
                  </a:cubicBezTo>
                  <a:lnTo>
                    <a:pt x="1655379" y="591207"/>
                  </a:lnTo>
                  <a:cubicBezTo>
                    <a:pt x="1655379" y="264692"/>
                    <a:pt x="1390687" y="0"/>
                    <a:pt x="1064172" y="0"/>
                  </a:cubicBezTo>
                  <a:lnTo>
                    <a:pt x="591207" y="0"/>
                  </a:lnTo>
                  <a:cubicBezTo>
                    <a:pt x="264692" y="0"/>
                    <a:pt x="0" y="264692"/>
                    <a:pt x="0" y="591207"/>
                  </a:cubicBezTo>
                  <a:moveTo>
                    <a:pt x="591207" y="236483"/>
                  </a:moveTo>
                  <a:lnTo>
                    <a:pt x="1064172" y="236483"/>
                  </a:lnTo>
                  <a:cubicBezTo>
                    <a:pt x="1260081" y="236483"/>
                    <a:pt x="1418897" y="395298"/>
                    <a:pt x="1418897" y="591207"/>
                  </a:cubicBezTo>
                  <a:lnTo>
                    <a:pt x="1418897" y="1064172"/>
                  </a:lnTo>
                  <a:cubicBezTo>
                    <a:pt x="1418897" y="1260081"/>
                    <a:pt x="1260081" y="1418897"/>
                    <a:pt x="1064172" y="1418897"/>
                  </a:cubicBezTo>
                  <a:lnTo>
                    <a:pt x="591207" y="1418897"/>
                  </a:lnTo>
                  <a:cubicBezTo>
                    <a:pt x="395298" y="1418897"/>
                    <a:pt x="236483" y="1260081"/>
                    <a:pt x="236483" y="1064172"/>
                  </a:cubicBezTo>
                  <a:lnTo>
                    <a:pt x="236483" y="591207"/>
                  </a:lnTo>
                  <a:cubicBezTo>
                    <a:pt x="236483" y="395298"/>
                    <a:pt x="395298" y="236483"/>
                    <a:pt x="591207" y="236483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0" name="Полилиния 1089">
              <a:extLst>
                <a:ext uri="{FF2B5EF4-FFF2-40B4-BE49-F238E27FC236}">
                  <a16:creationId xmlns:a16="http://schemas.microsoft.com/office/drawing/2014/main" id="{2B7F1C99-CEFB-AA8B-CD5F-ED461959C785}"/>
                </a:ext>
              </a:extLst>
            </p:cNvPr>
            <p:cNvSpPr/>
            <p:nvPr/>
          </p:nvSpPr>
          <p:spPr>
            <a:xfrm>
              <a:off x="7007605" y="2689384"/>
              <a:ext cx="709448" cy="709448"/>
            </a:xfrm>
            <a:custGeom>
              <a:avLst/>
              <a:gdLst>
                <a:gd name="connsiteX0" fmla="*/ 709448 w 709448"/>
                <a:gd name="connsiteY0" fmla="*/ 354724 h 709448"/>
                <a:gd name="connsiteX1" fmla="*/ 354724 w 709448"/>
                <a:gd name="connsiteY1" fmla="*/ 709448 h 709448"/>
                <a:gd name="connsiteX2" fmla="*/ 0 w 709448"/>
                <a:gd name="connsiteY2" fmla="*/ 354724 h 709448"/>
                <a:gd name="connsiteX3" fmla="*/ 354724 w 709448"/>
                <a:gd name="connsiteY3" fmla="*/ 0 h 709448"/>
                <a:gd name="connsiteX4" fmla="*/ 709448 w 709448"/>
                <a:gd name="connsiteY4" fmla="*/ 354724 h 70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448" h="709448">
                  <a:moveTo>
                    <a:pt x="709448" y="354724"/>
                  </a:moveTo>
                  <a:cubicBezTo>
                    <a:pt x="709448" y="550633"/>
                    <a:pt x="550633" y="709448"/>
                    <a:pt x="354724" y="709448"/>
                  </a:cubicBezTo>
                  <a:cubicBezTo>
                    <a:pt x="158815" y="709448"/>
                    <a:pt x="0" y="550633"/>
                    <a:pt x="0" y="354724"/>
                  </a:cubicBezTo>
                  <a:cubicBezTo>
                    <a:pt x="0" y="158815"/>
                    <a:pt x="158815" y="0"/>
                    <a:pt x="354724" y="0"/>
                  </a:cubicBezTo>
                  <a:cubicBezTo>
                    <a:pt x="550633" y="0"/>
                    <a:pt x="709448" y="158815"/>
                    <a:pt x="709448" y="354724"/>
                  </a:cubicBez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1" name="Полилиния 1090">
              <a:extLst>
                <a:ext uri="{FF2B5EF4-FFF2-40B4-BE49-F238E27FC236}">
                  <a16:creationId xmlns:a16="http://schemas.microsoft.com/office/drawing/2014/main" id="{44D9949E-DA58-FF96-B9BB-0096742E75AA}"/>
                </a:ext>
              </a:extLst>
            </p:cNvPr>
            <p:cNvSpPr/>
            <p:nvPr/>
          </p:nvSpPr>
          <p:spPr>
            <a:xfrm>
              <a:off x="6534639" y="2216418"/>
              <a:ext cx="1655379" cy="1655379"/>
            </a:xfrm>
            <a:custGeom>
              <a:avLst/>
              <a:gdLst>
                <a:gd name="connsiteX0" fmla="*/ 0 w 1655379"/>
                <a:gd name="connsiteY0" fmla="*/ 591207 h 1655379"/>
                <a:gd name="connsiteX1" fmla="*/ 0 w 1655379"/>
                <a:gd name="connsiteY1" fmla="*/ 1064172 h 1655379"/>
                <a:gd name="connsiteX2" fmla="*/ 591207 w 1655379"/>
                <a:gd name="connsiteY2" fmla="*/ 1655379 h 1655379"/>
                <a:gd name="connsiteX3" fmla="*/ 1064172 w 1655379"/>
                <a:gd name="connsiteY3" fmla="*/ 1655379 h 1655379"/>
                <a:gd name="connsiteX4" fmla="*/ 1655379 w 1655379"/>
                <a:gd name="connsiteY4" fmla="*/ 1064172 h 1655379"/>
                <a:gd name="connsiteX5" fmla="*/ 1655379 w 1655379"/>
                <a:gd name="connsiteY5" fmla="*/ 591207 h 1655379"/>
                <a:gd name="connsiteX6" fmla="*/ 1064172 w 1655379"/>
                <a:gd name="connsiteY6" fmla="*/ 0 h 1655379"/>
                <a:gd name="connsiteX7" fmla="*/ 591207 w 1655379"/>
                <a:gd name="connsiteY7" fmla="*/ 0 h 1655379"/>
                <a:gd name="connsiteX8" fmla="*/ 0 w 1655379"/>
                <a:gd name="connsiteY8" fmla="*/ 591207 h 1655379"/>
                <a:gd name="connsiteX9" fmla="*/ 591207 w 1655379"/>
                <a:gd name="connsiteY9" fmla="*/ 236483 h 1655379"/>
                <a:gd name="connsiteX10" fmla="*/ 1064172 w 1655379"/>
                <a:gd name="connsiteY10" fmla="*/ 236483 h 1655379"/>
                <a:gd name="connsiteX11" fmla="*/ 1418897 w 1655379"/>
                <a:gd name="connsiteY11" fmla="*/ 591207 h 1655379"/>
                <a:gd name="connsiteX12" fmla="*/ 1418897 w 1655379"/>
                <a:gd name="connsiteY12" fmla="*/ 1064172 h 1655379"/>
                <a:gd name="connsiteX13" fmla="*/ 1064172 w 1655379"/>
                <a:gd name="connsiteY13" fmla="*/ 1418897 h 1655379"/>
                <a:gd name="connsiteX14" fmla="*/ 591207 w 1655379"/>
                <a:gd name="connsiteY14" fmla="*/ 1418897 h 1655379"/>
                <a:gd name="connsiteX15" fmla="*/ 236483 w 1655379"/>
                <a:gd name="connsiteY15" fmla="*/ 1064172 h 1655379"/>
                <a:gd name="connsiteX16" fmla="*/ 236483 w 1655379"/>
                <a:gd name="connsiteY16" fmla="*/ 591207 h 1655379"/>
                <a:gd name="connsiteX17" fmla="*/ 591207 w 1655379"/>
                <a:gd name="connsiteY17" fmla="*/ 236483 h 1655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55379" h="1655379">
                  <a:moveTo>
                    <a:pt x="0" y="591207"/>
                  </a:moveTo>
                  <a:lnTo>
                    <a:pt x="0" y="1064172"/>
                  </a:lnTo>
                  <a:cubicBezTo>
                    <a:pt x="0" y="1390687"/>
                    <a:pt x="264692" y="1655379"/>
                    <a:pt x="591207" y="1655379"/>
                  </a:cubicBezTo>
                  <a:lnTo>
                    <a:pt x="1064172" y="1655379"/>
                  </a:lnTo>
                  <a:cubicBezTo>
                    <a:pt x="1390687" y="1655379"/>
                    <a:pt x="1655379" y="1390687"/>
                    <a:pt x="1655379" y="1064172"/>
                  </a:cubicBezTo>
                  <a:lnTo>
                    <a:pt x="1655379" y="591207"/>
                  </a:lnTo>
                  <a:cubicBezTo>
                    <a:pt x="1655379" y="264692"/>
                    <a:pt x="1390687" y="0"/>
                    <a:pt x="1064172" y="0"/>
                  </a:cubicBezTo>
                  <a:lnTo>
                    <a:pt x="591207" y="0"/>
                  </a:lnTo>
                  <a:cubicBezTo>
                    <a:pt x="264692" y="0"/>
                    <a:pt x="0" y="264692"/>
                    <a:pt x="0" y="591207"/>
                  </a:cubicBezTo>
                  <a:moveTo>
                    <a:pt x="591207" y="236483"/>
                  </a:moveTo>
                  <a:lnTo>
                    <a:pt x="1064172" y="236483"/>
                  </a:lnTo>
                  <a:cubicBezTo>
                    <a:pt x="1260081" y="236483"/>
                    <a:pt x="1418897" y="395298"/>
                    <a:pt x="1418897" y="591207"/>
                  </a:cubicBezTo>
                  <a:lnTo>
                    <a:pt x="1418897" y="1064172"/>
                  </a:lnTo>
                  <a:cubicBezTo>
                    <a:pt x="1418897" y="1260081"/>
                    <a:pt x="1260081" y="1418897"/>
                    <a:pt x="1064172" y="1418897"/>
                  </a:cubicBezTo>
                  <a:lnTo>
                    <a:pt x="591207" y="1418897"/>
                  </a:lnTo>
                  <a:cubicBezTo>
                    <a:pt x="395298" y="1418897"/>
                    <a:pt x="236483" y="1260081"/>
                    <a:pt x="236483" y="1064172"/>
                  </a:cubicBezTo>
                  <a:lnTo>
                    <a:pt x="236483" y="591207"/>
                  </a:lnTo>
                  <a:cubicBezTo>
                    <a:pt x="236483" y="395298"/>
                    <a:pt x="395298" y="236483"/>
                    <a:pt x="591207" y="236483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2" name="Полилиния 1091">
              <a:extLst>
                <a:ext uri="{FF2B5EF4-FFF2-40B4-BE49-F238E27FC236}">
                  <a16:creationId xmlns:a16="http://schemas.microsoft.com/office/drawing/2014/main" id="{F5651E4C-1847-AFB8-8D82-8FCECD845493}"/>
                </a:ext>
              </a:extLst>
            </p:cNvPr>
            <p:cNvSpPr/>
            <p:nvPr/>
          </p:nvSpPr>
          <p:spPr>
            <a:xfrm rot="-5400000">
              <a:off x="9372432" y="221641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3" name="Полилиния 1092">
              <a:extLst>
                <a:ext uri="{FF2B5EF4-FFF2-40B4-BE49-F238E27FC236}">
                  <a16:creationId xmlns:a16="http://schemas.microsoft.com/office/drawing/2014/main" id="{E58F0A24-3551-0AFF-D42A-9B513F8BE984}"/>
                </a:ext>
              </a:extLst>
            </p:cNvPr>
            <p:cNvSpPr/>
            <p:nvPr/>
          </p:nvSpPr>
          <p:spPr>
            <a:xfrm rot="5400000">
              <a:off x="9845398" y="221641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8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4" name="Полилиния 1093">
              <a:extLst>
                <a:ext uri="{FF2B5EF4-FFF2-40B4-BE49-F238E27FC236}">
                  <a16:creationId xmlns:a16="http://schemas.microsoft.com/office/drawing/2014/main" id="{7C88A70C-CE5F-337A-33F3-ED4F030D9906}"/>
                </a:ext>
              </a:extLst>
            </p:cNvPr>
            <p:cNvSpPr/>
            <p:nvPr/>
          </p:nvSpPr>
          <p:spPr>
            <a:xfrm rot="5400000">
              <a:off x="8426501" y="245290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8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5" name="Полилиния 1094">
              <a:extLst>
                <a:ext uri="{FF2B5EF4-FFF2-40B4-BE49-F238E27FC236}">
                  <a16:creationId xmlns:a16="http://schemas.microsoft.com/office/drawing/2014/main" id="{A9D31364-0148-C446-26BF-ACDFEC8B30BA}"/>
                </a:ext>
              </a:extLst>
            </p:cNvPr>
            <p:cNvSpPr/>
            <p:nvPr/>
          </p:nvSpPr>
          <p:spPr>
            <a:xfrm rot="-5400000">
              <a:off x="9135949" y="245290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6" name="Полилиния 1095">
              <a:extLst>
                <a:ext uri="{FF2B5EF4-FFF2-40B4-BE49-F238E27FC236}">
                  <a16:creationId xmlns:a16="http://schemas.microsoft.com/office/drawing/2014/main" id="{79C428E6-2768-7FDC-F293-057CAB3E3219}"/>
                </a:ext>
              </a:extLst>
            </p:cNvPr>
            <p:cNvSpPr/>
            <p:nvPr/>
          </p:nvSpPr>
          <p:spPr>
            <a:xfrm>
              <a:off x="9372432" y="245290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7" name="Полилиния 1096">
              <a:extLst>
                <a:ext uri="{FF2B5EF4-FFF2-40B4-BE49-F238E27FC236}">
                  <a16:creationId xmlns:a16="http://schemas.microsoft.com/office/drawing/2014/main" id="{08B35A6E-6C76-BB11-46C1-6F180FA8D14D}"/>
                </a:ext>
              </a:extLst>
            </p:cNvPr>
            <p:cNvSpPr/>
            <p:nvPr/>
          </p:nvSpPr>
          <p:spPr>
            <a:xfrm rot="5400000">
              <a:off x="10318363" y="245290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8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8" name="Полилиния 1097">
              <a:extLst>
                <a:ext uri="{FF2B5EF4-FFF2-40B4-BE49-F238E27FC236}">
                  <a16:creationId xmlns:a16="http://schemas.microsoft.com/office/drawing/2014/main" id="{5ADDEA93-B566-85A2-2E37-427C0737E0E3}"/>
                </a:ext>
              </a:extLst>
            </p:cNvPr>
            <p:cNvSpPr/>
            <p:nvPr/>
          </p:nvSpPr>
          <p:spPr>
            <a:xfrm rot="-5400000">
              <a:off x="8899467" y="268938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9" name="Полилиния 1098">
              <a:extLst>
                <a:ext uri="{FF2B5EF4-FFF2-40B4-BE49-F238E27FC236}">
                  <a16:creationId xmlns:a16="http://schemas.microsoft.com/office/drawing/2014/main" id="{21A85868-ABD4-A156-635F-70FDC05FC621}"/>
                </a:ext>
              </a:extLst>
            </p:cNvPr>
            <p:cNvSpPr/>
            <p:nvPr/>
          </p:nvSpPr>
          <p:spPr>
            <a:xfrm>
              <a:off x="9372432" y="268938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0" name="Полилиния 1099">
              <a:extLst>
                <a:ext uri="{FF2B5EF4-FFF2-40B4-BE49-F238E27FC236}">
                  <a16:creationId xmlns:a16="http://schemas.microsoft.com/office/drawing/2014/main" id="{A7E04170-6CB7-461A-4D15-442AB0048B8A}"/>
                </a:ext>
              </a:extLst>
            </p:cNvPr>
            <p:cNvSpPr/>
            <p:nvPr/>
          </p:nvSpPr>
          <p:spPr>
            <a:xfrm rot="5400000">
              <a:off x="9608915" y="268938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1" name="Полилиния 1100">
              <a:extLst>
                <a:ext uri="{FF2B5EF4-FFF2-40B4-BE49-F238E27FC236}">
                  <a16:creationId xmlns:a16="http://schemas.microsoft.com/office/drawing/2014/main" id="{FCFD3FFB-92B0-C322-598D-4AF004F110DA}"/>
                </a:ext>
              </a:extLst>
            </p:cNvPr>
            <p:cNvSpPr/>
            <p:nvPr/>
          </p:nvSpPr>
          <p:spPr>
            <a:xfrm rot="-5400000">
              <a:off x="8426501" y="292586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2" name="Полилиния 1101">
              <a:extLst>
                <a:ext uri="{FF2B5EF4-FFF2-40B4-BE49-F238E27FC236}">
                  <a16:creationId xmlns:a16="http://schemas.microsoft.com/office/drawing/2014/main" id="{7DD1C837-F561-9733-2A8F-AC8D0C7DB4CC}"/>
                </a:ext>
              </a:extLst>
            </p:cNvPr>
            <p:cNvSpPr/>
            <p:nvPr/>
          </p:nvSpPr>
          <p:spPr>
            <a:xfrm>
              <a:off x="8899467" y="292586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3" name="Полилиния 1102">
              <a:extLst>
                <a:ext uri="{FF2B5EF4-FFF2-40B4-BE49-F238E27FC236}">
                  <a16:creationId xmlns:a16="http://schemas.microsoft.com/office/drawing/2014/main" id="{FF1B8041-F992-F6F6-6BB2-21B11E95B323}"/>
                </a:ext>
              </a:extLst>
            </p:cNvPr>
            <p:cNvSpPr/>
            <p:nvPr/>
          </p:nvSpPr>
          <p:spPr>
            <a:xfrm rot="-5400000">
              <a:off x="10081880" y="292586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4" name="Полилиния 1103">
              <a:extLst>
                <a:ext uri="{FF2B5EF4-FFF2-40B4-BE49-F238E27FC236}">
                  <a16:creationId xmlns:a16="http://schemas.microsoft.com/office/drawing/2014/main" id="{0AB98060-8007-B240-CF81-18F174EE6067}"/>
                </a:ext>
              </a:extLst>
            </p:cNvPr>
            <p:cNvSpPr/>
            <p:nvPr/>
          </p:nvSpPr>
          <p:spPr>
            <a:xfrm>
              <a:off x="10318363" y="292586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5" name="Полилиния 1104">
              <a:extLst>
                <a:ext uri="{FF2B5EF4-FFF2-40B4-BE49-F238E27FC236}">
                  <a16:creationId xmlns:a16="http://schemas.microsoft.com/office/drawing/2014/main" id="{2877F8F7-C10D-E13F-1080-2A9A5DE25DF8}"/>
                </a:ext>
              </a:extLst>
            </p:cNvPr>
            <p:cNvSpPr/>
            <p:nvPr/>
          </p:nvSpPr>
          <p:spPr>
            <a:xfrm rot="5400000">
              <a:off x="8426501" y="316234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6" name="Полилиния 1105">
              <a:extLst>
                <a:ext uri="{FF2B5EF4-FFF2-40B4-BE49-F238E27FC236}">
                  <a16:creationId xmlns:a16="http://schemas.microsoft.com/office/drawing/2014/main" id="{269B85C6-7A25-7B0C-1E97-ABC46204F772}"/>
                </a:ext>
              </a:extLst>
            </p:cNvPr>
            <p:cNvSpPr/>
            <p:nvPr/>
          </p:nvSpPr>
          <p:spPr>
            <a:xfrm>
              <a:off x="8899467" y="316234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7" name="Полилиния 1106">
              <a:extLst>
                <a:ext uri="{FF2B5EF4-FFF2-40B4-BE49-F238E27FC236}">
                  <a16:creationId xmlns:a16="http://schemas.microsoft.com/office/drawing/2014/main" id="{010C0DD8-33A1-190D-305C-94A1421402C8}"/>
                </a:ext>
              </a:extLst>
            </p:cNvPr>
            <p:cNvSpPr/>
            <p:nvPr/>
          </p:nvSpPr>
          <p:spPr>
            <a:xfrm>
              <a:off x="9135949" y="316234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8" name="Полилиния 1107">
              <a:extLst>
                <a:ext uri="{FF2B5EF4-FFF2-40B4-BE49-F238E27FC236}">
                  <a16:creationId xmlns:a16="http://schemas.microsoft.com/office/drawing/2014/main" id="{4D96CCB1-EC93-A716-9D38-0DAE5DF28B85}"/>
                </a:ext>
              </a:extLst>
            </p:cNvPr>
            <p:cNvSpPr/>
            <p:nvPr/>
          </p:nvSpPr>
          <p:spPr>
            <a:xfrm rot="-5400000">
              <a:off x="9608915" y="316234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9" name="Полилиния 1108">
              <a:extLst>
                <a:ext uri="{FF2B5EF4-FFF2-40B4-BE49-F238E27FC236}">
                  <a16:creationId xmlns:a16="http://schemas.microsoft.com/office/drawing/2014/main" id="{067AAFB6-219B-D395-1401-DF2D8B825BBA}"/>
                </a:ext>
              </a:extLst>
            </p:cNvPr>
            <p:cNvSpPr/>
            <p:nvPr/>
          </p:nvSpPr>
          <p:spPr>
            <a:xfrm>
              <a:off x="10318363" y="316234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0" name="Полилиния 1109">
              <a:extLst>
                <a:ext uri="{FF2B5EF4-FFF2-40B4-BE49-F238E27FC236}">
                  <a16:creationId xmlns:a16="http://schemas.microsoft.com/office/drawing/2014/main" id="{CAD93A7E-F033-CD9C-314D-C194F1CEAAEC}"/>
                </a:ext>
              </a:extLst>
            </p:cNvPr>
            <p:cNvSpPr/>
            <p:nvPr/>
          </p:nvSpPr>
          <p:spPr>
            <a:xfrm rot="-5400000">
              <a:off x="8662984" y="339883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1" name="Полилиния 1110">
              <a:extLst>
                <a:ext uri="{FF2B5EF4-FFF2-40B4-BE49-F238E27FC236}">
                  <a16:creationId xmlns:a16="http://schemas.microsoft.com/office/drawing/2014/main" id="{5DC6DA27-AE78-3B79-2CFE-294480EAE3B1}"/>
                </a:ext>
              </a:extLst>
            </p:cNvPr>
            <p:cNvSpPr/>
            <p:nvPr/>
          </p:nvSpPr>
          <p:spPr>
            <a:xfrm>
              <a:off x="8899467" y="339883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2" name="Полилиния 1111">
              <a:extLst>
                <a:ext uri="{FF2B5EF4-FFF2-40B4-BE49-F238E27FC236}">
                  <a16:creationId xmlns:a16="http://schemas.microsoft.com/office/drawing/2014/main" id="{C2761868-54D1-3A97-55B6-BA6E75D14297}"/>
                </a:ext>
              </a:extLst>
            </p:cNvPr>
            <p:cNvSpPr/>
            <p:nvPr/>
          </p:nvSpPr>
          <p:spPr>
            <a:xfrm rot="5400000">
              <a:off x="9135949" y="339883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3" name="Полилиния 1112">
              <a:extLst>
                <a:ext uri="{FF2B5EF4-FFF2-40B4-BE49-F238E27FC236}">
                  <a16:creationId xmlns:a16="http://schemas.microsoft.com/office/drawing/2014/main" id="{6E0C8EA7-1B1D-D2F7-9381-851A2FF9BD9F}"/>
                </a:ext>
              </a:extLst>
            </p:cNvPr>
            <p:cNvSpPr/>
            <p:nvPr/>
          </p:nvSpPr>
          <p:spPr>
            <a:xfrm>
              <a:off x="9608915" y="339883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4" name="Полилиния 1113">
              <a:extLst>
                <a:ext uri="{FF2B5EF4-FFF2-40B4-BE49-F238E27FC236}">
                  <a16:creationId xmlns:a16="http://schemas.microsoft.com/office/drawing/2014/main" id="{8C819C64-8093-925F-E8E3-B52A72AB8BD9}"/>
                </a:ext>
              </a:extLst>
            </p:cNvPr>
            <p:cNvSpPr/>
            <p:nvPr/>
          </p:nvSpPr>
          <p:spPr>
            <a:xfrm>
              <a:off x="9845398" y="339883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5" name="Полилиния 1114">
              <a:extLst>
                <a:ext uri="{FF2B5EF4-FFF2-40B4-BE49-F238E27FC236}">
                  <a16:creationId xmlns:a16="http://schemas.microsoft.com/office/drawing/2014/main" id="{1AA271A6-2EA3-2422-9102-379E9BD0E8A2}"/>
                </a:ext>
              </a:extLst>
            </p:cNvPr>
            <p:cNvSpPr/>
            <p:nvPr/>
          </p:nvSpPr>
          <p:spPr>
            <a:xfrm>
              <a:off x="10318363" y="339883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6" name="Полилиния 1115">
              <a:extLst>
                <a:ext uri="{FF2B5EF4-FFF2-40B4-BE49-F238E27FC236}">
                  <a16:creationId xmlns:a16="http://schemas.microsoft.com/office/drawing/2014/main" id="{161D5952-D912-8426-5C71-34C2C0790713}"/>
                </a:ext>
              </a:extLst>
            </p:cNvPr>
            <p:cNvSpPr/>
            <p:nvPr/>
          </p:nvSpPr>
          <p:spPr>
            <a:xfrm rot="-5400000">
              <a:off x="8426501" y="363531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7" name="Полилиния 1116">
              <a:extLst>
                <a:ext uri="{FF2B5EF4-FFF2-40B4-BE49-F238E27FC236}">
                  <a16:creationId xmlns:a16="http://schemas.microsoft.com/office/drawing/2014/main" id="{9A9B9F72-5A1F-BB18-30BF-63BE4B7F0FA2}"/>
                </a:ext>
              </a:extLst>
            </p:cNvPr>
            <p:cNvSpPr/>
            <p:nvPr/>
          </p:nvSpPr>
          <p:spPr>
            <a:xfrm rot="5400000">
              <a:off x="8899467" y="363531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8" name="Полилиния 1117">
              <a:extLst>
                <a:ext uri="{FF2B5EF4-FFF2-40B4-BE49-F238E27FC236}">
                  <a16:creationId xmlns:a16="http://schemas.microsoft.com/office/drawing/2014/main" id="{33C4C3BA-5917-5CCF-1F54-1DB92928009E}"/>
                </a:ext>
              </a:extLst>
            </p:cNvPr>
            <p:cNvSpPr/>
            <p:nvPr/>
          </p:nvSpPr>
          <p:spPr>
            <a:xfrm rot="-5400000">
              <a:off x="9372432" y="363531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9" name="Полилиния 1118">
              <a:extLst>
                <a:ext uri="{FF2B5EF4-FFF2-40B4-BE49-F238E27FC236}">
                  <a16:creationId xmlns:a16="http://schemas.microsoft.com/office/drawing/2014/main" id="{27CB0564-2D96-BDF0-C504-BAF63828F881}"/>
                </a:ext>
              </a:extLst>
            </p:cNvPr>
            <p:cNvSpPr/>
            <p:nvPr/>
          </p:nvSpPr>
          <p:spPr>
            <a:xfrm rot="5400000">
              <a:off x="9845398" y="363531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0" name="Полилиния 1119">
              <a:extLst>
                <a:ext uri="{FF2B5EF4-FFF2-40B4-BE49-F238E27FC236}">
                  <a16:creationId xmlns:a16="http://schemas.microsoft.com/office/drawing/2014/main" id="{5EF2021A-1470-E398-7B79-8430F23BF5CA}"/>
                </a:ext>
              </a:extLst>
            </p:cNvPr>
            <p:cNvSpPr/>
            <p:nvPr/>
          </p:nvSpPr>
          <p:spPr>
            <a:xfrm rot="5400000">
              <a:off x="10318363" y="363531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1" name="Полилиния 1120">
              <a:extLst>
                <a:ext uri="{FF2B5EF4-FFF2-40B4-BE49-F238E27FC236}">
                  <a16:creationId xmlns:a16="http://schemas.microsoft.com/office/drawing/2014/main" id="{D20937B0-5395-2DE1-5A38-0B7814EDFB11}"/>
                </a:ext>
              </a:extLst>
            </p:cNvPr>
            <p:cNvSpPr/>
            <p:nvPr/>
          </p:nvSpPr>
          <p:spPr>
            <a:xfrm>
              <a:off x="8426501" y="387179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2" name="Полилиния 1121">
              <a:extLst>
                <a:ext uri="{FF2B5EF4-FFF2-40B4-BE49-F238E27FC236}">
                  <a16:creationId xmlns:a16="http://schemas.microsoft.com/office/drawing/2014/main" id="{9B837E09-1A1B-8B20-35BD-FBBC954542DC}"/>
                </a:ext>
              </a:extLst>
            </p:cNvPr>
            <p:cNvSpPr/>
            <p:nvPr/>
          </p:nvSpPr>
          <p:spPr>
            <a:xfrm>
              <a:off x="8662984" y="387179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3" name="Полилиния 1122">
              <a:extLst>
                <a:ext uri="{FF2B5EF4-FFF2-40B4-BE49-F238E27FC236}">
                  <a16:creationId xmlns:a16="http://schemas.microsoft.com/office/drawing/2014/main" id="{A0D5A508-35BF-F53D-A843-25EE77FFF2E9}"/>
                </a:ext>
              </a:extLst>
            </p:cNvPr>
            <p:cNvSpPr/>
            <p:nvPr/>
          </p:nvSpPr>
          <p:spPr>
            <a:xfrm>
              <a:off x="9372432" y="387179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4" name="Полилиния 1123">
              <a:extLst>
                <a:ext uri="{FF2B5EF4-FFF2-40B4-BE49-F238E27FC236}">
                  <a16:creationId xmlns:a16="http://schemas.microsoft.com/office/drawing/2014/main" id="{3575B670-E7BA-357B-5A35-94536400F71C}"/>
                </a:ext>
              </a:extLst>
            </p:cNvPr>
            <p:cNvSpPr/>
            <p:nvPr/>
          </p:nvSpPr>
          <p:spPr>
            <a:xfrm rot="5400000">
              <a:off x="9608915" y="387179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5" name="Полилиния 1124">
              <a:extLst>
                <a:ext uri="{FF2B5EF4-FFF2-40B4-BE49-F238E27FC236}">
                  <a16:creationId xmlns:a16="http://schemas.microsoft.com/office/drawing/2014/main" id="{5DD6F548-3BBA-87FF-8D3C-30181F86C57D}"/>
                </a:ext>
              </a:extLst>
            </p:cNvPr>
            <p:cNvSpPr/>
            <p:nvPr/>
          </p:nvSpPr>
          <p:spPr>
            <a:xfrm rot="-5400000">
              <a:off x="10081880" y="387179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6" name="Полилиния 1125">
              <a:extLst>
                <a:ext uri="{FF2B5EF4-FFF2-40B4-BE49-F238E27FC236}">
                  <a16:creationId xmlns:a16="http://schemas.microsoft.com/office/drawing/2014/main" id="{C0DA0346-093D-DA29-462A-52B0F166300C}"/>
                </a:ext>
              </a:extLst>
            </p:cNvPr>
            <p:cNvSpPr/>
            <p:nvPr/>
          </p:nvSpPr>
          <p:spPr>
            <a:xfrm rot="5400000">
              <a:off x="6771122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8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9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7" name="Полилиния 1126">
              <a:extLst>
                <a:ext uri="{FF2B5EF4-FFF2-40B4-BE49-F238E27FC236}">
                  <a16:creationId xmlns:a16="http://schemas.microsoft.com/office/drawing/2014/main" id="{54022740-8100-DC60-FFB2-889E6509855C}"/>
                </a:ext>
              </a:extLst>
            </p:cNvPr>
            <p:cNvSpPr/>
            <p:nvPr/>
          </p:nvSpPr>
          <p:spPr>
            <a:xfrm rot="-5400000">
              <a:off x="7244087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8" name="Полилиния 1127">
              <a:extLst>
                <a:ext uri="{FF2B5EF4-FFF2-40B4-BE49-F238E27FC236}">
                  <a16:creationId xmlns:a16="http://schemas.microsoft.com/office/drawing/2014/main" id="{7EF908B6-39F4-DE2D-7E9F-1140B2BD6E0A}"/>
                </a:ext>
              </a:extLst>
            </p:cNvPr>
            <p:cNvSpPr/>
            <p:nvPr/>
          </p:nvSpPr>
          <p:spPr>
            <a:xfrm>
              <a:off x="7480570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9" name="Полилиния 1128">
              <a:extLst>
                <a:ext uri="{FF2B5EF4-FFF2-40B4-BE49-F238E27FC236}">
                  <a16:creationId xmlns:a16="http://schemas.microsoft.com/office/drawing/2014/main" id="{63055165-61D1-2F96-1ACC-EF7C3C4FFA94}"/>
                </a:ext>
              </a:extLst>
            </p:cNvPr>
            <p:cNvSpPr/>
            <p:nvPr/>
          </p:nvSpPr>
          <p:spPr>
            <a:xfrm>
              <a:off x="7717053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0" name="Полилиния 1129">
              <a:extLst>
                <a:ext uri="{FF2B5EF4-FFF2-40B4-BE49-F238E27FC236}">
                  <a16:creationId xmlns:a16="http://schemas.microsoft.com/office/drawing/2014/main" id="{83C6791C-3BFF-6655-3756-633546C19A14}"/>
                </a:ext>
              </a:extLst>
            </p:cNvPr>
            <p:cNvSpPr/>
            <p:nvPr/>
          </p:nvSpPr>
          <p:spPr>
            <a:xfrm rot="5400000">
              <a:off x="7953536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1" name="Полилиния 1130">
              <a:extLst>
                <a:ext uri="{FF2B5EF4-FFF2-40B4-BE49-F238E27FC236}">
                  <a16:creationId xmlns:a16="http://schemas.microsoft.com/office/drawing/2014/main" id="{68FC3259-F709-7B0B-01DB-132E7CBDC1A4}"/>
                </a:ext>
              </a:extLst>
            </p:cNvPr>
            <p:cNvSpPr/>
            <p:nvPr/>
          </p:nvSpPr>
          <p:spPr>
            <a:xfrm>
              <a:off x="8426501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2" name="Полилиния 1131">
              <a:extLst>
                <a:ext uri="{FF2B5EF4-FFF2-40B4-BE49-F238E27FC236}">
                  <a16:creationId xmlns:a16="http://schemas.microsoft.com/office/drawing/2014/main" id="{7B5F145C-8C82-0B7E-874C-24ABC7EC98B3}"/>
                </a:ext>
              </a:extLst>
            </p:cNvPr>
            <p:cNvSpPr/>
            <p:nvPr/>
          </p:nvSpPr>
          <p:spPr>
            <a:xfrm>
              <a:off x="8662984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3" name="Полилиния 1132">
              <a:extLst>
                <a:ext uri="{FF2B5EF4-FFF2-40B4-BE49-F238E27FC236}">
                  <a16:creationId xmlns:a16="http://schemas.microsoft.com/office/drawing/2014/main" id="{35A631D9-9732-1C42-FA53-69E2B4779883}"/>
                </a:ext>
              </a:extLst>
            </p:cNvPr>
            <p:cNvSpPr/>
            <p:nvPr/>
          </p:nvSpPr>
          <p:spPr>
            <a:xfrm rot="5400000">
              <a:off x="8899467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4" name="Полилиния 1133">
              <a:extLst>
                <a:ext uri="{FF2B5EF4-FFF2-40B4-BE49-F238E27FC236}">
                  <a16:creationId xmlns:a16="http://schemas.microsoft.com/office/drawing/2014/main" id="{DEF27AFD-0A45-2419-915B-A4C962FE1D4D}"/>
                </a:ext>
              </a:extLst>
            </p:cNvPr>
            <p:cNvSpPr/>
            <p:nvPr/>
          </p:nvSpPr>
          <p:spPr>
            <a:xfrm>
              <a:off x="10081880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5" name="Полилиния 1134">
              <a:extLst>
                <a:ext uri="{FF2B5EF4-FFF2-40B4-BE49-F238E27FC236}">
                  <a16:creationId xmlns:a16="http://schemas.microsoft.com/office/drawing/2014/main" id="{AF5B13C1-77B2-6E13-246A-214D88B694AC}"/>
                </a:ext>
              </a:extLst>
            </p:cNvPr>
            <p:cNvSpPr/>
            <p:nvPr/>
          </p:nvSpPr>
          <p:spPr>
            <a:xfrm>
              <a:off x="10318363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6" name="Полилиния 1135">
              <a:extLst>
                <a:ext uri="{FF2B5EF4-FFF2-40B4-BE49-F238E27FC236}">
                  <a16:creationId xmlns:a16="http://schemas.microsoft.com/office/drawing/2014/main" id="{92B0A881-B5A6-C972-3768-23F6A9466E2A}"/>
                </a:ext>
              </a:extLst>
            </p:cNvPr>
            <p:cNvSpPr/>
            <p:nvPr/>
          </p:nvSpPr>
          <p:spPr>
            <a:xfrm>
              <a:off x="10554846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7" name="Полилиния 1136">
              <a:extLst>
                <a:ext uri="{FF2B5EF4-FFF2-40B4-BE49-F238E27FC236}">
                  <a16:creationId xmlns:a16="http://schemas.microsoft.com/office/drawing/2014/main" id="{709F03D1-F829-D3EC-96A0-4B7D3D382A28}"/>
                </a:ext>
              </a:extLst>
            </p:cNvPr>
            <p:cNvSpPr/>
            <p:nvPr/>
          </p:nvSpPr>
          <p:spPr>
            <a:xfrm rot="5400000">
              <a:off x="10791329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8" name="Полилиния 1137">
              <a:extLst>
                <a:ext uri="{FF2B5EF4-FFF2-40B4-BE49-F238E27FC236}">
                  <a16:creationId xmlns:a16="http://schemas.microsoft.com/office/drawing/2014/main" id="{B0AAF2A5-B14A-0475-A642-CB9291A35C3F}"/>
                </a:ext>
              </a:extLst>
            </p:cNvPr>
            <p:cNvSpPr/>
            <p:nvPr/>
          </p:nvSpPr>
          <p:spPr>
            <a:xfrm rot="-5400000">
              <a:off x="11264294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9" name="Полилиния 1138">
              <a:extLst>
                <a:ext uri="{FF2B5EF4-FFF2-40B4-BE49-F238E27FC236}">
                  <a16:creationId xmlns:a16="http://schemas.microsoft.com/office/drawing/2014/main" id="{5AB407F6-80D6-EFD2-8D43-F652AF770ACD}"/>
                </a:ext>
              </a:extLst>
            </p:cNvPr>
            <p:cNvSpPr/>
            <p:nvPr/>
          </p:nvSpPr>
          <p:spPr>
            <a:xfrm>
              <a:off x="11500777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0" name="Полилиния 1139">
              <a:extLst>
                <a:ext uri="{FF2B5EF4-FFF2-40B4-BE49-F238E27FC236}">
                  <a16:creationId xmlns:a16="http://schemas.microsoft.com/office/drawing/2014/main" id="{DC2FF356-A575-A7AD-CE8B-BD9F60014CC6}"/>
                </a:ext>
              </a:extLst>
            </p:cNvPr>
            <p:cNvSpPr/>
            <p:nvPr/>
          </p:nvSpPr>
          <p:spPr>
            <a:xfrm rot="-5400000">
              <a:off x="11973742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1" name="Полилиния 1140">
              <a:extLst>
                <a:ext uri="{FF2B5EF4-FFF2-40B4-BE49-F238E27FC236}">
                  <a16:creationId xmlns:a16="http://schemas.microsoft.com/office/drawing/2014/main" id="{FAA3F633-B7A9-2A11-C606-D3BD97FF4466}"/>
                </a:ext>
              </a:extLst>
            </p:cNvPr>
            <p:cNvSpPr/>
            <p:nvPr/>
          </p:nvSpPr>
          <p:spPr>
            <a:xfrm>
              <a:off x="7480570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2" name="Полилиния 1141">
              <a:extLst>
                <a:ext uri="{FF2B5EF4-FFF2-40B4-BE49-F238E27FC236}">
                  <a16:creationId xmlns:a16="http://schemas.microsoft.com/office/drawing/2014/main" id="{9A984F96-EEB6-5710-5886-909C3F746F31}"/>
                </a:ext>
              </a:extLst>
            </p:cNvPr>
            <p:cNvSpPr/>
            <p:nvPr/>
          </p:nvSpPr>
          <p:spPr>
            <a:xfrm rot="5400000">
              <a:off x="7717053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3" name="Полилиния 1142">
              <a:extLst>
                <a:ext uri="{FF2B5EF4-FFF2-40B4-BE49-F238E27FC236}">
                  <a16:creationId xmlns:a16="http://schemas.microsoft.com/office/drawing/2014/main" id="{CE93C729-B957-4D4E-A13B-186BE81EED6F}"/>
                </a:ext>
              </a:extLst>
            </p:cNvPr>
            <p:cNvSpPr/>
            <p:nvPr/>
          </p:nvSpPr>
          <p:spPr>
            <a:xfrm rot="-5400000">
              <a:off x="9135949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4" name="Полилиния 1143">
              <a:extLst>
                <a:ext uri="{FF2B5EF4-FFF2-40B4-BE49-F238E27FC236}">
                  <a16:creationId xmlns:a16="http://schemas.microsoft.com/office/drawing/2014/main" id="{B2BD1343-5E8C-912F-9BF3-063758C92322}"/>
                </a:ext>
              </a:extLst>
            </p:cNvPr>
            <p:cNvSpPr/>
            <p:nvPr/>
          </p:nvSpPr>
          <p:spPr>
            <a:xfrm rot="5400000">
              <a:off x="9372432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5" name="Полилиния 1144">
              <a:extLst>
                <a:ext uri="{FF2B5EF4-FFF2-40B4-BE49-F238E27FC236}">
                  <a16:creationId xmlns:a16="http://schemas.microsoft.com/office/drawing/2014/main" id="{4CB5B8A3-9569-80F9-E6BE-05C0BC48EC05}"/>
                </a:ext>
              </a:extLst>
            </p:cNvPr>
            <p:cNvSpPr/>
            <p:nvPr/>
          </p:nvSpPr>
          <p:spPr>
            <a:xfrm>
              <a:off x="10081880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6" name="Полилиния 1145">
              <a:extLst>
                <a:ext uri="{FF2B5EF4-FFF2-40B4-BE49-F238E27FC236}">
                  <a16:creationId xmlns:a16="http://schemas.microsoft.com/office/drawing/2014/main" id="{D1AB4C2D-677D-6FBD-1698-1C1E2D484161}"/>
                </a:ext>
              </a:extLst>
            </p:cNvPr>
            <p:cNvSpPr/>
            <p:nvPr/>
          </p:nvSpPr>
          <p:spPr>
            <a:xfrm rot="-5400000">
              <a:off x="11027811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7" name="Полилиния 1146">
              <a:extLst>
                <a:ext uri="{FF2B5EF4-FFF2-40B4-BE49-F238E27FC236}">
                  <a16:creationId xmlns:a16="http://schemas.microsoft.com/office/drawing/2014/main" id="{8E4778AF-05A3-2EAC-D38C-3BCD2812CAD6}"/>
                </a:ext>
              </a:extLst>
            </p:cNvPr>
            <p:cNvSpPr/>
            <p:nvPr/>
          </p:nvSpPr>
          <p:spPr>
            <a:xfrm>
              <a:off x="11264294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8" name="Полилиния 1147">
              <a:extLst>
                <a:ext uri="{FF2B5EF4-FFF2-40B4-BE49-F238E27FC236}">
                  <a16:creationId xmlns:a16="http://schemas.microsoft.com/office/drawing/2014/main" id="{F875218A-95ED-3BE7-156F-3273F777B7E3}"/>
                </a:ext>
              </a:extLst>
            </p:cNvPr>
            <p:cNvSpPr/>
            <p:nvPr/>
          </p:nvSpPr>
          <p:spPr>
            <a:xfrm>
              <a:off x="11500777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9" name="Полилиния 1148">
              <a:extLst>
                <a:ext uri="{FF2B5EF4-FFF2-40B4-BE49-F238E27FC236}">
                  <a16:creationId xmlns:a16="http://schemas.microsoft.com/office/drawing/2014/main" id="{01930E3C-4173-8C35-7673-EA4F6E04C530}"/>
                </a:ext>
              </a:extLst>
            </p:cNvPr>
            <p:cNvSpPr/>
            <p:nvPr/>
          </p:nvSpPr>
          <p:spPr>
            <a:xfrm>
              <a:off x="11737260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0" name="Полилиния 1149">
              <a:extLst>
                <a:ext uri="{FF2B5EF4-FFF2-40B4-BE49-F238E27FC236}">
                  <a16:creationId xmlns:a16="http://schemas.microsoft.com/office/drawing/2014/main" id="{AA9ED8D8-C4CD-CA98-6561-1B443F189C49}"/>
                </a:ext>
              </a:extLst>
            </p:cNvPr>
            <p:cNvSpPr/>
            <p:nvPr/>
          </p:nvSpPr>
          <p:spPr>
            <a:xfrm rot="5400000">
              <a:off x="11973742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1" name="Полилиния 1150">
              <a:extLst>
                <a:ext uri="{FF2B5EF4-FFF2-40B4-BE49-F238E27FC236}">
                  <a16:creationId xmlns:a16="http://schemas.microsoft.com/office/drawing/2014/main" id="{E532D12B-DC9E-6178-B522-F408397AC973}"/>
                </a:ext>
              </a:extLst>
            </p:cNvPr>
            <p:cNvSpPr/>
            <p:nvPr/>
          </p:nvSpPr>
          <p:spPr>
            <a:xfrm rot="-5400000">
              <a:off x="6771122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2" name="Полилиния 1151">
              <a:extLst>
                <a:ext uri="{FF2B5EF4-FFF2-40B4-BE49-F238E27FC236}">
                  <a16:creationId xmlns:a16="http://schemas.microsoft.com/office/drawing/2014/main" id="{617E2344-31A1-4727-81DB-96C189D17ECE}"/>
                </a:ext>
              </a:extLst>
            </p:cNvPr>
            <p:cNvSpPr/>
            <p:nvPr/>
          </p:nvSpPr>
          <p:spPr>
            <a:xfrm rot="-5400000">
              <a:off x="7953536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3" name="Полилиния 1152">
              <a:extLst>
                <a:ext uri="{FF2B5EF4-FFF2-40B4-BE49-F238E27FC236}">
                  <a16:creationId xmlns:a16="http://schemas.microsoft.com/office/drawing/2014/main" id="{033D36F8-C636-4906-763E-F47CDA8165E9}"/>
                </a:ext>
              </a:extLst>
            </p:cNvPr>
            <p:cNvSpPr/>
            <p:nvPr/>
          </p:nvSpPr>
          <p:spPr>
            <a:xfrm>
              <a:off x="8190018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4" name="Полилиния 1153">
              <a:extLst>
                <a:ext uri="{FF2B5EF4-FFF2-40B4-BE49-F238E27FC236}">
                  <a16:creationId xmlns:a16="http://schemas.microsoft.com/office/drawing/2014/main" id="{1BE6CFB7-3405-1E56-7AD1-7E3D327359BB}"/>
                </a:ext>
              </a:extLst>
            </p:cNvPr>
            <p:cNvSpPr/>
            <p:nvPr/>
          </p:nvSpPr>
          <p:spPr>
            <a:xfrm>
              <a:off x="8426501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5" name="Полилиния 1154">
              <a:extLst>
                <a:ext uri="{FF2B5EF4-FFF2-40B4-BE49-F238E27FC236}">
                  <a16:creationId xmlns:a16="http://schemas.microsoft.com/office/drawing/2014/main" id="{DD7A65CA-46BA-8650-3E04-81D34FD3559B}"/>
                </a:ext>
              </a:extLst>
            </p:cNvPr>
            <p:cNvSpPr/>
            <p:nvPr/>
          </p:nvSpPr>
          <p:spPr>
            <a:xfrm>
              <a:off x="8662984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6" name="Полилиния 1155">
              <a:extLst>
                <a:ext uri="{FF2B5EF4-FFF2-40B4-BE49-F238E27FC236}">
                  <a16:creationId xmlns:a16="http://schemas.microsoft.com/office/drawing/2014/main" id="{744B5F3A-BED4-C0F5-5AE2-8DB6C4A4E8CB}"/>
                </a:ext>
              </a:extLst>
            </p:cNvPr>
            <p:cNvSpPr/>
            <p:nvPr/>
          </p:nvSpPr>
          <p:spPr>
            <a:xfrm>
              <a:off x="8899467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7" name="Полилиния 1156">
              <a:extLst>
                <a:ext uri="{FF2B5EF4-FFF2-40B4-BE49-F238E27FC236}">
                  <a16:creationId xmlns:a16="http://schemas.microsoft.com/office/drawing/2014/main" id="{EB0DF23D-83F4-B561-230E-109F427DFF32}"/>
                </a:ext>
              </a:extLst>
            </p:cNvPr>
            <p:cNvSpPr/>
            <p:nvPr/>
          </p:nvSpPr>
          <p:spPr>
            <a:xfrm rot="-5400000">
              <a:off x="9608915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8" name="Полилиния 1157">
              <a:extLst>
                <a:ext uri="{FF2B5EF4-FFF2-40B4-BE49-F238E27FC236}">
                  <a16:creationId xmlns:a16="http://schemas.microsoft.com/office/drawing/2014/main" id="{1802EFA3-C82A-0D54-92DD-2710FDEAE967}"/>
                </a:ext>
              </a:extLst>
            </p:cNvPr>
            <p:cNvSpPr/>
            <p:nvPr/>
          </p:nvSpPr>
          <p:spPr>
            <a:xfrm>
              <a:off x="9845398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9" name="Полилиния 1158">
              <a:extLst>
                <a:ext uri="{FF2B5EF4-FFF2-40B4-BE49-F238E27FC236}">
                  <a16:creationId xmlns:a16="http://schemas.microsoft.com/office/drawing/2014/main" id="{51200DFE-4651-3FE7-351D-35E19F8173A5}"/>
                </a:ext>
              </a:extLst>
            </p:cNvPr>
            <p:cNvSpPr/>
            <p:nvPr/>
          </p:nvSpPr>
          <p:spPr>
            <a:xfrm>
              <a:off x="10081880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0" name="Полилиния 1159">
              <a:extLst>
                <a:ext uri="{FF2B5EF4-FFF2-40B4-BE49-F238E27FC236}">
                  <a16:creationId xmlns:a16="http://schemas.microsoft.com/office/drawing/2014/main" id="{805293F9-32C0-2D3D-535E-87164D9C5D51}"/>
                </a:ext>
              </a:extLst>
            </p:cNvPr>
            <p:cNvSpPr/>
            <p:nvPr/>
          </p:nvSpPr>
          <p:spPr>
            <a:xfrm rot="5400000">
              <a:off x="10318363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1" name="Полилиния 1160">
              <a:extLst>
                <a:ext uri="{FF2B5EF4-FFF2-40B4-BE49-F238E27FC236}">
                  <a16:creationId xmlns:a16="http://schemas.microsoft.com/office/drawing/2014/main" id="{0A219E9C-E87E-F38F-4B5C-9A2319BDA266}"/>
                </a:ext>
              </a:extLst>
            </p:cNvPr>
            <p:cNvSpPr/>
            <p:nvPr/>
          </p:nvSpPr>
          <p:spPr>
            <a:xfrm>
              <a:off x="11027811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2" name="Полилиния 1161">
              <a:extLst>
                <a:ext uri="{FF2B5EF4-FFF2-40B4-BE49-F238E27FC236}">
                  <a16:creationId xmlns:a16="http://schemas.microsoft.com/office/drawing/2014/main" id="{368A2B2F-190F-4E65-41A5-C89F19ADE870}"/>
                </a:ext>
              </a:extLst>
            </p:cNvPr>
            <p:cNvSpPr/>
            <p:nvPr/>
          </p:nvSpPr>
          <p:spPr>
            <a:xfrm>
              <a:off x="11500777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3" name="Полилиния 1162">
              <a:extLst>
                <a:ext uri="{FF2B5EF4-FFF2-40B4-BE49-F238E27FC236}">
                  <a16:creationId xmlns:a16="http://schemas.microsoft.com/office/drawing/2014/main" id="{0934A35C-E3DA-34C7-FBB4-6650030798CA}"/>
                </a:ext>
              </a:extLst>
            </p:cNvPr>
            <p:cNvSpPr/>
            <p:nvPr/>
          </p:nvSpPr>
          <p:spPr>
            <a:xfrm rot="-5400000">
              <a:off x="12210225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4" name="Полилиния 1163">
              <a:extLst>
                <a:ext uri="{FF2B5EF4-FFF2-40B4-BE49-F238E27FC236}">
                  <a16:creationId xmlns:a16="http://schemas.microsoft.com/office/drawing/2014/main" id="{053754C3-FDC8-0CC9-F9C7-C471B1AED7F7}"/>
                </a:ext>
              </a:extLst>
            </p:cNvPr>
            <p:cNvSpPr/>
            <p:nvPr/>
          </p:nvSpPr>
          <p:spPr>
            <a:xfrm rot="-5400000">
              <a:off x="6534639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5" name="Полилиния 1164">
              <a:extLst>
                <a:ext uri="{FF2B5EF4-FFF2-40B4-BE49-F238E27FC236}">
                  <a16:creationId xmlns:a16="http://schemas.microsoft.com/office/drawing/2014/main" id="{20E6169C-BCFF-5778-FAE5-6464017F9D56}"/>
                </a:ext>
              </a:extLst>
            </p:cNvPr>
            <p:cNvSpPr/>
            <p:nvPr/>
          </p:nvSpPr>
          <p:spPr>
            <a:xfrm>
              <a:off x="6771122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6" name="Полилиния 1165">
              <a:extLst>
                <a:ext uri="{FF2B5EF4-FFF2-40B4-BE49-F238E27FC236}">
                  <a16:creationId xmlns:a16="http://schemas.microsoft.com/office/drawing/2014/main" id="{4D46672D-1542-065A-21BE-B224D4F876F4}"/>
                </a:ext>
              </a:extLst>
            </p:cNvPr>
            <p:cNvSpPr/>
            <p:nvPr/>
          </p:nvSpPr>
          <p:spPr>
            <a:xfrm>
              <a:off x="7007605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7" name="Полилиния 1166">
              <a:extLst>
                <a:ext uri="{FF2B5EF4-FFF2-40B4-BE49-F238E27FC236}">
                  <a16:creationId xmlns:a16="http://schemas.microsoft.com/office/drawing/2014/main" id="{0F2C76E4-53E2-0553-D34D-3785B7A07761}"/>
                </a:ext>
              </a:extLst>
            </p:cNvPr>
            <p:cNvSpPr/>
            <p:nvPr/>
          </p:nvSpPr>
          <p:spPr>
            <a:xfrm>
              <a:off x="7244087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8" name="Полилиния 1167">
              <a:extLst>
                <a:ext uri="{FF2B5EF4-FFF2-40B4-BE49-F238E27FC236}">
                  <a16:creationId xmlns:a16="http://schemas.microsoft.com/office/drawing/2014/main" id="{83D254D5-2535-AB66-D30F-35A08F6C085C}"/>
                </a:ext>
              </a:extLst>
            </p:cNvPr>
            <p:cNvSpPr/>
            <p:nvPr/>
          </p:nvSpPr>
          <p:spPr>
            <a:xfrm>
              <a:off x="7480570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9" name="Полилиния 1168">
              <a:extLst>
                <a:ext uri="{FF2B5EF4-FFF2-40B4-BE49-F238E27FC236}">
                  <a16:creationId xmlns:a16="http://schemas.microsoft.com/office/drawing/2014/main" id="{F09454A1-0913-58C1-5281-1A0B9F6AB8CA}"/>
                </a:ext>
              </a:extLst>
            </p:cNvPr>
            <p:cNvSpPr/>
            <p:nvPr/>
          </p:nvSpPr>
          <p:spPr>
            <a:xfrm>
              <a:off x="8190018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0" name="Полилиния 1169">
              <a:extLst>
                <a:ext uri="{FF2B5EF4-FFF2-40B4-BE49-F238E27FC236}">
                  <a16:creationId xmlns:a16="http://schemas.microsoft.com/office/drawing/2014/main" id="{B9D473F3-216B-47F4-C2D0-120EAD769ECE}"/>
                </a:ext>
              </a:extLst>
            </p:cNvPr>
            <p:cNvSpPr/>
            <p:nvPr/>
          </p:nvSpPr>
          <p:spPr>
            <a:xfrm>
              <a:off x="8426501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1" name="Полилиния 1170">
              <a:extLst>
                <a:ext uri="{FF2B5EF4-FFF2-40B4-BE49-F238E27FC236}">
                  <a16:creationId xmlns:a16="http://schemas.microsoft.com/office/drawing/2014/main" id="{2D9BEC2A-D08C-44D0-FF5E-A989FABF4A88}"/>
                </a:ext>
              </a:extLst>
            </p:cNvPr>
            <p:cNvSpPr/>
            <p:nvPr/>
          </p:nvSpPr>
          <p:spPr>
            <a:xfrm>
              <a:off x="8662984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2" name="Полилиния 1171">
              <a:extLst>
                <a:ext uri="{FF2B5EF4-FFF2-40B4-BE49-F238E27FC236}">
                  <a16:creationId xmlns:a16="http://schemas.microsoft.com/office/drawing/2014/main" id="{5D416899-29BE-D87C-2C28-73743480A92C}"/>
                </a:ext>
              </a:extLst>
            </p:cNvPr>
            <p:cNvSpPr/>
            <p:nvPr/>
          </p:nvSpPr>
          <p:spPr>
            <a:xfrm rot="5400000">
              <a:off x="8899467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3" name="Полилиния 1172">
              <a:extLst>
                <a:ext uri="{FF2B5EF4-FFF2-40B4-BE49-F238E27FC236}">
                  <a16:creationId xmlns:a16="http://schemas.microsoft.com/office/drawing/2014/main" id="{0855A5A8-062D-C4DE-B71F-A17C15F674C2}"/>
                </a:ext>
              </a:extLst>
            </p:cNvPr>
            <p:cNvSpPr/>
            <p:nvPr/>
          </p:nvSpPr>
          <p:spPr>
            <a:xfrm rot="-5400000">
              <a:off x="9372432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4" name="Полилиния 1173">
              <a:extLst>
                <a:ext uri="{FF2B5EF4-FFF2-40B4-BE49-F238E27FC236}">
                  <a16:creationId xmlns:a16="http://schemas.microsoft.com/office/drawing/2014/main" id="{5233E691-6B68-55B1-9D1A-922934DEEE08}"/>
                </a:ext>
              </a:extLst>
            </p:cNvPr>
            <p:cNvSpPr/>
            <p:nvPr/>
          </p:nvSpPr>
          <p:spPr>
            <a:xfrm>
              <a:off x="9845398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5" name="Полилиния 1174">
              <a:extLst>
                <a:ext uri="{FF2B5EF4-FFF2-40B4-BE49-F238E27FC236}">
                  <a16:creationId xmlns:a16="http://schemas.microsoft.com/office/drawing/2014/main" id="{0F6BE035-1E11-F640-DA76-CDFD0B2DFA1D}"/>
                </a:ext>
              </a:extLst>
            </p:cNvPr>
            <p:cNvSpPr/>
            <p:nvPr/>
          </p:nvSpPr>
          <p:spPr>
            <a:xfrm rot="5400000">
              <a:off x="10081880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6" name="Полилиния 1175">
              <a:extLst>
                <a:ext uri="{FF2B5EF4-FFF2-40B4-BE49-F238E27FC236}">
                  <a16:creationId xmlns:a16="http://schemas.microsoft.com/office/drawing/2014/main" id="{2E53C2B4-2D9B-2B5E-B86A-D67D38EE0B99}"/>
                </a:ext>
              </a:extLst>
            </p:cNvPr>
            <p:cNvSpPr/>
            <p:nvPr/>
          </p:nvSpPr>
          <p:spPr>
            <a:xfrm>
              <a:off x="11027811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7" name="Полилиния 1176">
              <a:extLst>
                <a:ext uri="{FF2B5EF4-FFF2-40B4-BE49-F238E27FC236}">
                  <a16:creationId xmlns:a16="http://schemas.microsoft.com/office/drawing/2014/main" id="{12D8F3EB-B2FE-EFEB-8C2A-8B0781008659}"/>
                </a:ext>
              </a:extLst>
            </p:cNvPr>
            <p:cNvSpPr/>
            <p:nvPr/>
          </p:nvSpPr>
          <p:spPr>
            <a:xfrm>
              <a:off x="11500777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8" name="Полилиния 1177">
              <a:extLst>
                <a:ext uri="{FF2B5EF4-FFF2-40B4-BE49-F238E27FC236}">
                  <a16:creationId xmlns:a16="http://schemas.microsoft.com/office/drawing/2014/main" id="{B241BDBF-22DD-BA3A-5959-C54901919BD4}"/>
                </a:ext>
              </a:extLst>
            </p:cNvPr>
            <p:cNvSpPr/>
            <p:nvPr/>
          </p:nvSpPr>
          <p:spPr>
            <a:xfrm>
              <a:off x="11737260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9" name="Полилиния 1178">
              <a:extLst>
                <a:ext uri="{FF2B5EF4-FFF2-40B4-BE49-F238E27FC236}">
                  <a16:creationId xmlns:a16="http://schemas.microsoft.com/office/drawing/2014/main" id="{C0AD02C7-98E2-EE28-BCE5-127E86A0F5C2}"/>
                </a:ext>
              </a:extLst>
            </p:cNvPr>
            <p:cNvSpPr/>
            <p:nvPr/>
          </p:nvSpPr>
          <p:spPr>
            <a:xfrm>
              <a:off x="11973742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0" name="Полилиния 1179">
              <a:extLst>
                <a:ext uri="{FF2B5EF4-FFF2-40B4-BE49-F238E27FC236}">
                  <a16:creationId xmlns:a16="http://schemas.microsoft.com/office/drawing/2014/main" id="{1834AE51-7434-C668-7A1C-CE54C4D2EF5D}"/>
                </a:ext>
              </a:extLst>
            </p:cNvPr>
            <p:cNvSpPr/>
            <p:nvPr/>
          </p:nvSpPr>
          <p:spPr>
            <a:xfrm>
              <a:off x="12210225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1" name="Полилиния 1180">
              <a:extLst>
                <a:ext uri="{FF2B5EF4-FFF2-40B4-BE49-F238E27FC236}">
                  <a16:creationId xmlns:a16="http://schemas.microsoft.com/office/drawing/2014/main" id="{BB15F6BE-6F9B-6ADA-F86E-414216A003A6}"/>
                </a:ext>
              </a:extLst>
            </p:cNvPr>
            <p:cNvSpPr/>
            <p:nvPr/>
          </p:nvSpPr>
          <p:spPr>
            <a:xfrm rot="5400000">
              <a:off x="6771122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2" name="Полилиния 1181">
              <a:extLst>
                <a:ext uri="{FF2B5EF4-FFF2-40B4-BE49-F238E27FC236}">
                  <a16:creationId xmlns:a16="http://schemas.microsoft.com/office/drawing/2014/main" id="{93E7F40B-79F0-82EF-B824-048FD1A6280B}"/>
                </a:ext>
              </a:extLst>
            </p:cNvPr>
            <p:cNvSpPr/>
            <p:nvPr/>
          </p:nvSpPr>
          <p:spPr>
            <a:xfrm>
              <a:off x="7244087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3" name="Полилиния 1182">
              <a:extLst>
                <a:ext uri="{FF2B5EF4-FFF2-40B4-BE49-F238E27FC236}">
                  <a16:creationId xmlns:a16="http://schemas.microsoft.com/office/drawing/2014/main" id="{7DC986CA-4695-325F-430F-09887D1313F8}"/>
                </a:ext>
              </a:extLst>
            </p:cNvPr>
            <p:cNvSpPr/>
            <p:nvPr/>
          </p:nvSpPr>
          <p:spPr>
            <a:xfrm>
              <a:off x="7480570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4" name="Полилиния 1183">
              <a:extLst>
                <a:ext uri="{FF2B5EF4-FFF2-40B4-BE49-F238E27FC236}">
                  <a16:creationId xmlns:a16="http://schemas.microsoft.com/office/drawing/2014/main" id="{DC96975C-63C7-D23D-830D-82C252CB50EB}"/>
                </a:ext>
              </a:extLst>
            </p:cNvPr>
            <p:cNvSpPr/>
            <p:nvPr/>
          </p:nvSpPr>
          <p:spPr>
            <a:xfrm rot="5400000">
              <a:off x="7953536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9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5" name="Полилиния 1184">
              <a:extLst>
                <a:ext uri="{FF2B5EF4-FFF2-40B4-BE49-F238E27FC236}">
                  <a16:creationId xmlns:a16="http://schemas.microsoft.com/office/drawing/2014/main" id="{C2865504-F71D-5D52-3F59-B726734ABB52}"/>
                </a:ext>
              </a:extLst>
            </p:cNvPr>
            <p:cNvSpPr/>
            <p:nvPr/>
          </p:nvSpPr>
          <p:spPr>
            <a:xfrm>
              <a:off x="8426501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6" name="Полилиния 1185">
              <a:extLst>
                <a:ext uri="{FF2B5EF4-FFF2-40B4-BE49-F238E27FC236}">
                  <a16:creationId xmlns:a16="http://schemas.microsoft.com/office/drawing/2014/main" id="{C4133868-06D5-E8CC-C949-53CED554217B}"/>
                </a:ext>
              </a:extLst>
            </p:cNvPr>
            <p:cNvSpPr/>
            <p:nvPr/>
          </p:nvSpPr>
          <p:spPr>
            <a:xfrm rot="-5400000">
              <a:off x="9135949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7" name="Полилиния 1186">
              <a:extLst>
                <a:ext uri="{FF2B5EF4-FFF2-40B4-BE49-F238E27FC236}">
                  <a16:creationId xmlns:a16="http://schemas.microsoft.com/office/drawing/2014/main" id="{654B0F57-FEE8-0E8D-ED8A-7C72B5A95713}"/>
                </a:ext>
              </a:extLst>
            </p:cNvPr>
            <p:cNvSpPr/>
            <p:nvPr/>
          </p:nvSpPr>
          <p:spPr>
            <a:xfrm>
              <a:off x="9372432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8" name="Полилиния 1187">
              <a:extLst>
                <a:ext uri="{FF2B5EF4-FFF2-40B4-BE49-F238E27FC236}">
                  <a16:creationId xmlns:a16="http://schemas.microsoft.com/office/drawing/2014/main" id="{FBB23A5C-D314-831E-A74E-FDE470AA036B}"/>
                </a:ext>
              </a:extLst>
            </p:cNvPr>
            <p:cNvSpPr/>
            <p:nvPr/>
          </p:nvSpPr>
          <p:spPr>
            <a:xfrm>
              <a:off x="9608915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9" name="Полилиния 1188">
              <a:extLst>
                <a:ext uri="{FF2B5EF4-FFF2-40B4-BE49-F238E27FC236}">
                  <a16:creationId xmlns:a16="http://schemas.microsoft.com/office/drawing/2014/main" id="{098422DB-7774-0184-EAA6-EA23E3218A00}"/>
                </a:ext>
              </a:extLst>
            </p:cNvPr>
            <p:cNvSpPr/>
            <p:nvPr/>
          </p:nvSpPr>
          <p:spPr>
            <a:xfrm>
              <a:off x="9845398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0" name="Полилиния 1189">
              <a:extLst>
                <a:ext uri="{FF2B5EF4-FFF2-40B4-BE49-F238E27FC236}">
                  <a16:creationId xmlns:a16="http://schemas.microsoft.com/office/drawing/2014/main" id="{2039844F-9B88-F779-CB46-E29B12DB4330}"/>
                </a:ext>
              </a:extLst>
            </p:cNvPr>
            <p:cNvSpPr/>
            <p:nvPr/>
          </p:nvSpPr>
          <p:spPr>
            <a:xfrm rot="5400000">
              <a:off x="10318363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9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1" name="Полилиния 1190">
              <a:extLst>
                <a:ext uri="{FF2B5EF4-FFF2-40B4-BE49-F238E27FC236}">
                  <a16:creationId xmlns:a16="http://schemas.microsoft.com/office/drawing/2014/main" id="{04C34F6E-1921-2610-79EB-B79C1F8C6348}"/>
                </a:ext>
              </a:extLst>
            </p:cNvPr>
            <p:cNvSpPr/>
            <p:nvPr/>
          </p:nvSpPr>
          <p:spPr>
            <a:xfrm rot="-5400000">
              <a:off x="10791329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2" name="Полилиния 1191">
              <a:extLst>
                <a:ext uri="{FF2B5EF4-FFF2-40B4-BE49-F238E27FC236}">
                  <a16:creationId xmlns:a16="http://schemas.microsoft.com/office/drawing/2014/main" id="{81CB42AC-43F2-E460-89EE-B3CBDDD7E307}"/>
                </a:ext>
              </a:extLst>
            </p:cNvPr>
            <p:cNvSpPr/>
            <p:nvPr/>
          </p:nvSpPr>
          <p:spPr>
            <a:xfrm rot="5400000">
              <a:off x="11027811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3" name="Полилиния 1192">
              <a:extLst>
                <a:ext uri="{FF2B5EF4-FFF2-40B4-BE49-F238E27FC236}">
                  <a16:creationId xmlns:a16="http://schemas.microsoft.com/office/drawing/2014/main" id="{FB9BC6CF-4352-4A84-A020-06A78C49548A}"/>
                </a:ext>
              </a:extLst>
            </p:cNvPr>
            <p:cNvSpPr/>
            <p:nvPr/>
          </p:nvSpPr>
          <p:spPr>
            <a:xfrm rot="5400000">
              <a:off x="12210225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4" name="Полилиния 1193">
              <a:extLst>
                <a:ext uri="{FF2B5EF4-FFF2-40B4-BE49-F238E27FC236}">
                  <a16:creationId xmlns:a16="http://schemas.microsoft.com/office/drawing/2014/main" id="{A7ECDF04-1576-6F8E-6222-56395A058CB9}"/>
                </a:ext>
              </a:extLst>
            </p:cNvPr>
            <p:cNvSpPr/>
            <p:nvPr/>
          </p:nvSpPr>
          <p:spPr>
            <a:xfrm rot="-5400000">
              <a:off x="6534639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5" name="Полилиния 1194">
              <a:extLst>
                <a:ext uri="{FF2B5EF4-FFF2-40B4-BE49-F238E27FC236}">
                  <a16:creationId xmlns:a16="http://schemas.microsoft.com/office/drawing/2014/main" id="{1425ECB6-7108-CFCE-16EC-70F770FA1E39}"/>
                </a:ext>
              </a:extLst>
            </p:cNvPr>
            <p:cNvSpPr/>
            <p:nvPr/>
          </p:nvSpPr>
          <p:spPr>
            <a:xfrm>
              <a:off x="7244087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6" name="Полилиния 1195">
              <a:extLst>
                <a:ext uri="{FF2B5EF4-FFF2-40B4-BE49-F238E27FC236}">
                  <a16:creationId xmlns:a16="http://schemas.microsoft.com/office/drawing/2014/main" id="{BDE88223-9C09-6A71-4C2A-D9DF4CD3C5F0}"/>
                </a:ext>
              </a:extLst>
            </p:cNvPr>
            <p:cNvSpPr/>
            <p:nvPr/>
          </p:nvSpPr>
          <p:spPr>
            <a:xfrm>
              <a:off x="7480570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7" name="Полилиния 1196">
              <a:extLst>
                <a:ext uri="{FF2B5EF4-FFF2-40B4-BE49-F238E27FC236}">
                  <a16:creationId xmlns:a16="http://schemas.microsoft.com/office/drawing/2014/main" id="{608214FA-C85E-0670-20CF-07279B288E5F}"/>
                </a:ext>
              </a:extLst>
            </p:cNvPr>
            <p:cNvSpPr/>
            <p:nvPr/>
          </p:nvSpPr>
          <p:spPr>
            <a:xfrm rot="5400000">
              <a:off x="7717053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8" name="Полилиния 1197">
              <a:extLst>
                <a:ext uri="{FF2B5EF4-FFF2-40B4-BE49-F238E27FC236}">
                  <a16:creationId xmlns:a16="http://schemas.microsoft.com/office/drawing/2014/main" id="{A61E038A-4284-E844-0BE9-C4859A928147}"/>
                </a:ext>
              </a:extLst>
            </p:cNvPr>
            <p:cNvSpPr/>
            <p:nvPr/>
          </p:nvSpPr>
          <p:spPr>
            <a:xfrm>
              <a:off x="8426501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9" name="Полилиния 1198">
              <a:extLst>
                <a:ext uri="{FF2B5EF4-FFF2-40B4-BE49-F238E27FC236}">
                  <a16:creationId xmlns:a16="http://schemas.microsoft.com/office/drawing/2014/main" id="{3F42D126-8002-3D57-B6A9-A32314387C1C}"/>
                </a:ext>
              </a:extLst>
            </p:cNvPr>
            <p:cNvSpPr/>
            <p:nvPr/>
          </p:nvSpPr>
          <p:spPr>
            <a:xfrm>
              <a:off x="9135949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0" name="Полилиния 1199">
              <a:extLst>
                <a:ext uri="{FF2B5EF4-FFF2-40B4-BE49-F238E27FC236}">
                  <a16:creationId xmlns:a16="http://schemas.microsoft.com/office/drawing/2014/main" id="{DBA0326E-3E8A-956E-BB6A-79B9E1144BCB}"/>
                </a:ext>
              </a:extLst>
            </p:cNvPr>
            <p:cNvSpPr/>
            <p:nvPr/>
          </p:nvSpPr>
          <p:spPr>
            <a:xfrm>
              <a:off x="9372432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1" name="Полилиния 1200">
              <a:extLst>
                <a:ext uri="{FF2B5EF4-FFF2-40B4-BE49-F238E27FC236}">
                  <a16:creationId xmlns:a16="http://schemas.microsoft.com/office/drawing/2014/main" id="{C4D64D63-7BCB-81AA-C064-EDD7A226BFB7}"/>
                </a:ext>
              </a:extLst>
            </p:cNvPr>
            <p:cNvSpPr/>
            <p:nvPr/>
          </p:nvSpPr>
          <p:spPr>
            <a:xfrm>
              <a:off x="9845398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2" name="Полилиния 1201">
              <a:extLst>
                <a:ext uri="{FF2B5EF4-FFF2-40B4-BE49-F238E27FC236}">
                  <a16:creationId xmlns:a16="http://schemas.microsoft.com/office/drawing/2014/main" id="{A89EFB2C-D40A-9E96-6084-413349F5B779}"/>
                </a:ext>
              </a:extLst>
            </p:cNvPr>
            <p:cNvSpPr/>
            <p:nvPr/>
          </p:nvSpPr>
          <p:spPr>
            <a:xfrm>
              <a:off x="10081880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3" name="Полилиния 1202">
              <a:extLst>
                <a:ext uri="{FF2B5EF4-FFF2-40B4-BE49-F238E27FC236}">
                  <a16:creationId xmlns:a16="http://schemas.microsoft.com/office/drawing/2014/main" id="{26F2BE64-DFE1-7A9F-A129-6321E721185E}"/>
                </a:ext>
              </a:extLst>
            </p:cNvPr>
            <p:cNvSpPr/>
            <p:nvPr/>
          </p:nvSpPr>
          <p:spPr>
            <a:xfrm rot="-5400000">
              <a:off x="11264294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4" name="Полилиния 1203">
              <a:extLst>
                <a:ext uri="{FF2B5EF4-FFF2-40B4-BE49-F238E27FC236}">
                  <a16:creationId xmlns:a16="http://schemas.microsoft.com/office/drawing/2014/main" id="{48456A05-5636-A1CA-DAC8-8AED3181612F}"/>
                </a:ext>
              </a:extLst>
            </p:cNvPr>
            <p:cNvSpPr/>
            <p:nvPr/>
          </p:nvSpPr>
          <p:spPr>
            <a:xfrm rot="-5400000">
              <a:off x="11973742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5" name="Полилиния 1204">
              <a:extLst>
                <a:ext uri="{FF2B5EF4-FFF2-40B4-BE49-F238E27FC236}">
                  <a16:creationId xmlns:a16="http://schemas.microsoft.com/office/drawing/2014/main" id="{CFEF4C67-5494-C656-BAF2-BE59F22D19C3}"/>
                </a:ext>
              </a:extLst>
            </p:cNvPr>
            <p:cNvSpPr/>
            <p:nvPr/>
          </p:nvSpPr>
          <p:spPr>
            <a:xfrm>
              <a:off x="6534639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6" name="Полилиния 1205">
              <a:extLst>
                <a:ext uri="{FF2B5EF4-FFF2-40B4-BE49-F238E27FC236}">
                  <a16:creationId xmlns:a16="http://schemas.microsoft.com/office/drawing/2014/main" id="{838CA9EF-62D3-17AB-D438-B17A89346625}"/>
                </a:ext>
              </a:extLst>
            </p:cNvPr>
            <p:cNvSpPr/>
            <p:nvPr/>
          </p:nvSpPr>
          <p:spPr>
            <a:xfrm>
              <a:off x="6771122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7" name="Полилиния 1206">
              <a:extLst>
                <a:ext uri="{FF2B5EF4-FFF2-40B4-BE49-F238E27FC236}">
                  <a16:creationId xmlns:a16="http://schemas.microsoft.com/office/drawing/2014/main" id="{B83E4FBB-9E48-0319-25D8-5F593D19C066}"/>
                </a:ext>
              </a:extLst>
            </p:cNvPr>
            <p:cNvSpPr/>
            <p:nvPr/>
          </p:nvSpPr>
          <p:spPr>
            <a:xfrm rot="5400000">
              <a:off x="7007605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8" name="Полилиния 1207">
              <a:extLst>
                <a:ext uri="{FF2B5EF4-FFF2-40B4-BE49-F238E27FC236}">
                  <a16:creationId xmlns:a16="http://schemas.microsoft.com/office/drawing/2014/main" id="{634BFF8C-C601-F1C6-1440-D1D7ED32322B}"/>
                </a:ext>
              </a:extLst>
            </p:cNvPr>
            <p:cNvSpPr/>
            <p:nvPr/>
          </p:nvSpPr>
          <p:spPr>
            <a:xfrm rot="5400000">
              <a:off x="7480570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9" name="Полилиния 1208">
              <a:extLst>
                <a:ext uri="{FF2B5EF4-FFF2-40B4-BE49-F238E27FC236}">
                  <a16:creationId xmlns:a16="http://schemas.microsoft.com/office/drawing/2014/main" id="{BC0AC63F-C1AF-AE36-2CDA-1C6311D0AED8}"/>
                </a:ext>
              </a:extLst>
            </p:cNvPr>
            <p:cNvSpPr/>
            <p:nvPr/>
          </p:nvSpPr>
          <p:spPr>
            <a:xfrm rot="5400000">
              <a:off x="7953536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9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0" name="Полилиния 1209">
              <a:extLst>
                <a:ext uri="{FF2B5EF4-FFF2-40B4-BE49-F238E27FC236}">
                  <a16:creationId xmlns:a16="http://schemas.microsoft.com/office/drawing/2014/main" id="{79A35D26-6D3F-B388-099A-FABCD3AFE912}"/>
                </a:ext>
              </a:extLst>
            </p:cNvPr>
            <p:cNvSpPr/>
            <p:nvPr/>
          </p:nvSpPr>
          <p:spPr>
            <a:xfrm>
              <a:off x="8426501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1" name="Полилиния 1210">
              <a:extLst>
                <a:ext uri="{FF2B5EF4-FFF2-40B4-BE49-F238E27FC236}">
                  <a16:creationId xmlns:a16="http://schemas.microsoft.com/office/drawing/2014/main" id="{3585B1C6-3CFD-F4BA-48AF-2AD9EDEA9C04}"/>
                </a:ext>
              </a:extLst>
            </p:cNvPr>
            <p:cNvSpPr/>
            <p:nvPr/>
          </p:nvSpPr>
          <p:spPr>
            <a:xfrm rot="-5400000">
              <a:off x="8899467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2" name="Полилиния 1211">
              <a:extLst>
                <a:ext uri="{FF2B5EF4-FFF2-40B4-BE49-F238E27FC236}">
                  <a16:creationId xmlns:a16="http://schemas.microsoft.com/office/drawing/2014/main" id="{BF2D0C1D-3335-6DAB-48C6-E6F5A3F0636D}"/>
                </a:ext>
              </a:extLst>
            </p:cNvPr>
            <p:cNvSpPr/>
            <p:nvPr/>
          </p:nvSpPr>
          <p:spPr>
            <a:xfrm>
              <a:off x="9135949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3" name="Полилиния 1212">
              <a:extLst>
                <a:ext uri="{FF2B5EF4-FFF2-40B4-BE49-F238E27FC236}">
                  <a16:creationId xmlns:a16="http://schemas.microsoft.com/office/drawing/2014/main" id="{A8263FA7-5AF8-D212-534A-A36F098E2E44}"/>
                </a:ext>
              </a:extLst>
            </p:cNvPr>
            <p:cNvSpPr/>
            <p:nvPr/>
          </p:nvSpPr>
          <p:spPr>
            <a:xfrm>
              <a:off x="9372432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4" name="Полилиния 1213">
              <a:extLst>
                <a:ext uri="{FF2B5EF4-FFF2-40B4-BE49-F238E27FC236}">
                  <a16:creationId xmlns:a16="http://schemas.microsoft.com/office/drawing/2014/main" id="{56955CC1-2276-8CF3-A7EF-A0E50959772C}"/>
                </a:ext>
              </a:extLst>
            </p:cNvPr>
            <p:cNvSpPr/>
            <p:nvPr/>
          </p:nvSpPr>
          <p:spPr>
            <a:xfrm rot="5400000">
              <a:off x="9608915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5" name="Полилиния 1214">
              <a:extLst>
                <a:ext uri="{FF2B5EF4-FFF2-40B4-BE49-F238E27FC236}">
                  <a16:creationId xmlns:a16="http://schemas.microsoft.com/office/drawing/2014/main" id="{60C0800D-68A3-968B-CB16-3D2BD44C9D69}"/>
                </a:ext>
              </a:extLst>
            </p:cNvPr>
            <p:cNvSpPr/>
            <p:nvPr/>
          </p:nvSpPr>
          <p:spPr>
            <a:xfrm rot="5400000">
              <a:off x="10081880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6" name="Полилиния 1215">
              <a:extLst>
                <a:ext uri="{FF2B5EF4-FFF2-40B4-BE49-F238E27FC236}">
                  <a16:creationId xmlns:a16="http://schemas.microsoft.com/office/drawing/2014/main" id="{12750045-DB8C-39A7-C29B-1B954A1785FB}"/>
                </a:ext>
              </a:extLst>
            </p:cNvPr>
            <p:cNvSpPr/>
            <p:nvPr/>
          </p:nvSpPr>
          <p:spPr>
            <a:xfrm rot="-5400000">
              <a:off x="10554846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7" name="Полилиния 1216">
              <a:extLst>
                <a:ext uri="{FF2B5EF4-FFF2-40B4-BE49-F238E27FC236}">
                  <a16:creationId xmlns:a16="http://schemas.microsoft.com/office/drawing/2014/main" id="{F7F2974A-CC32-8491-C89E-E6F8CDFB2A6A}"/>
                </a:ext>
              </a:extLst>
            </p:cNvPr>
            <p:cNvSpPr/>
            <p:nvPr/>
          </p:nvSpPr>
          <p:spPr>
            <a:xfrm>
              <a:off x="11264294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8" name="Полилиния 1217">
              <a:extLst>
                <a:ext uri="{FF2B5EF4-FFF2-40B4-BE49-F238E27FC236}">
                  <a16:creationId xmlns:a16="http://schemas.microsoft.com/office/drawing/2014/main" id="{4388D16C-F980-DB2A-163A-4A2FD20DCA5E}"/>
                </a:ext>
              </a:extLst>
            </p:cNvPr>
            <p:cNvSpPr/>
            <p:nvPr/>
          </p:nvSpPr>
          <p:spPr>
            <a:xfrm>
              <a:off x="11500777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9" name="Полилиния 1218">
              <a:extLst>
                <a:ext uri="{FF2B5EF4-FFF2-40B4-BE49-F238E27FC236}">
                  <a16:creationId xmlns:a16="http://schemas.microsoft.com/office/drawing/2014/main" id="{DB3CF288-19A3-0196-A26B-F99013E4BF35}"/>
                </a:ext>
              </a:extLst>
            </p:cNvPr>
            <p:cNvSpPr/>
            <p:nvPr/>
          </p:nvSpPr>
          <p:spPr>
            <a:xfrm>
              <a:off x="11737260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0" name="Полилиния 1219">
              <a:extLst>
                <a:ext uri="{FF2B5EF4-FFF2-40B4-BE49-F238E27FC236}">
                  <a16:creationId xmlns:a16="http://schemas.microsoft.com/office/drawing/2014/main" id="{35979D5D-EAB2-870D-BA77-D195A9BD300C}"/>
                </a:ext>
              </a:extLst>
            </p:cNvPr>
            <p:cNvSpPr/>
            <p:nvPr/>
          </p:nvSpPr>
          <p:spPr>
            <a:xfrm>
              <a:off x="11973742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1" name="Полилиния 1220">
              <a:extLst>
                <a:ext uri="{FF2B5EF4-FFF2-40B4-BE49-F238E27FC236}">
                  <a16:creationId xmlns:a16="http://schemas.microsoft.com/office/drawing/2014/main" id="{F5622378-3944-618F-E40E-1823A9F4FD2C}"/>
                </a:ext>
              </a:extLst>
            </p:cNvPr>
            <p:cNvSpPr/>
            <p:nvPr/>
          </p:nvSpPr>
          <p:spPr>
            <a:xfrm>
              <a:off x="12210225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2" name="Полилиния 1221">
              <a:extLst>
                <a:ext uri="{FF2B5EF4-FFF2-40B4-BE49-F238E27FC236}">
                  <a16:creationId xmlns:a16="http://schemas.microsoft.com/office/drawing/2014/main" id="{864658FD-BA90-7DE7-2B3E-6E93510F6E5B}"/>
                </a:ext>
              </a:extLst>
            </p:cNvPr>
            <p:cNvSpPr/>
            <p:nvPr/>
          </p:nvSpPr>
          <p:spPr>
            <a:xfrm>
              <a:off x="6534639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3" name="Полилиния 1222">
              <a:extLst>
                <a:ext uri="{FF2B5EF4-FFF2-40B4-BE49-F238E27FC236}">
                  <a16:creationId xmlns:a16="http://schemas.microsoft.com/office/drawing/2014/main" id="{35336406-A202-110F-FA9B-38878527F142}"/>
                </a:ext>
              </a:extLst>
            </p:cNvPr>
            <p:cNvSpPr/>
            <p:nvPr/>
          </p:nvSpPr>
          <p:spPr>
            <a:xfrm rot="-5400000">
              <a:off x="7717053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4" name="Полилиния 1223">
              <a:extLst>
                <a:ext uri="{FF2B5EF4-FFF2-40B4-BE49-F238E27FC236}">
                  <a16:creationId xmlns:a16="http://schemas.microsoft.com/office/drawing/2014/main" id="{109E1FA7-F52C-5CC1-07D1-ACD7F818F2ED}"/>
                </a:ext>
              </a:extLst>
            </p:cNvPr>
            <p:cNvSpPr/>
            <p:nvPr/>
          </p:nvSpPr>
          <p:spPr>
            <a:xfrm rot="5400000">
              <a:off x="8426501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5" name="Полилиния 1224">
              <a:extLst>
                <a:ext uri="{FF2B5EF4-FFF2-40B4-BE49-F238E27FC236}">
                  <a16:creationId xmlns:a16="http://schemas.microsoft.com/office/drawing/2014/main" id="{0F7009DB-F78B-E8FA-0438-B69EA46CB572}"/>
                </a:ext>
              </a:extLst>
            </p:cNvPr>
            <p:cNvSpPr/>
            <p:nvPr/>
          </p:nvSpPr>
          <p:spPr>
            <a:xfrm>
              <a:off x="8899467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6" name="Полилиния 1225">
              <a:extLst>
                <a:ext uri="{FF2B5EF4-FFF2-40B4-BE49-F238E27FC236}">
                  <a16:creationId xmlns:a16="http://schemas.microsoft.com/office/drawing/2014/main" id="{9CE942E7-6596-3AD8-A7EE-7D6BB308E62C}"/>
                </a:ext>
              </a:extLst>
            </p:cNvPr>
            <p:cNvSpPr/>
            <p:nvPr/>
          </p:nvSpPr>
          <p:spPr>
            <a:xfrm>
              <a:off x="9135949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7" name="Полилиния 1226">
              <a:extLst>
                <a:ext uri="{FF2B5EF4-FFF2-40B4-BE49-F238E27FC236}">
                  <a16:creationId xmlns:a16="http://schemas.microsoft.com/office/drawing/2014/main" id="{1D113F07-8358-05E6-D1BE-F2F777FA6ED1}"/>
                </a:ext>
              </a:extLst>
            </p:cNvPr>
            <p:cNvSpPr/>
            <p:nvPr/>
          </p:nvSpPr>
          <p:spPr>
            <a:xfrm>
              <a:off x="9372432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8" name="Полилиния 1227">
              <a:extLst>
                <a:ext uri="{FF2B5EF4-FFF2-40B4-BE49-F238E27FC236}">
                  <a16:creationId xmlns:a16="http://schemas.microsoft.com/office/drawing/2014/main" id="{65194E86-E8D3-CF0B-9560-2AB24FACF989}"/>
                </a:ext>
              </a:extLst>
            </p:cNvPr>
            <p:cNvSpPr/>
            <p:nvPr/>
          </p:nvSpPr>
          <p:spPr>
            <a:xfrm>
              <a:off x="10554846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9" name="Полилиния 1228">
              <a:extLst>
                <a:ext uri="{FF2B5EF4-FFF2-40B4-BE49-F238E27FC236}">
                  <a16:creationId xmlns:a16="http://schemas.microsoft.com/office/drawing/2014/main" id="{13193D93-4CDC-4E9A-3DF2-25803F8BAB06}"/>
                </a:ext>
              </a:extLst>
            </p:cNvPr>
            <p:cNvSpPr/>
            <p:nvPr/>
          </p:nvSpPr>
          <p:spPr>
            <a:xfrm rot="-5400000">
              <a:off x="11027811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0" name="Полилиния 1229">
              <a:extLst>
                <a:ext uri="{FF2B5EF4-FFF2-40B4-BE49-F238E27FC236}">
                  <a16:creationId xmlns:a16="http://schemas.microsoft.com/office/drawing/2014/main" id="{2FC989B2-EBDF-8D6F-689F-B4C166845024}"/>
                </a:ext>
              </a:extLst>
            </p:cNvPr>
            <p:cNvSpPr/>
            <p:nvPr/>
          </p:nvSpPr>
          <p:spPr>
            <a:xfrm>
              <a:off x="11500777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1" name="Полилиния 1230">
              <a:extLst>
                <a:ext uri="{FF2B5EF4-FFF2-40B4-BE49-F238E27FC236}">
                  <a16:creationId xmlns:a16="http://schemas.microsoft.com/office/drawing/2014/main" id="{29F27EE4-3803-C274-B949-FC215571B8C8}"/>
                </a:ext>
              </a:extLst>
            </p:cNvPr>
            <p:cNvSpPr/>
            <p:nvPr/>
          </p:nvSpPr>
          <p:spPr>
            <a:xfrm>
              <a:off x="11737260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2" name="Полилиния 1231">
              <a:extLst>
                <a:ext uri="{FF2B5EF4-FFF2-40B4-BE49-F238E27FC236}">
                  <a16:creationId xmlns:a16="http://schemas.microsoft.com/office/drawing/2014/main" id="{98BD50A3-2C0D-B03B-4236-5FEAA6CFF249}"/>
                </a:ext>
              </a:extLst>
            </p:cNvPr>
            <p:cNvSpPr/>
            <p:nvPr/>
          </p:nvSpPr>
          <p:spPr>
            <a:xfrm rot="5400000">
              <a:off x="12210225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3" name="Полилиния 1232">
              <a:extLst>
                <a:ext uri="{FF2B5EF4-FFF2-40B4-BE49-F238E27FC236}">
                  <a16:creationId xmlns:a16="http://schemas.microsoft.com/office/drawing/2014/main" id="{17DF2DA2-0CF2-95F5-569E-2DF9D211A20D}"/>
                </a:ext>
              </a:extLst>
            </p:cNvPr>
            <p:cNvSpPr/>
            <p:nvPr/>
          </p:nvSpPr>
          <p:spPr>
            <a:xfrm rot="5400000">
              <a:off x="6534639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4" name="Полилиния 1233">
              <a:extLst>
                <a:ext uri="{FF2B5EF4-FFF2-40B4-BE49-F238E27FC236}">
                  <a16:creationId xmlns:a16="http://schemas.microsoft.com/office/drawing/2014/main" id="{2D313D6B-C57A-4496-B6A5-D9DF00105626}"/>
                </a:ext>
              </a:extLst>
            </p:cNvPr>
            <p:cNvSpPr/>
            <p:nvPr/>
          </p:nvSpPr>
          <p:spPr>
            <a:xfrm rot="-5400000">
              <a:off x="7244087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5" name="Полилиния 1234">
              <a:extLst>
                <a:ext uri="{FF2B5EF4-FFF2-40B4-BE49-F238E27FC236}">
                  <a16:creationId xmlns:a16="http://schemas.microsoft.com/office/drawing/2014/main" id="{A3CECDCF-1B05-3DC2-A414-E9456F44D42F}"/>
                </a:ext>
              </a:extLst>
            </p:cNvPr>
            <p:cNvSpPr/>
            <p:nvPr/>
          </p:nvSpPr>
          <p:spPr>
            <a:xfrm>
              <a:off x="7480570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6" name="Полилиния 1235">
              <a:extLst>
                <a:ext uri="{FF2B5EF4-FFF2-40B4-BE49-F238E27FC236}">
                  <a16:creationId xmlns:a16="http://schemas.microsoft.com/office/drawing/2014/main" id="{560D57D2-40ED-1701-C226-D8B6755D5058}"/>
                </a:ext>
              </a:extLst>
            </p:cNvPr>
            <p:cNvSpPr/>
            <p:nvPr/>
          </p:nvSpPr>
          <p:spPr>
            <a:xfrm>
              <a:off x="7717053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7" name="Полилиния 1236">
              <a:extLst>
                <a:ext uri="{FF2B5EF4-FFF2-40B4-BE49-F238E27FC236}">
                  <a16:creationId xmlns:a16="http://schemas.microsoft.com/office/drawing/2014/main" id="{185245B1-F466-70CE-D7E1-284FF1FC393F}"/>
                </a:ext>
              </a:extLst>
            </p:cNvPr>
            <p:cNvSpPr/>
            <p:nvPr/>
          </p:nvSpPr>
          <p:spPr>
            <a:xfrm>
              <a:off x="7953536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8" name="Полилиния 1237">
              <a:extLst>
                <a:ext uri="{FF2B5EF4-FFF2-40B4-BE49-F238E27FC236}">
                  <a16:creationId xmlns:a16="http://schemas.microsoft.com/office/drawing/2014/main" id="{79813336-B0D2-DA69-AD8B-70ECCAA499B0}"/>
                </a:ext>
              </a:extLst>
            </p:cNvPr>
            <p:cNvSpPr/>
            <p:nvPr/>
          </p:nvSpPr>
          <p:spPr>
            <a:xfrm rot="5400000">
              <a:off x="8190018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9" name="Полилиния 1238">
              <a:extLst>
                <a:ext uri="{FF2B5EF4-FFF2-40B4-BE49-F238E27FC236}">
                  <a16:creationId xmlns:a16="http://schemas.microsoft.com/office/drawing/2014/main" id="{3CA9F60C-D7B7-93DB-66BB-7BD3876C89A4}"/>
                </a:ext>
              </a:extLst>
            </p:cNvPr>
            <p:cNvSpPr/>
            <p:nvPr/>
          </p:nvSpPr>
          <p:spPr>
            <a:xfrm>
              <a:off x="8899467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0" name="Полилиния 1239">
              <a:extLst>
                <a:ext uri="{FF2B5EF4-FFF2-40B4-BE49-F238E27FC236}">
                  <a16:creationId xmlns:a16="http://schemas.microsoft.com/office/drawing/2014/main" id="{3E4D89A2-8D31-3D07-ABB3-6BABC83FC33F}"/>
                </a:ext>
              </a:extLst>
            </p:cNvPr>
            <p:cNvSpPr/>
            <p:nvPr/>
          </p:nvSpPr>
          <p:spPr>
            <a:xfrm>
              <a:off x="9372432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1" name="Полилиния 1240">
              <a:extLst>
                <a:ext uri="{FF2B5EF4-FFF2-40B4-BE49-F238E27FC236}">
                  <a16:creationId xmlns:a16="http://schemas.microsoft.com/office/drawing/2014/main" id="{EC9447DE-016B-00C0-DFD2-44BD0D484400}"/>
                </a:ext>
              </a:extLst>
            </p:cNvPr>
            <p:cNvSpPr/>
            <p:nvPr/>
          </p:nvSpPr>
          <p:spPr>
            <a:xfrm rot="-5400000">
              <a:off x="10081880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2" name="Полилиния 1241">
              <a:extLst>
                <a:ext uri="{FF2B5EF4-FFF2-40B4-BE49-F238E27FC236}">
                  <a16:creationId xmlns:a16="http://schemas.microsoft.com/office/drawing/2014/main" id="{066B05C9-E20C-76C1-F86A-B0B68C329956}"/>
                </a:ext>
              </a:extLst>
            </p:cNvPr>
            <p:cNvSpPr/>
            <p:nvPr/>
          </p:nvSpPr>
          <p:spPr>
            <a:xfrm>
              <a:off x="10318363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3" name="Полилиния 1242">
              <a:extLst>
                <a:ext uri="{FF2B5EF4-FFF2-40B4-BE49-F238E27FC236}">
                  <a16:creationId xmlns:a16="http://schemas.microsoft.com/office/drawing/2014/main" id="{F081A89A-03BF-007A-E31B-942FC6C5B9C5}"/>
                </a:ext>
              </a:extLst>
            </p:cNvPr>
            <p:cNvSpPr/>
            <p:nvPr/>
          </p:nvSpPr>
          <p:spPr>
            <a:xfrm>
              <a:off x="10554846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4" name="Полилиния 1243">
              <a:extLst>
                <a:ext uri="{FF2B5EF4-FFF2-40B4-BE49-F238E27FC236}">
                  <a16:creationId xmlns:a16="http://schemas.microsoft.com/office/drawing/2014/main" id="{78B59142-0BA7-0605-0DF8-65BB95C6FF59}"/>
                </a:ext>
              </a:extLst>
            </p:cNvPr>
            <p:cNvSpPr/>
            <p:nvPr/>
          </p:nvSpPr>
          <p:spPr>
            <a:xfrm>
              <a:off x="10791329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5" name="Полилиния 1244">
              <a:extLst>
                <a:ext uri="{FF2B5EF4-FFF2-40B4-BE49-F238E27FC236}">
                  <a16:creationId xmlns:a16="http://schemas.microsoft.com/office/drawing/2014/main" id="{99DA0CFF-2C66-F0D3-1EF0-9478718C17F5}"/>
                </a:ext>
              </a:extLst>
            </p:cNvPr>
            <p:cNvSpPr/>
            <p:nvPr/>
          </p:nvSpPr>
          <p:spPr>
            <a:xfrm>
              <a:off x="11027811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6" name="Полилиния 1245">
              <a:extLst>
                <a:ext uri="{FF2B5EF4-FFF2-40B4-BE49-F238E27FC236}">
                  <a16:creationId xmlns:a16="http://schemas.microsoft.com/office/drawing/2014/main" id="{B1A47A3E-9188-E494-58BA-0B6DC7C9F6E0}"/>
                </a:ext>
              </a:extLst>
            </p:cNvPr>
            <p:cNvSpPr/>
            <p:nvPr/>
          </p:nvSpPr>
          <p:spPr>
            <a:xfrm>
              <a:off x="11264294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7" name="Полилиния 1246">
              <a:extLst>
                <a:ext uri="{FF2B5EF4-FFF2-40B4-BE49-F238E27FC236}">
                  <a16:creationId xmlns:a16="http://schemas.microsoft.com/office/drawing/2014/main" id="{8FA7CF70-8C68-9C2C-3949-1F9D54F79EB5}"/>
                </a:ext>
              </a:extLst>
            </p:cNvPr>
            <p:cNvSpPr/>
            <p:nvPr/>
          </p:nvSpPr>
          <p:spPr>
            <a:xfrm>
              <a:off x="11737260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8" name="Полилиния 1247">
              <a:extLst>
                <a:ext uri="{FF2B5EF4-FFF2-40B4-BE49-F238E27FC236}">
                  <a16:creationId xmlns:a16="http://schemas.microsoft.com/office/drawing/2014/main" id="{A795192C-CCF3-FC75-6434-9F77CA384E88}"/>
                </a:ext>
              </a:extLst>
            </p:cNvPr>
            <p:cNvSpPr/>
            <p:nvPr/>
          </p:nvSpPr>
          <p:spPr>
            <a:xfrm>
              <a:off x="11973742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9" name="Полилиния 1248">
              <a:extLst>
                <a:ext uri="{FF2B5EF4-FFF2-40B4-BE49-F238E27FC236}">
                  <a16:creationId xmlns:a16="http://schemas.microsoft.com/office/drawing/2014/main" id="{8FAEAD19-EFDA-E030-08ED-9050D9F259A3}"/>
                </a:ext>
              </a:extLst>
            </p:cNvPr>
            <p:cNvSpPr/>
            <p:nvPr/>
          </p:nvSpPr>
          <p:spPr>
            <a:xfrm rot="-5400000">
              <a:off x="8426501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0" name="Полилиния 1249">
              <a:extLst>
                <a:ext uri="{FF2B5EF4-FFF2-40B4-BE49-F238E27FC236}">
                  <a16:creationId xmlns:a16="http://schemas.microsoft.com/office/drawing/2014/main" id="{49ECEF0F-BC7E-E4D3-542B-733DD6F3BEAB}"/>
                </a:ext>
              </a:extLst>
            </p:cNvPr>
            <p:cNvSpPr/>
            <p:nvPr/>
          </p:nvSpPr>
          <p:spPr>
            <a:xfrm>
              <a:off x="8662984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1" name="Полилиния 1250">
              <a:extLst>
                <a:ext uri="{FF2B5EF4-FFF2-40B4-BE49-F238E27FC236}">
                  <a16:creationId xmlns:a16="http://schemas.microsoft.com/office/drawing/2014/main" id="{3FEC40B1-746D-7AF9-30C9-D0EE873D7A9B}"/>
                </a:ext>
              </a:extLst>
            </p:cNvPr>
            <p:cNvSpPr/>
            <p:nvPr/>
          </p:nvSpPr>
          <p:spPr>
            <a:xfrm>
              <a:off x="8899467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2" name="Полилиния 1251">
              <a:extLst>
                <a:ext uri="{FF2B5EF4-FFF2-40B4-BE49-F238E27FC236}">
                  <a16:creationId xmlns:a16="http://schemas.microsoft.com/office/drawing/2014/main" id="{B651FF0A-FAF7-EF42-31BA-0F2410302982}"/>
                </a:ext>
              </a:extLst>
            </p:cNvPr>
            <p:cNvSpPr/>
            <p:nvPr/>
          </p:nvSpPr>
          <p:spPr>
            <a:xfrm>
              <a:off x="9372432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3" name="Полилиния 1252">
              <a:extLst>
                <a:ext uri="{FF2B5EF4-FFF2-40B4-BE49-F238E27FC236}">
                  <a16:creationId xmlns:a16="http://schemas.microsoft.com/office/drawing/2014/main" id="{39231AFD-00BE-B3C0-5F33-E031F625C685}"/>
                </a:ext>
              </a:extLst>
            </p:cNvPr>
            <p:cNvSpPr/>
            <p:nvPr/>
          </p:nvSpPr>
          <p:spPr>
            <a:xfrm>
              <a:off x="9608915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4" name="Полилиния 1253">
              <a:extLst>
                <a:ext uri="{FF2B5EF4-FFF2-40B4-BE49-F238E27FC236}">
                  <a16:creationId xmlns:a16="http://schemas.microsoft.com/office/drawing/2014/main" id="{DE33A84F-FF12-3325-5F1E-E322CC6BCC30}"/>
                </a:ext>
              </a:extLst>
            </p:cNvPr>
            <p:cNvSpPr/>
            <p:nvPr/>
          </p:nvSpPr>
          <p:spPr>
            <a:xfrm>
              <a:off x="9845398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5" name="Полилиния 1254">
              <a:extLst>
                <a:ext uri="{FF2B5EF4-FFF2-40B4-BE49-F238E27FC236}">
                  <a16:creationId xmlns:a16="http://schemas.microsoft.com/office/drawing/2014/main" id="{F16AE59C-47E6-A096-1DE5-991BD9984BDA}"/>
                </a:ext>
              </a:extLst>
            </p:cNvPr>
            <p:cNvSpPr/>
            <p:nvPr/>
          </p:nvSpPr>
          <p:spPr>
            <a:xfrm>
              <a:off x="10081880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6" name="Полилиния 1255">
              <a:extLst>
                <a:ext uri="{FF2B5EF4-FFF2-40B4-BE49-F238E27FC236}">
                  <a16:creationId xmlns:a16="http://schemas.microsoft.com/office/drawing/2014/main" id="{2C9D1612-1670-AFFC-62AB-754B2156B6B4}"/>
                </a:ext>
              </a:extLst>
            </p:cNvPr>
            <p:cNvSpPr/>
            <p:nvPr/>
          </p:nvSpPr>
          <p:spPr>
            <a:xfrm>
              <a:off x="10318363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7" name="Полилиния 1256">
              <a:extLst>
                <a:ext uri="{FF2B5EF4-FFF2-40B4-BE49-F238E27FC236}">
                  <a16:creationId xmlns:a16="http://schemas.microsoft.com/office/drawing/2014/main" id="{F6D57A99-46A9-5B55-CD1A-8096F5F17F4A}"/>
                </a:ext>
              </a:extLst>
            </p:cNvPr>
            <p:cNvSpPr/>
            <p:nvPr/>
          </p:nvSpPr>
          <p:spPr>
            <a:xfrm>
              <a:off x="11264294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8" name="Полилиния 1257">
              <a:extLst>
                <a:ext uri="{FF2B5EF4-FFF2-40B4-BE49-F238E27FC236}">
                  <a16:creationId xmlns:a16="http://schemas.microsoft.com/office/drawing/2014/main" id="{7F140334-3273-DE54-C99C-E58C9FE4D377}"/>
                </a:ext>
              </a:extLst>
            </p:cNvPr>
            <p:cNvSpPr/>
            <p:nvPr/>
          </p:nvSpPr>
          <p:spPr>
            <a:xfrm>
              <a:off x="11737260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9" name="Полилиния 1258">
              <a:extLst>
                <a:ext uri="{FF2B5EF4-FFF2-40B4-BE49-F238E27FC236}">
                  <a16:creationId xmlns:a16="http://schemas.microsoft.com/office/drawing/2014/main" id="{80687EE8-7A98-24D0-8563-1457FFF50F71}"/>
                </a:ext>
              </a:extLst>
            </p:cNvPr>
            <p:cNvSpPr/>
            <p:nvPr/>
          </p:nvSpPr>
          <p:spPr>
            <a:xfrm rot="5400000">
              <a:off x="11973742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0" name="Полилиния 1259">
              <a:extLst>
                <a:ext uri="{FF2B5EF4-FFF2-40B4-BE49-F238E27FC236}">
                  <a16:creationId xmlns:a16="http://schemas.microsoft.com/office/drawing/2014/main" id="{78E8BED1-D4C4-021A-3FDF-B9A3C39F305D}"/>
                </a:ext>
              </a:extLst>
            </p:cNvPr>
            <p:cNvSpPr/>
            <p:nvPr/>
          </p:nvSpPr>
          <p:spPr>
            <a:xfrm>
              <a:off x="8899467" y="647310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1" name="Полилиния 1260">
              <a:extLst>
                <a:ext uri="{FF2B5EF4-FFF2-40B4-BE49-F238E27FC236}">
                  <a16:creationId xmlns:a16="http://schemas.microsoft.com/office/drawing/2014/main" id="{C2D14E6D-9F69-CE33-0B24-A072B4298ED3}"/>
                </a:ext>
              </a:extLst>
            </p:cNvPr>
            <p:cNvSpPr/>
            <p:nvPr/>
          </p:nvSpPr>
          <p:spPr>
            <a:xfrm>
              <a:off x="9135949" y="647310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2" name="Полилиния 1261">
              <a:extLst>
                <a:ext uri="{FF2B5EF4-FFF2-40B4-BE49-F238E27FC236}">
                  <a16:creationId xmlns:a16="http://schemas.microsoft.com/office/drawing/2014/main" id="{A2C59DB7-90B9-2FF6-D107-C4DA877C2AEA}"/>
                </a:ext>
              </a:extLst>
            </p:cNvPr>
            <p:cNvSpPr/>
            <p:nvPr/>
          </p:nvSpPr>
          <p:spPr>
            <a:xfrm rot="5400000">
              <a:off x="9845398" y="647310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3" name="Полилиния 1262">
              <a:extLst>
                <a:ext uri="{FF2B5EF4-FFF2-40B4-BE49-F238E27FC236}">
                  <a16:creationId xmlns:a16="http://schemas.microsoft.com/office/drawing/2014/main" id="{9D460CE0-3A4D-E5F0-0457-DB1AFF38E656}"/>
                </a:ext>
              </a:extLst>
            </p:cNvPr>
            <p:cNvSpPr/>
            <p:nvPr/>
          </p:nvSpPr>
          <p:spPr>
            <a:xfrm>
              <a:off x="10318363" y="647310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4" name="Полилиния 1263">
              <a:extLst>
                <a:ext uri="{FF2B5EF4-FFF2-40B4-BE49-F238E27FC236}">
                  <a16:creationId xmlns:a16="http://schemas.microsoft.com/office/drawing/2014/main" id="{F0DAC841-EE11-5CFE-0A59-9D619F41C5E5}"/>
                </a:ext>
              </a:extLst>
            </p:cNvPr>
            <p:cNvSpPr/>
            <p:nvPr/>
          </p:nvSpPr>
          <p:spPr>
            <a:xfrm rot="5400000">
              <a:off x="10791329" y="647310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9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5" name="Полилиния 1264">
              <a:extLst>
                <a:ext uri="{FF2B5EF4-FFF2-40B4-BE49-F238E27FC236}">
                  <a16:creationId xmlns:a16="http://schemas.microsoft.com/office/drawing/2014/main" id="{50EE3126-3CB4-D806-336D-D66141D29907}"/>
                </a:ext>
              </a:extLst>
            </p:cNvPr>
            <p:cNvSpPr/>
            <p:nvPr/>
          </p:nvSpPr>
          <p:spPr>
            <a:xfrm>
              <a:off x="11264294" y="647310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6" name="Полилиния 1265">
              <a:extLst>
                <a:ext uri="{FF2B5EF4-FFF2-40B4-BE49-F238E27FC236}">
                  <a16:creationId xmlns:a16="http://schemas.microsoft.com/office/drawing/2014/main" id="{8804B549-6683-1667-5BCB-6B2374871B5F}"/>
                </a:ext>
              </a:extLst>
            </p:cNvPr>
            <p:cNvSpPr/>
            <p:nvPr/>
          </p:nvSpPr>
          <p:spPr>
            <a:xfrm rot="-5400000">
              <a:off x="12210225" y="647310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7" name="Полилиния 1266">
              <a:extLst>
                <a:ext uri="{FF2B5EF4-FFF2-40B4-BE49-F238E27FC236}">
                  <a16:creationId xmlns:a16="http://schemas.microsoft.com/office/drawing/2014/main" id="{0D3202E8-B03F-B9F3-68A0-9824E11CABC4}"/>
                </a:ext>
              </a:extLst>
            </p:cNvPr>
            <p:cNvSpPr/>
            <p:nvPr/>
          </p:nvSpPr>
          <p:spPr>
            <a:xfrm rot="-5400000">
              <a:off x="8426501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8" name="Полилиния 1267">
              <a:extLst>
                <a:ext uri="{FF2B5EF4-FFF2-40B4-BE49-F238E27FC236}">
                  <a16:creationId xmlns:a16="http://schemas.microsoft.com/office/drawing/2014/main" id="{0BF84D0C-197E-9268-6A76-AED68BCDE89E}"/>
                </a:ext>
              </a:extLst>
            </p:cNvPr>
            <p:cNvSpPr/>
            <p:nvPr/>
          </p:nvSpPr>
          <p:spPr>
            <a:xfrm>
              <a:off x="8662984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9" name="Полилиния 1268">
              <a:extLst>
                <a:ext uri="{FF2B5EF4-FFF2-40B4-BE49-F238E27FC236}">
                  <a16:creationId xmlns:a16="http://schemas.microsoft.com/office/drawing/2014/main" id="{D86738B8-9F7F-8C94-F8CD-97D76E2CD1F6}"/>
                </a:ext>
              </a:extLst>
            </p:cNvPr>
            <p:cNvSpPr/>
            <p:nvPr/>
          </p:nvSpPr>
          <p:spPr>
            <a:xfrm>
              <a:off x="8899467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0" name="Полилиния 1269">
              <a:extLst>
                <a:ext uri="{FF2B5EF4-FFF2-40B4-BE49-F238E27FC236}">
                  <a16:creationId xmlns:a16="http://schemas.microsoft.com/office/drawing/2014/main" id="{5B69B455-D7B4-F1DB-E565-4A81F912A19F}"/>
                </a:ext>
              </a:extLst>
            </p:cNvPr>
            <p:cNvSpPr/>
            <p:nvPr/>
          </p:nvSpPr>
          <p:spPr>
            <a:xfrm>
              <a:off x="9135949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1" name="Полилиния 1270">
              <a:extLst>
                <a:ext uri="{FF2B5EF4-FFF2-40B4-BE49-F238E27FC236}">
                  <a16:creationId xmlns:a16="http://schemas.microsoft.com/office/drawing/2014/main" id="{B41A4D59-7B01-B07F-5809-1278DF375594}"/>
                </a:ext>
              </a:extLst>
            </p:cNvPr>
            <p:cNvSpPr/>
            <p:nvPr/>
          </p:nvSpPr>
          <p:spPr>
            <a:xfrm rot="5400000">
              <a:off x="9372432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2" name="Полилиния 1271">
              <a:extLst>
                <a:ext uri="{FF2B5EF4-FFF2-40B4-BE49-F238E27FC236}">
                  <a16:creationId xmlns:a16="http://schemas.microsoft.com/office/drawing/2014/main" id="{F93C85C2-C94C-ECDC-5604-F7066F952264}"/>
                </a:ext>
              </a:extLst>
            </p:cNvPr>
            <p:cNvSpPr/>
            <p:nvPr/>
          </p:nvSpPr>
          <p:spPr>
            <a:xfrm rot="-5400000">
              <a:off x="10081880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3" name="Полилиния 1272">
              <a:extLst>
                <a:ext uri="{FF2B5EF4-FFF2-40B4-BE49-F238E27FC236}">
                  <a16:creationId xmlns:a16="http://schemas.microsoft.com/office/drawing/2014/main" id="{CF5A1220-1B2C-D9E7-FB0E-11E92851E9B8}"/>
                </a:ext>
              </a:extLst>
            </p:cNvPr>
            <p:cNvSpPr/>
            <p:nvPr/>
          </p:nvSpPr>
          <p:spPr>
            <a:xfrm>
              <a:off x="10318363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4" name="Полилиния 1273">
              <a:extLst>
                <a:ext uri="{FF2B5EF4-FFF2-40B4-BE49-F238E27FC236}">
                  <a16:creationId xmlns:a16="http://schemas.microsoft.com/office/drawing/2014/main" id="{441F9B93-9D53-C981-975A-CBD8DFA125AB}"/>
                </a:ext>
              </a:extLst>
            </p:cNvPr>
            <p:cNvSpPr/>
            <p:nvPr/>
          </p:nvSpPr>
          <p:spPr>
            <a:xfrm>
              <a:off x="11264294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5" name="Полилиния 1274">
              <a:extLst>
                <a:ext uri="{FF2B5EF4-FFF2-40B4-BE49-F238E27FC236}">
                  <a16:creationId xmlns:a16="http://schemas.microsoft.com/office/drawing/2014/main" id="{3016DBB0-3AE2-2D4B-3330-4C7F65647ACC}"/>
                </a:ext>
              </a:extLst>
            </p:cNvPr>
            <p:cNvSpPr/>
            <p:nvPr/>
          </p:nvSpPr>
          <p:spPr>
            <a:xfrm>
              <a:off x="12210225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6" name="Полилиния 1275">
              <a:extLst>
                <a:ext uri="{FF2B5EF4-FFF2-40B4-BE49-F238E27FC236}">
                  <a16:creationId xmlns:a16="http://schemas.microsoft.com/office/drawing/2014/main" id="{8C7670B5-6B23-F6A7-D196-2B4D5EE92DFD}"/>
                </a:ext>
              </a:extLst>
            </p:cNvPr>
            <p:cNvSpPr/>
            <p:nvPr/>
          </p:nvSpPr>
          <p:spPr>
            <a:xfrm>
              <a:off x="8426501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7" name="Полилиния 1276">
              <a:extLst>
                <a:ext uri="{FF2B5EF4-FFF2-40B4-BE49-F238E27FC236}">
                  <a16:creationId xmlns:a16="http://schemas.microsoft.com/office/drawing/2014/main" id="{98E54233-25C6-1417-B975-2031CBC1DA7C}"/>
                </a:ext>
              </a:extLst>
            </p:cNvPr>
            <p:cNvSpPr/>
            <p:nvPr/>
          </p:nvSpPr>
          <p:spPr>
            <a:xfrm>
              <a:off x="8662984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8" name="Полилиния 1277">
              <a:extLst>
                <a:ext uri="{FF2B5EF4-FFF2-40B4-BE49-F238E27FC236}">
                  <a16:creationId xmlns:a16="http://schemas.microsoft.com/office/drawing/2014/main" id="{639B6E88-CCBD-C20C-B34A-4AFED9E0B70E}"/>
                </a:ext>
              </a:extLst>
            </p:cNvPr>
            <p:cNvSpPr/>
            <p:nvPr/>
          </p:nvSpPr>
          <p:spPr>
            <a:xfrm>
              <a:off x="8899467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9" name="Полилиния 1278">
              <a:extLst>
                <a:ext uri="{FF2B5EF4-FFF2-40B4-BE49-F238E27FC236}">
                  <a16:creationId xmlns:a16="http://schemas.microsoft.com/office/drawing/2014/main" id="{A378C61E-A015-E218-9423-99CD35659C66}"/>
                </a:ext>
              </a:extLst>
            </p:cNvPr>
            <p:cNvSpPr/>
            <p:nvPr/>
          </p:nvSpPr>
          <p:spPr>
            <a:xfrm>
              <a:off x="9135949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0" name="Полилиния 1279">
              <a:extLst>
                <a:ext uri="{FF2B5EF4-FFF2-40B4-BE49-F238E27FC236}">
                  <a16:creationId xmlns:a16="http://schemas.microsoft.com/office/drawing/2014/main" id="{453D6BAE-0AFE-8F3E-266E-00B2C70DFD24}"/>
                </a:ext>
              </a:extLst>
            </p:cNvPr>
            <p:cNvSpPr/>
            <p:nvPr/>
          </p:nvSpPr>
          <p:spPr>
            <a:xfrm rot="-5400000">
              <a:off x="9845398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1" name="Полилиния 1280">
              <a:extLst>
                <a:ext uri="{FF2B5EF4-FFF2-40B4-BE49-F238E27FC236}">
                  <a16:creationId xmlns:a16="http://schemas.microsoft.com/office/drawing/2014/main" id="{4C9F053E-C433-F3C9-B919-546991A5427C}"/>
                </a:ext>
              </a:extLst>
            </p:cNvPr>
            <p:cNvSpPr/>
            <p:nvPr/>
          </p:nvSpPr>
          <p:spPr>
            <a:xfrm>
              <a:off x="10081880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2" name="Полилиния 1281">
              <a:extLst>
                <a:ext uri="{FF2B5EF4-FFF2-40B4-BE49-F238E27FC236}">
                  <a16:creationId xmlns:a16="http://schemas.microsoft.com/office/drawing/2014/main" id="{E9384F85-B517-F1EC-2057-AC7E86ED57F3}"/>
                </a:ext>
              </a:extLst>
            </p:cNvPr>
            <p:cNvSpPr/>
            <p:nvPr/>
          </p:nvSpPr>
          <p:spPr>
            <a:xfrm>
              <a:off x="10318363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3" name="Полилиния 1282">
              <a:extLst>
                <a:ext uri="{FF2B5EF4-FFF2-40B4-BE49-F238E27FC236}">
                  <a16:creationId xmlns:a16="http://schemas.microsoft.com/office/drawing/2014/main" id="{BBC4BBC0-F388-9F71-DE69-F578CDF37D62}"/>
                </a:ext>
              </a:extLst>
            </p:cNvPr>
            <p:cNvSpPr/>
            <p:nvPr/>
          </p:nvSpPr>
          <p:spPr>
            <a:xfrm>
              <a:off x="10554846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4" name="Полилиния 1283">
              <a:extLst>
                <a:ext uri="{FF2B5EF4-FFF2-40B4-BE49-F238E27FC236}">
                  <a16:creationId xmlns:a16="http://schemas.microsoft.com/office/drawing/2014/main" id="{F053977B-C403-BC57-A9BA-E2271E670668}"/>
                </a:ext>
              </a:extLst>
            </p:cNvPr>
            <p:cNvSpPr/>
            <p:nvPr/>
          </p:nvSpPr>
          <p:spPr>
            <a:xfrm>
              <a:off x="10791329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5" name="Полилиния 1284">
              <a:extLst>
                <a:ext uri="{FF2B5EF4-FFF2-40B4-BE49-F238E27FC236}">
                  <a16:creationId xmlns:a16="http://schemas.microsoft.com/office/drawing/2014/main" id="{9960F918-14DF-8F0C-200D-185ECF720C5E}"/>
                </a:ext>
              </a:extLst>
            </p:cNvPr>
            <p:cNvSpPr/>
            <p:nvPr/>
          </p:nvSpPr>
          <p:spPr>
            <a:xfrm>
              <a:off x="11027811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6" name="Полилиния 1285">
              <a:extLst>
                <a:ext uri="{FF2B5EF4-FFF2-40B4-BE49-F238E27FC236}">
                  <a16:creationId xmlns:a16="http://schemas.microsoft.com/office/drawing/2014/main" id="{962FCC34-6D85-B1E7-A4C6-0F22ECF4F1B6}"/>
                </a:ext>
              </a:extLst>
            </p:cNvPr>
            <p:cNvSpPr/>
            <p:nvPr/>
          </p:nvSpPr>
          <p:spPr>
            <a:xfrm rot="5400000">
              <a:off x="11264294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7" name="Полилиния 1286">
              <a:extLst>
                <a:ext uri="{FF2B5EF4-FFF2-40B4-BE49-F238E27FC236}">
                  <a16:creationId xmlns:a16="http://schemas.microsoft.com/office/drawing/2014/main" id="{1C1AB019-EE31-3C0C-899D-65B75FE23F43}"/>
                </a:ext>
              </a:extLst>
            </p:cNvPr>
            <p:cNvSpPr/>
            <p:nvPr/>
          </p:nvSpPr>
          <p:spPr>
            <a:xfrm rot="-5400000">
              <a:off x="11973742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8" name="Полилиния 1287">
              <a:extLst>
                <a:ext uri="{FF2B5EF4-FFF2-40B4-BE49-F238E27FC236}">
                  <a16:creationId xmlns:a16="http://schemas.microsoft.com/office/drawing/2014/main" id="{CDAE7430-5B71-2A1D-FC12-2221D093743A}"/>
                </a:ext>
              </a:extLst>
            </p:cNvPr>
            <p:cNvSpPr/>
            <p:nvPr/>
          </p:nvSpPr>
          <p:spPr>
            <a:xfrm>
              <a:off x="12210225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9" name="Полилиния 1288">
              <a:extLst>
                <a:ext uri="{FF2B5EF4-FFF2-40B4-BE49-F238E27FC236}">
                  <a16:creationId xmlns:a16="http://schemas.microsoft.com/office/drawing/2014/main" id="{79BFFB24-AE52-63C0-A9BA-A274F4E895CA}"/>
                </a:ext>
              </a:extLst>
            </p:cNvPr>
            <p:cNvSpPr/>
            <p:nvPr/>
          </p:nvSpPr>
          <p:spPr>
            <a:xfrm rot="5400000">
              <a:off x="8426501" y="718255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0" name="Полилиния 1289">
              <a:extLst>
                <a:ext uri="{FF2B5EF4-FFF2-40B4-BE49-F238E27FC236}">
                  <a16:creationId xmlns:a16="http://schemas.microsoft.com/office/drawing/2014/main" id="{F22270B7-9E6B-8E5B-F926-FC9E758100EA}"/>
                </a:ext>
              </a:extLst>
            </p:cNvPr>
            <p:cNvSpPr/>
            <p:nvPr/>
          </p:nvSpPr>
          <p:spPr>
            <a:xfrm>
              <a:off x="8899467" y="718255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1" name="Полилиния 1290">
              <a:extLst>
                <a:ext uri="{FF2B5EF4-FFF2-40B4-BE49-F238E27FC236}">
                  <a16:creationId xmlns:a16="http://schemas.microsoft.com/office/drawing/2014/main" id="{37C125C8-5877-5D25-576A-412895FC0E98}"/>
                </a:ext>
              </a:extLst>
            </p:cNvPr>
            <p:cNvSpPr/>
            <p:nvPr/>
          </p:nvSpPr>
          <p:spPr>
            <a:xfrm>
              <a:off x="9135949" y="718255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2" name="Полилиния 1291">
              <a:extLst>
                <a:ext uri="{FF2B5EF4-FFF2-40B4-BE49-F238E27FC236}">
                  <a16:creationId xmlns:a16="http://schemas.microsoft.com/office/drawing/2014/main" id="{A30A3C63-4B35-F4EE-FD4C-DE111F0DD901}"/>
                </a:ext>
              </a:extLst>
            </p:cNvPr>
            <p:cNvSpPr/>
            <p:nvPr/>
          </p:nvSpPr>
          <p:spPr>
            <a:xfrm rot="5400000">
              <a:off x="9608915" y="718255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9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3" name="Полилиния 1292">
              <a:extLst>
                <a:ext uri="{FF2B5EF4-FFF2-40B4-BE49-F238E27FC236}">
                  <a16:creationId xmlns:a16="http://schemas.microsoft.com/office/drawing/2014/main" id="{6312CF1D-7864-E744-352D-8D1519BD7399}"/>
                </a:ext>
              </a:extLst>
            </p:cNvPr>
            <p:cNvSpPr/>
            <p:nvPr/>
          </p:nvSpPr>
          <p:spPr>
            <a:xfrm>
              <a:off x="10081880" y="718255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4" name="Полилиния 1293">
              <a:extLst>
                <a:ext uri="{FF2B5EF4-FFF2-40B4-BE49-F238E27FC236}">
                  <a16:creationId xmlns:a16="http://schemas.microsoft.com/office/drawing/2014/main" id="{B1B452A6-C075-3EAD-4F72-8DAEE56491D0}"/>
                </a:ext>
              </a:extLst>
            </p:cNvPr>
            <p:cNvSpPr/>
            <p:nvPr/>
          </p:nvSpPr>
          <p:spPr>
            <a:xfrm rot="5400000">
              <a:off x="10791329" y="718255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5" name="Полилиния 1294">
              <a:extLst>
                <a:ext uri="{FF2B5EF4-FFF2-40B4-BE49-F238E27FC236}">
                  <a16:creationId xmlns:a16="http://schemas.microsoft.com/office/drawing/2014/main" id="{A3EDAAD3-8D9A-F7D4-3213-F6EEB16A56BE}"/>
                </a:ext>
              </a:extLst>
            </p:cNvPr>
            <p:cNvSpPr/>
            <p:nvPr/>
          </p:nvSpPr>
          <p:spPr>
            <a:xfrm>
              <a:off x="11973742" y="718255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6" name="Полилиния 1295">
              <a:extLst>
                <a:ext uri="{FF2B5EF4-FFF2-40B4-BE49-F238E27FC236}">
                  <a16:creationId xmlns:a16="http://schemas.microsoft.com/office/drawing/2014/main" id="{B747890C-E89E-AFFF-DCD3-4738EB865F66}"/>
                </a:ext>
              </a:extLst>
            </p:cNvPr>
            <p:cNvSpPr/>
            <p:nvPr/>
          </p:nvSpPr>
          <p:spPr>
            <a:xfrm>
              <a:off x="12210225" y="718255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7" name="Полилиния 1296">
              <a:extLst>
                <a:ext uri="{FF2B5EF4-FFF2-40B4-BE49-F238E27FC236}">
                  <a16:creationId xmlns:a16="http://schemas.microsoft.com/office/drawing/2014/main" id="{970630F3-DA20-BAFA-EF98-07CE59DEB65F}"/>
                </a:ext>
              </a:extLst>
            </p:cNvPr>
            <p:cNvSpPr/>
            <p:nvPr/>
          </p:nvSpPr>
          <p:spPr>
            <a:xfrm rot="-5400000">
              <a:off x="8662984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8" name="Полилиния 1297">
              <a:extLst>
                <a:ext uri="{FF2B5EF4-FFF2-40B4-BE49-F238E27FC236}">
                  <a16:creationId xmlns:a16="http://schemas.microsoft.com/office/drawing/2014/main" id="{15A9E561-05D0-488F-3953-2991CE05E396}"/>
                </a:ext>
              </a:extLst>
            </p:cNvPr>
            <p:cNvSpPr/>
            <p:nvPr/>
          </p:nvSpPr>
          <p:spPr>
            <a:xfrm>
              <a:off x="8899467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9" name="Полилиния 1298">
              <a:extLst>
                <a:ext uri="{FF2B5EF4-FFF2-40B4-BE49-F238E27FC236}">
                  <a16:creationId xmlns:a16="http://schemas.microsoft.com/office/drawing/2014/main" id="{A3FC9C9E-B0DD-23E0-EB82-9E9329E80089}"/>
                </a:ext>
              </a:extLst>
            </p:cNvPr>
            <p:cNvSpPr/>
            <p:nvPr/>
          </p:nvSpPr>
          <p:spPr>
            <a:xfrm>
              <a:off x="9135949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0" name="Полилиния 1299">
              <a:extLst>
                <a:ext uri="{FF2B5EF4-FFF2-40B4-BE49-F238E27FC236}">
                  <a16:creationId xmlns:a16="http://schemas.microsoft.com/office/drawing/2014/main" id="{182FFD3E-F4B6-BF10-615A-49CED01DD199}"/>
                </a:ext>
              </a:extLst>
            </p:cNvPr>
            <p:cNvSpPr/>
            <p:nvPr/>
          </p:nvSpPr>
          <p:spPr>
            <a:xfrm rot="5400000">
              <a:off x="9372432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1" name="Полилиния 1300">
              <a:extLst>
                <a:ext uri="{FF2B5EF4-FFF2-40B4-BE49-F238E27FC236}">
                  <a16:creationId xmlns:a16="http://schemas.microsoft.com/office/drawing/2014/main" id="{31F10A5E-FB78-A7F4-FA5F-2158D69B2DE9}"/>
                </a:ext>
              </a:extLst>
            </p:cNvPr>
            <p:cNvSpPr/>
            <p:nvPr/>
          </p:nvSpPr>
          <p:spPr>
            <a:xfrm rot="-5400000">
              <a:off x="9845398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2" name="Полилиния 1301">
              <a:extLst>
                <a:ext uri="{FF2B5EF4-FFF2-40B4-BE49-F238E27FC236}">
                  <a16:creationId xmlns:a16="http://schemas.microsoft.com/office/drawing/2014/main" id="{02A57094-921E-1540-9FE4-73DC1E224A66}"/>
                </a:ext>
              </a:extLst>
            </p:cNvPr>
            <p:cNvSpPr/>
            <p:nvPr/>
          </p:nvSpPr>
          <p:spPr>
            <a:xfrm>
              <a:off x="10081880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3" name="Полилиния 1302">
              <a:extLst>
                <a:ext uri="{FF2B5EF4-FFF2-40B4-BE49-F238E27FC236}">
                  <a16:creationId xmlns:a16="http://schemas.microsoft.com/office/drawing/2014/main" id="{ADB12852-275A-9867-7EB8-4DD8C925CDED}"/>
                </a:ext>
              </a:extLst>
            </p:cNvPr>
            <p:cNvSpPr/>
            <p:nvPr/>
          </p:nvSpPr>
          <p:spPr>
            <a:xfrm rot="5400000">
              <a:off x="10554846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9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4" name="Полилиния 1303">
              <a:extLst>
                <a:ext uri="{FF2B5EF4-FFF2-40B4-BE49-F238E27FC236}">
                  <a16:creationId xmlns:a16="http://schemas.microsoft.com/office/drawing/2014/main" id="{9A0CA912-EF89-7E27-ADB2-1BBDED907597}"/>
                </a:ext>
              </a:extLst>
            </p:cNvPr>
            <p:cNvSpPr/>
            <p:nvPr/>
          </p:nvSpPr>
          <p:spPr>
            <a:xfrm rot="-5400000">
              <a:off x="11264294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5" name="Полилиния 1304">
              <a:extLst>
                <a:ext uri="{FF2B5EF4-FFF2-40B4-BE49-F238E27FC236}">
                  <a16:creationId xmlns:a16="http://schemas.microsoft.com/office/drawing/2014/main" id="{6EEEBA37-ACE8-E863-4F6F-C418B16BA78F}"/>
                </a:ext>
              </a:extLst>
            </p:cNvPr>
            <p:cNvSpPr/>
            <p:nvPr/>
          </p:nvSpPr>
          <p:spPr>
            <a:xfrm>
              <a:off x="11500777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6" name="Полилиния 1305">
              <a:extLst>
                <a:ext uri="{FF2B5EF4-FFF2-40B4-BE49-F238E27FC236}">
                  <a16:creationId xmlns:a16="http://schemas.microsoft.com/office/drawing/2014/main" id="{B155D85D-42B6-57DD-D496-C8D0567E86B3}"/>
                </a:ext>
              </a:extLst>
            </p:cNvPr>
            <p:cNvSpPr/>
            <p:nvPr/>
          </p:nvSpPr>
          <p:spPr>
            <a:xfrm>
              <a:off x="11737260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7" name="Полилиния 1306">
              <a:extLst>
                <a:ext uri="{FF2B5EF4-FFF2-40B4-BE49-F238E27FC236}">
                  <a16:creationId xmlns:a16="http://schemas.microsoft.com/office/drawing/2014/main" id="{DF7B2FDA-C31D-5CD2-A247-727F3EC042C8}"/>
                </a:ext>
              </a:extLst>
            </p:cNvPr>
            <p:cNvSpPr/>
            <p:nvPr/>
          </p:nvSpPr>
          <p:spPr>
            <a:xfrm>
              <a:off x="11973742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8" name="Полилиния 1307">
              <a:extLst>
                <a:ext uri="{FF2B5EF4-FFF2-40B4-BE49-F238E27FC236}">
                  <a16:creationId xmlns:a16="http://schemas.microsoft.com/office/drawing/2014/main" id="{ACCCFCF2-1C9F-33DF-4B9C-3CAB8F8E5CB9}"/>
                </a:ext>
              </a:extLst>
            </p:cNvPr>
            <p:cNvSpPr/>
            <p:nvPr/>
          </p:nvSpPr>
          <p:spPr>
            <a:xfrm>
              <a:off x="12210225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9" name="Полилиния 1308">
              <a:extLst>
                <a:ext uri="{FF2B5EF4-FFF2-40B4-BE49-F238E27FC236}">
                  <a16:creationId xmlns:a16="http://schemas.microsoft.com/office/drawing/2014/main" id="{F097907F-E5BE-0A4B-B7E5-ED7CAF5ED2EC}"/>
                </a:ext>
              </a:extLst>
            </p:cNvPr>
            <p:cNvSpPr/>
            <p:nvPr/>
          </p:nvSpPr>
          <p:spPr>
            <a:xfrm rot="-5400000">
              <a:off x="8426501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0" name="Полилиния 1309">
              <a:extLst>
                <a:ext uri="{FF2B5EF4-FFF2-40B4-BE49-F238E27FC236}">
                  <a16:creationId xmlns:a16="http://schemas.microsoft.com/office/drawing/2014/main" id="{B8FC9A0A-C289-E852-ED77-62FF21AFFC7D}"/>
                </a:ext>
              </a:extLst>
            </p:cNvPr>
            <p:cNvSpPr/>
            <p:nvPr/>
          </p:nvSpPr>
          <p:spPr>
            <a:xfrm>
              <a:off x="8662984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1" name="Полилиния 1310">
              <a:extLst>
                <a:ext uri="{FF2B5EF4-FFF2-40B4-BE49-F238E27FC236}">
                  <a16:creationId xmlns:a16="http://schemas.microsoft.com/office/drawing/2014/main" id="{9A93C933-0B38-406B-B8A1-FCB09602F759}"/>
                </a:ext>
              </a:extLst>
            </p:cNvPr>
            <p:cNvSpPr/>
            <p:nvPr/>
          </p:nvSpPr>
          <p:spPr>
            <a:xfrm>
              <a:off x="8899467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2" name="Полилиния 1311">
              <a:extLst>
                <a:ext uri="{FF2B5EF4-FFF2-40B4-BE49-F238E27FC236}">
                  <a16:creationId xmlns:a16="http://schemas.microsoft.com/office/drawing/2014/main" id="{86B6E9C8-230D-7D58-32C1-4EA2C1724B2D}"/>
                </a:ext>
              </a:extLst>
            </p:cNvPr>
            <p:cNvSpPr/>
            <p:nvPr/>
          </p:nvSpPr>
          <p:spPr>
            <a:xfrm rot="5400000">
              <a:off x="9135949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3" name="Полилиния 1312">
              <a:extLst>
                <a:ext uri="{FF2B5EF4-FFF2-40B4-BE49-F238E27FC236}">
                  <a16:creationId xmlns:a16="http://schemas.microsoft.com/office/drawing/2014/main" id="{D5927869-8F45-B7F4-892D-7DCB35E14313}"/>
                </a:ext>
              </a:extLst>
            </p:cNvPr>
            <p:cNvSpPr/>
            <p:nvPr/>
          </p:nvSpPr>
          <p:spPr>
            <a:xfrm rot="5400000">
              <a:off x="10081880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4" name="Полилиния 1313">
              <a:extLst>
                <a:ext uri="{FF2B5EF4-FFF2-40B4-BE49-F238E27FC236}">
                  <a16:creationId xmlns:a16="http://schemas.microsoft.com/office/drawing/2014/main" id="{D9874324-7FC1-7CD5-8771-335060B234E3}"/>
                </a:ext>
              </a:extLst>
            </p:cNvPr>
            <p:cNvSpPr/>
            <p:nvPr/>
          </p:nvSpPr>
          <p:spPr>
            <a:xfrm rot="-5400000">
              <a:off x="11027811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5" name="Полилиния 1314">
              <a:extLst>
                <a:ext uri="{FF2B5EF4-FFF2-40B4-BE49-F238E27FC236}">
                  <a16:creationId xmlns:a16="http://schemas.microsoft.com/office/drawing/2014/main" id="{F2FB5BA6-C44F-2E2B-B4A9-5665B559F3A2}"/>
                </a:ext>
              </a:extLst>
            </p:cNvPr>
            <p:cNvSpPr/>
            <p:nvPr/>
          </p:nvSpPr>
          <p:spPr>
            <a:xfrm rot="5400000">
              <a:off x="11264294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6" name="Полилиния 1315">
              <a:extLst>
                <a:ext uri="{FF2B5EF4-FFF2-40B4-BE49-F238E27FC236}">
                  <a16:creationId xmlns:a16="http://schemas.microsoft.com/office/drawing/2014/main" id="{A4B98FAF-CBCE-8E9A-D15C-EB988DCDD5BB}"/>
                </a:ext>
              </a:extLst>
            </p:cNvPr>
            <p:cNvSpPr/>
            <p:nvPr/>
          </p:nvSpPr>
          <p:spPr>
            <a:xfrm>
              <a:off x="11737260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7" name="Полилиния 1316">
              <a:extLst>
                <a:ext uri="{FF2B5EF4-FFF2-40B4-BE49-F238E27FC236}">
                  <a16:creationId xmlns:a16="http://schemas.microsoft.com/office/drawing/2014/main" id="{0E7E86A1-FE0D-4E65-7832-EE2D52E85251}"/>
                </a:ext>
              </a:extLst>
            </p:cNvPr>
            <p:cNvSpPr/>
            <p:nvPr/>
          </p:nvSpPr>
          <p:spPr>
            <a:xfrm>
              <a:off x="11973742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8" name="Полилиния 1317">
              <a:extLst>
                <a:ext uri="{FF2B5EF4-FFF2-40B4-BE49-F238E27FC236}">
                  <a16:creationId xmlns:a16="http://schemas.microsoft.com/office/drawing/2014/main" id="{7DF1042E-5D3B-3F70-1B58-063D4F853B40}"/>
                </a:ext>
              </a:extLst>
            </p:cNvPr>
            <p:cNvSpPr/>
            <p:nvPr/>
          </p:nvSpPr>
          <p:spPr>
            <a:xfrm>
              <a:off x="12210225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9" name="Полилиния 1318">
              <a:extLst>
                <a:ext uri="{FF2B5EF4-FFF2-40B4-BE49-F238E27FC236}">
                  <a16:creationId xmlns:a16="http://schemas.microsoft.com/office/drawing/2014/main" id="{04433E66-07C5-5E1D-CB05-12D66DFF5F78}"/>
                </a:ext>
              </a:extLst>
            </p:cNvPr>
            <p:cNvSpPr/>
            <p:nvPr/>
          </p:nvSpPr>
          <p:spPr>
            <a:xfrm>
              <a:off x="8662984" y="789200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0" name="Полилиния 1319">
              <a:extLst>
                <a:ext uri="{FF2B5EF4-FFF2-40B4-BE49-F238E27FC236}">
                  <a16:creationId xmlns:a16="http://schemas.microsoft.com/office/drawing/2014/main" id="{8A0CF861-D868-4644-9E09-64E80A69F1C1}"/>
                </a:ext>
              </a:extLst>
            </p:cNvPr>
            <p:cNvSpPr/>
            <p:nvPr/>
          </p:nvSpPr>
          <p:spPr>
            <a:xfrm rot="5400000">
              <a:off x="8899467" y="789200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1" name="Полилиния 1320">
              <a:extLst>
                <a:ext uri="{FF2B5EF4-FFF2-40B4-BE49-F238E27FC236}">
                  <a16:creationId xmlns:a16="http://schemas.microsoft.com/office/drawing/2014/main" id="{FD955DBB-4C9F-9904-6B9C-5DBCFD8DFDD7}"/>
                </a:ext>
              </a:extLst>
            </p:cNvPr>
            <p:cNvSpPr/>
            <p:nvPr/>
          </p:nvSpPr>
          <p:spPr>
            <a:xfrm rot="-5400000">
              <a:off x="9372432" y="789200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2" name="Полилиния 1321">
              <a:extLst>
                <a:ext uri="{FF2B5EF4-FFF2-40B4-BE49-F238E27FC236}">
                  <a16:creationId xmlns:a16="http://schemas.microsoft.com/office/drawing/2014/main" id="{B1D7DCCD-AD76-35F0-BD7A-879525A1D7D1}"/>
                </a:ext>
              </a:extLst>
            </p:cNvPr>
            <p:cNvSpPr/>
            <p:nvPr/>
          </p:nvSpPr>
          <p:spPr>
            <a:xfrm rot="5400000">
              <a:off x="9608915" y="789200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3" name="Полилиния 1322">
              <a:extLst>
                <a:ext uri="{FF2B5EF4-FFF2-40B4-BE49-F238E27FC236}">
                  <a16:creationId xmlns:a16="http://schemas.microsoft.com/office/drawing/2014/main" id="{CB4DB879-70BC-860A-6C25-7B90F3655541}"/>
                </a:ext>
              </a:extLst>
            </p:cNvPr>
            <p:cNvSpPr/>
            <p:nvPr/>
          </p:nvSpPr>
          <p:spPr>
            <a:xfrm rot="-5400000">
              <a:off x="10318363" y="789200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4" name="Полилиния 1323">
              <a:extLst>
                <a:ext uri="{FF2B5EF4-FFF2-40B4-BE49-F238E27FC236}">
                  <a16:creationId xmlns:a16="http://schemas.microsoft.com/office/drawing/2014/main" id="{BC51425A-7926-DB6F-AFB8-96F66F16C747}"/>
                </a:ext>
              </a:extLst>
            </p:cNvPr>
            <p:cNvSpPr/>
            <p:nvPr/>
          </p:nvSpPr>
          <p:spPr>
            <a:xfrm rot="5400000">
              <a:off x="10554846" y="789200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5" name="Полилиния 1324">
              <a:extLst>
                <a:ext uri="{FF2B5EF4-FFF2-40B4-BE49-F238E27FC236}">
                  <a16:creationId xmlns:a16="http://schemas.microsoft.com/office/drawing/2014/main" id="{377FA815-C1A1-FB2B-177E-F395C56ABCAD}"/>
                </a:ext>
              </a:extLst>
            </p:cNvPr>
            <p:cNvSpPr/>
            <p:nvPr/>
          </p:nvSpPr>
          <p:spPr>
            <a:xfrm rot="5400000">
              <a:off x="11500777" y="789200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9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6" name="Полилиния 1325">
              <a:extLst>
                <a:ext uri="{FF2B5EF4-FFF2-40B4-BE49-F238E27FC236}">
                  <a16:creationId xmlns:a16="http://schemas.microsoft.com/office/drawing/2014/main" id="{DAFF1ACB-D66C-082A-A6AE-9284973F0C85}"/>
                </a:ext>
              </a:extLst>
            </p:cNvPr>
            <p:cNvSpPr/>
            <p:nvPr/>
          </p:nvSpPr>
          <p:spPr>
            <a:xfrm rot="5400000">
              <a:off x="12210225" y="789200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31" name="Рисунок 1327">
            <a:extLst>
              <a:ext uri="{FF2B5EF4-FFF2-40B4-BE49-F238E27FC236}">
                <a16:creationId xmlns:a16="http://schemas.microsoft.com/office/drawing/2014/main" id="{1EA571CA-85A3-DE09-855F-F2C47AF8AE1A}"/>
              </a:ext>
            </a:extLst>
          </p:cNvPr>
          <p:cNvGrpSpPr/>
          <p:nvPr/>
        </p:nvGrpSpPr>
        <p:grpSpPr>
          <a:xfrm>
            <a:off x="1420219" y="4166809"/>
            <a:ext cx="1850145" cy="1850145"/>
            <a:chOff x="3082636" y="415636"/>
            <a:chExt cx="6026727" cy="6026727"/>
          </a:xfrm>
          <a:solidFill>
            <a:schemeClr val="bg1"/>
          </a:solidFill>
        </p:grpSpPr>
        <p:sp>
          <p:nvSpPr>
            <p:cNvPr id="1332" name="Полилиния 1331">
              <a:extLst>
                <a:ext uri="{FF2B5EF4-FFF2-40B4-BE49-F238E27FC236}">
                  <a16:creationId xmlns:a16="http://schemas.microsoft.com/office/drawing/2014/main" id="{A02981A3-A00D-872E-C3C4-D5EDF0652923}"/>
                </a:ext>
              </a:extLst>
            </p:cNvPr>
            <p:cNvSpPr/>
            <p:nvPr/>
          </p:nvSpPr>
          <p:spPr>
            <a:xfrm rot="-5400000">
              <a:off x="3498272" y="5403272"/>
              <a:ext cx="623454" cy="623454"/>
            </a:xfrm>
            <a:custGeom>
              <a:avLst/>
              <a:gdLst>
                <a:gd name="connsiteX0" fmla="*/ 623455 w 623454"/>
                <a:gd name="connsiteY0" fmla="*/ 311727 h 623454"/>
                <a:gd name="connsiteX1" fmla="*/ 311727 w 623454"/>
                <a:gd name="connsiteY1" fmla="*/ 623455 h 623454"/>
                <a:gd name="connsiteX2" fmla="*/ 0 w 623454"/>
                <a:gd name="connsiteY2" fmla="*/ 311727 h 623454"/>
                <a:gd name="connsiteX3" fmla="*/ 311727 w 623454"/>
                <a:gd name="connsiteY3" fmla="*/ 0 h 623454"/>
                <a:gd name="connsiteX4" fmla="*/ 623455 w 623454"/>
                <a:gd name="connsiteY4" fmla="*/ 311727 h 62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54" h="623454">
                  <a:moveTo>
                    <a:pt x="623455" y="311727"/>
                  </a:moveTo>
                  <a:cubicBezTo>
                    <a:pt x="623455" y="483890"/>
                    <a:pt x="483889" y="623455"/>
                    <a:pt x="311727" y="623455"/>
                  </a:cubicBezTo>
                  <a:cubicBezTo>
                    <a:pt x="139565" y="623455"/>
                    <a:pt x="0" y="483890"/>
                    <a:pt x="0" y="311727"/>
                  </a:cubicBezTo>
                  <a:cubicBezTo>
                    <a:pt x="0" y="139565"/>
                    <a:pt x="139565" y="0"/>
                    <a:pt x="311727" y="0"/>
                  </a:cubicBezTo>
                  <a:cubicBezTo>
                    <a:pt x="483889" y="0"/>
                    <a:pt x="623455" y="139565"/>
                    <a:pt x="623455" y="311727"/>
                  </a:cubicBez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3" name="Полилиния 1332">
              <a:extLst>
                <a:ext uri="{FF2B5EF4-FFF2-40B4-BE49-F238E27FC236}">
                  <a16:creationId xmlns:a16="http://schemas.microsoft.com/office/drawing/2014/main" id="{292F9ABB-C5BF-2B8B-3514-34829BAAB556}"/>
                </a:ext>
              </a:extLst>
            </p:cNvPr>
            <p:cNvSpPr/>
            <p:nvPr/>
          </p:nvSpPr>
          <p:spPr>
            <a:xfrm rot="-5400000">
              <a:off x="3082636" y="4987636"/>
              <a:ext cx="1454727" cy="1454727"/>
            </a:xfrm>
            <a:custGeom>
              <a:avLst/>
              <a:gdLst>
                <a:gd name="connsiteX0" fmla="*/ 0 w 1454727"/>
                <a:gd name="connsiteY0" fmla="*/ 519545 h 1454727"/>
                <a:gd name="connsiteX1" fmla="*/ 0 w 1454727"/>
                <a:gd name="connsiteY1" fmla="*/ 935182 h 1454727"/>
                <a:gd name="connsiteX2" fmla="*/ 519545 w 1454727"/>
                <a:gd name="connsiteY2" fmla="*/ 1454727 h 1454727"/>
                <a:gd name="connsiteX3" fmla="*/ 935182 w 1454727"/>
                <a:gd name="connsiteY3" fmla="*/ 1454727 h 1454727"/>
                <a:gd name="connsiteX4" fmla="*/ 1454727 w 1454727"/>
                <a:gd name="connsiteY4" fmla="*/ 935182 h 1454727"/>
                <a:gd name="connsiteX5" fmla="*/ 1454727 w 1454727"/>
                <a:gd name="connsiteY5" fmla="*/ 519545 h 1454727"/>
                <a:gd name="connsiteX6" fmla="*/ 935182 w 1454727"/>
                <a:gd name="connsiteY6" fmla="*/ 0 h 1454727"/>
                <a:gd name="connsiteX7" fmla="*/ 519545 w 1454727"/>
                <a:gd name="connsiteY7" fmla="*/ 0 h 1454727"/>
                <a:gd name="connsiteX8" fmla="*/ 0 w 1454727"/>
                <a:gd name="connsiteY8" fmla="*/ 519545 h 1454727"/>
                <a:gd name="connsiteX9" fmla="*/ 519545 w 1454727"/>
                <a:gd name="connsiteY9" fmla="*/ 207818 h 1454727"/>
                <a:gd name="connsiteX10" fmla="*/ 935182 w 1454727"/>
                <a:gd name="connsiteY10" fmla="*/ 207818 h 1454727"/>
                <a:gd name="connsiteX11" fmla="*/ 1246909 w 1454727"/>
                <a:gd name="connsiteY11" fmla="*/ 519545 h 1454727"/>
                <a:gd name="connsiteX12" fmla="*/ 1246909 w 1454727"/>
                <a:gd name="connsiteY12" fmla="*/ 935182 h 1454727"/>
                <a:gd name="connsiteX13" fmla="*/ 935182 w 1454727"/>
                <a:gd name="connsiteY13" fmla="*/ 1246909 h 1454727"/>
                <a:gd name="connsiteX14" fmla="*/ 519545 w 1454727"/>
                <a:gd name="connsiteY14" fmla="*/ 1246909 h 1454727"/>
                <a:gd name="connsiteX15" fmla="*/ 207818 w 1454727"/>
                <a:gd name="connsiteY15" fmla="*/ 935182 h 1454727"/>
                <a:gd name="connsiteX16" fmla="*/ 207818 w 1454727"/>
                <a:gd name="connsiteY16" fmla="*/ 519545 h 1454727"/>
                <a:gd name="connsiteX17" fmla="*/ 519545 w 1454727"/>
                <a:gd name="connsiteY17" fmla="*/ 207818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4727" h="1454727">
                  <a:moveTo>
                    <a:pt x="0" y="519545"/>
                  </a:moveTo>
                  <a:lnTo>
                    <a:pt x="0" y="935182"/>
                  </a:lnTo>
                  <a:cubicBezTo>
                    <a:pt x="0" y="1222119"/>
                    <a:pt x="232608" y="1454727"/>
                    <a:pt x="519545" y="1454727"/>
                  </a:cubicBezTo>
                  <a:lnTo>
                    <a:pt x="935182" y="1454727"/>
                  </a:lnTo>
                  <a:cubicBezTo>
                    <a:pt x="1222119" y="1454727"/>
                    <a:pt x="1454727" y="1222119"/>
                    <a:pt x="1454727" y="935182"/>
                  </a:cubicBezTo>
                  <a:lnTo>
                    <a:pt x="1454727" y="519545"/>
                  </a:lnTo>
                  <a:cubicBezTo>
                    <a:pt x="1454727" y="232609"/>
                    <a:pt x="1222119" y="0"/>
                    <a:pt x="935182" y="0"/>
                  </a:cubicBezTo>
                  <a:lnTo>
                    <a:pt x="519545" y="0"/>
                  </a:lnTo>
                  <a:cubicBezTo>
                    <a:pt x="232608" y="0"/>
                    <a:pt x="0" y="232609"/>
                    <a:pt x="0" y="519545"/>
                  </a:cubicBezTo>
                  <a:moveTo>
                    <a:pt x="519545" y="207818"/>
                  </a:moveTo>
                  <a:lnTo>
                    <a:pt x="935182" y="207818"/>
                  </a:lnTo>
                  <a:cubicBezTo>
                    <a:pt x="1107344" y="207818"/>
                    <a:pt x="1246909" y="347383"/>
                    <a:pt x="1246909" y="519545"/>
                  </a:cubicBezTo>
                  <a:lnTo>
                    <a:pt x="1246909" y="935182"/>
                  </a:lnTo>
                  <a:cubicBezTo>
                    <a:pt x="1246909" y="1107344"/>
                    <a:pt x="1107344" y="1246909"/>
                    <a:pt x="935182" y="1246909"/>
                  </a:cubicBezTo>
                  <a:lnTo>
                    <a:pt x="519545" y="1246909"/>
                  </a:lnTo>
                  <a:cubicBezTo>
                    <a:pt x="347383" y="1246909"/>
                    <a:pt x="207818" y="1107344"/>
                    <a:pt x="207818" y="935182"/>
                  </a:cubicBezTo>
                  <a:lnTo>
                    <a:pt x="207818" y="519545"/>
                  </a:lnTo>
                  <a:cubicBezTo>
                    <a:pt x="207818" y="347383"/>
                    <a:pt x="347383" y="207818"/>
                    <a:pt x="519545" y="207818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4" name="Полилиния 1333">
              <a:extLst>
                <a:ext uri="{FF2B5EF4-FFF2-40B4-BE49-F238E27FC236}">
                  <a16:creationId xmlns:a16="http://schemas.microsoft.com/office/drawing/2014/main" id="{6748A715-6E39-BDA8-E52E-D62B6835E2DF}"/>
                </a:ext>
              </a:extLst>
            </p:cNvPr>
            <p:cNvSpPr/>
            <p:nvPr/>
          </p:nvSpPr>
          <p:spPr>
            <a:xfrm rot="5400000">
              <a:off x="8070272" y="831272"/>
              <a:ext cx="623454" cy="623454"/>
            </a:xfrm>
            <a:custGeom>
              <a:avLst/>
              <a:gdLst>
                <a:gd name="connsiteX0" fmla="*/ 623455 w 623454"/>
                <a:gd name="connsiteY0" fmla="*/ 311727 h 623454"/>
                <a:gd name="connsiteX1" fmla="*/ 311727 w 623454"/>
                <a:gd name="connsiteY1" fmla="*/ 623455 h 623454"/>
                <a:gd name="connsiteX2" fmla="*/ 0 w 623454"/>
                <a:gd name="connsiteY2" fmla="*/ 311727 h 623454"/>
                <a:gd name="connsiteX3" fmla="*/ 311727 w 623454"/>
                <a:gd name="connsiteY3" fmla="*/ 0 h 623454"/>
                <a:gd name="connsiteX4" fmla="*/ 623455 w 623454"/>
                <a:gd name="connsiteY4" fmla="*/ 311727 h 62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54" h="623454">
                  <a:moveTo>
                    <a:pt x="623455" y="311727"/>
                  </a:moveTo>
                  <a:cubicBezTo>
                    <a:pt x="623455" y="483889"/>
                    <a:pt x="483890" y="623455"/>
                    <a:pt x="311727" y="623455"/>
                  </a:cubicBezTo>
                  <a:cubicBezTo>
                    <a:pt x="139565" y="623455"/>
                    <a:pt x="0" y="483889"/>
                    <a:pt x="0" y="311727"/>
                  </a:cubicBezTo>
                  <a:cubicBezTo>
                    <a:pt x="0" y="139565"/>
                    <a:pt x="139565" y="0"/>
                    <a:pt x="311727" y="0"/>
                  </a:cubicBezTo>
                  <a:cubicBezTo>
                    <a:pt x="483890" y="0"/>
                    <a:pt x="623455" y="139565"/>
                    <a:pt x="623455" y="311727"/>
                  </a:cubicBez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5" name="Полилиния 1334">
              <a:extLst>
                <a:ext uri="{FF2B5EF4-FFF2-40B4-BE49-F238E27FC236}">
                  <a16:creationId xmlns:a16="http://schemas.microsoft.com/office/drawing/2014/main" id="{ABB23ADE-DF0B-EE59-4AE9-3BEB47D9A78C}"/>
                </a:ext>
              </a:extLst>
            </p:cNvPr>
            <p:cNvSpPr/>
            <p:nvPr/>
          </p:nvSpPr>
          <p:spPr>
            <a:xfrm rot="5400000">
              <a:off x="7654636" y="415636"/>
              <a:ext cx="1454727" cy="1454727"/>
            </a:xfrm>
            <a:custGeom>
              <a:avLst/>
              <a:gdLst>
                <a:gd name="connsiteX0" fmla="*/ 0 w 1454727"/>
                <a:gd name="connsiteY0" fmla="*/ 519545 h 1454727"/>
                <a:gd name="connsiteX1" fmla="*/ 0 w 1454727"/>
                <a:gd name="connsiteY1" fmla="*/ 935182 h 1454727"/>
                <a:gd name="connsiteX2" fmla="*/ 519545 w 1454727"/>
                <a:gd name="connsiteY2" fmla="*/ 1454727 h 1454727"/>
                <a:gd name="connsiteX3" fmla="*/ 935182 w 1454727"/>
                <a:gd name="connsiteY3" fmla="*/ 1454727 h 1454727"/>
                <a:gd name="connsiteX4" fmla="*/ 1454727 w 1454727"/>
                <a:gd name="connsiteY4" fmla="*/ 935182 h 1454727"/>
                <a:gd name="connsiteX5" fmla="*/ 1454727 w 1454727"/>
                <a:gd name="connsiteY5" fmla="*/ 519545 h 1454727"/>
                <a:gd name="connsiteX6" fmla="*/ 935182 w 1454727"/>
                <a:gd name="connsiteY6" fmla="*/ 0 h 1454727"/>
                <a:gd name="connsiteX7" fmla="*/ 519545 w 1454727"/>
                <a:gd name="connsiteY7" fmla="*/ 0 h 1454727"/>
                <a:gd name="connsiteX8" fmla="*/ 0 w 1454727"/>
                <a:gd name="connsiteY8" fmla="*/ 519545 h 1454727"/>
                <a:gd name="connsiteX9" fmla="*/ 519545 w 1454727"/>
                <a:gd name="connsiteY9" fmla="*/ 207818 h 1454727"/>
                <a:gd name="connsiteX10" fmla="*/ 935182 w 1454727"/>
                <a:gd name="connsiteY10" fmla="*/ 207818 h 1454727"/>
                <a:gd name="connsiteX11" fmla="*/ 1246909 w 1454727"/>
                <a:gd name="connsiteY11" fmla="*/ 519545 h 1454727"/>
                <a:gd name="connsiteX12" fmla="*/ 1246909 w 1454727"/>
                <a:gd name="connsiteY12" fmla="*/ 935182 h 1454727"/>
                <a:gd name="connsiteX13" fmla="*/ 935182 w 1454727"/>
                <a:gd name="connsiteY13" fmla="*/ 1246909 h 1454727"/>
                <a:gd name="connsiteX14" fmla="*/ 519545 w 1454727"/>
                <a:gd name="connsiteY14" fmla="*/ 1246909 h 1454727"/>
                <a:gd name="connsiteX15" fmla="*/ 207818 w 1454727"/>
                <a:gd name="connsiteY15" fmla="*/ 935182 h 1454727"/>
                <a:gd name="connsiteX16" fmla="*/ 207818 w 1454727"/>
                <a:gd name="connsiteY16" fmla="*/ 519545 h 1454727"/>
                <a:gd name="connsiteX17" fmla="*/ 519545 w 1454727"/>
                <a:gd name="connsiteY17" fmla="*/ 207818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4727" h="1454727">
                  <a:moveTo>
                    <a:pt x="0" y="519545"/>
                  </a:moveTo>
                  <a:lnTo>
                    <a:pt x="0" y="935182"/>
                  </a:lnTo>
                  <a:cubicBezTo>
                    <a:pt x="0" y="1222119"/>
                    <a:pt x="232609" y="1454727"/>
                    <a:pt x="519545" y="1454727"/>
                  </a:cubicBezTo>
                  <a:lnTo>
                    <a:pt x="935182" y="1454727"/>
                  </a:lnTo>
                  <a:cubicBezTo>
                    <a:pt x="1222119" y="1454727"/>
                    <a:pt x="1454727" y="1222119"/>
                    <a:pt x="1454727" y="935182"/>
                  </a:cubicBezTo>
                  <a:lnTo>
                    <a:pt x="1454727" y="519545"/>
                  </a:lnTo>
                  <a:cubicBezTo>
                    <a:pt x="1454727" y="232608"/>
                    <a:pt x="1222119" y="0"/>
                    <a:pt x="935182" y="0"/>
                  </a:cubicBezTo>
                  <a:lnTo>
                    <a:pt x="519545" y="0"/>
                  </a:lnTo>
                  <a:cubicBezTo>
                    <a:pt x="232609" y="0"/>
                    <a:pt x="0" y="232608"/>
                    <a:pt x="0" y="519545"/>
                  </a:cubicBezTo>
                  <a:moveTo>
                    <a:pt x="519545" y="207818"/>
                  </a:moveTo>
                  <a:lnTo>
                    <a:pt x="935182" y="207818"/>
                  </a:lnTo>
                  <a:cubicBezTo>
                    <a:pt x="1107344" y="207818"/>
                    <a:pt x="1246909" y="347383"/>
                    <a:pt x="1246909" y="519545"/>
                  </a:cubicBezTo>
                  <a:lnTo>
                    <a:pt x="1246909" y="935182"/>
                  </a:lnTo>
                  <a:cubicBezTo>
                    <a:pt x="1246909" y="1107344"/>
                    <a:pt x="1107344" y="1246909"/>
                    <a:pt x="935182" y="1246909"/>
                  </a:cubicBezTo>
                  <a:lnTo>
                    <a:pt x="519545" y="1246909"/>
                  </a:lnTo>
                  <a:cubicBezTo>
                    <a:pt x="347383" y="1246909"/>
                    <a:pt x="207818" y="1107344"/>
                    <a:pt x="207818" y="935182"/>
                  </a:cubicBezTo>
                  <a:lnTo>
                    <a:pt x="207818" y="519545"/>
                  </a:lnTo>
                  <a:cubicBezTo>
                    <a:pt x="207818" y="347383"/>
                    <a:pt x="347383" y="207818"/>
                    <a:pt x="519545" y="207818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6" name="Полилиния 1335">
              <a:extLst>
                <a:ext uri="{FF2B5EF4-FFF2-40B4-BE49-F238E27FC236}">
                  <a16:creationId xmlns:a16="http://schemas.microsoft.com/office/drawing/2014/main" id="{03BE5BA2-029C-62E2-5BF1-EBCACEC2C04A}"/>
                </a:ext>
              </a:extLst>
            </p:cNvPr>
            <p:cNvSpPr/>
            <p:nvPr/>
          </p:nvSpPr>
          <p:spPr>
            <a:xfrm>
              <a:off x="3498272" y="831272"/>
              <a:ext cx="623454" cy="623454"/>
            </a:xfrm>
            <a:custGeom>
              <a:avLst/>
              <a:gdLst>
                <a:gd name="connsiteX0" fmla="*/ 623455 w 623454"/>
                <a:gd name="connsiteY0" fmla="*/ 311727 h 623454"/>
                <a:gd name="connsiteX1" fmla="*/ 311727 w 623454"/>
                <a:gd name="connsiteY1" fmla="*/ 623455 h 623454"/>
                <a:gd name="connsiteX2" fmla="*/ 0 w 623454"/>
                <a:gd name="connsiteY2" fmla="*/ 311727 h 623454"/>
                <a:gd name="connsiteX3" fmla="*/ 311727 w 623454"/>
                <a:gd name="connsiteY3" fmla="*/ 0 h 623454"/>
                <a:gd name="connsiteX4" fmla="*/ 623455 w 623454"/>
                <a:gd name="connsiteY4" fmla="*/ 311727 h 62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54" h="623454">
                  <a:moveTo>
                    <a:pt x="623455" y="311727"/>
                  </a:moveTo>
                  <a:cubicBezTo>
                    <a:pt x="623455" y="483889"/>
                    <a:pt x="483889" y="623455"/>
                    <a:pt x="311727" y="623455"/>
                  </a:cubicBezTo>
                  <a:cubicBezTo>
                    <a:pt x="139565" y="623455"/>
                    <a:pt x="0" y="483889"/>
                    <a:pt x="0" y="311727"/>
                  </a:cubicBezTo>
                  <a:cubicBezTo>
                    <a:pt x="0" y="139565"/>
                    <a:pt x="139565" y="0"/>
                    <a:pt x="311727" y="0"/>
                  </a:cubicBezTo>
                  <a:cubicBezTo>
                    <a:pt x="483889" y="0"/>
                    <a:pt x="623455" y="139565"/>
                    <a:pt x="623455" y="311727"/>
                  </a:cubicBez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7" name="Полилиния 1336">
              <a:extLst>
                <a:ext uri="{FF2B5EF4-FFF2-40B4-BE49-F238E27FC236}">
                  <a16:creationId xmlns:a16="http://schemas.microsoft.com/office/drawing/2014/main" id="{8E9FECBF-A3F9-8C86-3BA4-293A3A1F593C}"/>
                </a:ext>
              </a:extLst>
            </p:cNvPr>
            <p:cNvSpPr/>
            <p:nvPr/>
          </p:nvSpPr>
          <p:spPr>
            <a:xfrm>
              <a:off x="3082636" y="415636"/>
              <a:ext cx="1454727" cy="1454727"/>
            </a:xfrm>
            <a:custGeom>
              <a:avLst/>
              <a:gdLst>
                <a:gd name="connsiteX0" fmla="*/ 0 w 1454727"/>
                <a:gd name="connsiteY0" fmla="*/ 519545 h 1454727"/>
                <a:gd name="connsiteX1" fmla="*/ 0 w 1454727"/>
                <a:gd name="connsiteY1" fmla="*/ 935182 h 1454727"/>
                <a:gd name="connsiteX2" fmla="*/ 519545 w 1454727"/>
                <a:gd name="connsiteY2" fmla="*/ 1454727 h 1454727"/>
                <a:gd name="connsiteX3" fmla="*/ 935182 w 1454727"/>
                <a:gd name="connsiteY3" fmla="*/ 1454727 h 1454727"/>
                <a:gd name="connsiteX4" fmla="*/ 1454727 w 1454727"/>
                <a:gd name="connsiteY4" fmla="*/ 935182 h 1454727"/>
                <a:gd name="connsiteX5" fmla="*/ 1454727 w 1454727"/>
                <a:gd name="connsiteY5" fmla="*/ 519545 h 1454727"/>
                <a:gd name="connsiteX6" fmla="*/ 935182 w 1454727"/>
                <a:gd name="connsiteY6" fmla="*/ 0 h 1454727"/>
                <a:gd name="connsiteX7" fmla="*/ 519545 w 1454727"/>
                <a:gd name="connsiteY7" fmla="*/ 0 h 1454727"/>
                <a:gd name="connsiteX8" fmla="*/ 0 w 1454727"/>
                <a:gd name="connsiteY8" fmla="*/ 519545 h 1454727"/>
                <a:gd name="connsiteX9" fmla="*/ 519545 w 1454727"/>
                <a:gd name="connsiteY9" fmla="*/ 207818 h 1454727"/>
                <a:gd name="connsiteX10" fmla="*/ 935182 w 1454727"/>
                <a:gd name="connsiteY10" fmla="*/ 207818 h 1454727"/>
                <a:gd name="connsiteX11" fmla="*/ 1246909 w 1454727"/>
                <a:gd name="connsiteY11" fmla="*/ 519545 h 1454727"/>
                <a:gd name="connsiteX12" fmla="*/ 1246909 w 1454727"/>
                <a:gd name="connsiteY12" fmla="*/ 935182 h 1454727"/>
                <a:gd name="connsiteX13" fmla="*/ 935182 w 1454727"/>
                <a:gd name="connsiteY13" fmla="*/ 1246909 h 1454727"/>
                <a:gd name="connsiteX14" fmla="*/ 519545 w 1454727"/>
                <a:gd name="connsiteY14" fmla="*/ 1246909 h 1454727"/>
                <a:gd name="connsiteX15" fmla="*/ 207818 w 1454727"/>
                <a:gd name="connsiteY15" fmla="*/ 935182 h 1454727"/>
                <a:gd name="connsiteX16" fmla="*/ 207818 w 1454727"/>
                <a:gd name="connsiteY16" fmla="*/ 519545 h 1454727"/>
                <a:gd name="connsiteX17" fmla="*/ 519545 w 1454727"/>
                <a:gd name="connsiteY17" fmla="*/ 207818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4727" h="1454727">
                  <a:moveTo>
                    <a:pt x="0" y="519545"/>
                  </a:moveTo>
                  <a:lnTo>
                    <a:pt x="0" y="935182"/>
                  </a:lnTo>
                  <a:cubicBezTo>
                    <a:pt x="0" y="1222119"/>
                    <a:pt x="232608" y="1454727"/>
                    <a:pt x="519545" y="1454727"/>
                  </a:cubicBezTo>
                  <a:lnTo>
                    <a:pt x="935182" y="1454727"/>
                  </a:lnTo>
                  <a:cubicBezTo>
                    <a:pt x="1222119" y="1454727"/>
                    <a:pt x="1454727" y="1222119"/>
                    <a:pt x="1454727" y="935182"/>
                  </a:cubicBezTo>
                  <a:lnTo>
                    <a:pt x="1454727" y="519545"/>
                  </a:lnTo>
                  <a:cubicBezTo>
                    <a:pt x="1454727" y="232608"/>
                    <a:pt x="1222119" y="0"/>
                    <a:pt x="935182" y="0"/>
                  </a:cubicBezTo>
                  <a:lnTo>
                    <a:pt x="519545" y="0"/>
                  </a:lnTo>
                  <a:cubicBezTo>
                    <a:pt x="232608" y="0"/>
                    <a:pt x="0" y="232608"/>
                    <a:pt x="0" y="519545"/>
                  </a:cubicBezTo>
                  <a:moveTo>
                    <a:pt x="519545" y="207818"/>
                  </a:moveTo>
                  <a:lnTo>
                    <a:pt x="935182" y="207818"/>
                  </a:lnTo>
                  <a:cubicBezTo>
                    <a:pt x="1107344" y="207818"/>
                    <a:pt x="1246909" y="347383"/>
                    <a:pt x="1246909" y="519545"/>
                  </a:cubicBezTo>
                  <a:lnTo>
                    <a:pt x="1246909" y="935182"/>
                  </a:lnTo>
                  <a:cubicBezTo>
                    <a:pt x="1246909" y="1107344"/>
                    <a:pt x="1107344" y="1246909"/>
                    <a:pt x="935182" y="1246909"/>
                  </a:cubicBezTo>
                  <a:lnTo>
                    <a:pt x="519545" y="1246909"/>
                  </a:lnTo>
                  <a:cubicBezTo>
                    <a:pt x="347383" y="1246909"/>
                    <a:pt x="207818" y="1107344"/>
                    <a:pt x="207818" y="935182"/>
                  </a:cubicBezTo>
                  <a:lnTo>
                    <a:pt x="207818" y="519545"/>
                  </a:lnTo>
                  <a:cubicBezTo>
                    <a:pt x="207818" y="347383"/>
                    <a:pt x="347383" y="207818"/>
                    <a:pt x="519545" y="207818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8" name="Полилиния 1337">
              <a:extLst>
                <a:ext uri="{FF2B5EF4-FFF2-40B4-BE49-F238E27FC236}">
                  <a16:creationId xmlns:a16="http://schemas.microsoft.com/office/drawing/2014/main" id="{A4786564-7B33-1248-65A4-9A82F1765C7E}"/>
                </a:ext>
              </a:extLst>
            </p:cNvPr>
            <p:cNvSpPr/>
            <p:nvPr/>
          </p:nvSpPr>
          <p:spPr>
            <a:xfrm rot="-5400000">
              <a:off x="5368636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9" name="Полилиния 1338">
              <a:extLst>
                <a:ext uri="{FF2B5EF4-FFF2-40B4-BE49-F238E27FC236}">
                  <a16:creationId xmlns:a16="http://schemas.microsoft.com/office/drawing/2014/main" id="{7397D010-CC09-C049-061B-BA1ADA034045}"/>
                </a:ext>
              </a:extLst>
            </p:cNvPr>
            <p:cNvSpPr/>
            <p:nvPr/>
          </p:nvSpPr>
          <p:spPr>
            <a:xfrm rot="5400000">
              <a:off x="5784272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0" name="Полилиния 1339">
              <a:extLst>
                <a:ext uri="{FF2B5EF4-FFF2-40B4-BE49-F238E27FC236}">
                  <a16:creationId xmlns:a16="http://schemas.microsoft.com/office/drawing/2014/main" id="{687473D3-6BF3-7464-4AB6-54F1C8305E77}"/>
                </a:ext>
              </a:extLst>
            </p:cNvPr>
            <p:cNvSpPr/>
            <p:nvPr/>
          </p:nvSpPr>
          <p:spPr>
            <a:xfrm rot="-5400000">
              <a:off x="6199909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1" name="Полилиния 1340">
              <a:extLst>
                <a:ext uri="{FF2B5EF4-FFF2-40B4-BE49-F238E27FC236}">
                  <a16:creationId xmlns:a16="http://schemas.microsoft.com/office/drawing/2014/main" id="{A944CF0C-799E-5389-3612-F624578CBF9D}"/>
                </a:ext>
              </a:extLst>
            </p:cNvPr>
            <p:cNvSpPr/>
            <p:nvPr/>
          </p:nvSpPr>
          <p:spPr>
            <a:xfrm rot="-5400000">
              <a:off x="6823363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2" name="Полилиния 1341">
              <a:extLst>
                <a:ext uri="{FF2B5EF4-FFF2-40B4-BE49-F238E27FC236}">
                  <a16:creationId xmlns:a16="http://schemas.microsoft.com/office/drawing/2014/main" id="{7577DBF3-17D1-DC23-FBAF-0654CF3E0ED5}"/>
                </a:ext>
              </a:extLst>
            </p:cNvPr>
            <p:cNvSpPr/>
            <p:nvPr/>
          </p:nvSpPr>
          <p:spPr>
            <a:xfrm>
              <a:off x="7031181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3" name="Полилиния 1342">
              <a:extLst>
                <a:ext uri="{FF2B5EF4-FFF2-40B4-BE49-F238E27FC236}">
                  <a16:creationId xmlns:a16="http://schemas.microsoft.com/office/drawing/2014/main" id="{A8B4EDB7-B04C-8A08-3636-F2D74E108367}"/>
                </a:ext>
              </a:extLst>
            </p:cNvPr>
            <p:cNvSpPr/>
            <p:nvPr/>
          </p:nvSpPr>
          <p:spPr>
            <a:xfrm rot="5400000">
              <a:off x="7239000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4" name="Полилиния 1343">
              <a:extLst>
                <a:ext uri="{FF2B5EF4-FFF2-40B4-BE49-F238E27FC236}">
                  <a16:creationId xmlns:a16="http://schemas.microsoft.com/office/drawing/2014/main" id="{5BFAE585-1DB3-AF63-DF04-BC3501DDDCB5}"/>
                </a:ext>
              </a:extLst>
            </p:cNvPr>
            <p:cNvSpPr/>
            <p:nvPr/>
          </p:nvSpPr>
          <p:spPr>
            <a:xfrm rot="-5400000">
              <a:off x="5160818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5" name="Полилиния 1344">
              <a:extLst>
                <a:ext uri="{FF2B5EF4-FFF2-40B4-BE49-F238E27FC236}">
                  <a16:creationId xmlns:a16="http://schemas.microsoft.com/office/drawing/2014/main" id="{6A3AC3E5-4361-5CD8-8C6F-CDFCAC0195D8}"/>
                </a:ext>
              </a:extLst>
            </p:cNvPr>
            <p:cNvSpPr/>
            <p:nvPr/>
          </p:nvSpPr>
          <p:spPr>
            <a:xfrm>
              <a:off x="5368636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6" name="Полилиния 1345">
              <a:extLst>
                <a:ext uri="{FF2B5EF4-FFF2-40B4-BE49-F238E27FC236}">
                  <a16:creationId xmlns:a16="http://schemas.microsoft.com/office/drawing/2014/main" id="{5AB48F79-0108-C44E-5D71-B53B290D2F6B}"/>
                </a:ext>
              </a:extLst>
            </p:cNvPr>
            <p:cNvSpPr/>
            <p:nvPr/>
          </p:nvSpPr>
          <p:spPr>
            <a:xfrm>
              <a:off x="5576454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7" name="Полилиния 1346">
              <a:extLst>
                <a:ext uri="{FF2B5EF4-FFF2-40B4-BE49-F238E27FC236}">
                  <a16:creationId xmlns:a16="http://schemas.microsoft.com/office/drawing/2014/main" id="{BD931C10-3964-D970-48AA-3F000E36693A}"/>
                </a:ext>
              </a:extLst>
            </p:cNvPr>
            <p:cNvSpPr/>
            <p:nvPr/>
          </p:nvSpPr>
          <p:spPr>
            <a:xfrm>
              <a:off x="6199909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8" name="Полилиния 1347">
              <a:extLst>
                <a:ext uri="{FF2B5EF4-FFF2-40B4-BE49-F238E27FC236}">
                  <a16:creationId xmlns:a16="http://schemas.microsoft.com/office/drawing/2014/main" id="{B75B8B74-FFE4-F61C-8F09-BD7640259FB5}"/>
                </a:ext>
              </a:extLst>
            </p:cNvPr>
            <p:cNvSpPr/>
            <p:nvPr/>
          </p:nvSpPr>
          <p:spPr>
            <a:xfrm>
              <a:off x="6407727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9" name="Полилиния 1348">
              <a:extLst>
                <a:ext uri="{FF2B5EF4-FFF2-40B4-BE49-F238E27FC236}">
                  <a16:creationId xmlns:a16="http://schemas.microsoft.com/office/drawing/2014/main" id="{A12D7B6F-3CEB-3748-2215-BC83FCDCDC5B}"/>
                </a:ext>
              </a:extLst>
            </p:cNvPr>
            <p:cNvSpPr/>
            <p:nvPr/>
          </p:nvSpPr>
          <p:spPr>
            <a:xfrm>
              <a:off x="7031181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0" name="Полилиния 1349">
              <a:extLst>
                <a:ext uri="{FF2B5EF4-FFF2-40B4-BE49-F238E27FC236}">
                  <a16:creationId xmlns:a16="http://schemas.microsoft.com/office/drawing/2014/main" id="{321246F1-6BA8-5472-9DB2-261050D2D631}"/>
                </a:ext>
              </a:extLst>
            </p:cNvPr>
            <p:cNvSpPr/>
            <p:nvPr/>
          </p:nvSpPr>
          <p:spPr>
            <a:xfrm rot="-5400000">
              <a:off x="4745181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1" name="Полилиния 1350">
              <a:extLst>
                <a:ext uri="{FF2B5EF4-FFF2-40B4-BE49-F238E27FC236}">
                  <a16:creationId xmlns:a16="http://schemas.microsoft.com/office/drawing/2014/main" id="{0B5B24FB-51BE-7E32-6314-5891E48430F6}"/>
                </a:ext>
              </a:extLst>
            </p:cNvPr>
            <p:cNvSpPr/>
            <p:nvPr/>
          </p:nvSpPr>
          <p:spPr>
            <a:xfrm>
              <a:off x="4953000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2" name="Полилиния 1351">
              <a:extLst>
                <a:ext uri="{FF2B5EF4-FFF2-40B4-BE49-F238E27FC236}">
                  <a16:creationId xmlns:a16="http://schemas.microsoft.com/office/drawing/2014/main" id="{A16383F0-6686-7E95-C8A2-0D467C639271}"/>
                </a:ext>
              </a:extLst>
            </p:cNvPr>
            <p:cNvSpPr/>
            <p:nvPr/>
          </p:nvSpPr>
          <p:spPr>
            <a:xfrm>
              <a:off x="5160818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3" name="Полилиния 1352">
              <a:extLst>
                <a:ext uri="{FF2B5EF4-FFF2-40B4-BE49-F238E27FC236}">
                  <a16:creationId xmlns:a16="http://schemas.microsoft.com/office/drawing/2014/main" id="{8E4075B7-F2F8-5AD4-58A5-6EC9ABE0D6E6}"/>
                </a:ext>
              </a:extLst>
            </p:cNvPr>
            <p:cNvSpPr/>
            <p:nvPr/>
          </p:nvSpPr>
          <p:spPr>
            <a:xfrm>
              <a:off x="5368636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4" name="Полилиния 1353">
              <a:extLst>
                <a:ext uri="{FF2B5EF4-FFF2-40B4-BE49-F238E27FC236}">
                  <a16:creationId xmlns:a16="http://schemas.microsoft.com/office/drawing/2014/main" id="{B6D12EF7-B2AA-3638-0D24-FCB6C1BD5C70}"/>
                </a:ext>
              </a:extLst>
            </p:cNvPr>
            <p:cNvSpPr/>
            <p:nvPr/>
          </p:nvSpPr>
          <p:spPr>
            <a:xfrm>
              <a:off x="5576454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5" name="Полилиния 1354">
              <a:extLst>
                <a:ext uri="{FF2B5EF4-FFF2-40B4-BE49-F238E27FC236}">
                  <a16:creationId xmlns:a16="http://schemas.microsoft.com/office/drawing/2014/main" id="{B0387983-A110-F1C4-9B37-9B634A3DEBBE}"/>
                </a:ext>
              </a:extLst>
            </p:cNvPr>
            <p:cNvSpPr/>
            <p:nvPr/>
          </p:nvSpPr>
          <p:spPr>
            <a:xfrm rot="-5400000">
              <a:off x="5992090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6" name="Полилиния 1355">
              <a:extLst>
                <a:ext uri="{FF2B5EF4-FFF2-40B4-BE49-F238E27FC236}">
                  <a16:creationId xmlns:a16="http://schemas.microsoft.com/office/drawing/2014/main" id="{B5F147FB-6BDA-77F0-9FA6-61807E0C2F8E}"/>
                </a:ext>
              </a:extLst>
            </p:cNvPr>
            <p:cNvSpPr/>
            <p:nvPr/>
          </p:nvSpPr>
          <p:spPr>
            <a:xfrm>
              <a:off x="6199909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7" name="Полилиния 1356">
              <a:extLst>
                <a:ext uri="{FF2B5EF4-FFF2-40B4-BE49-F238E27FC236}">
                  <a16:creationId xmlns:a16="http://schemas.microsoft.com/office/drawing/2014/main" id="{7BC50074-727D-D3A7-963C-439D4FFBCA3F}"/>
                </a:ext>
              </a:extLst>
            </p:cNvPr>
            <p:cNvSpPr/>
            <p:nvPr/>
          </p:nvSpPr>
          <p:spPr>
            <a:xfrm>
              <a:off x="6407727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8" name="Полилиния 1357">
              <a:extLst>
                <a:ext uri="{FF2B5EF4-FFF2-40B4-BE49-F238E27FC236}">
                  <a16:creationId xmlns:a16="http://schemas.microsoft.com/office/drawing/2014/main" id="{7F2F7FA0-3E4C-494E-C606-EEB6DE75F37A}"/>
                </a:ext>
              </a:extLst>
            </p:cNvPr>
            <p:cNvSpPr/>
            <p:nvPr/>
          </p:nvSpPr>
          <p:spPr>
            <a:xfrm rot="5400000">
              <a:off x="6615545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9" name="Полилиния 1358">
              <a:extLst>
                <a:ext uri="{FF2B5EF4-FFF2-40B4-BE49-F238E27FC236}">
                  <a16:creationId xmlns:a16="http://schemas.microsoft.com/office/drawing/2014/main" id="{41A3B9AF-3E64-9E5D-FFD4-7B01B38154FC}"/>
                </a:ext>
              </a:extLst>
            </p:cNvPr>
            <p:cNvSpPr/>
            <p:nvPr/>
          </p:nvSpPr>
          <p:spPr>
            <a:xfrm>
              <a:off x="7031181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0" name="Полилиния 1359">
              <a:extLst>
                <a:ext uri="{FF2B5EF4-FFF2-40B4-BE49-F238E27FC236}">
                  <a16:creationId xmlns:a16="http://schemas.microsoft.com/office/drawing/2014/main" id="{35A997C1-819E-186B-2757-15EC93F85A8C}"/>
                </a:ext>
              </a:extLst>
            </p:cNvPr>
            <p:cNvSpPr/>
            <p:nvPr/>
          </p:nvSpPr>
          <p:spPr>
            <a:xfrm>
              <a:off x="7239000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1" name="Полилиния 1360">
              <a:extLst>
                <a:ext uri="{FF2B5EF4-FFF2-40B4-BE49-F238E27FC236}">
                  <a16:creationId xmlns:a16="http://schemas.microsoft.com/office/drawing/2014/main" id="{A393C694-F77B-5C28-3A68-12B8CF173B82}"/>
                </a:ext>
              </a:extLst>
            </p:cNvPr>
            <p:cNvSpPr/>
            <p:nvPr/>
          </p:nvSpPr>
          <p:spPr>
            <a:xfrm>
              <a:off x="5576454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2" name="Полилиния 1361">
              <a:extLst>
                <a:ext uri="{FF2B5EF4-FFF2-40B4-BE49-F238E27FC236}">
                  <a16:creationId xmlns:a16="http://schemas.microsoft.com/office/drawing/2014/main" id="{AE247830-2B9A-D8C4-6B73-ED384B279DB4}"/>
                </a:ext>
              </a:extLst>
            </p:cNvPr>
            <p:cNvSpPr/>
            <p:nvPr/>
          </p:nvSpPr>
          <p:spPr>
            <a:xfrm rot="5400000">
              <a:off x="6407727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3" name="Полилиния 1362">
              <a:extLst>
                <a:ext uri="{FF2B5EF4-FFF2-40B4-BE49-F238E27FC236}">
                  <a16:creationId xmlns:a16="http://schemas.microsoft.com/office/drawing/2014/main" id="{0EBF9E0C-D10D-C885-09E6-74218D3B7B19}"/>
                </a:ext>
              </a:extLst>
            </p:cNvPr>
            <p:cNvSpPr/>
            <p:nvPr/>
          </p:nvSpPr>
          <p:spPr>
            <a:xfrm rot="-5400000">
              <a:off x="6823363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4" name="Полилиния 1363">
              <a:extLst>
                <a:ext uri="{FF2B5EF4-FFF2-40B4-BE49-F238E27FC236}">
                  <a16:creationId xmlns:a16="http://schemas.microsoft.com/office/drawing/2014/main" id="{DA81783E-3063-54D4-D293-6BDC7F0B8FA1}"/>
                </a:ext>
              </a:extLst>
            </p:cNvPr>
            <p:cNvSpPr/>
            <p:nvPr/>
          </p:nvSpPr>
          <p:spPr>
            <a:xfrm rot="5400000">
              <a:off x="7239000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5" name="Полилиния 1364">
              <a:extLst>
                <a:ext uri="{FF2B5EF4-FFF2-40B4-BE49-F238E27FC236}">
                  <a16:creationId xmlns:a16="http://schemas.microsoft.com/office/drawing/2014/main" id="{BE8285D7-9688-0002-A801-A5EF4209768E}"/>
                </a:ext>
              </a:extLst>
            </p:cNvPr>
            <p:cNvSpPr/>
            <p:nvPr/>
          </p:nvSpPr>
          <p:spPr>
            <a:xfrm rot="-5400000">
              <a:off x="4745181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6" name="Полилиния 1365">
              <a:extLst>
                <a:ext uri="{FF2B5EF4-FFF2-40B4-BE49-F238E27FC236}">
                  <a16:creationId xmlns:a16="http://schemas.microsoft.com/office/drawing/2014/main" id="{A9387965-26E8-5C5F-4F02-471F754C5056}"/>
                </a:ext>
              </a:extLst>
            </p:cNvPr>
            <p:cNvSpPr/>
            <p:nvPr/>
          </p:nvSpPr>
          <p:spPr>
            <a:xfrm rot="5400000">
              <a:off x="4953000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7" name="Полилиния 1366">
              <a:extLst>
                <a:ext uri="{FF2B5EF4-FFF2-40B4-BE49-F238E27FC236}">
                  <a16:creationId xmlns:a16="http://schemas.microsoft.com/office/drawing/2014/main" id="{FDFE0BEB-AF30-B3DB-D6DE-FB6B2AA5DE70}"/>
                </a:ext>
              </a:extLst>
            </p:cNvPr>
            <p:cNvSpPr/>
            <p:nvPr/>
          </p:nvSpPr>
          <p:spPr>
            <a:xfrm>
              <a:off x="5576454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8" name="Полилиния 1367">
              <a:extLst>
                <a:ext uri="{FF2B5EF4-FFF2-40B4-BE49-F238E27FC236}">
                  <a16:creationId xmlns:a16="http://schemas.microsoft.com/office/drawing/2014/main" id="{5E6514BF-8044-4B36-455E-878CD46DD55E}"/>
                </a:ext>
              </a:extLst>
            </p:cNvPr>
            <p:cNvSpPr/>
            <p:nvPr/>
          </p:nvSpPr>
          <p:spPr>
            <a:xfrm>
              <a:off x="5784272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9" name="Полилиния 1368">
              <a:extLst>
                <a:ext uri="{FF2B5EF4-FFF2-40B4-BE49-F238E27FC236}">
                  <a16:creationId xmlns:a16="http://schemas.microsoft.com/office/drawing/2014/main" id="{653CC119-AD7E-06E0-E4D2-BBF4B0023728}"/>
                </a:ext>
              </a:extLst>
            </p:cNvPr>
            <p:cNvSpPr/>
            <p:nvPr/>
          </p:nvSpPr>
          <p:spPr>
            <a:xfrm rot="-5400000">
              <a:off x="6199909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0" name="Полилиния 1369">
              <a:extLst>
                <a:ext uri="{FF2B5EF4-FFF2-40B4-BE49-F238E27FC236}">
                  <a16:creationId xmlns:a16="http://schemas.microsoft.com/office/drawing/2014/main" id="{0B8526FF-92B6-65C3-C449-11FF63BEF0AC}"/>
                </a:ext>
              </a:extLst>
            </p:cNvPr>
            <p:cNvSpPr/>
            <p:nvPr/>
          </p:nvSpPr>
          <p:spPr>
            <a:xfrm rot="-5400000">
              <a:off x="6615545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1" name="Полилиния 1370">
              <a:extLst>
                <a:ext uri="{FF2B5EF4-FFF2-40B4-BE49-F238E27FC236}">
                  <a16:creationId xmlns:a16="http://schemas.microsoft.com/office/drawing/2014/main" id="{D03C8437-21F1-AA05-D499-70B722825288}"/>
                </a:ext>
              </a:extLst>
            </p:cNvPr>
            <p:cNvSpPr/>
            <p:nvPr/>
          </p:nvSpPr>
          <p:spPr>
            <a:xfrm rot="5400000">
              <a:off x="6823363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2" name="Полилиния 1371">
              <a:extLst>
                <a:ext uri="{FF2B5EF4-FFF2-40B4-BE49-F238E27FC236}">
                  <a16:creationId xmlns:a16="http://schemas.microsoft.com/office/drawing/2014/main" id="{F173FB5B-FE64-7DF8-67F2-B3A7AB2C180F}"/>
                </a:ext>
              </a:extLst>
            </p:cNvPr>
            <p:cNvSpPr/>
            <p:nvPr/>
          </p:nvSpPr>
          <p:spPr>
            <a:xfrm>
              <a:off x="4745181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3" name="Полилиния 1372">
              <a:extLst>
                <a:ext uri="{FF2B5EF4-FFF2-40B4-BE49-F238E27FC236}">
                  <a16:creationId xmlns:a16="http://schemas.microsoft.com/office/drawing/2014/main" id="{DEE2EC55-A65D-E640-DB14-3B7841D52451}"/>
                </a:ext>
              </a:extLst>
            </p:cNvPr>
            <p:cNvSpPr/>
            <p:nvPr/>
          </p:nvSpPr>
          <p:spPr>
            <a:xfrm rot="-5400000">
              <a:off x="5368636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4" name="Полилиния 1373">
              <a:extLst>
                <a:ext uri="{FF2B5EF4-FFF2-40B4-BE49-F238E27FC236}">
                  <a16:creationId xmlns:a16="http://schemas.microsoft.com/office/drawing/2014/main" id="{A5C0218C-88C3-FF5B-16AF-7DB5D23BA9A0}"/>
                </a:ext>
              </a:extLst>
            </p:cNvPr>
            <p:cNvSpPr/>
            <p:nvPr/>
          </p:nvSpPr>
          <p:spPr>
            <a:xfrm>
              <a:off x="5576454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5" name="Полилиния 1374">
              <a:extLst>
                <a:ext uri="{FF2B5EF4-FFF2-40B4-BE49-F238E27FC236}">
                  <a16:creationId xmlns:a16="http://schemas.microsoft.com/office/drawing/2014/main" id="{19CB5D3E-D7B5-7D05-4EE7-0C9401B105AE}"/>
                </a:ext>
              </a:extLst>
            </p:cNvPr>
            <p:cNvSpPr/>
            <p:nvPr/>
          </p:nvSpPr>
          <p:spPr>
            <a:xfrm>
              <a:off x="5784272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6" name="Полилиния 1375">
              <a:extLst>
                <a:ext uri="{FF2B5EF4-FFF2-40B4-BE49-F238E27FC236}">
                  <a16:creationId xmlns:a16="http://schemas.microsoft.com/office/drawing/2014/main" id="{B4E72EDB-BC03-30B1-7B52-F30E9E4546B4}"/>
                </a:ext>
              </a:extLst>
            </p:cNvPr>
            <p:cNvSpPr/>
            <p:nvPr/>
          </p:nvSpPr>
          <p:spPr>
            <a:xfrm>
              <a:off x="5992090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7" name="Полилиния 1376">
              <a:extLst>
                <a:ext uri="{FF2B5EF4-FFF2-40B4-BE49-F238E27FC236}">
                  <a16:creationId xmlns:a16="http://schemas.microsoft.com/office/drawing/2014/main" id="{B51C6265-8046-A6F4-BDD3-C2ED1BDC0282}"/>
                </a:ext>
              </a:extLst>
            </p:cNvPr>
            <p:cNvSpPr/>
            <p:nvPr/>
          </p:nvSpPr>
          <p:spPr>
            <a:xfrm rot="5400000">
              <a:off x="6199909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8" name="Полилиния 1377">
              <a:extLst>
                <a:ext uri="{FF2B5EF4-FFF2-40B4-BE49-F238E27FC236}">
                  <a16:creationId xmlns:a16="http://schemas.microsoft.com/office/drawing/2014/main" id="{9A3CF879-5315-0B98-BA2F-024CD41BEBC9}"/>
                </a:ext>
              </a:extLst>
            </p:cNvPr>
            <p:cNvSpPr/>
            <p:nvPr/>
          </p:nvSpPr>
          <p:spPr>
            <a:xfrm rot="5400000">
              <a:off x="6615545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9" name="Полилиния 1378">
              <a:extLst>
                <a:ext uri="{FF2B5EF4-FFF2-40B4-BE49-F238E27FC236}">
                  <a16:creationId xmlns:a16="http://schemas.microsoft.com/office/drawing/2014/main" id="{70BF2362-6207-EF4E-0E34-21AA83598A36}"/>
                </a:ext>
              </a:extLst>
            </p:cNvPr>
            <p:cNvSpPr/>
            <p:nvPr/>
          </p:nvSpPr>
          <p:spPr>
            <a:xfrm rot="-5400000">
              <a:off x="7031181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0" name="Полилиния 1379">
              <a:extLst>
                <a:ext uri="{FF2B5EF4-FFF2-40B4-BE49-F238E27FC236}">
                  <a16:creationId xmlns:a16="http://schemas.microsoft.com/office/drawing/2014/main" id="{0668C3E8-64E9-DDAB-807B-00661EC664CF}"/>
                </a:ext>
              </a:extLst>
            </p:cNvPr>
            <p:cNvSpPr/>
            <p:nvPr/>
          </p:nvSpPr>
          <p:spPr>
            <a:xfrm>
              <a:off x="7239000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1" name="Полилиния 1380">
              <a:extLst>
                <a:ext uri="{FF2B5EF4-FFF2-40B4-BE49-F238E27FC236}">
                  <a16:creationId xmlns:a16="http://schemas.microsoft.com/office/drawing/2014/main" id="{DA3435CE-D0F6-2E39-123C-CEEE3C2F542F}"/>
                </a:ext>
              </a:extLst>
            </p:cNvPr>
            <p:cNvSpPr/>
            <p:nvPr/>
          </p:nvSpPr>
          <p:spPr>
            <a:xfrm rot="5400000">
              <a:off x="4745181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2" name="Полилиния 1381">
              <a:extLst>
                <a:ext uri="{FF2B5EF4-FFF2-40B4-BE49-F238E27FC236}">
                  <a16:creationId xmlns:a16="http://schemas.microsoft.com/office/drawing/2014/main" id="{129B6053-3BAA-75A8-A301-74BE6DE9A642}"/>
                </a:ext>
              </a:extLst>
            </p:cNvPr>
            <p:cNvSpPr/>
            <p:nvPr/>
          </p:nvSpPr>
          <p:spPr>
            <a:xfrm rot="-5400000">
              <a:off x="5160818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3" name="Полилиния 1382">
              <a:extLst>
                <a:ext uri="{FF2B5EF4-FFF2-40B4-BE49-F238E27FC236}">
                  <a16:creationId xmlns:a16="http://schemas.microsoft.com/office/drawing/2014/main" id="{92DD3900-DD73-8706-C222-AFB766AE288C}"/>
                </a:ext>
              </a:extLst>
            </p:cNvPr>
            <p:cNvSpPr/>
            <p:nvPr/>
          </p:nvSpPr>
          <p:spPr>
            <a:xfrm>
              <a:off x="5576454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4" name="Полилиния 1383">
              <a:extLst>
                <a:ext uri="{FF2B5EF4-FFF2-40B4-BE49-F238E27FC236}">
                  <a16:creationId xmlns:a16="http://schemas.microsoft.com/office/drawing/2014/main" id="{B8DD53C8-801F-60B9-3D41-A7B40C7CD44C}"/>
                </a:ext>
              </a:extLst>
            </p:cNvPr>
            <p:cNvSpPr/>
            <p:nvPr/>
          </p:nvSpPr>
          <p:spPr>
            <a:xfrm rot="5400000">
              <a:off x="5992090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5" name="Полилиния 1384">
              <a:extLst>
                <a:ext uri="{FF2B5EF4-FFF2-40B4-BE49-F238E27FC236}">
                  <a16:creationId xmlns:a16="http://schemas.microsoft.com/office/drawing/2014/main" id="{BD6BC085-A07E-2387-0AD5-683D04DB2B97}"/>
                </a:ext>
              </a:extLst>
            </p:cNvPr>
            <p:cNvSpPr/>
            <p:nvPr/>
          </p:nvSpPr>
          <p:spPr>
            <a:xfrm rot="-5400000">
              <a:off x="6407727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6" name="Полилиния 1385">
              <a:extLst>
                <a:ext uri="{FF2B5EF4-FFF2-40B4-BE49-F238E27FC236}">
                  <a16:creationId xmlns:a16="http://schemas.microsoft.com/office/drawing/2014/main" id="{E9BA6D6C-8282-AB61-6984-23B9F0034B2F}"/>
                </a:ext>
              </a:extLst>
            </p:cNvPr>
            <p:cNvSpPr/>
            <p:nvPr/>
          </p:nvSpPr>
          <p:spPr>
            <a:xfrm rot="5400000">
              <a:off x="6823363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6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7" name="Полилиния 1386">
              <a:extLst>
                <a:ext uri="{FF2B5EF4-FFF2-40B4-BE49-F238E27FC236}">
                  <a16:creationId xmlns:a16="http://schemas.microsoft.com/office/drawing/2014/main" id="{5F048B76-5C28-2E9F-F6EF-23A614A11DC6}"/>
                </a:ext>
              </a:extLst>
            </p:cNvPr>
            <p:cNvSpPr/>
            <p:nvPr/>
          </p:nvSpPr>
          <p:spPr>
            <a:xfrm>
              <a:off x="7239000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8" name="Полилиния 1387">
              <a:extLst>
                <a:ext uri="{FF2B5EF4-FFF2-40B4-BE49-F238E27FC236}">
                  <a16:creationId xmlns:a16="http://schemas.microsoft.com/office/drawing/2014/main" id="{1E2EC15C-00CB-5261-9516-25E6818A523D}"/>
                </a:ext>
              </a:extLst>
            </p:cNvPr>
            <p:cNvSpPr/>
            <p:nvPr/>
          </p:nvSpPr>
          <p:spPr>
            <a:xfrm>
              <a:off x="5160818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9" name="Полилиния 1388">
              <a:extLst>
                <a:ext uri="{FF2B5EF4-FFF2-40B4-BE49-F238E27FC236}">
                  <a16:creationId xmlns:a16="http://schemas.microsoft.com/office/drawing/2014/main" id="{DD753C21-C554-FA58-1C86-9A5043D891CD}"/>
                </a:ext>
              </a:extLst>
            </p:cNvPr>
            <p:cNvSpPr/>
            <p:nvPr/>
          </p:nvSpPr>
          <p:spPr>
            <a:xfrm>
              <a:off x="5368636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0" name="Полилиния 1389">
              <a:extLst>
                <a:ext uri="{FF2B5EF4-FFF2-40B4-BE49-F238E27FC236}">
                  <a16:creationId xmlns:a16="http://schemas.microsoft.com/office/drawing/2014/main" id="{3BEE0541-4DF9-F6F6-2AC5-C6D0C3F172FF}"/>
                </a:ext>
              </a:extLst>
            </p:cNvPr>
            <p:cNvSpPr/>
            <p:nvPr/>
          </p:nvSpPr>
          <p:spPr>
            <a:xfrm>
              <a:off x="5576454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1" name="Полилиния 1390">
              <a:extLst>
                <a:ext uri="{FF2B5EF4-FFF2-40B4-BE49-F238E27FC236}">
                  <a16:creationId xmlns:a16="http://schemas.microsoft.com/office/drawing/2014/main" id="{C77C2F47-E02B-4618-F800-9BFE55E030CF}"/>
                </a:ext>
              </a:extLst>
            </p:cNvPr>
            <p:cNvSpPr/>
            <p:nvPr/>
          </p:nvSpPr>
          <p:spPr>
            <a:xfrm rot="-5400000">
              <a:off x="6199909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2" name="Полилиния 1391">
              <a:extLst>
                <a:ext uri="{FF2B5EF4-FFF2-40B4-BE49-F238E27FC236}">
                  <a16:creationId xmlns:a16="http://schemas.microsoft.com/office/drawing/2014/main" id="{8FC4380A-EE7C-1658-629C-05852155FDAA}"/>
                </a:ext>
              </a:extLst>
            </p:cNvPr>
            <p:cNvSpPr/>
            <p:nvPr/>
          </p:nvSpPr>
          <p:spPr>
            <a:xfrm>
              <a:off x="6407727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3" name="Полилиния 1392">
              <a:extLst>
                <a:ext uri="{FF2B5EF4-FFF2-40B4-BE49-F238E27FC236}">
                  <a16:creationId xmlns:a16="http://schemas.microsoft.com/office/drawing/2014/main" id="{9F0E9E2A-D1BF-2441-82D2-DBC9EA7EAF56}"/>
                </a:ext>
              </a:extLst>
            </p:cNvPr>
            <p:cNvSpPr/>
            <p:nvPr/>
          </p:nvSpPr>
          <p:spPr>
            <a:xfrm rot="-5400000">
              <a:off x="7031181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4" name="Полилиния 1393">
              <a:extLst>
                <a:ext uri="{FF2B5EF4-FFF2-40B4-BE49-F238E27FC236}">
                  <a16:creationId xmlns:a16="http://schemas.microsoft.com/office/drawing/2014/main" id="{A57B1BFF-2478-A84B-D20E-4E79F5B0775D}"/>
                </a:ext>
              </a:extLst>
            </p:cNvPr>
            <p:cNvSpPr/>
            <p:nvPr/>
          </p:nvSpPr>
          <p:spPr>
            <a:xfrm>
              <a:off x="7239000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5" name="Полилиния 1394">
              <a:extLst>
                <a:ext uri="{FF2B5EF4-FFF2-40B4-BE49-F238E27FC236}">
                  <a16:creationId xmlns:a16="http://schemas.microsoft.com/office/drawing/2014/main" id="{442B141D-5637-73C8-1829-1861002B2DB5}"/>
                </a:ext>
              </a:extLst>
            </p:cNvPr>
            <p:cNvSpPr/>
            <p:nvPr/>
          </p:nvSpPr>
          <p:spPr>
            <a:xfrm rot="5400000">
              <a:off x="3290454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6" name="Полилиния 1395">
              <a:extLst>
                <a:ext uri="{FF2B5EF4-FFF2-40B4-BE49-F238E27FC236}">
                  <a16:creationId xmlns:a16="http://schemas.microsoft.com/office/drawing/2014/main" id="{A0661E92-B62C-1CC0-4C1F-9298D47B244A}"/>
                </a:ext>
              </a:extLst>
            </p:cNvPr>
            <p:cNvSpPr/>
            <p:nvPr/>
          </p:nvSpPr>
          <p:spPr>
            <a:xfrm rot="-5400000">
              <a:off x="3913909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7" name="Полилиния 1396">
              <a:extLst>
                <a:ext uri="{FF2B5EF4-FFF2-40B4-BE49-F238E27FC236}">
                  <a16:creationId xmlns:a16="http://schemas.microsoft.com/office/drawing/2014/main" id="{C825B158-EAA6-B152-51AC-A4E82A05122B}"/>
                </a:ext>
              </a:extLst>
            </p:cNvPr>
            <p:cNvSpPr/>
            <p:nvPr/>
          </p:nvSpPr>
          <p:spPr>
            <a:xfrm rot="5400000">
              <a:off x="4329545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6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8" name="Полилиния 1397">
              <a:extLst>
                <a:ext uri="{FF2B5EF4-FFF2-40B4-BE49-F238E27FC236}">
                  <a16:creationId xmlns:a16="http://schemas.microsoft.com/office/drawing/2014/main" id="{C65CA438-C5C4-40FC-C5F7-E7BFF4C0F623}"/>
                </a:ext>
              </a:extLst>
            </p:cNvPr>
            <p:cNvSpPr/>
            <p:nvPr/>
          </p:nvSpPr>
          <p:spPr>
            <a:xfrm rot="-5400000">
              <a:off x="4745181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9" name="Полилиния 1398">
              <a:extLst>
                <a:ext uri="{FF2B5EF4-FFF2-40B4-BE49-F238E27FC236}">
                  <a16:creationId xmlns:a16="http://schemas.microsoft.com/office/drawing/2014/main" id="{F67E2A18-07AF-3A0F-D3AA-7AD813F54A6F}"/>
                </a:ext>
              </a:extLst>
            </p:cNvPr>
            <p:cNvSpPr/>
            <p:nvPr/>
          </p:nvSpPr>
          <p:spPr>
            <a:xfrm>
              <a:off x="4953000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0" name="Полилиния 1399">
              <a:extLst>
                <a:ext uri="{FF2B5EF4-FFF2-40B4-BE49-F238E27FC236}">
                  <a16:creationId xmlns:a16="http://schemas.microsoft.com/office/drawing/2014/main" id="{DD667F7C-5CDC-619E-6354-9D0B1A14D337}"/>
                </a:ext>
              </a:extLst>
            </p:cNvPr>
            <p:cNvSpPr/>
            <p:nvPr/>
          </p:nvSpPr>
          <p:spPr>
            <a:xfrm>
              <a:off x="5160818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1" name="Полилиния 1400">
              <a:extLst>
                <a:ext uri="{FF2B5EF4-FFF2-40B4-BE49-F238E27FC236}">
                  <a16:creationId xmlns:a16="http://schemas.microsoft.com/office/drawing/2014/main" id="{CD115A1A-3EAC-DEF7-24AC-F8D737171E95}"/>
                </a:ext>
              </a:extLst>
            </p:cNvPr>
            <p:cNvSpPr/>
            <p:nvPr/>
          </p:nvSpPr>
          <p:spPr>
            <a:xfrm>
              <a:off x="5368636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2" name="Полилиния 1401">
              <a:extLst>
                <a:ext uri="{FF2B5EF4-FFF2-40B4-BE49-F238E27FC236}">
                  <a16:creationId xmlns:a16="http://schemas.microsoft.com/office/drawing/2014/main" id="{811C8D98-93FB-F5F6-AA89-4F5734536E76}"/>
                </a:ext>
              </a:extLst>
            </p:cNvPr>
            <p:cNvSpPr/>
            <p:nvPr/>
          </p:nvSpPr>
          <p:spPr>
            <a:xfrm>
              <a:off x="5576454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3" name="Полилиния 1402">
              <a:extLst>
                <a:ext uri="{FF2B5EF4-FFF2-40B4-BE49-F238E27FC236}">
                  <a16:creationId xmlns:a16="http://schemas.microsoft.com/office/drawing/2014/main" id="{7846F90A-CA41-87B1-7361-2724258359BF}"/>
                </a:ext>
              </a:extLst>
            </p:cNvPr>
            <p:cNvSpPr/>
            <p:nvPr/>
          </p:nvSpPr>
          <p:spPr>
            <a:xfrm rot="5400000">
              <a:off x="5784272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4" name="Полилиния 1403">
              <a:extLst>
                <a:ext uri="{FF2B5EF4-FFF2-40B4-BE49-F238E27FC236}">
                  <a16:creationId xmlns:a16="http://schemas.microsoft.com/office/drawing/2014/main" id="{7283BDC9-50A2-BEDB-F8D3-008A759FAFF1}"/>
                </a:ext>
              </a:extLst>
            </p:cNvPr>
            <p:cNvSpPr/>
            <p:nvPr/>
          </p:nvSpPr>
          <p:spPr>
            <a:xfrm rot="5400000">
              <a:off x="6407727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5" name="Полилиния 1404">
              <a:extLst>
                <a:ext uri="{FF2B5EF4-FFF2-40B4-BE49-F238E27FC236}">
                  <a16:creationId xmlns:a16="http://schemas.microsoft.com/office/drawing/2014/main" id="{2414B069-1BE9-3AFF-D1B2-926F57AF4254}"/>
                </a:ext>
              </a:extLst>
            </p:cNvPr>
            <p:cNvSpPr/>
            <p:nvPr/>
          </p:nvSpPr>
          <p:spPr>
            <a:xfrm>
              <a:off x="7239000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6" name="Полилиния 1405">
              <a:extLst>
                <a:ext uri="{FF2B5EF4-FFF2-40B4-BE49-F238E27FC236}">
                  <a16:creationId xmlns:a16="http://schemas.microsoft.com/office/drawing/2014/main" id="{2BCD56FD-740F-D88B-0722-36A8F3197370}"/>
                </a:ext>
              </a:extLst>
            </p:cNvPr>
            <p:cNvSpPr/>
            <p:nvPr/>
          </p:nvSpPr>
          <p:spPr>
            <a:xfrm rot="5400000">
              <a:off x="7446818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7" name="Полилиния 1406">
              <a:extLst>
                <a:ext uri="{FF2B5EF4-FFF2-40B4-BE49-F238E27FC236}">
                  <a16:creationId xmlns:a16="http://schemas.microsoft.com/office/drawing/2014/main" id="{6E5FE8AA-7311-3AC9-4DCB-BEE058D9311E}"/>
                </a:ext>
              </a:extLst>
            </p:cNvPr>
            <p:cNvSpPr/>
            <p:nvPr/>
          </p:nvSpPr>
          <p:spPr>
            <a:xfrm rot="-5400000">
              <a:off x="7862454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8" name="Полилиния 1407">
              <a:extLst>
                <a:ext uri="{FF2B5EF4-FFF2-40B4-BE49-F238E27FC236}">
                  <a16:creationId xmlns:a16="http://schemas.microsoft.com/office/drawing/2014/main" id="{8425BF87-BCC4-BAA4-3661-1F0ED7D26A39}"/>
                </a:ext>
              </a:extLst>
            </p:cNvPr>
            <p:cNvSpPr/>
            <p:nvPr/>
          </p:nvSpPr>
          <p:spPr>
            <a:xfrm>
              <a:off x="8070272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9" name="Полилиния 1408">
              <a:extLst>
                <a:ext uri="{FF2B5EF4-FFF2-40B4-BE49-F238E27FC236}">
                  <a16:creationId xmlns:a16="http://schemas.microsoft.com/office/drawing/2014/main" id="{AD5F48CD-6441-EDA4-C156-9D06E80F39A8}"/>
                </a:ext>
              </a:extLst>
            </p:cNvPr>
            <p:cNvSpPr/>
            <p:nvPr/>
          </p:nvSpPr>
          <p:spPr>
            <a:xfrm rot="-5400000">
              <a:off x="8485909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0" name="Полилиния 1409">
              <a:extLst>
                <a:ext uri="{FF2B5EF4-FFF2-40B4-BE49-F238E27FC236}">
                  <a16:creationId xmlns:a16="http://schemas.microsoft.com/office/drawing/2014/main" id="{78211EFE-8E58-26A8-38F1-C972DF95491E}"/>
                </a:ext>
              </a:extLst>
            </p:cNvPr>
            <p:cNvSpPr/>
            <p:nvPr/>
          </p:nvSpPr>
          <p:spPr>
            <a:xfrm rot="-5400000">
              <a:off x="3082636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1" name="Полилиния 1410">
              <a:extLst>
                <a:ext uri="{FF2B5EF4-FFF2-40B4-BE49-F238E27FC236}">
                  <a16:creationId xmlns:a16="http://schemas.microsoft.com/office/drawing/2014/main" id="{83A6A215-C392-F1DF-2739-254CBE4396C2}"/>
                </a:ext>
              </a:extLst>
            </p:cNvPr>
            <p:cNvSpPr/>
            <p:nvPr/>
          </p:nvSpPr>
          <p:spPr>
            <a:xfrm rot="-5400000">
              <a:off x="3498272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2" name="Полилиния 1411">
              <a:extLst>
                <a:ext uri="{FF2B5EF4-FFF2-40B4-BE49-F238E27FC236}">
                  <a16:creationId xmlns:a16="http://schemas.microsoft.com/office/drawing/2014/main" id="{455F2FC3-F5D1-8C10-CB93-0D336BB6E65D}"/>
                </a:ext>
              </a:extLst>
            </p:cNvPr>
            <p:cNvSpPr/>
            <p:nvPr/>
          </p:nvSpPr>
          <p:spPr>
            <a:xfrm>
              <a:off x="3913909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3" name="Полилиния 1412">
              <a:extLst>
                <a:ext uri="{FF2B5EF4-FFF2-40B4-BE49-F238E27FC236}">
                  <a16:creationId xmlns:a16="http://schemas.microsoft.com/office/drawing/2014/main" id="{38935F1F-245A-36C1-E22B-FA2F8593790C}"/>
                </a:ext>
              </a:extLst>
            </p:cNvPr>
            <p:cNvSpPr/>
            <p:nvPr/>
          </p:nvSpPr>
          <p:spPr>
            <a:xfrm rot="5400000">
              <a:off x="4121727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4" name="Полилиния 1413">
              <a:extLst>
                <a:ext uri="{FF2B5EF4-FFF2-40B4-BE49-F238E27FC236}">
                  <a16:creationId xmlns:a16="http://schemas.microsoft.com/office/drawing/2014/main" id="{0C8B9DE4-0445-8C2D-2BAC-8B8460FD926E}"/>
                </a:ext>
              </a:extLst>
            </p:cNvPr>
            <p:cNvSpPr/>
            <p:nvPr/>
          </p:nvSpPr>
          <p:spPr>
            <a:xfrm rot="-5400000">
              <a:off x="4537363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5" name="Полилиния 1414">
              <a:extLst>
                <a:ext uri="{FF2B5EF4-FFF2-40B4-BE49-F238E27FC236}">
                  <a16:creationId xmlns:a16="http://schemas.microsoft.com/office/drawing/2014/main" id="{BAFA29CB-1062-26E0-A5F2-09C9C709C8C0}"/>
                </a:ext>
              </a:extLst>
            </p:cNvPr>
            <p:cNvSpPr/>
            <p:nvPr/>
          </p:nvSpPr>
          <p:spPr>
            <a:xfrm rot="-5400000">
              <a:off x="6615545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6" name="Полилиния 1415">
              <a:extLst>
                <a:ext uri="{FF2B5EF4-FFF2-40B4-BE49-F238E27FC236}">
                  <a16:creationId xmlns:a16="http://schemas.microsoft.com/office/drawing/2014/main" id="{FE14404E-AF28-12CC-BD42-504B0CA0A1E8}"/>
                </a:ext>
              </a:extLst>
            </p:cNvPr>
            <p:cNvSpPr/>
            <p:nvPr/>
          </p:nvSpPr>
          <p:spPr>
            <a:xfrm>
              <a:off x="6823363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7" name="Полилиния 1416">
              <a:extLst>
                <a:ext uri="{FF2B5EF4-FFF2-40B4-BE49-F238E27FC236}">
                  <a16:creationId xmlns:a16="http://schemas.microsoft.com/office/drawing/2014/main" id="{254FAA25-BDE1-89DA-8FB3-AAC1513D16A4}"/>
                </a:ext>
              </a:extLst>
            </p:cNvPr>
            <p:cNvSpPr/>
            <p:nvPr/>
          </p:nvSpPr>
          <p:spPr>
            <a:xfrm rot="5400000">
              <a:off x="7654636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8" name="Полилиния 1417">
              <a:extLst>
                <a:ext uri="{FF2B5EF4-FFF2-40B4-BE49-F238E27FC236}">
                  <a16:creationId xmlns:a16="http://schemas.microsoft.com/office/drawing/2014/main" id="{FA3A9BB0-5BA5-CB51-A719-23F6094862DB}"/>
                </a:ext>
              </a:extLst>
            </p:cNvPr>
            <p:cNvSpPr/>
            <p:nvPr/>
          </p:nvSpPr>
          <p:spPr>
            <a:xfrm rot="5400000">
              <a:off x="8070272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9" name="Полилиния 1418">
              <a:extLst>
                <a:ext uri="{FF2B5EF4-FFF2-40B4-BE49-F238E27FC236}">
                  <a16:creationId xmlns:a16="http://schemas.microsoft.com/office/drawing/2014/main" id="{75EA5D65-488F-B2A2-A8BD-DDB0B60C8CDC}"/>
                </a:ext>
              </a:extLst>
            </p:cNvPr>
            <p:cNvSpPr/>
            <p:nvPr/>
          </p:nvSpPr>
          <p:spPr>
            <a:xfrm>
              <a:off x="8485909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0" name="Полилиния 1419">
              <a:extLst>
                <a:ext uri="{FF2B5EF4-FFF2-40B4-BE49-F238E27FC236}">
                  <a16:creationId xmlns:a16="http://schemas.microsoft.com/office/drawing/2014/main" id="{9965C91B-4EA1-2B33-72A9-E4455E965508}"/>
                </a:ext>
              </a:extLst>
            </p:cNvPr>
            <p:cNvSpPr/>
            <p:nvPr/>
          </p:nvSpPr>
          <p:spPr>
            <a:xfrm>
              <a:off x="8693727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1" name="Полилиния 1420">
              <a:extLst>
                <a:ext uri="{FF2B5EF4-FFF2-40B4-BE49-F238E27FC236}">
                  <a16:creationId xmlns:a16="http://schemas.microsoft.com/office/drawing/2014/main" id="{297EEDF3-9224-CEE1-E8FC-199671D1FD74}"/>
                </a:ext>
              </a:extLst>
            </p:cNvPr>
            <p:cNvSpPr/>
            <p:nvPr/>
          </p:nvSpPr>
          <p:spPr>
            <a:xfrm>
              <a:off x="8901545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2" name="Полилиния 1421">
              <a:extLst>
                <a:ext uri="{FF2B5EF4-FFF2-40B4-BE49-F238E27FC236}">
                  <a16:creationId xmlns:a16="http://schemas.microsoft.com/office/drawing/2014/main" id="{E36ABED1-9206-F2AE-4EB5-396441445B8E}"/>
                </a:ext>
              </a:extLst>
            </p:cNvPr>
            <p:cNvSpPr/>
            <p:nvPr/>
          </p:nvSpPr>
          <p:spPr>
            <a:xfrm>
              <a:off x="3082636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3" name="Полилиния 1422">
              <a:extLst>
                <a:ext uri="{FF2B5EF4-FFF2-40B4-BE49-F238E27FC236}">
                  <a16:creationId xmlns:a16="http://schemas.microsoft.com/office/drawing/2014/main" id="{1DC8890C-A30B-A4C0-A259-52FFA60EAAC0}"/>
                </a:ext>
              </a:extLst>
            </p:cNvPr>
            <p:cNvSpPr/>
            <p:nvPr/>
          </p:nvSpPr>
          <p:spPr>
            <a:xfrm>
              <a:off x="3290454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4" name="Полилиния 1423">
              <a:extLst>
                <a:ext uri="{FF2B5EF4-FFF2-40B4-BE49-F238E27FC236}">
                  <a16:creationId xmlns:a16="http://schemas.microsoft.com/office/drawing/2014/main" id="{4D7147CF-EA02-7E54-6DFC-5A65778CBE75}"/>
                </a:ext>
              </a:extLst>
            </p:cNvPr>
            <p:cNvSpPr/>
            <p:nvPr/>
          </p:nvSpPr>
          <p:spPr>
            <a:xfrm>
              <a:off x="3498272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5" name="Полилиния 1424">
              <a:extLst>
                <a:ext uri="{FF2B5EF4-FFF2-40B4-BE49-F238E27FC236}">
                  <a16:creationId xmlns:a16="http://schemas.microsoft.com/office/drawing/2014/main" id="{307FABB0-17BC-4F2E-0968-FA78B748CF7F}"/>
                </a:ext>
              </a:extLst>
            </p:cNvPr>
            <p:cNvSpPr/>
            <p:nvPr/>
          </p:nvSpPr>
          <p:spPr>
            <a:xfrm rot="5400000">
              <a:off x="3706090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6" name="Полилиния 1425">
              <a:extLst>
                <a:ext uri="{FF2B5EF4-FFF2-40B4-BE49-F238E27FC236}">
                  <a16:creationId xmlns:a16="http://schemas.microsoft.com/office/drawing/2014/main" id="{63893DF3-B96A-B5A2-5B6A-C81254D0CF11}"/>
                </a:ext>
              </a:extLst>
            </p:cNvPr>
            <p:cNvSpPr/>
            <p:nvPr/>
          </p:nvSpPr>
          <p:spPr>
            <a:xfrm rot="-5400000">
              <a:off x="4329545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7" name="Полилиния 1426">
              <a:extLst>
                <a:ext uri="{FF2B5EF4-FFF2-40B4-BE49-F238E27FC236}">
                  <a16:creationId xmlns:a16="http://schemas.microsoft.com/office/drawing/2014/main" id="{087CF499-BFFD-40CD-62D5-E8DCCB030A93}"/>
                </a:ext>
              </a:extLst>
            </p:cNvPr>
            <p:cNvSpPr/>
            <p:nvPr/>
          </p:nvSpPr>
          <p:spPr>
            <a:xfrm>
              <a:off x="4537363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8" name="Полилиния 1427">
              <a:extLst>
                <a:ext uri="{FF2B5EF4-FFF2-40B4-BE49-F238E27FC236}">
                  <a16:creationId xmlns:a16="http://schemas.microsoft.com/office/drawing/2014/main" id="{7192C67D-2AC9-C418-72D7-4837307851BC}"/>
                </a:ext>
              </a:extLst>
            </p:cNvPr>
            <p:cNvSpPr/>
            <p:nvPr/>
          </p:nvSpPr>
          <p:spPr>
            <a:xfrm>
              <a:off x="4745181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9" name="Полилиния 1428">
              <a:extLst>
                <a:ext uri="{FF2B5EF4-FFF2-40B4-BE49-F238E27FC236}">
                  <a16:creationId xmlns:a16="http://schemas.microsoft.com/office/drawing/2014/main" id="{B636C8C1-2AAF-DA06-BE6B-7292056C2D48}"/>
                </a:ext>
              </a:extLst>
            </p:cNvPr>
            <p:cNvSpPr/>
            <p:nvPr/>
          </p:nvSpPr>
          <p:spPr>
            <a:xfrm>
              <a:off x="4953000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0" name="Полилиния 1429">
              <a:extLst>
                <a:ext uri="{FF2B5EF4-FFF2-40B4-BE49-F238E27FC236}">
                  <a16:creationId xmlns:a16="http://schemas.microsoft.com/office/drawing/2014/main" id="{974907C9-1AEC-FE56-37F5-A202CF5604E6}"/>
                </a:ext>
              </a:extLst>
            </p:cNvPr>
            <p:cNvSpPr/>
            <p:nvPr/>
          </p:nvSpPr>
          <p:spPr>
            <a:xfrm rot="5400000">
              <a:off x="5160818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1" name="Полилиния 1430">
              <a:extLst>
                <a:ext uri="{FF2B5EF4-FFF2-40B4-BE49-F238E27FC236}">
                  <a16:creationId xmlns:a16="http://schemas.microsoft.com/office/drawing/2014/main" id="{47A7450A-6748-543B-A377-275CD9C625BD}"/>
                </a:ext>
              </a:extLst>
            </p:cNvPr>
            <p:cNvSpPr/>
            <p:nvPr/>
          </p:nvSpPr>
          <p:spPr>
            <a:xfrm rot="5400000">
              <a:off x="6407727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2" name="Полилиния 1431">
              <a:extLst>
                <a:ext uri="{FF2B5EF4-FFF2-40B4-BE49-F238E27FC236}">
                  <a16:creationId xmlns:a16="http://schemas.microsoft.com/office/drawing/2014/main" id="{71AFA3D0-E355-81B3-8C81-49637FE63AC8}"/>
                </a:ext>
              </a:extLst>
            </p:cNvPr>
            <p:cNvSpPr/>
            <p:nvPr/>
          </p:nvSpPr>
          <p:spPr>
            <a:xfrm>
              <a:off x="6823363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3" name="Полилиния 1432">
              <a:extLst>
                <a:ext uri="{FF2B5EF4-FFF2-40B4-BE49-F238E27FC236}">
                  <a16:creationId xmlns:a16="http://schemas.microsoft.com/office/drawing/2014/main" id="{804332FB-F27B-E4BC-842A-3367BF6280F0}"/>
                </a:ext>
              </a:extLst>
            </p:cNvPr>
            <p:cNvSpPr/>
            <p:nvPr/>
          </p:nvSpPr>
          <p:spPr>
            <a:xfrm rot="-5400000">
              <a:off x="7239000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4" name="Полилиния 1433">
              <a:extLst>
                <a:ext uri="{FF2B5EF4-FFF2-40B4-BE49-F238E27FC236}">
                  <a16:creationId xmlns:a16="http://schemas.microsoft.com/office/drawing/2014/main" id="{15750D5E-DDF8-2CAF-A110-F588075F61E4}"/>
                </a:ext>
              </a:extLst>
            </p:cNvPr>
            <p:cNvSpPr/>
            <p:nvPr/>
          </p:nvSpPr>
          <p:spPr>
            <a:xfrm>
              <a:off x="7446818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5" name="Полилиния 1434">
              <a:extLst>
                <a:ext uri="{FF2B5EF4-FFF2-40B4-BE49-F238E27FC236}">
                  <a16:creationId xmlns:a16="http://schemas.microsoft.com/office/drawing/2014/main" id="{46E3EAEC-D25B-E476-3CA5-076CBCC86CC7}"/>
                </a:ext>
              </a:extLst>
            </p:cNvPr>
            <p:cNvSpPr/>
            <p:nvPr/>
          </p:nvSpPr>
          <p:spPr>
            <a:xfrm>
              <a:off x="8901545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6" name="Полилиния 1435">
              <a:extLst>
                <a:ext uri="{FF2B5EF4-FFF2-40B4-BE49-F238E27FC236}">
                  <a16:creationId xmlns:a16="http://schemas.microsoft.com/office/drawing/2014/main" id="{07F4531B-B3D7-9AB7-F6CB-3CBDAE51D1FC}"/>
                </a:ext>
              </a:extLst>
            </p:cNvPr>
            <p:cNvSpPr/>
            <p:nvPr/>
          </p:nvSpPr>
          <p:spPr>
            <a:xfrm>
              <a:off x="3290454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7" name="Полилиния 1436">
              <a:extLst>
                <a:ext uri="{FF2B5EF4-FFF2-40B4-BE49-F238E27FC236}">
                  <a16:creationId xmlns:a16="http://schemas.microsoft.com/office/drawing/2014/main" id="{7A5836C8-DE2B-4BDF-B308-529DB9417FF9}"/>
                </a:ext>
              </a:extLst>
            </p:cNvPr>
            <p:cNvSpPr/>
            <p:nvPr/>
          </p:nvSpPr>
          <p:spPr>
            <a:xfrm rot="5400000">
              <a:off x="3498272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8" name="Полилиния 1437">
              <a:extLst>
                <a:ext uri="{FF2B5EF4-FFF2-40B4-BE49-F238E27FC236}">
                  <a16:creationId xmlns:a16="http://schemas.microsoft.com/office/drawing/2014/main" id="{8E09841A-3AE9-DDCD-C4EC-2829F5546839}"/>
                </a:ext>
              </a:extLst>
            </p:cNvPr>
            <p:cNvSpPr/>
            <p:nvPr/>
          </p:nvSpPr>
          <p:spPr>
            <a:xfrm rot="-5400000">
              <a:off x="3913909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9" name="Полилиния 1438">
              <a:extLst>
                <a:ext uri="{FF2B5EF4-FFF2-40B4-BE49-F238E27FC236}">
                  <a16:creationId xmlns:a16="http://schemas.microsoft.com/office/drawing/2014/main" id="{6862A2AE-1D91-AFB8-6B59-A50916FA49A8}"/>
                </a:ext>
              </a:extLst>
            </p:cNvPr>
            <p:cNvSpPr/>
            <p:nvPr/>
          </p:nvSpPr>
          <p:spPr>
            <a:xfrm>
              <a:off x="4745181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0" name="Полилиния 1439">
              <a:extLst>
                <a:ext uri="{FF2B5EF4-FFF2-40B4-BE49-F238E27FC236}">
                  <a16:creationId xmlns:a16="http://schemas.microsoft.com/office/drawing/2014/main" id="{0FB5C030-7469-D683-03EE-F705E727CC8D}"/>
                </a:ext>
              </a:extLst>
            </p:cNvPr>
            <p:cNvSpPr/>
            <p:nvPr/>
          </p:nvSpPr>
          <p:spPr>
            <a:xfrm rot="5400000">
              <a:off x="4953000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1" name="Полилиния 1440">
              <a:extLst>
                <a:ext uri="{FF2B5EF4-FFF2-40B4-BE49-F238E27FC236}">
                  <a16:creationId xmlns:a16="http://schemas.microsoft.com/office/drawing/2014/main" id="{66AB5111-FDA7-30EC-EA94-D536F16359B7}"/>
                </a:ext>
              </a:extLst>
            </p:cNvPr>
            <p:cNvSpPr/>
            <p:nvPr/>
          </p:nvSpPr>
          <p:spPr>
            <a:xfrm rot="5400000">
              <a:off x="5368636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2" name="Полилиния 1441">
              <a:extLst>
                <a:ext uri="{FF2B5EF4-FFF2-40B4-BE49-F238E27FC236}">
                  <a16:creationId xmlns:a16="http://schemas.microsoft.com/office/drawing/2014/main" id="{EEC056B1-ACB9-210B-FEA5-30C2F1CFC7EB}"/>
                </a:ext>
              </a:extLst>
            </p:cNvPr>
            <p:cNvSpPr/>
            <p:nvPr/>
          </p:nvSpPr>
          <p:spPr>
            <a:xfrm rot="-5400000">
              <a:off x="6199909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3" name="Полилиния 1442">
              <a:extLst>
                <a:ext uri="{FF2B5EF4-FFF2-40B4-BE49-F238E27FC236}">
                  <a16:creationId xmlns:a16="http://schemas.microsoft.com/office/drawing/2014/main" id="{46E1E0F6-A55B-8555-7316-4EB88D93BF17}"/>
                </a:ext>
              </a:extLst>
            </p:cNvPr>
            <p:cNvSpPr/>
            <p:nvPr/>
          </p:nvSpPr>
          <p:spPr>
            <a:xfrm rot="-5400000">
              <a:off x="6615545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4" name="Полилиния 1443">
              <a:extLst>
                <a:ext uri="{FF2B5EF4-FFF2-40B4-BE49-F238E27FC236}">
                  <a16:creationId xmlns:a16="http://schemas.microsoft.com/office/drawing/2014/main" id="{BFB9FE4A-58A5-88CD-B318-FF86FB5F76C0}"/>
                </a:ext>
              </a:extLst>
            </p:cNvPr>
            <p:cNvSpPr/>
            <p:nvPr/>
          </p:nvSpPr>
          <p:spPr>
            <a:xfrm>
              <a:off x="6823363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5" name="Полилиния 1444">
              <a:extLst>
                <a:ext uri="{FF2B5EF4-FFF2-40B4-BE49-F238E27FC236}">
                  <a16:creationId xmlns:a16="http://schemas.microsoft.com/office/drawing/2014/main" id="{2979C0DF-96BF-807B-546F-436DF3B5DC18}"/>
                </a:ext>
              </a:extLst>
            </p:cNvPr>
            <p:cNvSpPr/>
            <p:nvPr/>
          </p:nvSpPr>
          <p:spPr>
            <a:xfrm>
              <a:off x="7031181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6" name="Полилиния 1445">
              <a:extLst>
                <a:ext uri="{FF2B5EF4-FFF2-40B4-BE49-F238E27FC236}">
                  <a16:creationId xmlns:a16="http://schemas.microsoft.com/office/drawing/2014/main" id="{87CBF99E-FD67-B8EC-27DE-BDFA61486BE7}"/>
                </a:ext>
              </a:extLst>
            </p:cNvPr>
            <p:cNvSpPr/>
            <p:nvPr/>
          </p:nvSpPr>
          <p:spPr>
            <a:xfrm>
              <a:off x="7239000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7" name="Полилиния 1446">
              <a:extLst>
                <a:ext uri="{FF2B5EF4-FFF2-40B4-BE49-F238E27FC236}">
                  <a16:creationId xmlns:a16="http://schemas.microsoft.com/office/drawing/2014/main" id="{E54A71A7-6830-1FFB-F90A-012B6F7AA466}"/>
                </a:ext>
              </a:extLst>
            </p:cNvPr>
            <p:cNvSpPr/>
            <p:nvPr/>
          </p:nvSpPr>
          <p:spPr>
            <a:xfrm rot="5400000">
              <a:off x="7446818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8" name="Полилиния 1447">
              <a:extLst>
                <a:ext uri="{FF2B5EF4-FFF2-40B4-BE49-F238E27FC236}">
                  <a16:creationId xmlns:a16="http://schemas.microsoft.com/office/drawing/2014/main" id="{4BA6573C-114D-C258-8F9D-5F90AD4C8E32}"/>
                </a:ext>
              </a:extLst>
            </p:cNvPr>
            <p:cNvSpPr/>
            <p:nvPr/>
          </p:nvSpPr>
          <p:spPr>
            <a:xfrm rot="5400000">
              <a:off x="8070272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9" name="Полилиния 1448">
              <a:extLst>
                <a:ext uri="{FF2B5EF4-FFF2-40B4-BE49-F238E27FC236}">
                  <a16:creationId xmlns:a16="http://schemas.microsoft.com/office/drawing/2014/main" id="{A0D659D1-AEAA-1671-5E76-9C41162D1AF0}"/>
                </a:ext>
              </a:extLst>
            </p:cNvPr>
            <p:cNvSpPr/>
            <p:nvPr/>
          </p:nvSpPr>
          <p:spPr>
            <a:xfrm rot="-5400000">
              <a:off x="8693727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0" name="Полилиния 1449">
              <a:extLst>
                <a:ext uri="{FF2B5EF4-FFF2-40B4-BE49-F238E27FC236}">
                  <a16:creationId xmlns:a16="http://schemas.microsoft.com/office/drawing/2014/main" id="{E7916A28-729A-C079-5121-2E294FEBA473}"/>
                </a:ext>
              </a:extLst>
            </p:cNvPr>
            <p:cNvSpPr/>
            <p:nvPr/>
          </p:nvSpPr>
          <p:spPr>
            <a:xfrm>
              <a:off x="8901545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1" name="Полилиния 1450">
              <a:extLst>
                <a:ext uri="{FF2B5EF4-FFF2-40B4-BE49-F238E27FC236}">
                  <a16:creationId xmlns:a16="http://schemas.microsoft.com/office/drawing/2014/main" id="{91799A53-6153-8A56-F043-7CAB6D6F0134}"/>
                </a:ext>
              </a:extLst>
            </p:cNvPr>
            <p:cNvSpPr/>
            <p:nvPr/>
          </p:nvSpPr>
          <p:spPr>
            <a:xfrm rot="-5400000">
              <a:off x="3082636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2" name="Полилиния 1451">
              <a:extLst>
                <a:ext uri="{FF2B5EF4-FFF2-40B4-BE49-F238E27FC236}">
                  <a16:creationId xmlns:a16="http://schemas.microsoft.com/office/drawing/2014/main" id="{4AEB0F54-A669-DB6C-42BF-C8E7EE72CFF4}"/>
                </a:ext>
              </a:extLst>
            </p:cNvPr>
            <p:cNvSpPr/>
            <p:nvPr/>
          </p:nvSpPr>
          <p:spPr>
            <a:xfrm>
              <a:off x="3290454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3" name="Полилиния 1452">
              <a:extLst>
                <a:ext uri="{FF2B5EF4-FFF2-40B4-BE49-F238E27FC236}">
                  <a16:creationId xmlns:a16="http://schemas.microsoft.com/office/drawing/2014/main" id="{F1D827F1-1D4B-221A-854A-E9A46DCA4847}"/>
                </a:ext>
              </a:extLst>
            </p:cNvPr>
            <p:cNvSpPr/>
            <p:nvPr/>
          </p:nvSpPr>
          <p:spPr>
            <a:xfrm>
              <a:off x="3913909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4" name="Полилиния 1453">
              <a:extLst>
                <a:ext uri="{FF2B5EF4-FFF2-40B4-BE49-F238E27FC236}">
                  <a16:creationId xmlns:a16="http://schemas.microsoft.com/office/drawing/2014/main" id="{0537FD22-320F-A702-0DB3-A4DF6F048D7E}"/>
                </a:ext>
              </a:extLst>
            </p:cNvPr>
            <p:cNvSpPr/>
            <p:nvPr/>
          </p:nvSpPr>
          <p:spPr>
            <a:xfrm rot="5400000">
              <a:off x="4329545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6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5" name="Полилиния 1454">
              <a:extLst>
                <a:ext uri="{FF2B5EF4-FFF2-40B4-BE49-F238E27FC236}">
                  <a16:creationId xmlns:a16="http://schemas.microsoft.com/office/drawing/2014/main" id="{0415C8AC-C8A0-9ECD-4A88-83BDE1CC7DBD}"/>
                </a:ext>
              </a:extLst>
            </p:cNvPr>
            <p:cNvSpPr/>
            <p:nvPr/>
          </p:nvSpPr>
          <p:spPr>
            <a:xfrm rot="5400000">
              <a:off x="4745181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6" name="Полилиния 1455">
              <a:extLst>
                <a:ext uri="{FF2B5EF4-FFF2-40B4-BE49-F238E27FC236}">
                  <a16:creationId xmlns:a16="http://schemas.microsoft.com/office/drawing/2014/main" id="{82721A05-6FF2-332F-3A61-9FE0F69ADE54}"/>
                </a:ext>
              </a:extLst>
            </p:cNvPr>
            <p:cNvSpPr/>
            <p:nvPr/>
          </p:nvSpPr>
          <p:spPr>
            <a:xfrm rot="-5400000">
              <a:off x="5160818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7" name="Полилиния 1456">
              <a:extLst>
                <a:ext uri="{FF2B5EF4-FFF2-40B4-BE49-F238E27FC236}">
                  <a16:creationId xmlns:a16="http://schemas.microsoft.com/office/drawing/2014/main" id="{2C5E867D-094F-AC6C-21DA-2D2CDE84C5E9}"/>
                </a:ext>
              </a:extLst>
            </p:cNvPr>
            <p:cNvSpPr/>
            <p:nvPr/>
          </p:nvSpPr>
          <p:spPr>
            <a:xfrm rot="-5400000">
              <a:off x="5576454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8" name="Полилиния 1457">
              <a:extLst>
                <a:ext uri="{FF2B5EF4-FFF2-40B4-BE49-F238E27FC236}">
                  <a16:creationId xmlns:a16="http://schemas.microsoft.com/office/drawing/2014/main" id="{F0D20AFE-07EC-42F4-61B8-03CF3988496C}"/>
                </a:ext>
              </a:extLst>
            </p:cNvPr>
            <p:cNvSpPr/>
            <p:nvPr/>
          </p:nvSpPr>
          <p:spPr>
            <a:xfrm rot="5400000">
              <a:off x="5784272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9" name="Полилиния 1458">
              <a:extLst>
                <a:ext uri="{FF2B5EF4-FFF2-40B4-BE49-F238E27FC236}">
                  <a16:creationId xmlns:a16="http://schemas.microsoft.com/office/drawing/2014/main" id="{365B66FE-9E45-D1C2-5968-22D9D55EB547}"/>
                </a:ext>
              </a:extLst>
            </p:cNvPr>
            <p:cNvSpPr/>
            <p:nvPr/>
          </p:nvSpPr>
          <p:spPr>
            <a:xfrm>
              <a:off x="6199909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0" name="Полилиния 1459">
              <a:extLst>
                <a:ext uri="{FF2B5EF4-FFF2-40B4-BE49-F238E27FC236}">
                  <a16:creationId xmlns:a16="http://schemas.microsoft.com/office/drawing/2014/main" id="{A55F7544-5710-D74C-203D-E33EBC237CC7}"/>
                </a:ext>
              </a:extLst>
            </p:cNvPr>
            <p:cNvSpPr/>
            <p:nvPr/>
          </p:nvSpPr>
          <p:spPr>
            <a:xfrm>
              <a:off x="6407727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1" name="Полилиния 1460">
              <a:extLst>
                <a:ext uri="{FF2B5EF4-FFF2-40B4-BE49-F238E27FC236}">
                  <a16:creationId xmlns:a16="http://schemas.microsoft.com/office/drawing/2014/main" id="{042514AB-0DA0-573F-6954-442C8BD01DBC}"/>
                </a:ext>
              </a:extLst>
            </p:cNvPr>
            <p:cNvSpPr/>
            <p:nvPr/>
          </p:nvSpPr>
          <p:spPr>
            <a:xfrm rot="5400000">
              <a:off x="6615545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2" name="Полилиния 1461">
              <a:extLst>
                <a:ext uri="{FF2B5EF4-FFF2-40B4-BE49-F238E27FC236}">
                  <a16:creationId xmlns:a16="http://schemas.microsoft.com/office/drawing/2014/main" id="{F576BC32-593B-7992-9E76-0D03C8DA1811}"/>
                </a:ext>
              </a:extLst>
            </p:cNvPr>
            <p:cNvSpPr/>
            <p:nvPr/>
          </p:nvSpPr>
          <p:spPr>
            <a:xfrm rot="5400000">
              <a:off x="7239000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3" name="Полилиния 1462">
              <a:extLst>
                <a:ext uri="{FF2B5EF4-FFF2-40B4-BE49-F238E27FC236}">
                  <a16:creationId xmlns:a16="http://schemas.microsoft.com/office/drawing/2014/main" id="{A31117EE-2326-B209-C20E-B330997DD4B7}"/>
                </a:ext>
              </a:extLst>
            </p:cNvPr>
            <p:cNvSpPr/>
            <p:nvPr/>
          </p:nvSpPr>
          <p:spPr>
            <a:xfrm rot="5400000">
              <a:off x="7862454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4" name="Полилиния 1463">
              <a:extLst>
                <a:ext uri="{FF2B5EF4-FFF2-40B4-BE49-F238E27FC236}">
                  <a16:creationId xmlns:a16="http://schemas.microsoft.com/office/drawing/2014/main" id="{43F87F37-94C8-B40C-FD06-70D8168BB057}"/>
                </a:ext>
              </a:extLst>
            </p:cNvPr>
            <p:cNvSpPr/>
            <p:nvPr/>
          </p:nvSpPr>
          <p:spPr>
            <a:xfrm rot="5400000">
              <a:off x="8278090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5" name="Полилиния 1464">
              <a:extLst>
                <a:ext uri="{FF2B5EF4-FFF2-40B4-BE49-F238E27FC236}">
                  <a16:creationId xmlns:a16="http://schemas.microsoft.com/office/drawing/2014/main" id="{4A50EC0F-3BCE-DA85-3C79-44D29BCB4258}"/>
                </a:ext>
              </a:extLst>
            </p:cNvPr>
            <p:cNvSpPr/>
            <p:nvPr/>
          </p:nvSpPr>
          <p:spPr>
            <a:xfrm>
              <a:off x="8901545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6" name="Полилиния 1465">
              <a:extLst>
                <a:ext uri="{FF2B5EF4-FFF2-40B4-BE49-F238E27FC236}">
                  <a16:creationId xmlns:a16="http://schemas.microsoft.com/office/drawing/2014/main" id="{5FCDACB3-1C7E-AB75-951A-67B9192E0B00}"/>
                </a:ext>
              </a:extLst>
            </p:cNvPr>
            <p:cNvSpPr/>
            <p:nvPr/>
          </p:nvSpPr>
          <p:spPr>
            <a:xfrm>
              <a:off x="3082636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7" name="Полилиния 1466">
              <a:extLst>
                <a:ext uri="{FF2B5EF4-FFF2-40B4-BE49-F238E27FC236}">
                  <a16:creationId xmlns:a16="http://schemas.microsoft.com/office/drawing/2014/main" id="{F5BB7249-EAC8-9252-8727-F97474D59AD7}"/>
                </a:ext>
              </a:extLst>
            </p:cNvPr>
            <p:cNvSpPr/>
            <p:nvPr/>
          </p:nvSpPr>
          <p:spPr>
            <a:xfrm>
              <a:off x="3290454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8" name="Полилиния 1467">
              <a:extLst>
                <a:ext uri="{FF2B5EF4-FFF2-40B4-BE49-F238E27FC236}">
                  <a16:creationId xmlns:a16="http://schemas.microsoft.com/office/drawing/2014/main" id="{9D6206D1-6453-1DF4-C38C-7FE707A370DC}"/>
                </a:ext>
              </a:extLst>
            </p:cNvPr>
            <p:cNvSpPr/>
            <p:nvPr/>
          </p:nvSpPr>
          <p:spPr>
            <a:xfrm>
              <a:off x="3913909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9" name="Полилиния 1468">
              <a:extLst>
                <a:ext uri="{FF2B5EF4-FFF2-40B4-BE49-F238E27FC236}">
                  <a16:creationId xmlns:a16="http://schemas.microsoft.com/office/drawing/2014/main" id="{BF4D6779-8EFF-7830-BC1D-5FB5D62A1F61}"/>
                </a:ext>
              </a:extLst>
            </p:cNvPr>
            <p:cNvSpPr/>
            <p:nvPr/>
          </p:nvSpPr>
          <p:spPr>
            <a:xfrm rot="5400000">
              <a:off x="4121727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0" name="Полилиния 1469">
              <a:extLst>
                <a:ext uri="{FF2B5EF4-FFF2-40B4-BE49-F238E27FC236}">
                  <a16:creationId xmlns:a16="http://schemas.microsoft.com/office/drawing/2014/main" id="{DC61F435-9885-41BA-3AAF-B2594A67ADEA}"/>
                </a:ext>
              </a:extLst>
            </p:cNvPr>
            <p:cNvSpPr/>
            <p:nvPr/>
          </p:nvSpPr>
          <p:spPr>
            <a:xfrm rot="-5400000">
              <a:off x="4537363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1" name="Полилиния 1470">
              <a:extLst>
                <a:ext uri="{FF2B5EF4-FFF2-40B4-BE49-F238E27FC236}">
                  <a16:creationId xmlns:a16="http://schemas.microsoft.com/office/drawing/2014/main" id="{022C3B32-86DA-8A72-7CCB-22B3B5DEE59D}"/>
                </a:ext>
              </a:extLst>
            </p:cNvPr>
            <p:cNvSpPr/>
            <p:nvPr/>
          </p:nvSpPr>
          <p:spPr>
            <a:xfrm rot="-5400000">
              <a:off x="4953000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2" name="Полилиния 1471">
              <a:extLst>
                <a:ext uri="{FF2B5EF4-FFF2-40B4-BE49-F238E27FC236}">
                  <a16:creationId xmlns:a16="http://schemas.microsoft.com/office/drawing/2014/main" id="{7A3C76D8-F0D6-4E29-1916-E2976A903148}"/>
                </a:ext>
              </a:extLst>
            </p:cNvPr>
            <p:cNvSpPr/>
            <p:nvPr/>
          </p:nvSpPr>
          <p:spPr>
            <a:xfrm>
              <a:off x="5160818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3" name="Полилиния 1472">
              <a:extLst>
                <a:ext uri="{FF2B5EF4-FFF2-40B4-BE49-F238E27FC236}">
                  <a16:creationId xmlns:a16="http://schemas.microsoft.com/office/drawing/2014/main" id="{34AEB8E1-29A0-5E35-0BAE-40BBE735048F}"/>
                </a:ext>
              </a:extLst>
            </p:cNvPr>
            <p:cNvSpPr/>
            <p:nvPr/>
          </p:nvSpPr>
          <p:spPr>
            <a:xfrm>
              <a:off x="5368636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4" name="Полилиния 1473">
              <a:extLst>
                <a:ext uri="{FF2B5EF4-FFF2-40B4-BE49-F238E27FC236}">
                  <a16:creationId xmlns:a16="http://schemas.microsoft.com/office/drawing/2014/main" id="{6026E5DA-C3A3-AB91-D13C-CC328EE7C30F}"/>
                </a:ext>
              </a:extLst>
            </p:cNvPr>
            <p:cNvSpPr/>
            <p:nvPr/>
          </p:nvSpPr>
          <p:spPr>
            <a:xfrm rot="-5400000">
              <a:off x="5992090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5" name="Полилиния 1474">
              <a:extLst>
                <a:ext uri="{FF2B5EF4-FFF2-40B4-BE49-F238E27FC236}">
                  <a16:creationId xmlns:a16="http://schemas.microsoft.com/office/drawing/2014/main" id="{8962B9E7-54DF-546C-BA52-3D256352BED5}"/>
                </a:ext>
              </a:extLst>
            </p:cNvPr>
            <p:cNvSpPr/>
            <p:nvPr/>
          </p:nvSpPr>
          <p:spPr>
            <a:xfrm>
              <a:off x="6199909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6" name="Полилиния 1475">
              <a:extLst>
                <a:ext uri="{FF2B5EF4-FFF2-40B4-BE49-F238E27FC236}">
                  <a16:creationId xmlns:a16="http://schemas.microsoft.com/office/drawing/2014/main" id="{521D10C1-CE5D-C654-1F66-7698BB94817C}"/>
                </a:ext>
              </a:extLst>
            </p:cNvPr>
            <p:cNvSpPr/>
            <p:nvPr/>
          </p:nvSpPr>
          <p:spPr>
            <a:xfrm>
              <a:off x="6407727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7" name="Полилиния 1476">
              <a:extLst>
                <a:ext uri="{FF2B5EF4-FFF2-40B4-BE49-F238E27FC236}">
                  <a16:creationId xmlns:a16="http://schemas.microsoft.com/office/drawing/2014/main" id="{D953675F-53B2-DF71-D75E-09FE58A635F5}"/>
                </a:ext>
              </a:extLst>
            </p:cNvPr>
            <p:cNvSpPr/>
            <p:nvPr/>
          </p:nvSpPr>
          <p:spPr>
            <a:xfrm rot="5400000">
              <a:off x="6823363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8" name="Полилиния 1477">
              <a:extLst>
                <a:ext uri="{FF2B5EF4-FFF2-40B4-BE49-F238E27FC236}">
                  <a16:creationId xmlns:a16="http://schemas.microsoft.com/office/drawing/2014/main" id="{02104709-FE08-FEEC-1B6E-18290B7D6ABC}"/>
                </a:ext>
              </a:extLst>
            </p:cNvPr>
            <p:cNvSpPr/>
            <p:nvPr/>
          </p:nvSpPr>
          <p:spPr>
            <a:xfrm rot="5400000">
              <a:off x="7654636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9" name="Полилиния 1478">
              <a:extLst>
                <a:ext uri="{FF2B5EF4-FFF2-40B4-BE49-F238E27FC236}">
                  <a16:creationId xmlns:a16="http://schemas.microsoft.com/office/drawing/2014/main" id="{E0322BCC-710A-2582-12C0-89ACEE95E02B}"/>
                </a:ext>
              </a:extLst>
            </p:cNvPr>
            <p:cNvSpPr/>
            <p:nvPr/>
          </p:nvSpPr>
          <p:spPr>
            <a:xfrm rot="-5400000">
              <a:off x="8070272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0" name="Полилиния 1479">
              <a:extLst>
                <a:ext uri="{FF2B5EF4-FFF2-40B4-BE49-F238E27FC236}">
                  <a16:creationId xmlns:a16="http://schemas.microsoft.com/office/drawing/2014/main" id="{754098DC-0A94-3503-B896-F43B160D20E0}"/>
                </a:ext>
              </a:extLst>
            </p:cNvPr>
            <p:cNvSpPr/>
            <p:nvPr/>
          </p:nvSpPr>
          <p:spPr>
            <a:xfrm rot="5400000">
              <a:off x="8485909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1" name="Полилиния 1480">
              <a:extLst>
                <a:ext uri="{FF2B5EF4-FFF2-40B4-BE49-F238E27FC236}">
                  <a16:creationId xmlns:a16="http://schemas.microsoft.com/office/drawing/2014/main" id="{9C08A310-BF07-F87C-61B6-74F9389C548C}"/>
                </a:ext>
              </a:extLst>
            </p:cNvPr>
            <p:cNvSpPr/>
            <p:nvPr/>
          </p:nvSpPr>
          <p:spPr>
            <a:xfrm>
              <a:off x="8901545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2" name="Полилиния 1481">
              <a:extLst>
                <a:ext uri="{FF2B5EF4-FFF2-40B4-BE49-F238E27FC236}">
                  <a16:creationId xmlns:a16="http://schemas.microsoft.com/office/drawing/2014/main" id="{79CAF1DA-488A-480E-EB82-A4EBBCB43D16}"/>
                </a:ext>
              </a:extLst>
            </p:cNvPr>
            <p:cNvSpPr/>
            <p:nvPr/>
          </p:nvSpPr>
          <p:spPr>
            <a:xfrm>
              <a:off x="3082636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3" name="Полилиния 1482">
              <a:extLst>
                <a:ext uri="{FF2B5EF4-FFF2-40B4-BE49-F238E27FC236}">
                  <a16:creationId xmlns:a16="http://schemas.microsoft.com/office/drawing/2014/main" id="{0BDB5BF0-B58B-EA37-E29A-6D7E088C2AA1}"/>
                </a:ext>
              </a:extLst>
            </p:cNvPr>
            <p:cNvSpPr/>
            <p:nvPr/>
          </p:nvSpPr>
          <p:spPr>
            <a:xfrm>
              <a:off x="3290454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4" name="Полилиния 1483">
              <a:extLst>
                <a:ext uri="{FF2B5EF4-FFF2-40B4-BE49-F238E27FC236}">
                  <a16:creationId xmlns:a16="http://schemas.microsoft.com/office/drawing/2014/main" id="{50249112-3DF0-026A-63AD-94B4DB249A78}"/>
                </a:ext>
              </a:extLst>
            </p:cNvPr>
            <p:cNvSpPr/>
            <p:nvPr/>
          </p:nvSpPr>
          <p:spPr>
            <a:xfrm>
              <a:off x="3498272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5" name="Полилиния 1484">
              <a:extLst>
                <a:ext uri="{FF2B5EF4-FFF2-40B4-BE49-F238E27FC236}">
                  <a16:creationId xmlns:a16="http://schemas.microsoft.com/office/drawing/2014/main" id="{05D2716B-94F3-3566-DEAB-12476FDC41ED}"/>
                </a:ext>
              </a:extLst>
            </p:cNvPr>
            <p:cNvSpPr/>
            <p:nvPr/>
          </p:nvSpPr>
          <p:spPr>
            <a:xfrm rot="-5400000">
              <a:off x="4329545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6" name="Полилиния 1485">
              <a:extLst>
                <a:ext uri="{FF2B5EF4-FFF2-40B4-BE49-F238E27FC236}">
                  <a16:creationId xmlns:a16="http://schemas.microsoft.com/office/drawing/2014/main" id="{0D1282A1-FEDA-0EB3-B996-1BC7EBE5E9E0}"/>
                </a:ext>
              </a:extLst>
            </p:cNvPr>
            <p:cNvSpPr/>
            <p:nvPr/>
          </p:nvSpPr>
          <p:spPr>
            <a:xfrm>
              <a:off x="4537363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7" name="Полилиния 1486">
              <a:extLst>
                <a:ext uri="{FF2B5EF4-FFF2-40B4-BE49-F238E27FC236}">
                  <a16:creationId xmlns:a16="http://schemas.microsoft.com/office/drawing/2014/main" id="{7E54FF8A-C1C8-34AE-FA11-73B898231E1A}"/>
                </a:ext>
              </a:extLst>
            </p:cNvPr>
            <p:cNvSpPr/>
            <p:nvPr/>
          </p:nvSpPr>
          <p:spPr>
            <a:xfrm>
              <a:off x="4745181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8" name="Полилиния 1487">
              <a:extLst>
                <a:ext uri="{FF2B5EF4-FFF2-40B4-BE49-F238E27FC236}">
                  <a16:creationId xmlns:a16="http://schemas.microsoft.com/office/drawing/2014/main" id="{B2442280-29E6-F037-D229-44AA775567E1}"/>
                </a:ext>
              </a:extLst>
            </p:cNvPr>
            <p:cNvSpPr/>
            <p:nvPr/>
          </p:nvSpPr>
          <p:spPr>
            <a:xfrm>
              <a:off x="4953000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9" name="Полилиния 1488">
              <a:extLst>
                <a:ext uri="{FF2B5EF4-FFF2-40B4-BE49-F238E27FC236}">
                  <a16:creationId xmlns:a16="http://schemas.microsoft.com/office/drawing/2014/main" id="{C19835A7-1718-5B23-848C-B033E41D3ECB}"/>
                </a:ext>
              </a:extLst>
            </p:cNvPr>
            <p:cNvSpPr/>
            <p:nvPr/>
          </p:nvSpPr>
          <p:spPr>
            <a:xfrm>
              <a:off x="5368636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0" name="Полилиния 1489">
              <a:extLst>
                <a:ext uri="{FF2B5EF4-FFF2-40B4-BE49-F238E27FC236}">
                  <a16:creationId xmlns:a16="http://schemas.microsoft.com/office/drawing/2014/main" id="{A2EEF3B7-0337-C620-F1B2-478AF5B04739}"/>
                </a:ext>
              </a:extLst>
            </p:cNvPr>
            <p:cNvSpPr/>
            <p:nvPr/>
          </p:nvSpPr>
          <p:spPr>
            <a:xfrm rot="-5400000">
              <a:off x="5784272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1" name="Полилиния 1490">
              <a:extLst>
                <a:ext uri="{FF2B5EF4-FFF2-40B4-BE49-F238E27FC236}">
                  <a16:creationId xmlns:a16="http://schemas.microsoft.com/office/drawing/2014/main" id="{18B52160-F267-C782-D760-6AF6E9E87A44}"/>
                </a:ext>
              </a:extLst>
            </p:cNvPr>
            <p:cNvSpPr/>
            <p:nvPr/>
          </p:nvSpPr>
          <p:spPr>
            <a:xfrm>
              <a:off x="5992090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2" name="Полилиния 1491">
              <a:extLst>
                <a:ext uri="{FF2B5EF4-FFF2-40B4-BE49-F238E27FC236}">
                  <a16:creationId xmlns:a16="http://schemas.microsoft.com/office/drawing/2014/main" id="{AD30C544-49E4-2F1E-E158-4719447DA90F}"/>
                </a:ext>
              </a:extLst>
            </p:cNvPr>
            <p:cNvSpPr/>
            <p:nvPr/>
          </p:nvSpPr>
          <p:spPr>
            <a:xfrm>
              <a:off x="6199909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3" name="Полилиния 1492">
              <a:extLst>
                <a:ext uri="{FF2B5EF4-FFF2-40B4-BE49-F238E27FC236}">
                  <a16:creationId xmlns:a16="http://schemas.microsoft.com/office/drawing/2014/main" id="{9E6E99F2-9474-0700-097E-CB98D9F9D7E1}"/>
                </a:ext>
              </a:extLst>
            </p:cNvPr>
            <p:cNvSpPr/>
            <p:nvPr/>
          </p:nvSpPr>
          <p:spPr>
            <a:xfrm>
              <a:off x="6407727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4" name="Полилиния 1493">
              <a:extLst>
                <a:ext uri="{FF2B5EF4-FFF2-40B4-BE49-F238E27FC236}">
                  <a16:creationId xmlns:a16="http://schemas.microsoft.com/office/drawing/2014/main" id="{173BA91A-F6C5-9922-2C7B-AD8F97EA395D}"/>
                </a:ext>
              </a:extLst>
            </p:cNvPr>
            <p:cNvSpPr/>
            <p:nvPr/>
          </p:nvSpPr>
          <p:spPr>
            <a:xfrm>
              <a:off x="6615545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5" name="Полилиния 1494">
              <a:extLst>
                <a:ext uri="{FF2B5EF4-FFF2-40B4-BE49-F238E27FC236}">
                  <a16:creationId xmlns:a16="http://schemas.microsoft.com/office/drawing/2014/main" id="{A9F62EB5-D899-664E-5C87-B747C938AB2F}"/>
                </a:ext>
              </a:extLst>
            </p:cNvPr>
            <p:cNvSpPr/>
            <p:nvPr/>
          </p:nvSpPr>
          <p:spPr>
            <a:xfrm rot="5400000">
              <a:off x="7239000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6" name="Полилиния 1495">
              <a:extLst>
                <a:ext uri="{FF2B5EF4-FFF2-40B4-BE49-F238E27FC236}">
                  <a16:creationId xmlns:a16="http://schemas.microsoft.com/office/drawing/2014/main" id="{410618B3-3B3F-41B9-A933-513403BFE2F3}"/>
                </a:ext>
              </a:extLst>
            </p:cNvPr>
            <p:cNvSpPr/>
            <p:nvPr/>
          </p:nvSpPr>
          <p:spPr>
            <a:xfrm rot="5400000">
              <a:off x="8070272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7" name="Полилиния 1496">
              <a:extLst>
                <a:ext uri="{FF2B5EF4-FFF2-40B4-BE49-F238E27FC236}">
                  <a16:creationId xmlns:a16="http://schemas.microsoft.com/office/drawing/2014/main" id="{CDD621B9-688A-F81F-DD8D-16DB358DA376}"/>
                </a:ext>
              </a:extLst>
            </p:cNvPr>
            <p:cNvSpPr/>
            <p:nvPr/>
          </p:nvSpPr>
          <p:spPr>
            <a:xfrm>
              <a:off x="8901545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8" name="Полилиния 1497">
              <a:extLst>
                <a:ext uri="{FF2B5EF4-FFF2-40B4-BE49-F238E27FC236}">
                  <a16:creationId xmlns:a16="http://schemas.microsoft.com/office/drawing/2014/main" id="{84BAA970-9888-850F-D9CA-81E11363F65C}"/>
                </a:ext>
              </a:extLst>
            </p:cNvPr>
            <p:cNvSpPr/>
            <p:nvPr/>
          </p:nvSpPr>
          <p:spPr>
            <a:xfrm rot="5400000">
              <a:off x="3082636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9" name="Полилиния 1498">
              <a:extLst>
                <a:ext uri="{FF2B5EF4-FFF2-40B4-BE49-F238E27FC236}">
                  <a16:creationId xmlns:a16="http://schemas.microsoft.com/office/drawing/2014/main" id="{7F2D010A-906B-8D2E-6160-2521F303F6CD}"/>
                </a:ext>
              </a:extLst>
            </p:cNvPr>
            <p:cNvSpPr/>
            <p:nvPr/>
          </p:nvSpPr>
          <p:spPr>
            <a:xfrm>
              <a:off x="3498272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0" name="Полилиния 1499">
              <a:extLst>
                <a:ext uri="{FF2B5EF4-FFF2-40B4-BE49-F238E27FC236}">
                  <a16:creationId xmlns:a16="http://schemas.microsoft.com/office/drawing/2014/main" id="{BD99380F-37C7-B757-4DAE-F359F6F42405}"/>
                </a:ext>
              </a:extLst>
            </p:cNvPr>
            <p:cNvSpPr/>
            <p:nvPr/>
          </p:nvSpPr>
          <p:spPr>
            <a:xfrm rot="5400000">
              <a:off x="3913909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6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1" name="Полилиния 1500">
              <a:extLst>
                <a:ext uri="{FF2B5EF4-FFF2-40B4-BE49-F238E27FC236}">
                  <a16:creationId xmlns:a16="http://schemas.microsoft.com/office/drawing/2014/main" id="{02F3A922-9AB6-3E23-1DAA-032B36BCB51A}"/>
                </a:ext>
              </a:extLst>
            </p:cNvPr>
            <p:cNvSpPr/>
            <p:nvPr/>
          </p:nvSpPr>
          <p:spPr>
            <a:xfrm>
              <a:off x="4537363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2" name="Полилиния 1501">
              <a:extLst>
                <a:ext uri="{FF2B5EF4-FFF2-40B4-BE49-F238E27FC236}">
                  <a16:creationId xmlns:a16="http://schemas.microsoft.com/office/drawing/2014/main" id="{F2083F3D-6CA8-12AE-5655-5C184F273C7A}"/>
                </a:ext>
              </a:extLst>
            </p:cNvPr>
            <p:cNvSpPr/>
            <p:nvPr/>
          </p:nvSpPr>
          <p:spPr>
            <a:xfrm>
              <a:off x="4953000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3" name="Полилиния 1502">
              <a:extLst>
                <a:ext uri="{FF2B5EF4-FFF2-40B4-BE49-F238E27FC236}">
                  <a16:creationId xmlns:a16="http://schemas.microsoft.com/office/drawing/2014/main" id="{60FEA655-CC63-5008-2130-14C7E59D763D}"/>
                </a:ext>
              </a:extLst>
            </p:cNvPr>
            <p:cNvSpPr/>
            <p:nvPr/>
          </p:nvSpPr>
          <p:spPr>
            <a:xfrm>
              <a:off x="5160818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4" name="Полилиния 1503">
              <a:extLst>
                <a:ext uri="{FF2B5EF4-FFF2-40B4-BE49-F238E27FC236}">
                  <a16:creationId xmlns:a16="http://schemas.microsoft.com/office/drawing/2014/main" id="{85826371-C79B-6A97-81C4-4AF8472750E5}"/>
                </a:ext>
              </a:extLst>
            </p:cNvPr>
            <p:cNvSpPr/>
            <p:nvPr/>
          </p:nvSpPr>
          <p:spPr>
            <a:xfrm rot="5400000">
              <a:off x="5368636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5" name="Полилиния 1504">
              <a:extLst>
                <a:ext uri="{FF2B5EF4-FFF2-40B4-BE49-F238E27FC236}">
                  <a16:creationId xmlns:a16="http://schemas.microsoft.com/office/drawing/2014/main" id="{96C985C0-F24F-DA5A-0416-ABC21EBF2686}"/>
                </a:ext>
              </a:extLst>
            </p:cNvPr>
            <p:cNvSpPr/>
            <p:nvPr/>
          </p:nvSpPr>
          <p:spPr>
            <a:xfrm>
              <a:off x="5784272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6" name="Полилиния 1505">
              <a:extLst>
                <a:ext uri="{FF2B5EF4-FFF2-40B4-BE49-F238E27FC236}">
                  <a16:creationId xmlns:a16="http://schemas.microsoft.com/office/drawing/2014/main" id="{927C2D68-8CCF-AF38-2D3B-B274CDF18D49}"/>
                </a:ext>
              </a:extLst>
            </p:cNvPr>
            <p:cNvSpPr/>
            <p:nvPr/>
          </p:nvSpPr>
          <p:spPr>
            <a:xfrm>
              <a:off x="5992090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7" name="Полилиния 1506">
              <a:extLst>
                <a:ext uri="{FF2B5EF4-FFF2-40B4-BE49-F238E27FC236}">
                  <a16:creationId xmlns:a16="http://schemas.microsoft.com/office/drawing/2014/main" id="{B74E57DD-A692-806C-504A-4A52314F65F9}"/>
                </a:ext>
              </a:extLst>
            </p:cNvPr>
            <p:cNvSpPr/>
            <p:nvPr/>
          </p:nvSpPr>
          <p:spPr>
            <a:xfrm>
              <a:off x="6199909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8" name="Полилиния 1507">
              <a:extLst>
                <a:ext uri="{FF2B5EF4-FFF2-40B4-BE49-F238E27FC236}">
                  <a16:creationId xmlns:a16="http://schemas.microsoft.com/office/drawing/2014/main" id="{82001AA6-A8C9-F350-5B52-516D6F42FEFA}"/>
                </a:ext>
              </a:extLst>
            </p:cNvPr>
            <p:cNvSpPr/>
            <p:nvPr/>
          </p:nvSpPr>
          <p:spPr>
            <a:xfrm>
              <a:off x="6407727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9" name="Полилиния 1508">
              <a:extLst>
                <a:ext uri="{FF2B5EF4-FFF2-40B4-BE49-F238E27FC236}">
                  <a16:creationId xmlns:a16="http://schemas.microsoft.com/office/drawing/2014/main" id="{777CEE7E-4BF4-BF3A-85C7-E5C97A530FCC}"/>
                </a:ext>
              </a:extLst>
            </p:cNvPr>
            <p:cNvSpPr/>
            <p:nvPr/>
          </p:nvSpPr>
          <p:spPr>
            <a:xfrm>
              <a:off x="6615545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0" name="Полилиния 1509">
              <a:extLst>
                <a:ext uri="{FF2B5EF4-FFF2-40B4-BE49-F238E27FC236}">
                  <a16:creationId xmlns:a16="http://schemas.microsoft.com/office/drawing/2014/main" id="{D4B501B9-293B-3FBE-91E4-455EFEF89358}"/>
                </a:ext>
              </a:extLst>
            </p:cNvPr>
            <p:cNvSpPr/>
            <p:nvPr/>
          </p:nvSpPr>
          <p:spPr>
            <a:xfrm>
              <a:off x="6823363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1" name="Полилиния 1510">
              <a:extLst>
                <a:ext uri="{FF2B5EF4-FFF2-40B4-BE49-F238E27FC236}">
                  <a16:creationId xmlns:a16="http://schemas.microsoft.com/office/drawing/2014/main" id="{B943D338-36D1-4273-5592-57F6551F5CAD}"/>
                </a:ext>
              </a:extLst>
            </p:cNvPr>
            <p:cNvSpPr/>
            <p:nvPr/>
          </p:nvSpPr>
          <p:spPr>
            <a:xfrm rot="5400000">
              <a:off x="7862454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2" name="Полилиния 1511">
              <a:extLst>
                <a:ext uri="{FF2B5EF4-FFF2-40B4-BE49-F238E27FC236}">
                  <a16:creationId xmlns:a16="http://schemas.microsoft.com/office/drawing/2014/main" id="{78B03180-8CBE-DBCE-AAC9-90F744A808D9}"/>
                </a:ext>
              </a:extLst>
            </p:cNvPr>
            <p:cNvSpPr/>
            <p:nvPr/>
          </p:nvSpPr>
          <p:spPr>
            <a:xfrm rot="5400000">
              <a:off x="8278090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3" name="Полилиния 1512">
              <a:extLst>
                <a:ext uri="{FF2B5EF4-FFF2-40B4-BE49-F238E27FC236}">
                  <a16:creationId xmlns:a16="http://schemas.microsoft.com/office/drawing/2014/main" id="{E53126C0-E4CB-4569-172E-C74870D364F1}"/>
                </a:ext>
              </a:extLst>
            </p:cNvPr>
            <p:cNvSpPr/>
            <p:nvPr/>
          </p:nvSpPr>
          <p:spPr>
            <a:xfrm rot="5400000">
              <a:off x="8901545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4" name="Полилиния 1513">
              <a:extLst>
                <a:ext uri="{FF2B5EF4-FFF2-40B4-BE49-F238E27FC236}">
                  <a16:creationId xmlns:a16="http://schemas.microsoft.com/office/drawing/2014/main" id="{680DBD78-C346-85AE-CE2B-EA29B3BEEF41}"/>
                </a:ext>
              </a:extLst>
            </p:cNvPr>
            <p:cNvSpPr/>
            <p:nvPr/>
          </p:nvSpPr>
          <p:spPr>
            <a:xfrm rot="5400000">
              <a:off x="3498272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5" name="Полилиния 1514">
              <a:extLst>
                <a:ext uri="{FF2B5EF4-FFF2-40B4-BE49-F238E27FC236}">
                  <a16:creationId xmlns:a16="http://schemas.microsoft.com/office/drawing/2014/main" id="{23D46190-38A2-69DB-C062-87B952E42766}"/>
                </a:ext>
              </a:extLst>
            </p:cNvPr>
            <p:cNvSpPr/>
            <p:nvPr/>
          </p:nvSpPr>
          <p:spPr>
            <a:xfrm rot="-5400000">
              <a:off x="4121727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6" name="Полилиния 1515">
              <a:extLst>
                <a:ext uri="{FF2B5EF4-FFF2-40B4-BE49-F238E27FC236}">
                  <a16:creationId xmlns:a16="http://schemas.microsoft.com/office/drawing/2014/main" id="{9C074106-F502-8C87-4988-AEFDA54E5A2C}"/>
                </a:ext>
              </a:extLst>
            </p:cNvPr>
            <p:cNvSpPr/>
            <p:nvPr/>
          </p:nvSpPr>
          <p:spPr>
            <a:xfrm>
              <a:off x="4329545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7" name="Полилиния 1516">
              <a:extLst>
                <a:ext uri="{FF2B5EF4-FFF2-40B4-BE49-F238E27FC236}">
                  <a16:creationId xmlns:a16="http://schemas.microsoft.com/office/drawing/2014/main" id="{92267768-A6F4-EECE-2F08-D6EEE1DEDDE2}"/>
                </a:ext>
              </a:extLst>
            </p:cNvPr>
            <p:cNvSpPr/>
            <p:nvPr/>
          </p:nvSpPr>
          <p:spPr>
            <a:xfrm>
              <a:off x="4537363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8" name="Полилиния 1517">
              <a:extLst>
                <a:ext uri="{FF2B5EF4-FFF2-40B4-BE49-F238E27FC236}">
                  <a16:creationId xmlns:a16="http://schemas.microsoft.com/office/drawing/2014/main" id="{09DBF82B-01CB-EBFA-2F4E-CC894E2A85B1}"/>
                </a:ext>
              </a:extLst>
            </p:cNvPr>
            <p:cNvSpPr/>
            <p:nvPr/>
          </p:nvSpPr>
          <p:spPr>
            <a:xfrm rot="5400000">
              <a:off x="4745181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9" name="Полилиния 1518">
              <a:extLst>
                <a:ext uri="{FF2B5EF4-FFF2-40B4-BE49-F238E27FC236}">
                  <a16:creationId xmlns:a16="http://schemas.microsoft.com/office/drawing/2014/main" id="{BED7F4B4-8CAB-C6F0-155F-E11D187990B3}"/>
                </a:ext>
              </a:extLst>
            </p:cNvPr>
            <p:cNvSpPr/>
            <p:nvPr/>
          </p:nvSpPr>
          <p:spPr>
            <a:xfrm rot="5400000">
              <a:off x="5160818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0" name="Полилиния 1519">
              <a:extLst>
                <a:ext uri="{FF2B5EF4-FFF2-40B4-BE49-F238E27FC236}">
                  <a16:creationId xmlns:a16="http://schemas.microsoft.com/office/drawing/2014/main" id="{F8C91D33-4756-74A7-4F78-D2202D3DC556}"/>
                </a:ext>
              </a:extLst>
            </p:cNvPr>
            <p:cNvSpPr/>
            <p:nvPr/>
          </p:nvSpPr>
          <p:spPr>
            <a:xfrm rot="-5400000">
              <a:off x="5576454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1" name="Полилиния 1520">
              <a:extLst>
                <a:ext uri="{FF2B5EF4-FFF2-40B4-BE49-F238E27FC236}">
                  <a16:creationId xmlns:a16="http://schemas.microsoft.com/office/drawing/2014/main" id="{F4B9588A-3CFE-FF76-4F55-5CB97C15EC9F}"/>
                </a:ext>
              </a:extLst>
            </p:cNvPr>
            <p:cNvSpPr/>
            <p:nvPr/>
          </p:nvSpPr>
          <p:spPr>
            <a:xfrm>
              <a:off x="5784272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2" name="Полилиния 1521">
              <a:extLst>
                <a:ext uri="{FF2B5EF4-FFF2-40B4-BE49-F238E27FC236}">
                  <a16:creationId xmlns:a16="http://schemas.microsoft.com/office/drawing/2014/main" id="{F0502043-0DB4-9406-78FF-175A736328F1}"/>
                </a:ext>
              </a:extLst>
            </p:cNvPr>
            <p:cNvSpPr/>
            <p:nvPr/>
          </p:nvSpPr>
          <p:spPr>
            <a:xfrm>
              <a:off x="5992090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3" name="Полилиния 1522">
              <a:extLst>
                <a:ext uri="{FF2B5EF4-FFF2-40B4-BE49-F238E27FC236}">
                  <a16:creationId xmlns:a16="http://schemas.microsoft.com/office/drawing/2014/main" id="{4001D9F4-02C6-E132-9549-06E150791E90}"/>
                </a:ext>
              </a:extLst>
            </p:cNvPr>
            <p:cNvSpPr/>
            <p:nvPr/>
          </p:nvSpPr>
          <p:spPr>
            <a:xfrm rot="5400000">
              <a:off x="6199909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4" name="Полилиния 1523">
              <a:extLst>
                <a:ext uri="{FF2B5EF4-FFF2-40B4-BE49-F238E27FC236}">
                  <a16:creationId xmlns:a16="http://schemas.microsoft.com/office/drawing/2014/main" id="{D8833865-5745-A7A2-E9FB-EF4858D6EFCD}"/>
                </a:ext>
              </a:extLst>
            </p:cNvPr>
            <p:cNvSpPr/>
            <p:nvPr/>
          </p:nvSpPr>
          <p:spPr>
            <a:xfrm>
              <a:off x="6823363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5" name="Полилиния 1524">
              <a:extLst>
                <a:ext uri="{FF2B5EF4-FFF2-40B4-BE49-F238E27FC236}">
                  <a16:creationId xmlns:a16="http://schemas.microsoft.com/office/drawing/2014/main" id="{4ACDE9B9-548A-DEFD-4EBA-A147C53D200E}"/>
                </a:ext>
              </a:extLst>
            </p:cNvPr>
            <p:cNvSpPr/>
            <p:nvPr/>
          </p:nvSpPr>
          <p:spPr>
            <a:xfrm>
              <a:off x="7031181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6" name="Полилиния 1525">
              <a:extLst>
                <a:ext uri="{FF2B5EF4-FFF2-40B4-BE49-F238E27FC236}">
                  <a16:creationId xmlns:a16="http://schemas.microsoft.com/office/drawing/2014/main" id="{02D3E6D6-E7C1-509A-FD64-2D3973D01B69}"/>
                </a:ext>
              </a:extLst>
            </p:cNvPr>
            <p:cNvSpPr/>
            <p:nvPr/>
          </p:nvSpPr>
          <p:spPr>
            <a:xfrm>
              <a:off x="7239000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7" name="Полилиния 1526">
              <a:extLst>
                <a:ext uri="{FF2B5EF4-FFF2-40B4-BE49-F238E27FC236}">
                  <a16:creationId xmlns:a16="http://schemas.microsoft.com/office/drawing/2014/main" id="{CBA10143-1F49-065D-1979-723627D2564C}"/>
                </a:ext>
              </a:extLst>
            </p:cNvPr>
            <p:cNvSpPr/>
            <p:nvPr/>
          </p:nvSpPr>
          <p:spPr>
            <a:xfrm rot="5400000">
              <a:off x="7446818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8" name="Полилиния 1527">
              <a:extLst>
                <a:ext uri="{FF2B5EF4-FFF2-40B4-BE49-F238E27FC236}">
                  <a16:creationId xmlns:a16="http://schemas.microsoft.com/office/drawing/2014/main" id="{2E9DE248-5AF4-F131-6B31-947B5152F884}"/>
                </a:ext>
              </a:extLst>
            </p:cNvPr>
            <p:cNvSpPr/>
            <p:nvPr/>
          </p:nvSpPr>
          <p:spPr>
            <a:xfrm rot="-5400000">
              <a:off x="3082636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9" name="Полилиния 1528">
              <a:extLst>
                <a:ext uri="{FF2B5EF4-FFF2-40B4-BE49-F238E27FC236}">
                  <a16:creationId xmlns:a16="http://schemas.microsoft.com/office/drawing/2014/main" id="{C96F7F81-358B-C5C6-992A-B36061C8E161}"/>
                </a:ext>
              </a:extLst>
            </p:cNvPr>
            <p:cNvSpPr/>
            <p:nvPr/>
          </p:nvSpPr>
          <p:spPr>
            <a:xfrm rot="5400000">
              <a:off x="3290454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0" name="Полилиния 1529">
              <a:extLst>
                <a:ext uri="{FF2B5EF4-FFF2-40B4-BE49-F238E27FC236}">
                  <a16:creationId xmlns:a16="http://schemas.microsoft.com/office/drawing/2014/main" id="{FB819C81-FA37-F247-3935-B7460B583683}"/>
                </a:ext>
              </a:extLst>
            </p:cNvPr>
            <p:cNvSpPr/>
            <p:nvPr/>
          </p:nvSpPr>
          <p:spPr>
            <a:xfrm rot="-5400000">
              <a:off x="3913909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1" name="Полилиния 1530">
              <a:extLst>
                <a:ext uri="{FF2B5EF4-FFF2-40B4-BE49-F238E27FC236}">
                  <a16:creationId xmlns:a16="http://schemas.microsoft.com/office/drawing/2014/main" id="{9071BD11-F897-8C96-409E-AD4739E4909B}"/>
                </a:ext>
              </a:extLst>
            </p:cNvPr>
            <p:cNvSpPr/>
            <p:nvPr/>
          </p:nvSpPr>
          <p:spPr>
            <a:xfrm>
              <a:off x="4121727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2" name="Полилиния 1531">
              <a:extLst>
                <a:ext uri="{FF2B5EF4-FFF2-40B4-BE49-F238E27FC236}">
                  <a16:creationId xmlns:a16="http://schemas.microsoft.com/office/drawing/2014/main" id="{54E545CC-75CE-5382-6560-281C40165140}"/>
                </a:ext>
              </a:extLst>
            </p:cNvPr>
            <p:cNvSpPr/>
            <p:nvPr/>
          </p:nvSpPr>
          <p:spPr>
            <a:xfrm>
              <a:off x="5784272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3" name="Полилиния 1532">
              <a:extLst>
                <a:ext uri="{FF2B5EF4-FFF2-40B4-BE49-F238E27FC236}">
                  <a16:creationId xmlns:a16="http://schemas.microsoft.com/office/drawing/2014/main" id="{308EA293-9DBE-85D5-3F33-5669A3CC0F2A}"/>
                </a:ext>
              </a:extLst>
            </p:cNvPr>
            <p:cNvSpPr/>
            <p:nvPr/>
          </p:nvSpPr>
          <p:spPr>
            <a:xfrm rot="-5400000">
              <a:off x="6407727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4" name="Полилиния 1533">
              <a:extLst>
                <a:ext uri="{FF2B5EF4-FFF2-40B4-BE49-F238E27FC236}">
                  <a16:creationId xmlns:a16="http://schemas.microsoft.com/office/drawing/2014/main" id="{13C03A2E-F2DC-6CD5-817B-44EEADB16075}"/>
                </a:ext>
              </a:extLst>
            </p:cNvPr>
            <p:cNvSpPr/>
            <p:nvPr/>
          </p:nvSpPr>
          <p:spPr>
            <a:xfrm rot="5400000">
              <a:off x="6615545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5" name="Полилиния 1534">
              <a:extLst>
                <a:ext uri="{FF2B5EF4-FFF2-40B4-BE49-F238E27FC236}">
                  <a16:creationId xmlns:a16="http://schemas.microsoft.com/office/drawing/2014/main" id="{B7C39CBC-999B-E9F1-72BA-013349DE2A9A}"/>
                </a:ext>
              </a:extLst>
            </p:cNvPr>
            <p:cNvSpPr/>
            <p:nvPr/>
          </p:nvSpPr>
          <p:spPr>
            <a:xfrm rot="-5400000">
              <a:off x="7654636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6" name="Полилиния 1535">
              <a:extLst>
                <a:ext uri="{FF2B5EF4-FFF2-40B4-BE49-F238E27FC236}">
                  <a16:creationId xmlns:a16="http://schemas.microsoft.com/office/drawing/2014/main" id="{923EDF3E-D1A7-A27B-8C1B-FC0AA67FBDD5}"/>
                </a:ext>
              </a:extLst>
            </p:cNvPr>
            <p:cNvSpPr/>
            <p:nvPr/>
          </p:nvSpPr>
          <p:spPr>
            <a:xfrm>
              <a:off x="7862454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7" name="Полилиния 1536">
              <a:extLst>
                <a:ext uri="{FF2B5EF4-FFF2-40B4-BE49-F238E27FC236}">
                  <a16:creationId xmlns:a16="http://schemas.microsoft.com/office/drawing/2014/main" id="{629B621C-03B9-8E65-DC06-1434B471AA89}"/>
                </a:ext>
              </a:extLst>
            </p:cNvPr>
            <p:cNvSpPr/>
            <p:nvPr/>
          </p:nvSpPr>
          <p:spPr>
            <a:xfrm>
              <a:off x="8070272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8" name="Полилиния 1537">
              <a:extLst>
                <a:ext uri="{FF2B5EF4-FFF2-40B4-BE49-F238E27FC236}">
                  <a16:creationId xmlns:a16="http://schemas.microsoft.com/office/drawing/2014/main" id="{F74CCEE3-D77D-B15C-83F7-84657F7B9AF2}"/>
                </a:ext>
              </a:extLst>
            </p:cNvPr>
            <p:cNvSpPr/>
            <p:nvPr/>
          </p:nvSpPr>
          <p:spPr>
            <a:xfrm rot="-5400000">
              <a:off x="8901545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9" name="Полилиния 1538">
              <a:extLst>
                <a:ext uri="{FF2B5EF4-FFF2-40B4-BE49-F238E27FC236}">
                  <a16:creationId xmlns:a16="http://schemas.microsoft.com/office/drawing/2014/main" id="{6E9E45F3-6072-7333-2BC6-07A9727292F1}"/>
                </a:ext>
              </a:extLst>
            </p:cNvPr>
            <p:cNvSpPr/>
            <p:nvPr/>
          </p:nvSpPr>
          <p:spPr>
            <a:xfrm>
              <a:off x="4121727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0" name="Полилиния 1539">
              <a:extLst>
                <a:ext uri="{FF2B5EF4-FFF2-40B4-BE49-F238E27FC236}">
                  <a16:creationId xmlns:a16="http://schemas.microsoft.com/office/drawing/2014/main" id="{3FD0C178-9C2A-3DAE-5515-F76903A57E18}"/>
                </a:ext>
              </a:extLst>
            </p:cNvPr>
            <p:cNvSpPr/>
            <p:nvPr/>
          </p:nvSpPr>
          <p:spPr>
            <a:xfrm>
              <a:off x="4329545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1" name="Полилиния 1540">
              <a:extLst>
                <a:ext uri="{FF2B5EF4-FFF2-40B4-BE49-F238E27FC236}">
                  <a16:creationId xmlns:a16="http://schemas.microsoft.com/office/drawing/2014/main" id="{EDC9CC2D-1311-75DF-E11E-024E2ED373E2}"/>
                </a:ext>
              </a:extLst>
            </p:cNvPr>
            <p:cNvSpPr/>
            <p:nvPr/>
          </p:nvSpPr>
          <p:spPr>
            <a:xfrm>
              <a:off x="4537363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2" name="Полилиния 1541">
              <a:extLst>
                <a:ext uri="{FF2B5EF4-FFF2-40B4-BE49-F238E27FC236}">
                  <a16:creationId xmlns:a16="http://schemas.microsoft.com/office/drawing/2014/main" id="{6DE2CD3F-B89C-A392-4B57-14ED4CA8E3BC}"/>
                </a:ext>
              </a:extLst>
            </p:cNvPr>
            <p:cNvSpPr/>
            <p:nvPr/>
          </p:nvSpPr>
          <p:spPr>
            <a:xfrm>
              <a:off x="4745181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3" name="Полилиния 1542">
              <a:extLst>
                <a:ext uri="{FF2B5EF4-FFF2-40B4-BE49-F238E27FC236}">
                  <a16:creationId xmlns:a16="http://schemas.microsoft.com/office/drawing/2014/main" id="{47468E05-A71F-F610-2D69-C9B32E7EAD53}"/>
                </a:ext>
              </a:extLst>
            </p:cNvPr>
            <p:cNvSpPr/>
            <p:nvPr/>
          </p:nvSpPr>
          <p:spPr>
            <a:xfrm>
              <a:off x="4953000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4" name="Полилиния 1543">
              <a:extLst>
                <a:ext uri="{FF2B5EF4-FFF2-40B4-BE49-F238E27FC236}">
                  <a16:creationId xmlns:a16="http://schemas.microsoft.com/office/drawing/2014/main" id="{6F358DC2-F229-A80C-C836-1D27DEA3F265}"/>
                </a:ext>
              </a:extLst>
            </p:cNvPr>
            <p:cNvSpPr/>
            <p:nvPr/>
          </p:nvSpPr>
          <p:spPr>
            <a:xfrm rot="-5400000">
              <a:off x="5368636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5" name="Полилиния 1544">
              <a:extLst>
                <a:ext uri="{FF2B5EF4-FFF2-40B4-BE49-F238E27FC236}">
                  <a16:creationId xmlns:a16="http://schemas.microsoft.com/office/drawing/2014/main" id="{D7484960-0388-1B3F-056E-30907801F26A}"/>
                </a:ext>
              </a:extLst>
            </p:cNvPr>
            <p:cNvSpPr/>
            <p:nvPr/>
          </p:nvSpPr>
          <p:spPr>
            <a:xfrm rot="5400000">
              <a:off x="5784272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6" name="Полилиния 1545">
              <a:extLst>
                <a:ext uri="{FF2B5EF4-FFF2-40B4-BE49-F238E27FC236}">
                  <a16:creationId xmlns:a16="http://schemas.microsoft.com/office/drawing/2014/main" id="{B27ACD24-1F9A-0AFC-269A-784A90C58D77}"/>
                </a:ext>
              </a:extLst>
            </p:cNvPr>
            <p:cNvSpPr/>
            <p:nvPr/>
          </p:nvSpPr>
          <p:spPr>
            <a:xfrm rot="5400000">
              <a:off x="6407727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7" name="Полилиния 1546">
              <a:extLst>
                <a:ext uri="{FF2B5EF4-FFF2-40B4-BE49-F238E27FC236}">
                  <a16:creationId xmlns:a16="http://schemas.microsoft.com/office/drawing/2014/main" id="{C8F29BAD-AC5E-7043-C336-93677C3D60AC}"/>
                </a:ext>
              </a:extLst>
            </p:cNvPr>
            <p:cNvSpPr/>
            <p:nvPr/>
          </p:nvSpPr>
          <p:spPr>
            <a:xfrm rot="5400000">
              <a:off x="6823363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8" name="Полилиния 1547">
              <a:extLst>
                <a:ext uri="{FF2B5EF4-FFF2-40B4-BE49-F238E27FC236}">
                  <a16:creationId xmlns:a16="http://schemas.microsoft.com/office/drawing/2014/main" id="{BDE21ADC-96CE-3EC7-0E25-3900BD933444}"/>
                </a:ext>
              </a:extLst>
            </p:cNvPr>
            <p:cNvSpPr/>
            <p:nvPr/>
          </p:nvSpPr>
          <p:spPr>
            <a:xfrm>
              <a:off x="8070272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9" name="Полилиния 1548">
              <a:extLst>
                <a:ext uri="{FF2B5EF4-FFF2-40B4-BE49-F238E27FC236}">
                  <a16:creationId xmlns:a16="http://schemas.microsoft.com/office/drawing/2014/main" id="{F2E4D474-2696-E217-EF1B-21F9FAF7F903}"/>
                </a:ext>
              </a:extLst>
            </p:cNvPr>
            <p:cNvSpPr/>
            <p:nvPr/>
          </p:nvSpPr>
          <p:spPr>
            <a:xfrm rot="5400000">
              <a:off x="8485909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0" name="Полилиния 1549">
              <a:extLst>
                <a:ext uri="{FF2B5EF4-FFF2-40B4-BE49-F238E27FC236}">
                  <a16:creationId xmlns:a16="http://schemas.microsoft.com/office/drawing/2014/main" id="{C5C5D245-7A50-A1DB-FF12-1FB3D3F5470C}"/>
                </a:ext>
              </a:extLst>
            </p:cNvPr>
            <p:cNvSpPr/>
            <p:nvPr/>
          </p:nvSpPr>
          <p:spPr>
            <a:xfrm rot="5400000">
              <a:off x="8901545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1" name="Полилиния 1550">
              <a:extLst>
                <a:ext uri="{FF2B5EF4-FFF2-40B4-BE49-F238E27FC236}">
                  <a16:creationId xmlns:a16="http://schemas.microsoft.com/office/drawing/2014/main" id="{5B94C0FA-2E25-D6BF-A219-9EA898CBDBE6}"/>
                </a:ext>
              </a:extLst>
            </p:cNvPr>
            <p:cNvSpPr/>
            <p:nvPr/>
          </p:nvSpPr>
          <p:spPr>
            <a:xfrm rot="-5400000">
              <a:off x="3913909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2" name="Полилиния 1551">
              <a:extLst>
                <a:ext uri="{FF2B5EF4-FFF2-40B4-BE49-F238E27FC236}">
                  <a16:creationId xmlns:a16="http://schemas.microsoft.com/office/drawing/2014/main" id="{E0D862F0-E8AC-E169-0116-9481FB32E9EA}"/>
                </a:ext>
              </a:extLst>
            </p:cNvPr>
            <p:cNvSpPr/>
            <p:nvPr/>
          </p:nvSpPr>
          <p:spPr>
            <a:xfrm>
              <a:off x="4121727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3" name="Полилиния 1552">
              <a:extLst>
                <a:ext uri="{FF2B5EF4-FFF2-40B4-BE49-F238E27FC236}">
                  <a16:creationId xmlns:a16="http://schemas.microsoft.com/office/drawing/2014/main" id="{4AD8CCF9-6BE4-5274-D3BC-86FB237E82A9}"/>
                </a:ext>
              </a:extLst>
            </p:cNvPr>
            <p:cNvSpPr/>
            <p:nvPr/>
          </p:nvSpPr>
          <p:spPr>
            <a:xfrm>
              <a:off x="495300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4" name="Полилиния 1553">
              <a:extLst>
                <a:ext uri="{FF2B5EF4-FFF2-40B4-BE49-F238E27FC236}">
                  <a16:creationId xmlns:a16="http://schemas.microsoft.com/office/drawing/2014/main" id="{272B3DF3-7EB5-4FDE-262C-C3BA2385C27B}"/>
                </a:ext>
              </a:extLst>
            </p:cNvPr>
            <p:cNvSpPr/>
            <p:nvPr/>
          </p:nvSpPr>
          <p:spPr>
            <a:xfrm>
              <a:off x="5160818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5" name="Полилиния 1554">
              <a:extLst>
                <a:ext uri="{FF2B5EF4-FFF2-40B4-BE49-F238E27FC236}">
                  <a16:creationId xmlns:a16="http://schemas.microsoft.com/office/drawing/2014/main" id="{231D18F4-2E6E-B390-2784-39D6DF05B989}"/>
                </a:ext>
              </a:extLst>
            </p:cNvPr>
            <p:cNvSpPr/>
            <p:nvPr/>
          </p:nvSpPr>
          <p:spPr>
            <a:xfrm>
              <a:off x="5368636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6" name="Полилиния 1555">
              <a:extLst>
                <a:ext uri="{FF2B5EF4-FFF2-40B4-BE49-F238E27FC236}">
                  <a16:creationId xmlns:a16="http://schemas.microsoft.com/office/drawing/2014/main" id="{EFC8D4C3-798D-C29F-DE8B-58EE63AE6A7D}"/>
                </a:ext>
              </a:extLst>
            </p:cNvPr>
            <p:cNvSpPr/>
            <p:nvPr/>
          </p:nvSpPr>
          <p:spPr>
            <a:xfrm rot="5400000">
              <a:off x="5576454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7" name="Полилиния 1556">
              <a:extLst>
                <a:ext uri="{FF2B5EF4-FFF2-40B4-BE49-F238E27FC236}">
                  <a16:creationId xmlns:a16="http://schemas.microsoft.com/office/drawing/2014/main" id="{B24C8222-FA3B-771F-C5C5-076F9CC84089}"/>
                </a:ext>
              </a:extLst>
            </p:cNvPr>
            <p:cNvSpPr/>
            <p:nvPr/>
          </p:nvSpPr>
          <p:spPr>
            <a:xfrm rot="-5400000">
              <a:off x="599209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8" name="Полилиния 1557">
              <a:extLst>
                <a:ext uri="{FF2B5EF4-FFF2-40B4-BE49-F238E27FC236}">
                  <a16:creationId xmlns:a16="http://schemas.microsoft.com/office/drawing/2014/main" id="{20F0D92F-8BA6-22AF-1213-68E3923631EF}"/>
                </a:ext>
              </a:extLst>
            </p:cNvPr>
            <p:cNvSpPr/>
            <p:nvPr/>
          </p:nvSpPr>
          <p:spPr>
            <a:xfrm rot="-5400000">
              <a:off x="6615545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9" name="Полилиния 1558">
              <a:extLst>
                <a:ext uri="{FF2B5EF4-FFF2-40B4-BE49-F238E27FC236}">
                  <a16:creationId xmlns:a16="http://schemas.microsoft.com/office/drawing/2014/main" id="{BBD2AA3E-AD37-C448-2F84-F0E07F5AC653}"/>
                </a:ext>
              </a:extLst>
            </p:cNvPr>
            <p:cNvSpPr/>
            <p:nvPr/>
          </p:nvSpPr>
          <p:spPr>
            <a:xfrm rot="-5400000">
              <a:off x="723900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0" name="Полилиния 1559">
              <a:extLst>
                <a:ext uri="{FF2B5EF4-FFF2-40B4-BE49-F238E27FC236}">
                  <a16:creationId xmlns:a16="http://schemas.microsoft.com/office/drawing/2014/main" id="{7B16B551-A667-DC70-455D-FB1E8F8FBB2D}"/>
                </a:ext>
              </a:extLst>
            </p:cNvPr>
            <p:cNvSpPr/>
            <p:nvPr/>
          </p:nvSpPr>
          <p:spPr>
            <a:xfrm>
              <a:off x="8070272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1" name="Полилиния 1560">
              <a:extLst>
                <a:ext uri="{FF2B5EF4-FFF2-40B4-BE49-F238E27FC236}">
                  <a16:creationId xmlns:a16="http://schemas.microsoft.com/office/drawing/2014/main" id="{4B8C06D1-458A-99E6-F255-F7A77092D12F}"/>
                </a:ext>
              </a:extLst>
            </p:cNvPr>
            <p:cNvSpPr/>
            <p:nvPr/>
          </p:nvSpPr>
          <p:spPr>
            <a:xfrm>
              <a:off x="827809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2" name="Полилиния 1561">
              <a:extLst>
                <a:ext uri="{FF2B5EF4-FFF2-40B4-BE49-F238E27FC236}">
                  <a16:creationId xmlns:a16="http://schemas.microsoft.com/office/drawing/2014/main" id="{5EE1812F-11DB-C730-1F22-4F6126088158}"/>
                </a:ext>
              </a:extLst>
            </p:cNvPr>
            <p:cNvSpPr/>
            <p:nvPr/>
          </p:nvSpPr>
          <p:spPr>
            <a:xfrm rot="-5400000">
              <a:off x="3082636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3" name="Полилиния 1562">
              <a:extLst>
                <a:ext uri="{FF2B5EF4-FFF2-40B4-BE49-F238E27FC236}">
                  <a16:creationId xmlns:a16="http://schemas.microsoft.com/office/drawing/2014/main" id="{04EEC281-A769-2158-D7DB-F939DC8CD1C8}"/>
                </a:ext>
              </a:extLst>
            </p:cNvPr>
            <p:cNvSpPr/>
            <p:nvPr/>
          </p:nvSpPr>
          <p:spPr>
            <a:xfrm>
              <a:off x="3290454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4" name="Полилиния 1563">
              <a:extLst>
                <a:ext uri="{FF2B5EF4-FFF2-40B4-BE49-F238E27FC236}">
                  <a16:creationId xmlns:a16="http://schemas.microsoft.com/office/drawing/2014/main" id="{0F009085-4291-68AF-75F4-5B6F45C2DB65}"/>
                </a:ext>
              </a:extLst>
            </p:cNvPr>
            <p:cNvSpPr/>
            <p:nvPr/>
          </p:nvSpPr>
          <p:spPr>
            <a:xfrm>
              <a:off x="3498272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5" name="Полилиния 1564">
              <a:extLst>
                <a:ext uri="{FF2B5EF4-FFF2-40B4-BE49-F238E27FC236}">
                  <a16:creationId xmlns:a16="http://schemas.microsoft.com/office/drawing/2014/main" id="{A894A89C-78EB-C907-DFD0-55D38441E59E}"/>
                </a:ext>
              </a:extLst>
            </p:cNvPr>
            <p:cNvSpPr/>
            <p:nvPr/>
          </p:nvSpPr>
          <p:spPr>
            <a:xfrm>
              <a:off x="370609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6" name="Полилиния 1565">
              <a:extLst>
                <a:ext uri="{FF2B5EF4-FFF2-40B4-BE49-F238E27FC236}">
                  <a16:creationId xmlns:a16="http://schemas.microsoft.com/office/drawing/2014/main" id="{0894B238-07BE-73E2-0611-5F1847E39FD5}"/>
                </a:ext>
              </a:extLst>
            </p:cNvPr>
            <p:cNvSpPr/>
            <p:nvPr/>
          </p:nvSpPr>
          <p:spPr>
            <a:xfrm>
              <a:off x="3913909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7" name="Полилиния 1566">
              <a:extLst>
                <a:ext uri="{FF2B5EF4-FFF2-40B4-BE49-F238E27FC236}">
                  <a16:creationId xmlns:a16="http://schemas.microsoft.com/office/drawing/2014/main" id="{B7A3EBB5-AA59-C179-2CE0-76094ACAAB14}"/>
                </a:ext>
              </a:extLst>
            </p:cNvPr>
            <p:cNvSpPr/>
            <p:nvPr/>
          </p:nvSpPr>
          <p:spPr>
            <a:xfrm>
              <a:off x="4121727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8" name="Полилиния 1567">
              <a:extLst>
                <a:ext uri="{FF2B5EF4-FFF2-40B4-BE49-F238E27FC236}">
                  <a16:creationId xmlns:a16="http://schemas.microsoft.com/office/drawing/2014/main" id="{55D62B3F-ABEE-3992-760D-3E3DBEB300C4}"/>
                </a:ext>
              </a:extLst>
            </p:cNvPr>
            <p:cNvSpPr/>
            <p:nvPr/>
          </p:nvSpPr>
          <p:spPr>
            <a:xfrm rot="5400000">
              <a:off x="4329545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9" name="Полилиния 1568">
              <a:extLst>
                <a:ext uri="{FF2B5EF4-FFF2-40B4-BE49-F238E27FC236}">
                  <a16:creationId xmlns:a16="http://schemas.microsoft.com/office/drawing/2014/main" id="{98542F15-04E9-A5E8-BEAB-41647DCBF8C2}"/>
                </a:ext>
              </a:extLst>
            </p:cNvPr>
            <p:cNvSpPr/>
            <p:nvPr/>
          </p:nvSpPr>
          <p:spPr>
            <a:xfrm rot="-5400000">
              <a:off x="4745181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0" name="Полилиния 1569">
              <a:extLst>
                <a:ext uri="{FF2B5EF4-FFF2-40B4-BE49-F238E27FC236}">
                  <a16:creationId xmlns:a16="http://schemas.microsoft.com/office/drawing/2014/main" id="{A6D39FD6-1007-B918-2FBE-F0985A0895EE}"/>
                </a:ext>
              </a:extLst>
            </p:cNvPr>
            <p:cNvSpPr/>
            <p:nvPr/>
          </p:nvSpPr>
          <p:spPr>
            <a:xfrm>
              <a:off x="5160818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1" name="Полилиния 1570">
              <a:extLst>
                <a:ext uri="{FF2B5EF4-FFF2-40B4-BE49-F238E27FC236}">
                  <a16:creationId xmlns:a16="http://schemas.microsoft.com/office/drawing/2014/main" id="{93E73BD0-C7E6-F018-431B-0AAD460462C1}"/>
                </a:ext>
              </a:extLst>
            </p:cNvPr>
            <p:cNvSpPr/>
            <p:nvPr/>
          </p:nvSpPr>
          <p:spPr>
            <a:xfrm>
              <a:off x="599209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2" name="Полилиния 1571">
              <a:extLst>
                <a:ext uri="{FF2B5EF4-FFF2-40B4-BE49-F238E27FC236}">
                  <a16:creationId xmlns:a16="http://schemas.microsoft.com/office/drawing/2014/main" id="{0BE705F1-0CFF-0FD7-EDA3-3E1944364BDD}"/>
                </a:ext>
              </a:extLst>
            </p:cNvPr>
            <p:cNvSpPr/>
            <p:nvPr/>
          </p:nvSpPr>
          <p:spPr>
            <a:xfrm>
              <a:off x="6199909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3" name="Полилиния 1572">
              <a:extLst>
                <a:ext uri="{FF2B5EF4-FFF2-40B4-BE49-F238E27FC236}">
                  <a16:creationId xmlns:a16="http://schemas.microsoft.com/office/drawing/2014/main" id="{2CAEBAEF-F94E-2640-BD04-C0A282A9A4CF}"/>
                </a:ext>
              </a:extLst>
            </p:cNvPr>
            <p:cNvSpPr/>
            <p:nvPr/>
          </p:nvSpPr>
          <p:spPr>
            <a:xfrm>
              <a:off x="6615545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4" name="Полилиния 1573">
              <a:extLst>
                <a:ext uri="{FF2B5EF4-FFF2-40B4-BE49-F238E27FC236}">
                  <a16:creationId xmlns:a16="http://schemas.microsoft.com/office/drawing/2014/main" id="{73FAC3FF-9D43-D14B-FE0C-EF08B7EDF4AC}"/>
                </a:ext>
              </a:extLst>
            </p:cNvPr>
            <p:cNvSpPr/>
            <p:nvPr/>
          </p:nvSpPr>
          <p:spPr>
            <a:xfrm>
              <a:off x="723900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5" name="Полилиния 1574">
              <a:extLst>
                <a:ext uri="{FF2B5EF4-FFF2-40B4-BE49-F238E27FC236}">
                  <a16:creationId xmlns:a16="http://schemas.microsoft.com/office/drawing/2014/main" id="{1752BEAA-FC60-68D7-AA01-3A602EF6EA9D}"/>
                </a:ext>
              </a:extLst>
            </p:cNvPr>
            <p:cNvSpPr/>
            <p:nvPr/>
          </p:nvSpPr>
          <p:spPr>
            <a:xfrm>
              <a:off x="7446818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6" name="Полилиния 1575">
              <a:extLst>
                <a:ext uri="{FF2B5EF4-FFF2-40B4-BE49-F238E27FC236}">
                  <a16:creationId xmlns:a16="http://schemas.microsoft.com/office/drawing/2014/main" id="{B8EF8FCC-D433-37DA-A437-22EF15BA9434}"/>
                </a:ext>
              </a:extLst>
            </p:cNvPr>
            <p:cNvSpPr/>
            <p:nvPr/>
          </p:nvSpPr>
          <p:spPr>
            <a:xfrm>
              <a:off x="7654636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7" name="Полилиния 1576">
              <a:extLst>
                <a:ext uri="{FF2B5EF4-FFF2-40B4-BE49-F238E27FC236}">
                  <a16:creationId xmlns:a16="http://schemas.microsoft.com/office/drawing/2014/main" id="{E1928B0A-F1BA-CA18-0CBA-7D2EBE15225E}"/>
                </a:ext>
              </a:extLst>
            </p:cNvPr>
            <p:cNvSpPr/>
            <p:nvPr/>
          </p:nvSpPr>
          <p:spPr>
            <a:xfrm>
              <a:off x="7862454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8" name="Полилиния 1577">
              <a:extLst>
                <a:ext uri="{FF2B5EF4-FFF2-40B4-BE49-F238E27FC236}">
                  <a16:creationId xmlns:a16="http://schemas.microsoft.com/office/drawing/2014/main" id="{E8BE3D30-4AB2-E994-F53A-47A2BCD0F300}"/>
                </a:ext>
              </a:extLst>
            </p:cNvPr>
            <p:cNvSpPr/>
            <p:nvPr/>
          </p:nvSpPr>
          <p:spPr>
            <a:xfrm>
              <a:off x="8070272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9" name="Полилиния 1578">
              <a:extLst>
                <a:ext uri="{FF2B5EF4-FFF2-40B4-BE49-F238E27FC236}">
                  <a16:creationId xmlns:a16="http://schemas.microsoft.com/office/drawing/2014/main" id="{6A214863-1C8B-E3AD-2A70-0AF87D8AFAB1}"/>
                </a:ext>
              </a:extLst>
            </p:cNvPr>
            <p:cNvSpPr/>
            <p:nvPr/>
          </p:nvSpPr>
          <p:spPr>
            <a:xfrm rot="5400000">
              <a:off x="827809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0" name="Полилиния 1579">
              <a:extLst>
                <a:ext uri="{FF2B5EF4-FFF2-40B4-BE49-F238E27FC236}">
                  <a16:creationId xmlns:a16="http://schemas.microsoft.com/office/drawing/2014/main" id="{17CE6E6B-4645-05D7-1ECE-54A354B7DD29}"/>
                </a:ext>
              </a:extLst>
            </p:cNvPr>
            <p:cNvSpPr/>
            <p:nvPr/>
          </p:nvSpPr>
          <p:spPr>
            <a:xfrm rot="-5400000">
              <a:off x="8901545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1" name="Полилиния 1580">
              <a:extLst>
                <a:ext uri="{FF2B5EF4-FFF2-40B4-BE49-F238E27FC236}">
                  <a16:creationId xmlns:a16="http://schemas.microsoft.com/office/drawing/2014/main" id="{9F706105-505F-FCE7-0ADA-5DFABF3D5F36}"/>
                </a:ext>
              </a:extLst>
            </p:cNvPr>
            <p:cNvSpPr/>
            <p:nvPr/>
          </p:nvSpPr>
          <p:spPr>
            <a:xfrm rot="5400000">
              <a:off x="4745181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2" name="Полилиния 1581">
              <a:extLst>
                <a:ext uri="{FF2B5EF4-FFF2-40B4-BE49-F238E27FC236}">
                  <a16:creationId xmlns:a16="http://schemas.microsoft.com/office/drawing/2014/main" id="{2ADF0655-0F6A-A49F-384A-9FF98498C19C}"/>
                </a:ext>
              </a:extLst>
            </p:cNvPr>
            <p:cNvSpPr/>
            <p:nvPr/>
          </p:nvSpPr>
          <p:spPr>
            <a:xfrm rot="5400000">
              <a:off x="5160818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3" name="Полилиния 1582">
              <a:extLst>
                <a:ext uri="{FF2B5EF4-FFF2-40B4-BE49-F238E27FC236}">
                  <a16:creationId xmlns:a16="http://schemas.microsoft.com/office/drawing/2014/main" id="{BADD2496-15C9-57DB-73EE-5E64CEABC9A3}"/>
                </a:ext>
              </a:extLst>
            </p:cNvPr>
            <p:cNvSpPr/>
            <p:nvPr/>
          </p:nvSpPr>
          <p:spPr>
            <a:xfrm rot="-5400000">
              <a:off x="5784272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4" name="Полилиния 1583">
              <a:extLst>
                <a:ext uri="{FF2B5EF4-FFF2-40B4-BE49-F238E27FC236}">
                  <a16:creationId xmlns:a16="http://schemas.microsoft.com/office/drawing/2014/main" id="{3DA26D38-E707-05C4-5FC5-740E109395FA}"/>
                </a:ext>
              </a:extLst>
            </p:cNvPr>
            <p:cNvSpPr/>
            <p:nvPr/>
          </p:nvSpPr>
          <p:spPr>
            <a:xfrm>
              <a:off x="6199909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5" name="Полилиния 1584">
              <a:extLst>
                <a:ext uri="{FF2B5EF4-FFF2-40B4-BE49-F238E27FC236}">
                  <a16:creationId xmlns:a16="http://schemas.microsoft.com/office/drawing/2014/main" id="{86EA9AE0-4ACE-CF04-8A81-FDC94FE61AE0}"/>
                </a:ext>
              </a:extLst>
            </p:cNvPr>
            <p:cNvSpPr/>
            <p:nvPr/>
          </p:nvSpPr>
          <p:spPr>
            <a:xfrm>
              <a:off x="6407727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6" name="Полилиния 1585">
              <a:extLst>
                <a:ext uri="{FF2B5EF4-FFF2-40B4-BE49-F238E27FC236}">
                  <a16:creationId xmlns:a16="http://schemas.microsoft.com/office/drawing/2014/main" id="{2F7180D4-74EF-194B-AA75-E2025AC64CFA}"/>
                </a:ext>
              </a:extLst>
            </p:cNvPr>
            <p:cNvSpPr/>
            <p:nvPr/>
          </p:nvSpPr>
          <p:spPr>
            <a:xfrm>
              <a:off x="6615545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7" name="Полилиния 1586">
              <a:extLst>
                <a:ext uri="{FF2B5EF4-FFF2-40B4-BE49-F238E27FC236}">
                  <a16:creationId xmlns:a16="http://schemas.microsoft.com/office/drawing/2014/main" id="{D201F52F-C535-E8BC-F0F8-524162965E27}"/>
                </a:ext>
              </a:extLst>
            </p:cNvPr>
            <p:cNvSpPr/>
            <p:nvPr/>
          </p:nvSpPr>
          <p:spPr>
            <a:xfrm>
              <a:off x="6823363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8" name="Полилиния 1587">
              <a:extLst>
                <a:ext uri="{FF2B5EF4-FFF2-40B4-BE49-F238E27FC236}">
                  <a16:creationId xmlns:a16="http://schemas.microsoft.com/office/drawing/2014/main" id="{6C42A2C5-7139-E13F-B186-7CD74F14B47F}"/>
                </a:ext>
              </a:extLst>
            </p:cNvPr>
            <p:cNvSpPr/>
            <p:nvPr/>
          </p:nvSpPr>
          <p:spPr>
            <a:xfrm>
              <a:off x="7031181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9" name="Полилиния 1588">
              <a:extLst>
                <a:ext uri="{FF2B5EF4-FFF2-40B4-BE49-F238E27FC236}">
                  <a16:creationId xmlns:a16="http://schemas.microsoft.com/office/drawing/2014/main" id="{07DDBACE-11C4-7C1F-10F6-B239CD9B17A9}"/>
                </a:ext>
              </a:extLst>
            </p:cNvPr>
            <p:cNvSpPr/>
            <p:nvPr/>
          </p:nvSpPr>
          <p:spPr>
            <a:xfrm>
              <a:off x="7239000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0" name="Полилиния 1589">
              <a:extLst>
                <a:ext uri="{FF2B5EF4-FFF2-40B4-BE49-F238E27FC236}">
                  <a16:creationId xmlns:a16="http://schemas.microsoft.com/office/drawing/2014/main" id="{28CC2671-CEA5-9A21-0270-F15A493C790E}"/>
                </a:ext>
              </a:extLst>
            </p:cNvPr>
            <p:cNvSpPr/>
            <p:nvPr/>
          </p:nvSpPr>
          <p:spPr>
            <a:xfrm>
              <a:off x="8070272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1" name="Полилиния 1590">
              <a:extLst>
                <a:ext uri="{FF2B5EF4-FFF2-40B4-BE49-F238E27FC236}">
                  <a16:creationId xmlns:a16="http://schemas.microsoft.com/office/drawing/2014/main" id="{21CAD9B9-241F-316E-5117-1BE8F20ED117}"/>
                </a:ext>
              </a:extLst>
            </p:cNvPr>
            <p:cNvSpPr/>
            <p:nvPr/>
          </p:nvSpPr>
          <p:spPr>
            <a:xfrm rot="5400000">
              <a:off x="8485909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2" name="Полилиния 1591">
              <a:extLst>
                <a:ext uri="{FF2B5EF4-FFF2-40B4-BE49-F238E27FC236}">
                  <a16:creationId xmlns:a16="http://schemas.microsoft.com/office/drawing/2014/main" id="{548F2B9A-023E-D786-5013-C3489F6B15B1}"/>
                </a:ext>
              </a:extLst>
            </p:cNvPr>
            <p:cNvSpPr/>
            <p:nvPr/>
          </p:nvSpPr>
          <p:spPr>
            <a:xfrm>
              <a:off x="8901545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3" name="Полилиния 1592">
              <a:extLst>
                <a:ext uri="{FF2B5EF4-FFF2-40B4-BE49-F238E27FC236}">
                  <a16:creationId xmlns:a16="http://schemas.microsoft.com/office/drawing/2014/main" id="{949AB4B2-AA8B-E1F5-A2E3-7F7E28AB9FA6}"/>
                </a:ext>
              </a:extLst>
            </p:cNvPr>
            <p:cNvSpPr/>
            <p:nvPr/>
          </p:nvSpPr>
          <p:spPr>
            <a:xfrm rot="-5400000">
              <a:off x="5368636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4" name="Полилиния 1593">
              <a:extLst>
                <a:ext uri="{FF2B5EF4-FFF2-40B4-BE49-F238E27FC236}">
                  <a16:creationId xmlns:a16="http://schemas.microsoft.com/office/drawing/2014/main" id="{375A1816-28B3-0C21-2E65-4A32840136A9}"/>
                </a:ext>
              </a:extLst>
            </p:cNvPr>
            <p:cNvSpPr/>
            <p:nvPr/>
          </p:nvSpPr>
          <p:spPr>
            <a:xfrm>
              <a:off x="5576454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5" name="Полилиния 1594">
              <a:extLst>
                <a:ext uri="{FF2B5EF4-FFF2-40B4-BE49-F238E27FC236}">
                  <a16:creationId xmlns:a16="http://schemas.microsoft.com/office/drawing/2014/main" id="{415B3959-B0A7-F76D-C912-5A7EBBCAB32D}"/>
                </a:ext>
              </a:extLst>
            </p:cNvPr>
            <p:cNvSpPr/>
            <p:nvPr/>
          </p:nvSpPr>
          <p:spPr>
            <a:xfrm rot="5400000">
              <a:off x="5784272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6" name="Полилиния 1595">
              <a:extLst>
                <a:ext uri="{FF2B5EF4-FFF2-40B4-BE49-F238E27FC236}">
                  <a16:creationId xmlns:a16="http://schemas.microsoft.com/office/drawing/2014/main" id="{9E0305AB-C4EA-0721-BF21-C315D8954EC2}"/>
                </a:ext>
              </a:extLst>
            </p:cNvPr>
            <p:cNvSpPr/>
            <p:nvPr/>
          </p:nvSpPr>
          <p:spPr>
            <a:xfrm>
              <a:off x="6199909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7" name="Полилиния 1596">
              <a:extLst>
                <a:ext uri="{FF2B5EF4-FFF2-40B4-BE49-F238E27FC236}">
                  <a16:creationId xmlns:a16="http://schemas.microsoft.com/office/drawing/2014/main" id="{0E81D269-C428-E5BF-C72D-4F31483B2978}"/>
                </a:ext>
              </a:extLst>
            </p:cNvPr>
            <p:cNvSpPr/>
            <p:nvPr/>
          </p:nvSpPr>
          <p:spPr>
            <a:xfrm rot="5400000">
              <a:off x="6407727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8" name="Полилиния 1597">
              <a:extLst>
                <a:ext uri="{FF2B5EF4-FFF2-40B4-BE49-F238E27FC236}">
                  <a16:creationId xmlns:a16="http://schemas.microsoft.com/office/drawing/2014/main" id="{59C6CB1B-845C-2084-5CC2-99AD103D57C4}"/>
                </a:ext>
              </a:extLst>
            </p:cNvPr>
            <p:cNvSpPr/>
            <p:nvPr/>
          </p:nvSpPr>
          <p:spPr>
            <a:xfrm>
              <a:off x="6823363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9" name="Полилиния 1598">
              <a:extLst>
                <a:ext uri="{FF2B5EF4-FFF2-40B4-BE49-F238E27FC236}">
                  <a16:creationId xmlns:a16="http://schemas.microsoft.com/office/drawing/2014/main" id="{66126ED6-C22E-DA06-6415-847C117E8F24}"/>
                </a:ext>
              </a:extLst>
            </p:cNvPr>
            <p:cNvSpPr/>
            <p:nvPr/>
          </p:nvSpPr>
          <p:spPr>
            <a:xfrm>
              <a:off x="7031181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0" name="Полилиния 1599">
              <a:extLst>
                <a:ext uri="{FF2B5EF4-FFF2-40B4-BE49-F238E27FC236}">
                  <a16:creationId xmlns:a16="http://schemas.microsoft.com/office/drawing/2014/main" id="{6D34592C-4ABC-FD6C-826B-214CB47760D6}"/>
                </a:ext>
              </a:extLst>
            </p:cNvPr>
            <p:cNvSpPr/>
            <p:nvPr/>
          </p:nvSpPr>
          <p:spPr>
            <a:xfrm>
              <a:off x="7239000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1" name="Полилиния 1600">
              <a:extLst>
                <a:ext uri="{FF2B5EF4-FFF2-40B4-BE49-F238E27FC236}">
                  <a16:creationId xmlns:a16="http://schemas.microsoft.com/office/drawing/2014/main" id="{EB1CF7D5-9B1F-BC36-BBD7-DA54EEB05F4C}"/>
                </a:ext>
              </a:extLst>
            </p:cNvPr>
            <p:cNvSpPr/>
            <p:nvPr/>
          </p:nvSpPr>
          <p:spPr>
            <a:xfrm rot="5400000">
              <a:off x="7654636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2" name="Полилиния 1601">
              <a:extLst>
                <a:ext uri="{FF2B5EF4-FFF2-40B4-BE49-F238E27FC236}">
                  <a16:creationId xmlns:a16="http://schemas.microsoft.com/office/drawing/2014/main" id="{446B9D91-E0ED-4224-646E-D6135837BD70}"/>
                </a:ext>
              </a:extLst>
            </p:cNvPr>
            <p:cNvSpPr/>
            <p:nvPr/>
          </p:nvSpPr>
          <p:spPr>
            <a:xfrm>
              <a:off x="8070272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3" name="Полилиния 1602">
              <a:extLst>
                <a:ext uri="{FF2B5EF4-FFF2-40B4-BE49-F238E27FC236}">
                  <a16:creationId xmlns:a16="http://schemas.microsoft.com/office/drawing/2014/main" id="{55E58A6D-04E1-BD0F-0377-5741B6916F5D}"/>
                </a:ext>
              </a:extLst>
            </p:cNvPr>
            <p:cNvSpPr/>
            <p:nvPr/>
          </p:nvSpPr>
          <p:spPr>
            <a:xfrm>
              <a:off x="8901545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4" name="Полилиния 1603">
              <a:extLst>
                <a:ext uri="{FF2B5EF4-FFF2-40B4-BE49-F238E27FC236}">
                  <a16:creationId xmlns:a16="http://schemas.microsoft.com/office/drawing/2014/main" id="{6C150674-959C-B44C-267A-4F3FE0ACD0F5}"/>
                </a:ext>
              </a:extLst>
            </p:cNvPr>
            <p:cNvSpPr/>
            <p:nvPr/>
          </p:nvSpPr>
          <p:spPr>
            <a:xfrm rot="-5400000">
              <a:off x="495300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5" name="Полилиния 1604">
              <a:extLst>
                <a:ext uri="{FF2B5EF4-FFF2-40B4-BE49-F238E27FC236}">
                  <a16:creationId xmlns:a16="http://schemas.microsoft.com/office/drawing/2014/main" id="{E52D31F8-38AA-0E98-ED9E-9505C7B64822}"/>
                </a:ext>
              </a:extLst>
            </p:cNvPr>
            <p:cNvSpPr/>
            <p:nvPr/>
          </p:nvSpPr>
          <p:spPr>
            <a:xfrm>
              <a:off x="5160818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6" name="Полилиния 1605">
              <a:extLst>
                <a:ext uri="{FF2B5EF4-FFF2-40B4-BE49-F238E27FC236}">
                  <a16:creationId xmlns:a16="http://schemas.microsoft.com/office/drawing/2014/main" id="{AAF01059-279B-E482-7031-8AA71E233BDE}"/>
                </a:ext>
              </a:extLst>
            </p:cNvPr>
            <p:cNvSpPr/>
            <p:nvPr/>
          </p:nvSpPr>
          <p:spPr>
            <a:xfrm>
              <a:off x="5368636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7" name="Полилиния 1606">
              <a:extLst>
                <a:ext uri="{FF2B5EF4-FFF2-40B4-BE49-F238E27FC236}">
                  <a16:creationId xmlns:a16="http://schemas.microsoft.com/office/drawing/2014/main" id="{D1A8C69C-1FB6-E62C-5F4B-798D8FBF8BA8}"/>
                </a:ext>
              </a:extLst>
            </p:cNvPr>
            <p:cNvSpPr/>
            <p:nvPr/>
          </p:nvSpPr>
          <p:spPr>
            <a:xfrm rot="5400000">
              <a:off x="5576454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8" name="Полилиния 1607">
              <a:extLst>
                <a:ext uri="{FF2B5EF4-FFF2-40B4-BE49-F238E27FC236}">
                  <a16:creationId xmlns:a16="http://schemas.microsoft.com/office/drawing/2014/main" id="{6A4692A9-A3B5-9AC9-B58A-BC490660A716}"/>
                </a:ext>
              </a:extLst>
            </p:cNvPr>
            <p:cNvSpPr/>
            <p:nvPr/>
          </p:nvSpPr>
          <p:spPr>
            <a:xfrm rot="-5400000">
              <a:off x="599209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9" name="Полилиния 1608">
              <a:extLst>
                <a:ext uri="{FF2B5EF4-FFF2-40B4-BE49-F238E27FC236}">
                  <a16:creationId xmlns:a16="http://schemas.microsoft.com/office/drawing/2014/main" id="{BDAA4711-E89E-C269-4353-391CA43D93BE}"/>
                </a:ext>
              </a:extLst>
            </p:cNvPr>
            <p:cNvSpPr/>
            <p:nvPr/>
          </p:nvSpPr>
          <p:spPr>
            <a:xfrm>
              <a:off x="7031181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0" name="Полилиния 1609">
              <a:extLst>
                <a:ext uri="{FF2B5EF4-FFF2-40B4-BE49-F238E27FC236}">
                  <a16:creationId xmlns:a16="http://schemas.microsoft.com/office/drawing/2014/main" id="{F1E58AE5-87FB-1D7A-8AAF-57719C18ADAD}"/>
                </a:ext>
              </a:extLst>
            </p:cNvPr>
            <p:cNvSpPr/>
            <p:nvPr/>
          </p:nvSpPr>
          <p:spPr>
            <a:xfrm>
              <a:off x="723900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1" name="Полилиния 1610">
              <a:extLst>
                <a:ext uri="{FF2B5EF4-FFF2-40B4-BE49-F238E27FC236}">
                  <a16:creationId xmlns:a16="http://schemas.microsoft.com/office/drawing/2014/main" id="{B5538EE5-4BD2-80B2-5B3E-4A0603C6505A}"/>
                </a:ext>
              </a:extLst>
            </p:cNvPr>
            <p:cNvSpPr/>
            <p:nvPr/>
          </p:nvSpPr>
          <p:spPr>
            <a:xfrm>
              <a:off x="8070272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2" name="Полилиния 1611">
              <a:extLst>
                <a:ext uri="{FF2B5EF4-FFF2-40B4-BE49-F238E27FC236}">
                  <a16:creationId xmlns:a16="http://schemas.microsoft.com/office/drawing/2014/main" id="{73D263E1-191D-BE07-7D38-900F1F81886B}"/>
                </a:ext>
              </a:extLst>
            </p:cNvPr>
            <p:cNvSpPr/>
            <p:nvPr/>
          </p:nvSpPr>
          <p:spPr>
            <a:xfrm rot="5400000">
              <a:off x="827809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3" name="Полилиния 1612">
              <a:extLst>
                <a:ext uri="{FF2B5EF4-FFF2-40B4-BE49-F238E27FC236}">
                  <a16:creationId xmlns:a16="http://schemas.microsoft.com/office/drawing/2014/main" id="{E449E393-3199-A9B4-31AA-1A70A2F87A46}"/>
                </a:ext>
              </a:extLst>
            </p:cNvPr>
            <p:cNvSpPr/>
            <p:nvPr/>
          </p:nvSpPr>
          <p:spPr>
            <a:xfrm rot="-5400000">
              <a:off x="8693727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4" name="Полилиния 1613">
              <a:extLst>
                <a:ext uri="{FF2B5EF4-FFF2-40B4-BE49-F238E27FC236}">
                  <a16:creationId xmlns:a16="http://schemas.microsoft.com/office/drawing/2014/main" id="{7A6904C8-5292-718F-70A7-377199E58D92}"/>
                </a:ext>
              </a:extLst>
            </p:cNvPr>
            <p:cNvSpPr/>
            <p:nvPr/>
          </p:nvSpPr>
          <p:spPr>
            <a:xfrm>
              <a:off x="8901545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5" name="Полилиния 1614">
              <a:extLst>
                <a:ext uri="{FF2B5EF4-FFF2-40B4-BE49-F238E27FC236}">
                  <a16:creationId xmlns:a16="http://schemas.microsoft.com/office/drawing/2014/main" id="{2ABDC518-CC6E-6BDA-4BDA-D7E538538587}"/>
                </a:ext>
              </a:extLst>
            </p:cNvPr>
            <p:cNvSpPr/>
            <p:nvPr/>
          </p:nvSpPr>
          <p:spPr>
            <a:xfrm rot="5400000">
              <a:off x="4745181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6" name="Полилиния 1615">
              <a:extLst>
                <a:ext uri="{FF2B5EF4-FFF2-40B4-BE49-F238E27FC236}">
                  <a16:creationId xmlns:a16="http://schemas.microsoft.com/office/drawing/2014/main" id="{E30863ED-CBD8-4B59-AF46-4C386D0CA6EA}"/>
                </a:ext>
              </a:extLst>
            </p:cNvPr>
            <p:cNvSpPr/>
            <p:nvPr/>
          </p:nvSpPr>
          <p:spPr>
            <a:xfrm rot="-5400000">
              <a:off x="5784272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7" name="Полилиния 1616">
              <a:extLst>
                <a:ext uri="{FF2B5EF4-FFF2-40B4-BE49-F238E27FC236}">
                  <a16:creationId xmlns:a16="http://schemas.microsoft.com/office/drawing/2014/main" id="{19DA1C59-90BB-188D-F2CC-B5114217085F}"/>
                </a:ext>
              </a:extLst>
            </p:cNvPr>
            <p:cNvSpPr/>
            <p:nvPr/>
          </p:nvSpPr>
          <p:spPr>
            <a:xfrm rot="5400000">
              <a:off x="5992090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8" name="Полилиния 1617">
              <a:extLst>
                <a:ext uri="{FF2B5EF4-FFF2-40B4-BE49-F238E27FC236}">
                  <a16:creationId xmlns:a16="http://schemas.microsoft.com/office/drawing/2014/main" id="{69F29B4D-DB67-0E63-FD11-1C1289427EB0}"/>
                </a:ext>
              </a:extLst>
            </p:cNvPr>
            <p:cNvSpPr/>
            <p:nvPr/>
          </p:nvSpPr>
          <p:spPr>
            <a:xfrm rot="5400000">
              <a:off x="6407727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9" name="Полилиния 1618">
              <a:extLst>
                <a:ext uri="{FF2B5EF4-FFF2-40B4-BE49-F238E27FC236}">
                  <a16:creationId xmlns:a16="http://schemas.microsoft.com/office/drawing/2014/main" id="{8491B3E2-132C-6AE8-FBF5-AB72EDCD3344}"/>
                </a:ext>
              </a:extLst>
            </p:cNvPr>
            <p:cNvSpPr/>
            <p:nvPr/>
          </p:nvSpPr>
          <p:spPr>
            <a:xfrm>
              <a:off x="7031181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0" name="Полилиния 1619">
              <a:extLst>
                <a:ext uri="{FF2B5EF4-FFF2-40B4-BE49-F238E27FC236}">
                  <a16:creationId xmlns:a16="http://schemas.microsoft.com/office/drawing/2014/main" id="{FC78FCF8-A760-3732-8D44-857A1DEC138E}"/>
                </a:ext>
              </a:extLst>
            </p:cNvPr>
            <p:cNvSpPr/>
            <p:nvPr/>
          </p:nvSpPr>
          <p:spPr>
            <a:xfrm>
              <a:off x="7239000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1" name="Полилиния 1620">
              <a:extLst>
                <a:ext uri="{FF2B5EF4-FFF2-40B4-BE49-F238E27FC236}">
                  <a16:creationId xmlns:a16="http://schemas.microsoft.com/office/drawing/2014/main" id="{ECA47BEF-4F73-DA21-018A-63C363738E86}"/>
                </a:ext>
              </a:extLst>
            </p:cNvPr>
            <p:cNvSpPr/>
            <p:nvPr/>
          </p:nvSpPr>
          <p:spPr>
            <a:xfrm>
              <a:off x="7446818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2" name="Полилиния 1621">
              <a:extLst>
                <a:ext uri="{FF2B5EF4-FFF2-40B4-BE49-F238E27FC236}">
                  <a16:creationId xmlns:a16="http://schemas.microsoft.com/office/drawing/2014/main" id="{381E05E4-BAFD-5E29-EBF8-8079D077FDF0}"/>
                </a:ext>
              </a:extLst>
            </p:cNvPr>
            <p:cNvSpPr/>
            <p:nvPr/>
          </p:nvSpPr>
          <p:spPr>
            <a:xfrm>
              <a:off x="7654636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3" name="Полилиния 1622">
              <a:extLst>
                <a:ext uri="{FF2B5EF4-FFF2-40B4-BE49-F238E27FC236}">
                  <a16:creationId xmlns:a16="http://schemas.microsoft.com/office/drawing/2014/main" id="{1445A519-B48E-B90E-53AC-B35FA98370B0}"/>
                </a:ext>
              </a:extLst>
            </p:cNvPr>
            <p:cNvSpPr/>
            <p:nvPr/>
          </p:nvSpPr>
          <p:spPr>
            <a:xfrm>
              <a:off x="7862454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4" name="Полилиния 1623">
              <a:extLst>
                <a:ext uri="{FF2B5EF4-FFF2-40B4-BE49-F238E27FC236}">
                  <a16:creationId xmlns:a16="http://schemas.microsoft.com/office/drawing/2014/main" id="{63F948B0-6A9E-E002-BC88-DF012190BD9F}"/>
                </a:ext>
              </a:extLst>
            </p:cNvPr>
            <p:cNvSpPr/>
            <p:nvPr/>
          </p:nvSpPr>
          <p:spPr>
            <a:xfrm rot="5400000">
              <a:off x="8070272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5" name="Полилиния 1624">
              <a:extLst>
                <a:ext uri="{FF2B5EF4-FFF2-40B4-BE49-F238E27FC236}">
                  <a16:creationId xmlns:a16="http://schemas.microsoft.com/office/drawing/2014/main" id="{C2DD768F-3120-FAA2-CE88-2B01DB283E2A}"/>
                </a:ext>
              </a:extLst>
            </p:cNvPr>
            <p:cNvSpPr/>
            <p:nvPr/>
          </p:nvSpPr>
          <p:spPr>
            <a:xfrm>
              <a:off x="8693727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6" name="Полилиния 1625">
              <a:extLst>
                <a:ext uri="{FF2B5EF4-FFF2-40B4-BE49-F238E27FC236}">
                  <a16:creationId xmlns:a16="http://schemas.microsoft.com/office/drawing/2014/main" id="{AFB2988D-499A-A7AF-5B25-A4E21D528C9C}"/>
                </a:ext>
              </a:extLst>
            </p:cNvPr>
            <p:cNvSpPr/>
            <p:nvPr/>
          </p:nvSpPr>
          <p:spPr>
            <a:xfrm rot="5400000">
              <a:off x="8901545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7" name="Полилиния 1626">
              <a:extLst>
                <a:ext uri="{FF2B5EF4-FFF2-40B4-BE49-F238E27FC236}">
                  <a16:creationId xmlns:a16="http://schemas.microsoft.com/office/drawing/2014/main" id="{59BBB9E1-265A-4763-F5E6-D97370763A93}"/>
                </a:ext>
              </a:extLst>
            </p:cNvPr>
            <p:cNvSpPr/>
            <p:nvPr/>
          </p:nvSpPr>
          <p:spPr>
            <a:xfrm rot="-5400000">
              <a:off x="5160818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8" name="Полилиния 1627">
              <a:extLst>
                <a:ext uri="{FF2B5EF4-FFF2-40B4-BE49-F238E27FC236}">
                  <a16:creationId xmlns:a16="http://schemas.microsoft.com/office/drawing/2014/main" id="{5A78DE1C-6BCE-8C73-9828-8F9AF4B6F295}"/>
                </a:ext>
              </a:extLst>
            </p:cNvPr>
            <p:cNvSpPr/>
            <p:nvPr/>
          </p:nvSpPr>
          <p:spPr>
            <a:xfrm>
              <a:off x="5368636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9" name="Полилиния 1628">
              <a:extLst>
                <a:ext uri="{FF2B5EF4-FFF2-40B4-BE49-F238E27FC236}">
                  <a16:creationId xmlns:a16="http://schemas.microsoft.com/office/drawing/2014/main" id="{B92C94E9-801A-73ED-FE16-952738E5B2AC}"/>
                </a:ext>
              </a:extLst>
            </p:cNvPr>
            <p:cNvSpPr/>
            <p:nvPr/>
          </p:nvSpPr>
          <p:spPr>
            <a:xfrm>
              <a:off x="5576454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0" name="Полилиния 1629">
              <a:extLst>
                <a:ext uri="{FF2B5EF4-FFF2-40B4-BE49-F238E27FC236}">
                  <a16:creationId xmlns:a16="http://schemas.microsoft.com/office/drawing/2014/main" id="{5C70919A-5DB5-3EEA-06FE-25A8DC2F17B4}"/>
                </a:ext>
              </a:extLst>
            </p:cNvPr>
            <p:cNvSpPr/>
            <p:nvPr/>
          </p:nvSpPr>
          <p:spPr>
            <a:xfrm>
              <a:off x="5784272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1" name="Полилиния 1630">
              <a:extLst>
                <a:ext uri="{FF2B5EF4-FFF2-40B4-BE49-F238E27FC236}">
                  <a16:creationId xmlns:a16="http://schemas.microsoft.com/office/drawing/2014/main" id="{62341FB0-DFCC-75F5-14FE-02DF272F6B59}"/>
                </a:ext>
              </a:extLst>
            </p:cNvPr>
            <p:cNvSpPr/>
            <p:nvPr/>
          </p:nvSpPr>
          <p:spPr>
            <a:xfrm rot="-5400000">
              <a:off x="6615545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2" name="Полилиния 1631">
              <a:extLst>
                <a:ext uri="{FF2B5EF4-FFF2-40B4-BE49-F238E27FC236}">
                  <a16:creationId xmlns:a16="http://schemas.microsoft.com/office/drawing/2014/main" id="{66A51CBE-E299-8CB8-D3EF-68A164EF0139}"/>
                </a:ext>
              </a:extLst>
            </p:cNvPr>
            <p:cNvSpPr/>
            <p:nvPr/>
          </p:nvSpPr>
          <p:spPr>
            <a:xfrm>
              <a:off x="6823363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3" name="Полилиния 1632">
              <a:extLst>
                <a:ext uri="{FF2B5EF4-FFF2-40B4-BE49-F238E27FC236}">
                  <a16:creationId xmlns:a16="http://schemas.microsoft.com/office/drawing/2014/main" id="{E4C27A56-ACDB-ACAC-B448-E39C1997CA79}"/>
                </a:ext>
              </a:extLst>
            </p:cNvPr>
            <p:cNvSpPr/>
            <p:nvPr/>
          </p:nvSpPr>
          <p:spPr>
            <a:xfrm rot="5400000">
              <a:off x="7862454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4" name="Полилиния 1633">
              <a:extLst>
                <a:ext uri="{FF2B5EF4-FFF2-40B4-BE49-F238E27FC236}">
                  <a16:creationId xmlns:a16="http://schemas.microsoft.com/office/drawing/2014/main" id="{45E30FAF-70B0-CE94-AC6D-DE6D5FB0AA5B}"/>
                </a:ext>
              </a:extLst>
            </p:cNvPr>
            <p:cNvSpPr/>
            <p:nvPr/>
          </p:nvSpPr>
          <p:spPr>
            <a:xfrm rot="-5400000">
              <a:off x="8278090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5" name="Полилиния 1634">
              <a:extLst>
                <a:ext uri="{FF2B5EF4-FFF2-40B4-BE49-F238E27FC236}">
                  <a16:creationId xmlns:a16="http://schemas.microsoft.com/office/drawing/2014/main" id="{BCD049B6-00F6-C211-2CA8-C7A7B298CA11}"/>
                </a:ext>
              </a:extLst>
            </p:cNvPr>
            <p:cNvSpPr/>
            <p:nvPr/>
          </p:nvSpPr>
          <p:spPr>
            <a:xfrm>
              <a:off x="8485909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6" name="Полилиния 1635">
              <a:extLst>
                <a:ext uri="{FF2B5EF4-FFF2-40B4-BE49-F238E27FC236}">
                  <a16:creationId xmlns:a16="http://schemas.microsoft.com/office/drawing/2014/main" id="{68273CE3-4915-3692-6123-E340E1A3237C}"/>
                </a:ext>
              </a:extLst>
            </p:cNvPr>
            <p:cNvSpPr/>
            <p:nvPr/>
          </p:nvSpPr>
          <p:spPr>
            <a:xfrm>
              <a:off x="8693727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7" name="Полилиния 1636">
              <a:extLst>
                <a:ext uri="{FF2B5EF4-FFF2-40B4-BE49-F238E27FC236}">
                  <a16:creationId xmlns:a16="http://schemas.microsoft.com/office/drawing/2014/main" id="{AC229264-B2D9-7ADF-DCBA-0A913E2468AD}"/>
                </a:ext>
              </a:extLst>
            </p:cNvPr>
            <p:cNvSpPr/>
            <p:nvPr/>
          </p:nvSpPr>
          <p:spPr>
            <a:xfrm rot="-5400000">
              <a:off x="495300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8" name="Полилиния 1637">
              <a:extLst>
                <a:ext uri="{FF2B5EF4-FFF2-40B4-BE49-F238E27FC236}">
                  <a16:creationId xmlns:a16="http://schemas.microsoft.com/office/drawing/2014/main" id="{68553443-287F-65A2-21BE-8EFD780B658D}"/>
                </a:ext>
              </a:extLst>
            </p:cNvPr>
            <p:cNvSpPr/>
            <p:nvPr/>
          </p:nvSpPr>
          <p:spPr>
            <a:xfrm rot="5400000">
              <a:off x="5160818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9" name="Полилиния 1638">
              <a:extLst>
                <a:ext uri="{FF2B5EF4-FFF2-40B4-BE49-F238E27FC236}">
                  <a16:creationId xmlns:a16="http://schemas.microsoft.com/office/drawing/2014/main" id="{93DB5272-C060-1C00-A3E1-336A3BF24F1B}"/>
                </a:ext>
              </a:extLst>
            </p:cNvPr>
            <p:cNvSpPr/>
            <p:nvPr/>
          </p:nvSpPr>
          <p:spPr>
            <a:xfrm>
              <a:off x="5784272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0" name="Полилиния 1639">
              <a:extLst>
                <a:ext uri="{FF2B5EF4-FFF2-40B4-BE49-F238E27FC236}">
                  <a16:creationId xmlns:a16="http://schemas.microsoft.com/office/drawing/2014/main" id="{F7EBAAB8-862D-4E52-F0B5-8ECF6DE84EEE}"/>
                </a:ext>
              </a:extLst>
            </p:cNvPr>
            <p:cNvSpPr/>
            <p:nvPr/>
          </p:nvSpPr>
          <p:spPr>
            <a:xfrm>
              <a:off x="599209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1" name="Полилиния 1640">
              <a:extLst>
                <a:ext uri="{FF2B5EF4-FFF2-40B4-BE49-F238E27FC236}">
                  <a16:creationId xmlns:a16="http://schemas.microsoft.com/office/drawing/2014/main" id="{28504FF6-5799-BAF6-FF3A-A89F936C642D}"/>
                </a:ext>
              </a:extLst>
            </p:cNvPr>
            <p:cNvSpPr/>
            <p:nvPr/>
          </p:nvSpPr>
          <p:spPr>
            <a:xfrm>
              <a:off x="6199909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2" name="Полилиния 1641">
              <a:extLst>
                <a:ext uri="{FF2B5EF4-FFF2-40B4-BE49-F238E27FC236}">
                  <a16:creationId xmlns:a16="http://schemas.microsoft.com/office/drawing/2014/main" id="{5D115656-031E-358B-8EBE-98A2BA7F3A89}"/>
                </a:ext>
              </a:extLst>
            </p:cNvPr>
            <p:cNvSpPr/>
            <p:nvPr/>
          </p:nvSpPr>
          <p:spPr>
            <a:xfrm>
              <a:off x="6823363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3" name="Полилиния 1642">
              <a:extLst>
                <a:ext uri="{FF2B5EF4-FFF2-40B4-BE49-F238E27FC236}">
                  <a16:creationId xmlns:a16="http://schemas.microsoft.com/office/drawing/2014/main" id="{D08E5505-92F6-F51A-225E-48DC8CEC956B}"/>
                </a:ext>
              </a:extLst>
            </p:cNvPr>
            <p:cNvSpPr/>
            <p:nvPr/>
          </p:nvSpPr>
          <p:spPr>
            <a:xfrm>
              <a:off x="7031181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4" name="Полилиния 1643">
              <a:extLst>
                <a:ext uri="{FF2B5EF4-FFF2-40B4-BE49-F238E27FC236}">
                  <a16:creationId xmlns:a16="http://schemas.microsoft.com/office/drawing/2014/main" id="{B0E31FE2-B0C7-A6C7-7875-3EC8E9C9CCD2}"/>
                </a:ext>
              </a:extLst>
            </p:cNvPr>
            <p:cNvSpPr/>
            <p:nvPr/>
          </p:nvSpPr>
          <p:spPr>
            <a:xfrm>
              <a:off x="723900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5" name="Полилиния 1644">
              <a:extLst>
                <a:ext uri="{FF2B5EF4-FFF2-40B4-BE49-F238E27FC236}">
                  <a16:creationId xmlns:a16="http://schemas.microsoft.com/office/drawing/2014/main" id="{908E7ADF-7572-7751-CAEA-1D24BF220A8E}"/>
                </a:ext>
              </a:extLst>
            </p:cNvPr>
            <p:cNvSpPr/>
            <p:nvPr/>
          </p:nvSpPr>
          <p:spPr>
            <a:xfrm>
              <a:off x="7446818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6" name="Полилиния 1645">
              <a:extLst>
                <a:ext uri="{FF2B5EF4-FFF2-40B4-BE49-F238E27FC236}">
                  <a16:creationId xmlns:a16="http://schemas.microsoft.com/office/drawing/2014/main" id="{3C3FD391-5416-B548-1FA1-5298B9CE0BCD}"/>
                </a:ext>
              </a:extLst>
            </p:cNvPr>
            <p:cNvSpPr/>
            <p:nvPr/>
          </p:nvSpPr>
          <p:spPr>
            <a:xfrm>
              <a:off x="827809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7" name="Полилиния 1646">
              <a:extLst>
                <a:ext uri="{FF2B5EF4-FFF2-40B4-BE49-F238E27FC236}">
                  <a16:creationId xmlns:a16="http://schemas.microsoft.com/office/drawing/2014/main" id="{1FF6A6DA-8D02-78DC-73BB-59909CAFE187}"/>
                </a:ext>
              </a:extLst>
            </p:cNvPr>
            <p:cNvSpPr/>
            <p:nvPr/>
          </p:nvSpPr>
          <p:spPr>
            <a:xfrm>
              <a:off x="8485909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8" name="Полилиния 1647">
              <a:extLst>
                <a:ext uri="{FF2B5EF4-FFF2-40B4-BE49-F238E27FC236}">
                  <a16:creationId xmlns:a16="http://schemas.microsoft.com/office/drawing/2014/main" id="{0138C9D6-30EB-6B43-B5E6-F7DF0631FE44}"/>
                </a:ext>
              </a:extLst>
            </p:cNvPr>
            <p:cNvSpPr/>
            <p:nvPr/>
          </p:nvSpPr>
          <p:spPr>
            <a:xfrm>
              <a:off x="8693727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9" name="Полилиния 1648">
              <a:extLst>
                <a:ext uri="{FF2B5EF4-FFF2-40B4-BE49-F238E27FC236}">
                  <a16:creationId xmlns:a16="http://schemas.microsoft.com/office/drawing/2014/main" id="{0BE92DA6-31A0-2F4C-BB57-FB746E4EFF1B}"/>
                </a:ext>
              </a:extLst>
            </p:cNvPr>
            <p:cNvSpPr/>
            <p:nvPr/>
          </p:nvSpPr>
          <p:spPr>
            <a:xfrm>
              <a:off x="8901545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0" name="Полилиния 1649">
              <a:extLst>
                <a:ext uri="{FF2B5EF4-FFF2-40B4-BE49-F238E27FC236}">
                  <a16:creationId xmlns:a16="http://schemas.microsoft.com/office/drawing/2014/main" id="{1E54BB95-8D9B-D285-B979-CA30845D0750}"/>
                </a:ext>
              </a:extLst>
            </p:cNvPr>
            <p:cNvSpPr/>
            <p:nvPr/>
          </p:nvSpPr>
          <p:spPr>
            <a:xfrm rot="-5400000">
              <a:off x="4745181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1" name="Полилиния 1650">
              <a:extLst>
                <a:ext uri="{FF2B5EF4-FFF2-40B4-BE49-F238E27FC236}">
                  <a16:creationId xmlns:a16="http://schemas.microsoft.com/office/drawing/2014/main" id="{C60FAF20-EE4E-80BE-716B-817FF4FA1E6A}"/>
                </a:ext>
              </a:extLst>
            </p:cNvPr>
            <p:cNvSpPr/>
            <p:nvPr/>
          </p:nvSpPr>
          <p:spPr>
            <a:xfrm>
              <a:off x="4953000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2" name="Полилиния 1651">
              <a:extLst>
                <a:ext uri="{FF2B5EF4-FFF2-40B4-BE49-F238E27FC236}">
                  <a16:creationId xmlns:a16="http://schemas.microsoft.com/office/drawing/2014/main" id="{B3C64FD5-8B9A-92CA-16F0-8489925D66F0}"/>
                </a:ext>
              </a:extLst>
            </p:cNvPr>
            <p:cNvSpPr/>
            <p:nvPr/>
          </p:nvSpPr>
          <p:spPr>
            <a:xfrm rot="-5400000">
              <a:off x="5368636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3" name="Полилиния 1652">
              <a:extLst>
                <a:ext uri="{FF2B5EF4-FFF2-40B4-BE49-F238E27FC236}">
                  <a16:creationId xmlns:a16="http://schemas.microsoft.com/office/drawing/2014/main" id="{478C52DA-E86C-D5B4-65AD-4BF9CB715552}"/>
                </a:ext>
              </a:extLst>
            </p:cNvPr>
            <p:cNvSpPr/>
            <p:nvPr/>
          </p:nvSpPr>
          <p:spPr>
            <a:xfrm rot="5400000">
              <a:off x="5576454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4" name="Полилиния 1653">
              <a:extLst>
                <a:ext uri="{FF2B5EF4-FFF2-40B4-BE49-F238E27FC236}">
                  <a16:creationId xmlns:a16="http://schemas.microsoft.com/office/drawing/2014/main" id="{A5AD4AD3-D264-FBD7-375C-FDF93310DBE6}"/>
                </a:ext>
              </a:extLst>
            </p:cNvPr>
            <p:cNvSpPr/>
            <p:nvPr/>
          </p:nvSpPr>
          <p:spPr>
            <a:xfrm>
              <a:off x="6199909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5" name="Полилиния 1654">
              <a:extLst>
                <a:ext uri="{FF2B5EF4-FFF2-40B4-BE49-F238E27FC236}">
                  <a16:creationId xmlns:a16="http://schemas.microsoft.com/office/drawing/2014/main" id="{8A5DC6FE-F605-1231-B0F8-E0815D8CAD9D}"/>
                </a:ext>
              </a:extLst>
            </p:cNvPr>
            <p:cNvSpPr/>
            <p:nvPr/>
          </p:nvSpPr>
          <p:spPr>
            <a:xfrm>
              <a:off x="6407727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6" name="Полилиния 1655">
              <a:extLst>
                <a:ext uri="{FF2B5EF4-FFF2-40B4-BE49-F238E27FC236}">
                  <a16:creationId xmlns:a16="http://schemas.microsoft.com/office/drawing/2014/main" id="{78BC1BD1-AF70-D502-E4AE-B81A5B15DE27}"/>
                </a:ext>
              </a:extLst>
            </p:cNvPr>
            <p:cNvSpPr/>
            <p:nvPr/>
          </p:nvSpPr>
          <p:spPr>
            <a:xfrm>
              <a:off x="6615545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7" name="Полилиния 1656">
              <a:extLst>
                <a:ext uri="{FF2B5EF4-FFF2-40B4-BE49-F238E27FC236}">
                  <a16:creationId xmlns:a16="http://schemas.microsoft.com/office/drawing/2014/main" id="{E01FA868-DA95-E294-0110-807AE040FD16}"/>
                </a:ext>
              </a:extLst>
            </p:cNvPr>
            <p:cNvSpPr/>
            <p:nvPr/>
          </p:nvSpPr>
          <p:spPr>
            <a:xfrm rot="5400000">
              <a:off x="6823363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8" name="Полилиния 1657">
              <a:extLst>
                <a:ext uri="{FF2B5EF4-FFF2-40B4-BE49-F238E27FC236}">
                  <a16:creationId xmlns:a16="http://schemas.microsoft.com/office/drawing/2014/main" id="{012EB892-502F-AE0E-D83D-D25F3BFD10EF}"/>
                </a:ext>
              </a:extLst>
            </p:cNvPr>
            <p:cNvSpPr/>
            <p:nvPr/>
          </p:nvSpPr>
          <p:spPr>
            <a:xfrm>
              <a:off x="7239000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9" name="Полилиния 1658">
              <a:extLst>
                <a:ext uri="{FF2B5EF4-FFF2-40B4-BE49-F238E27FC236}">
                  <a16:creationId xmlns:a16="http://schemas.microsoft.com/office/drawing/2014/main" id="{DBEB7DA5-BC90-CD8F-9A37-422E47727092}"/>
                </a:ext>
              </a:extLst>
            </p:cNvPr>
            <p:cNvSpPr/>
            <p:nvPr/>
          </p:nvSpPr>
          <p:spPr>
            <a:xfrm>
              <a:off x="7446818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0" name="Полилиния 1659">
              <a:extLst>
                <a:ext uri="{FF2B5EF4-FFF2-40B4-BE49-F238E27FC236}">
                  <a16:creationId xmlns:a16="http://schemas.microsoft.com/office/drawing/2014/main" id="{D7F4169C-5579-6790-657B-1AD1F435B498}"/>
                </a:ext>
              </a:extLst>
            </p:cNvPr>
            <p:cNvSpPr/>
            <p:nvPr/>
          </p:nvSpPr>
          <p:spPr>
            <a:xfrm>
              <a:off x="7654636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1" name="Полилиния 1660">
              <a:extLst>
                <a:ext uri="{FF2B5EF4-FFF2-40B4-BE49-F238E27FC236}">
                  <a16:creationId xmlns:a16="http://schemas.microsoft.com/office/drawing/2014/main" id="{CEE59843-D664-052E-9212-C9E0B1DFEDB8}"/>
                </a:ext>
              </a:extLst>
            </p:cNvPr>
            <p:cNvSpPr/>
            <p:nvPr/>
          </p:nvSpPr>
          <p:spPr>
            <a:xfrm rot="5400000">
              <a:off x="7862454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2" name="Полилиния 1661">
              <a:extLst>
                <a:ext uri="{FF2B5EF4-FFF2-40B4-BE49-F238E27FC236}">
                  <a16:creationId xmlns:a16="http://schemas.microsoft.com/office/drawing/2014/main" id="{A3637622-2444-A288-3DF0-F075C8EEAA25}"/>
                </a:ext>
              </a:extLst>
            </p:cNvPr>
            <p:cNvSpPr/>
            <p:nvPr/>
          </p:nvSpPr>
          <p:spPr>
            <a:xfrm>
              <a:off x="8278090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3" name="Полилиния 1662">
              <a:extLst>
                <a:ext uri="{FF2B5EF4-FFF2-40B4-BE49-F238E27FC236}">
                  <a16:creationId xmlns:a16="http://schemas.microsoft.com/office/drawing/2014/main" id="{3D2F8E99-0515-666B-F2EE-12A7D7EB4CCA}"/>
                </a:ext>
              </a:extLst>
            </p:cNvPr>
            <p:cNvSpPr/>
            <p:nvPr/>
          </p:nvSpPr>
          <p:spPr>
            <a:xfrm>
              <a:off x="8693727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4" name="Полилиния 1663">
              <a:extLst>
                <a:ext uri="{FF2B5EF4-FFF2-40B4-BE49-F238E27FC236}">
                  <a16:creationId xmlns:a16="http://schemas.microsoft.com/office/drawing/2014/main" id="{F36C0B41-A7E2-CFD8-09FB-A46E84C0DE9E}"/>
                </a:ext>
              </a:extLst>
            </p:cNvPr>
            <p:cNvSpPr/>
            <p:nvPr/>
          </p:nvSpPr>
          <p:spPr>
            <a:xfrm rot="5400000">
              <a:off x="8901545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5" name="Полилиния 1664">
              <a:extLst>
                <a:ext uri="{FF2B5EF4-FFF2-40B4-BE49-F238E27FC236}">
                  <a16:creationId xmlns:a16="http://schemas.microsoft.com/office/drawing/2014/main" id="{B912AA2D-2662-761A-03C7-9BB7C3243DD1}"/>
                </a:ext>
              </a:extLst>
            </p:cNvPr>
            <p:cNvSpPr/>
            <p:nvPr/>
          </p:nvSpPr>
          <p:spPr>
            <a:xfrm>
              <a:off x="4953000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6" name="Полилиния 1665">
              <a:extLst>
                <a:ext uri="{FF2B5EF4-FFF2-40B4-BE49-F238E27FC236}">
                  <a16:creationId xmlns:a16="http://schemas.microsoft.com/office/drawing/2014/main" id="{0F816682-DC90-CB3C-406A-270920064C31}"/>
                </a:ext>
              </a:extLst>
            </p:cNvPr>
            <p:cNvSpPr/>
            <p:nvPr/>
          </p:nvSpPr>
          <p:spPr>
            <a:xfrm rot="5400000">
              <a:off x="5160818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7" name="Полилиния 1666">
              <a:extLst>
                <a:ext uri="{FF2B5EF4-FFF2-40B4-BE49-F238E27FC236}">
                  <a16:creationId xmlns:a16="http://schemas.microsoft.com/office/drawing/2014/main" id="{62882DEC-5BFA-B625-0723-417368E73A1F}"/>
                </a:ext>
              </a:extLst>
            </p:cNvPr>
            <p:cNvSpPr/>
            <p:nvPr/>
          </p:nvSpPr>
          <p:spPr>
            <a:xfrm>
              <a:off x="6407727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8" name="Полилиния 1667">
              <a:extLst>
                <a:ext uri="{FF2B5EF4-FFF2-40B4-BE49-F238E27FC236}">
                  <a16:creationId xmlns:a16="http://schemas.microsoft.com/office/drawing/2014/main" id="{3DDE11AC-67C0-8C4B-7F2C-D59ED58F72B8}"/>
                </a:ext>
              </a:extLst>
            </p:cNvPr>
            <p:cNvSpPr/>
            <p:nvPr/>
          </p:nvSpPr>
          <p:spPr>
            <a:xfrm rot="5400000">
              <a:off x="6615545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9" name="Полилиния 1668">
              <a:extLst>
                <a:ext uri="{FF2B5EF4-FFF2-40B4-BE49-F238E27FC236}">
                  <a16:creationId xmlns:a16="http://schemas.microsoft.com/office/drawing/2014/main" id="{CA6D3803-754B-AAEE-0E20-4C77975ADD4D}"/>
                </a:ext>
              </a:extLst>
            </p:cNvPr>
            <p:cNvSpPr/>
            <p:nvPr/>
          </p:nvSpPr>
          <p:spPr>
            <a:xfrm rot="5400000">
              <a:off x="7239000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0" name="Полилиния 1669">
              <a:extLst>
                <a:ext uri="{FF2B5EF4-FFF2-40B4-BE49-F238E27FC236}">
                  <a16:creationId xmlns:a16="http://schemas.microsoft.com/office/drawing/2014/main" id="{9830119D-90F0-2EC6-4FAF-498A056284D8}"/>
                </a:ext>
              </a:extLst>
            </p:cNvPr>
            <p:cNvSpPr/>
            <p:nvPr/>
          </p:nvSpPr>
          <p:spPr>
            <a:xfrm rot="5400000">
              <a:off x="7654636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1" name="Полилиния 1670">
              <a:extLst>
                <a:ext uri="{FF2B5EF4-FFF2-40B4-BE49-F238E27FC236}">
                  <a16:creationId xmlns:a16="http://schemas.microsoft.com/office/drawing/2014/main" id="{3D91ED63-6C1B-1A1A-DA60-9311E2FA940B}"/>
                </a:ext>
              </a:extLst>
            </p:cNvPr>
            <p:cNvSpPr/>
            <p:nvPr/>
          </p:nvSpPr>
          <p:spPr>
            <a:xfrm rot="-5400000">
              <a:off x="8070272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2" name="Полилиния 1671">
              <a:extLst>
                <a:ext uri="{FF2B5EF4-FFF2-40B4-BE49-F238E27FC236}">
                  <a16:creationId xmlns:a16="http://schemas.microsoft.com/office/drawing/2014/main" id="{C0AC77B1-AB32-6C56-DCE8-21B742726C8F}"/>
                </a:ext>
              </a:extLst>
            </p:cNvPr>
            <p:cNvSpPr/>
            <p:nvPr/>
          </p:nvSpPr>
          <p:spPr>
            <a:xfrm rot="5400000">
              <a:off x="8278090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3" name="Полилиния 1672">
              <a:extLst>
                <a:ext uri="{FF2B5EF4-FFF2-40B4-BE49-F238E27FC236}">
                  <a16:creationId xmlns:a16="http://schemas.microsoft.com/office/drawing/2014/main" id="{093C0B2C-8E92-1878-ED5F-DBBD8F17B84C}"/>
                </a:ext>
              </a:extLst>
            </p:cNvPr>
            <p:cNvSpPr/>
            <p:nvPr/>
          </p:nvSpPr>
          <p:spPr>
            <a:xfrm rot="5400000">
              <a:off x="8693727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674" name="Группа 1673">
            <a:extLst>
              <a:ext uri="{FF2B5EF4-FFF2-40B4-BE49-F238E27FC236}">
                <a16:creationId xmlns:a16="http://schemas.microsoft.com/office/drawing/2014/main" id="{A7B8BA5F-A26E-4E6F-8BAF-5BA8E30F411A}"/>
              </a:ext>
            </a:extLst>
          </p:cNvPr>
          <p:cNvGrpSpPr/>
          <p:nvPr/>
        </p:nvGrpSpPr>
        <p:grpSpPr>
          <a:xfrm>
            <a:off x="686002" y="-5876465"/>
            <a:ext cx="3945470" cy="4947082"/>
            <a:chOff x="686002" y="584200"/>
            <a:chExt cx="3945470" cy="4947082"/>
          </a:xfrm>
        </p:grpSpPr>
        <p:pic>
          <p:nvPicPr>
            <p:cNvPr id="1675" name="Рисунок 1674">
              <a:extLst>
                <a:ext uri="{FF2B5EF4-FFF2-40B4-BE49-F238E27FC236}">
                  <a16:creationId xmlns:a16="http://schemas.microsoft.com/office/drawing/2014/main" id="{0689C30D-250A-F536-3FAA-AF8F2EBA99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86002" y="1585812"/>
              <a:ext cx="3945470" cy="3945470"/>
            </a:xfrm>
            <a:prstGeom prst="roundRect">
              <a:avLst>
                <a:gd name="adj" fmla="val 10465"/>
              </a:avLst>
            </a:prstGeom>
          </p:spPr>
        </p:pic>
        <p:sp>
          <p:nvSpPr>
            <p:cNvPr id="1676" name="Скругленный прямоугольник 1675">
              <a:extLst>
                <a:ext uri="{FF2B5EF4-FFF2-40B4-BE49-F238E27FC236}">
                  <a16:creationId xmlns:a16="http://schemas.microsoft.com/office/drawing/2014/main" id="{E3B62498-3702-E716-0C75-6A2704A38BB7}"/>
                </a:ext>
              </a:extLst>
            </p:cNvPr>
            <p:cNvSpPr/>
            <p:nvPr/>
          </p:nvSpPr>
          <p:spPr>
            <a:xfrm>
              <a:off x="686002" y="584200"/>
              <a:ext cx="3793233" cy="702365"/>
            </a:xfrm>
            <a:prstGeom prst="roundRect">
              <a:avLst>
                <a:gd name="adj" fmla="val 50000"/>
              </a:avLst>
            </a:prstGeom>
            <a:solidFill>
              <a:srgbClr val="620CFD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latin typeface="Unbounded Medium" panose="020B0305040102020103" pitchFamily="34" charset="0"/>
                </a:rPr>
                <a:t>СВ</a:t>
              </a:r>
              <a:r>
                <a:rPr lang="ru-RU" sz="1600" dirty="0">
                  <a:latin typeface="Unbounded Medium" panose="020B0305040102020103" pitchFamily="34" charset="0"/>
                </a:rPr>
                <a:t>ЯЖИТЕСЬ СО МНО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281160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2.59259E-6 L 0.06576 2.59259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2.59259E-6 L 0.06575 2.59259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1.11111E-6 L 0.06576 1.11111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1.11111E-6 L 0.06576 1.11111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3.7037E-7 L 0.06576 -3.7037E-7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3.7037E-7 L 0.06575 -3.7037E-7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Прямоугольник 353">
            <a:extLst>
              <a:ext uri="{FF2B5EF4-FFF2-40B4-BE49-F238E27FC236}">
                <a16:creationId xmlns:a16="http://schemas.microsoft.com/office/drawing/2014/main" id="{A5148ED9-DD37-DFE1-6973-97BF6D9E1D28}"/>
              </a:ext>
            </a:extLst>
          </p:cNvPr>
          <p:cNvSpPr/>
          <p:nvPr/>
        </p:nvSpPr>
        <p:spPr>
          <a:xfrm>
            <a:off x="-1744068" y="0"/>
            <a:ext cx="2276613" cy="713338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Видео 5">
            <a:hlinkClick r:id="" action="ppaction://media"/>
            <a:extLst>
              <a:ext uri="{FF2B5EF4-FFF2-40B4-BE49-F238E27FC236}">
                <a16:creationId xmlns:a16="http://schemas.microsoft.com/office/drawing/2014/main" id="{4B1015BE-1EF6-C081-3F90-123B5EAE696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32545" y="0"/>
            <a:ext cx="12192000" cy="6858000"/>
          </a:xfrm>
          <a:prstGeom prst="rect">
            <a:avLst/>
          </a:prstGeom>
        </p:spPr>
      </p:pic>
      <p:grpSp>
        <p:nvGrpSpPr>
          <p:cNvPr id="8" name="Group 73">
            <a:extLst>
              <a:ext uri="{FF2B5EF4-FFF2-40B4-BE49-F238E27FC236}">
                <a16:creationId xmlns:a16="http://schemas.microsoft.com/office/drawing/2014/main" id="{E5A1831E-A947-DB10-3B71-AC6D7597237F}"/>
              </a:ext>
            </a:extLst>
          </p:cNvPr>
          <p:cNvGrpSpPr/>
          <p:nvPr/>
        </p:nvGrpSpPr>
        <p:grpSpPr>
          <a:xfrm>
            <a:off x="-5859768" y="-299247"/>
            <a:ext cx="8012418" cy="7157247"/>
            <a:chOff x="-2" y="0"/>
            <a:chExt cx="6428641" cy="6858000"/>
          </a:xfrm>
        </p:grpSpPr>
        <p:sp>
          <p:nvSpPr>
            <p:cNvPr id="9" name="Rectangle 36">
              <a:extLst>
                <a:ext uri="{FF2B5EF4-FFF2-40B4-BE49-F238E27FC236}">
                  <a16:creationId xmlns:a16="http://schemas.microsoft.com/office/drawing/2014/main" id="{9AF2A627-1DDD-693C-14D8-5380920BB26F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497D19C-7815-02D7-E7DF-316A3A50B81F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" name="Rectangle 31">
              <a:extLst>
                <a:ext uri="{FF2B5EF4-FFF2-40B4-BE49-F238E27FC236}">
                  <a16:creationId xmlns:a16="http://schemas.microsoft.com/office/drawing/2014/main" id="{42724591-200D-7C18-2F5A-2E49C598A630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" name="Rectangle 32">
              <a:extLst>
                <a:ext uri="{FF2B5EF4-FFF2-40B4-BE49-F238E27FC236}">
                  <a16:creationId xmlns:a16="http://schemas.microsoft.com/office/drawing/2014/main" id="{6846C0F3-FF49-40F6-1274-F7F3510CB0C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3" name="Rectangle 33">
              <a:extLst>
                <a:ext uri="{FF2B5EF4-FFF2-40B4-BE49-F238E27FC236}">
                  <a16:creationId xmlns:a16="http://schemas.microsoft.com/office/drawing/2014/main" id="{3BA9757C-5529-9D9B-4474-868587EC424A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4" name="Rectangle 34">
              <a:extLst>
                <a:ext uri="{FF2B5EF4-FFF2-40B4-BE49-F238E27FC236}">
                  <a16:creationId xmlns:a16="http://schemas.microsoft.com/office/drawing/2014/main" id="{7476E11C-C54F-B530-F9C8-1CFE498C1A9D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5" name="Rectangle 35">
              <a:extLst>
                <a:ext uri="{FF2B5EF4-FFF2-40B4-BE49-F238E27FC236}">
                  <a16:creationId xmlns:a16="http://schemas.microsoft.com/office/drawing/2014/main" id="{FD825FD6-08F5-75B0-96B1-77E0B67DE6BE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6" name="Rectangle 37">
              <a:extLst>
                <a:ext uri="{FF2B5EF4-FFF2-40B4-BE49-F238E27FC236}">
                  <a16:creationId xmlns:a16="http://schemas.microsoft.com/office/drawing/2014/main" id="{4C6B3C7C-0BA2-640B-2AB5-D4B7A1948621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7" name="Rectangle 48">
              <a:extLst>
                <a:ext uri="{FF2B5EF4-FFF2-40B4-BE49-F238E27FC236}">
                  <a16:creationId xmlns:a16="http://schemas.microsoft.com/office/drawing/2014/main" id="{C4D2068F-D612-A854-D0CC-82DBF2D71D3B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8" name="Rectangle 49">
              <a:extLst>
                <a:ext uri="{FF2B5EF4-FFF2-40B4-BE49-F238E27FC236}">
                  <a16:creationId xmlns:a16="http://schemas.microsoft.com/office/drawing/2014/main" id="{6E36FCC9-AE9F-FF67-B33D-02CBF00E290C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D7D231DD-DB08-C9A5-7C3F-F55507692440}"/>
              </a:ext>
            </a:extLst>
          </p:cNvPr>
          <p:cNvGrpSpPr/>
          <p:nvPr/>
        </p:nvGrpSpPr>
        <p:grpSpPr>
          <a:xfrm rot="19740494">
            <a:off x="14205212" y="4820311"/>
            <a:ext cx="3515826" cy="2037689"/>
            <a:chOff x="3798277" y="833242"/>
            <a:chExt cx="10676641" cy="6187927"/>
          </a:xfrm>
        </p:grpSpPr>
        <p:grpSp>
          <p:nvGrpSpPr>
            <p:cNvPr id="3" name="Группа 2">
              <a:extLst>
                <a:ext uri="{FF2B5EF4-FFF2-40B4-BE49-F238E27FC236}">
                  <a16:creationId xmlns:a16="http://schemas.microsoft.com/office/drawing/2014/main" id="{CB2DE076-70B0-A8DE-62B2-1D1A5CD1BE17}"/>
                </a:ext>
              </a:extLst>
            </p:cNvPr>
            <p:cNvGrpSpPr/>
            <p:nvPr/>
          </p:nvGrpSpPr>
          <p:grpSpPr>
            <a:xfrm>
              <a:off x="5416678" y="1306242"/>
              <a:ext cx="6775322" cy="4971268"/>
              <a:chOff x="5416678" y="1347338"/>
              <a:chExt cx="6775322" cy="4971268"/>
            </a:xfrm>
          </p:grpSpPr>
          <p:pic>
            <p:nvPicPr>
              <p:cNvPr id="5" name="Рисунок 4">
                <a:extLst>
                  <a:ext uri="{FF2B5EF4-FFF2-40B4-BE49-F238E27FC236}">
                    <a16:creationId xmlns:a16="http://schemas.microsoft.com/office/drawing/2014/main" id="{841268F5-49F0-6D8F-55C9-7952A4D787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416678" y="1347338"/>
                <a:ext cx="6775322" cy="4234576"/>
              </a:xfrm>
              <a:prstGeom prst="rect">
                <a:avLst/>
              </a:prstGeom>
            </p:spPr>
          </p:pic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E86AD2AE-97F5-070E-ED18-4363A9ABCC5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61644" b="14892"/>
              <a:stretch/>
            </p:blipFill>
            <p:spPr>
              <a:xfrm>
                <a:off x="5416678" y="5325018"/>
                <a:ext cx="6775322" cy="993588"/>
              </a:xfrm>
              <a:prstGeom prst="rect">
                <a:avLst/>
              </a:prstGeom>
            </p:spPr>
          </p:pic>
        </p:grpSp>
        <p:pic>
          <p:nvPicPr>
            <p:cNvPr id="4" name="Picture 4">
              <a:extLst>
                <a:ext uri="{FF2B5EF4-FFF2-40B4-BE49-F238E27FC236}">
                  <a16:creationId xmlns:a16="http://schemas.microsoft.com/office/drawing/2014/main" id="{BDD64DBB-21E0-215E-1EE1-02AB75E7A3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3" r="1"/>
            <a:stretch/>
          </p:blipFill>
          <p:spPr>
            <a:xfrm>
              <a:off x="3798277" y="833242"/>
              <a:ext cx="10676641" cy="6187927"/>
            </a:xfrm>
            <a:prstGeom prst="rect">
              <a:avLst/>
            </a:prstGeom>
          </p:spPr>
        </p:pic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F4A668DE-074C-8A70-6047-893C5FE144DA}"/>
              </a:ext>
            </a:extLst>
          </p:cNvPr>
          <p:cNvSpPr txBox="1"/>
          <p:nvPr/>
        </p:nvSpPr>
        <p:spPr>
          <a:xfrm>
            <a:off x="-12239014" y="1134499"/>
            <a:ext cx="11389623" cy="344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КАКИЕ 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ЗЕНТАЦИИ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ЕЛАЮТ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АВКУ 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МПАНИИ 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ЕГОДНЯ</a:t>
            </a:r>
          </a:p>
        </p:txBody>
      </p:sp>
      <p:grpSp>
        <p:nvGrpSpPr>
          <p:cNvPr id="353" name="Группа 352">
            <a:extLst>
              <a:ext uri="{FF2B5EF4-FFF2-40B4-BE49-F238E27FC236}">
                <a16:creationId xmlns:a16="http://schemas.microsoft.com/office/drawing/2014/main" id="{945344BC-5288-8447-CC57-97A8CE09E6A7}"/>
              </a:ext>
            </a:extLst>
          </p:cNvPr>
          <p:cNvGrpSpPr/>
          <p:nvPr/>
        </p:nvGrpSpPr>
        <p:grpSpPr>
          <a:xfrm>
            <a:off x="686002" y="955459"/>
            <a:ext cx="3945470" cy="4947082"/>
            <a:chOff x="686002" y="584200"/>
            <a:chExt cx="3945470" cy="4947082"/>
          </a:xfrm>
        </p:grpSpPr>
        <p:pic>
          <p:nvPicPr>
            <p:cNvPr id="22" name="Рисунок 21">
              <a:extLst>
                <a:ext uri="{FF2B5EF4-FFF2-40B4-BE49-F238E27FC236}">
                  <a16:creationId xmlns:a16="http://schemas.microsoft.com/office/drawing/2014/main" id="{2FA7E37B-8CB0-4673-C62A-07E538B17C4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86002" y="1585812"/>
              <a:ext cx="3945470" cy="3945470"/>
            </a:xfrm>
            <a:prstGeom prst="roundRect">
              <a:avLst>
                <a:gd name="adj" fmla="val 10465"/>
              </a:avLst>
            </a:prstGeom>
          </p:spPr>
        </p:pic>
        <p:sp>
          <p:nvSpPr>
            <p:cNvPr id="352" name="Скругленный прямоугольник 351">
              <a:extLst>
                <a:ext uri="{FF2B5EF4-FFF2-40B4-BE49-F238E27FC236}">
                  <a16:creationId xmlns:a16="http://schemas.microsoft.com/office/drawing/2014/main" id="{8B88571E-080A-9DA7-B601-5BE0F038CDDF}"/>
                </a:ext>
              </a:extLst>
            </p:cNvPr>
            <p:cNvSpPr/>
            <p:nvPr/>
          </p:nvSpPr>
          <p:spPr>
            <a:xfrm>
              <a:off x="686002" y="584200"/>
              <a:ext cx="3793233" cy="702365"/>
            </a:xfrm>
            <a:prstGeom prst="roundRect">
              <a:avLst>
                <a:gd name="adj" fmla="val 50000"/>
              </a:avLst>
            </a:prstGeom>
            <a:solidFill>
              <a:srgbClr val="620CFD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latin typeface="Unbounded Medium" panose="020B0305040102020103" pitchFamily="34" charset="0"/>
                </a:rPr>
                <a:t>СВ</a:t>
              </a:r>
              <a:r>
                <a:rPr lang="ru-RU" sz="1600" dirty="0">
                  <a:latin typeface="Unbounded Medium" panose="020B0305040102020103" pitchFamily="34" charset="0"/>
                </a:rPr>
                <a:t>ЯЖИТЕСЬ СО МНО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59641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33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3.33333E-6 L 0.06576 3.33333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9" repeatCount="indefinite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10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" fill="hold">
                      <p:stCondLst>
                        <p:cond delay="0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4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4820C330-AFE2-A7B7-C987-08EC320A90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C0DCFD">
                  <a:alpha val="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" name="Oval 131">
            <a:extLst>
              <a:ext uri="{FF2B5EF4-FFF2-40B4-BE49-F238E27FC236}">
                <a16:creationId xmlns:a16="http://schemas.microsoft.com/office/drawing/2014/main" id="{276EEF5D-F78C-B26E-DECD-C77D3F1482D1}"/>
              </a:ext>
            </a:extLst>
          </p:cNvPr>
          <p:cNvSpPr/>
          <p:nvPr/>
        </p:nvSpPr>
        <p:spPr>
          <a:xfrm>
            <a:off x="7073256" y="-717856"/>
            <a:ext cx="6485696" cy="6485696"/>
          </a:xfrm>
          <a:prstGeom prst="ellipse">
            <a:avLst/>
          </a:prstGeom>
          <a:gradFill flip="none" rotWithShape="1">
            <a:gsLst>
              <a:gs pos="100000">
                <a:srgbClr val="C0DCFD">
                  <a:alpha val="0"/>
                </a:srgbClr>
              </a:gs>
              <a:gs pos="0">
                <a:srgbClr val="620CFD">
                  <a:alpha val="28632"/>
                </a:srgbClr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9" name="Group 73">
            <a:extLst>
              <a:ext uri="{FF2B5EF4-FFF2-40B4-BE49-F238E27FC236}">
                <a16:creationId xmlns:a16="http://schemas.microsoft.com/office/drawing/2014/main" id="{35E67D2F-B7C3-B295-35E6-FC63796E3A00}"/>
              </a:ext>
            </a:extLst>
          </p:cNvPr>
          <p:cNvGrpSpPr/>
          <p:nvPr/>
        </p:nvGrpSpPr>
        <p:grpSpPr>
          <a:xfrm>
            <a:off x="-293771" y="3554050"/>
            <a:ext cx="13464284" cy="9792204"/>
            <a:chOff x="-2" y="0"/>
            <a:chExt cx="6428641" cy="6858000"/>
          </a:xfrm>
        </p:grpSpPr>
        <p:sp>
          <p:nvSpPr>
            <p:cNvPr id="30" name="Rectangle 36">
              <a:extLst>
                <a:ext uri="{FF2B5EF4-FFF2-40B4-BE49-F238E27FC236}">
                  <a16:creationId xmlns:a16="http://schemas.microsoft.com/office/drawing/2014/main" id="{6B639D09-947B-C295-89E5-D3A7FED4C562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C53A0486-4FEC-606C-49B2-3FDFBA486CDC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CB477ED-8E12-B1BF-B8A7-3C0791AD06EE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941091D-EDDA-A164-26A5-C572323EC7A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200F815-13CC-7E6B-07CF-6C3058F6FC6E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128BDE-2C15-EEFD-DC03-849CC99CC0F5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F04D5FF-393F-4F2F-7D30-44C7741775D5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7" name="Rectangle 37">
              <a:extLst>
                <a:ext uri="{FF2B5EF4-FFF2-40B4-BE49-F238E27FC236}">
                  <a16:creationId xmlns:a16="http://schemas.microsoft.com/office/drawing/2014/main" id="{E77182A8-0D9D-1D4B-7DE2-D3C02E6B9837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8" name="Rectangle 48">
              <a:extLst>
                <a:ext uri="{FF2B5EF4-FFF2-40B4-BE49-F238E27FC236}">
                  <a16:creationId xmlns:a16="http://schemas.microsoft.com/office/drawing/2014/main" id="{2D657C40-FF42-B366-A67D-3943F761017E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9" name="Rectangle 49">
              <a:extLst>
                <a:ext uri="{FF2B5EF4-FFF2-40B4-BE49-F238E27FC236}">
                  <a16:creationId xmlns:a16="http://schemas.microsoft.com/office/drawing/2014/main" id="{A4E5D924-F2E5-0073-3EFE-88569B3773E2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8E2067B-2AE3-38F9-43E7-4B95E4B09078}"/>
              </a:ext>
            </a:extLst>
          </p:cNvPr>
          <p:cNvGrpSpPr/>
          <p:nvPr/>
        </p:nvGrpSpPr>
        <p:grpSpPr>
          <a:xfrm flipV="1">
            <a:off x="15303401" y="8547715"/>
            <a:ext cx="1456851" cy="408879"/>
            <a:chOff x="611777" y="2405270"/>
            <a:chExt cx="4857016" cy="1363166"/>
          </a:xfrm>
        </p:grpSpPr>
        <p:sp>
          <p:nvSpPr>
            <p:cNvPr id="5" name="Скругленный прямоугольник 4">
              <a:extLst>
                <a:ext uri="{FF2B5EF4-FFF2-40B4-BE49-F238E27FC236}">
                  <a16:creationId xmlns:a16="http://schemas.microsoft.com/office/drawing/2014/main" id="{A7F4FB1F-7CB9-0392-E88E-05F8570BD35A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1C36F64-CC19-9AA3-6893-F3FE7D967910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На какие презентации делают ставку компании сегодня</a:t>
              </a: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19197928-64DB-9EA7-85E1-312760B10401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9AFEDB3-80B5-9A2A-AD4C-89FC4DCFFA98}"/>
              </a:ext>
            </a:extLst>
          </p:cNvPr>
          <p:cNvGrpSpPr/>
          <p:nvPr/>
        </p:nvGrpSpPr>
        <p:grpSpPr>
          <a:xfrm flipV="1">
            <a:off x="15667789" y="10092497"/>
            <a:ext cx="1456851" cy="408879"/>
            <a:chOff x="611777" y="2405270"/>
            <a:chExt cx="4857016" cy="1363166"/>
          </a:xfrm>
        </p:grpSpPr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04266423-83B6-B053-32BE-FA22D1949E9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92F0A0F-B8D9-CC2B-4135-042748D7E5ED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ый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и современный визуал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Разбираем терминологию</a:t>
              </a: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BF6A9C1A-6EA0-F8AC-74EC-7FD19A995EBC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5F9BCE64-2736-D050-26B1-B81E3AD61828}"/>
              </a:ext>
            </a:extLst>
          </p:cNvPr>
          <p:cNvGrpSpPr/>
          <p:nvPr/>
        </p:nvGrpSpPr>
        <p:grpSpPr>
          <a:xfrm flipV="1">
            <a:off x="15001953" y="11637279"/>
            <a:ext cx="1456851" cy="408879"/>
            <a:chOff x="611777" y="2405270"/>
            <a:chExt cx="4857016" cy="1363166"/>
          </a:xfrm>
        </p:grpSpPr>
        <p:sp>
          <p:nvSpPr>
            <p:cNvPr id="15" name="Скругленный прямоугольник 14">
              <a:extLst>
                <a:ext uri="{FF2B5EF4-FFF2-40B4-BE49-F238E27FC236}">
                  <a16:creationId xmlns:a16="http://schemas.microsoft.com/office/drawing/2014/main" id="{3BA1765F-B5D6-C20A-0972-59DF1A8D3A1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3006BE3-2E8B-0497-3D07-C701AF6EA6A1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Тренды дизайн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 ближайшее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5-летие </a:t>
              </a: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B87F739B-4D12-3F01-E7F6-8B2159450E25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AEDE9B22-2CD9-D79F-D8C3-683B6E11B10D}"/>
              </a:ext>
            </a:extLst>
          </p:cNvPr>
          <p:cNvGrpSpPr/>
          <p:nvPr/>
        </p:nvGrpSpPr>
        <p:grpSpPr>
          <a:xfrm flipV="1">
            <a:off x="20423132" y="8547715"/>
            <a:ext cx="1456851" cy="408879"/>
            <a:chOff x="611777" y="2405270"/>
            <a:chExt cx="4857016" cy="1363166"/>
          </a:xfrm>
        </p:grpSpPr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CF04D4B2-EFA1-1BE0-9334-A3C11FB04049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8DF981C-58D9-6EFC-B35D-28D92119103A}"/>
                </a:ext>
              </a:extLst>
            </p:cNvPr>
            <p:cNvSpPr txBox="1"/>
            <p:nvPr/>
          </p:nvSpPr>
          <p:spPr>
            <a:xfrm>
              <a:off x="1104661" y="2540550"/>
              <a:ext cx="4032686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Азбу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качественного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визуала</a:t>
              </a: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D9D36EAF-E32C-E2F6-ECE4-F55205B9259B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2A22449B-F3F2-9012-D8EB-6828B988225F}"/>
              </a:ext>
            </a:extLst>
          </p:cNvPr>
          <p:cNvGrpSpPr/>
          <p:nvPr/>
        </p:nvGrpSpPr>
        <p:grpSpPr>
          <a:xfrm flipV="1">
            <a:off x="20787520" y="10092497"/>
            <a:ext cx="1456851" cy="408879"/>
            <a:chOff x="611777" y="2405270"/>
            <a:chExt cx="4857016" cy="1363166"/>
          </a:xfrm>
        </p:grpSpPr>
        <p:sp>
          <p:nvSpPr>
            <p:cNvPr id="23" name="Скругленный прямоугольник 22">
              <a:extLst>
                <a:ext uri="{FF2B5EF4-FFF2-40B4-BE49-F238E27FC236}">
                  <a16:creationId xmlns:a16="http://schemas.microsoft.com/office/drawing/2014/main" id="{F19019FB-484B-063A-C0F1-75F5F3B3CFDF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BBBBF49-432E-C74C-DF03-D20345CEDC74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Методика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оформления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слайдов на практике</a:t>
              </a: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D3399DB1-82A0-B6CF-384C-9EA39DF495AD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0AEB9D68-0AAB-CD6D-25A5-FC460F1FFE21}"/>
              </a:ext>
            </a:extLst>
          </p:cNvPr>
          <p:cNvGrpSpPr/>
          <p:nvPr/>
        </p:nvGrpSpPr>
        <p:grpSpPr>
          <a:xfrm flipV="1">
            <a:off x="20121684" y="11637279"/>
            <a:ext cx="1456851" cy="408879"/>
            <a:chOff x="611777" y="2405270"/>
            <a:chExt cx="4857016" cy="1363166"/>
          </a:xfrm>
        </p:grpSpPr>
        <p:sp>
          <p:nvSpPr>
            <p:cNvPr id="27" name="Скругленный прямоугольник 26">
              <a:extLst>
                <a:ext uri="{FF2B5EF4-FFF2-40B4-BE49-F238E27FC236}">
                  <a16:creationId xmlns:a16="http://schemas.microsoft.com/office/drawing/2014/main" id="{2A288FAD-4AD3-DE3D-94C2-865EDD5A7CE3}"/>
                </a:ext>
              </a:extLst>
            </p:cNvPr>
            <p:cNvSpPr/>
            <p:nvPr/>
          </p:nvSpPr>
          <p:spPr>
            <a:xfrm>
              <a:off x="611777" y="2405270"/>
              <a:ext cx="4857016" cy="1363166"/>
            </a:xfrm>
            <a:prstGeom prst="roundRect">
              <a:avLst/>
            </a:prstGeom>
            <a:gradFill>
              <a:gsLst>
                <a:gs pos="100000">
                  <a:srgbClr val="C0DCFD">
                    <a:alpha val="0"/>
                  </a:srgbClr>
                </a:gs>
                <a:gs pos="0">
                  <a:srgbClr val="C0DCFD"/>
                </a:gs>
              </a:gsLst>
              <a:lin ang="16200000" scaled="1"/>
            </a:gradFill>
            <a:ln>
              <a:solidFill>
                <a:srgbClr val="620CFD">
                  <a:alpha val="1388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A8691D3-AEB8-607D-0A93-0F3654F79B76}"/>
                </a:ext>
              </a:extLst>
            </p:cNvPr>
            <p:cNvSpPr txBox="1"/>
            <p:nvPr/>
          </p:nvSpPr>
          <p:spPr>
            <a:xfrm>
              <a:off x="1104661" y="2540550"/>
              <a:ext cx="4364132" cy="10692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Презентации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+ </a:t>
              </a:r>
              <a:r>
                <a:rPr lang="ru-RU" sz="2000" dirty="0" err="1">
                  <a:latin typeface="Unbounded" panose="020B0305040102020103" pitchFamily="34" charset="0"/>
                  <a:cs typeface="Times New Roman" panose="02020603050405020304" pitchFamily="18" charset="0"/>
                </a:rPr>
                <a:t>ТенЧат</a:t>
              </a: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 </a:t>
              </a:r>
              <a:b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</a:br>
              <a:r>
                <a:rPr lang="ru-RU" sz="2000" dirty="0">
                  <a:latin typeface="Unbounded" panose="020B0305040102020103" pitchFamily="34" charset="0"/>
                  <a:cs typeface="Times New Roman" panose="02020603050405020304" pitchFamily="18" charset="0"/>
                </a:rPr>
                <a:t>= результат</a:t>
              </a:r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9C58F58E-156F-0E6B-4B76-D9E0FBDED56F}"/>
                </a:ext>
              </a:extLst>
            </p:cNvPr>
            <p:cNvSpPr/>
            <p:nvPr/>
          </p:nvSpPr>
          <p:spPr>
            <a:xfrm>
              <a:off x="831633" y="2405270"/>
              <a:ext cx="71078" cy="1363166"/>
            </a:xfrm>
            <a:prstGeom prst="rect">
              <a:avLst/>
            </a:prstGeom>
            <a:solidFill>
              <a:srgbClr val="620C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1" name="Скругленный прямоугольник 40">
            <a:extLst>
              <a:ext uri="{FF2B5EF4-FFF2-40B4-BE49-F238E27FC236}">
                <a16:creationId xmlns:a16="http://schemas.microsoft.com/office/drawing/2014/main" id="{B2D5F329-37AC-F436-20FB-AD090F27DC43}"/>
              </a:ext>
            </a:extLst>
          </p:cNvPr>
          <p:cNvSpPr/>
          <p:nvPr/>
        </p:nvSpPr>
        <p:spPr>
          <a:xfrm>
            <a:off x="4331457" y="7486218"/>
            <a:ext cx="52098" cy="2475022"/>
          </a:xfrm>
          <a:prstGeom prst="roundRect">
            <a:avLst/>
          </a:prstGeom>
          <a:gradFill>
            <a:gsLst>
              <a:gs pos="100000">
                <a:srgbClr val="C0DCFD">
                  <a:alpha val="42670"/>
                </a:srgbClr>
              </a:gs>
              <a:gs pos="0">
                <a:srgbClr val="C0DCF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0B03D86C-0C8C-7285-0A3C-A4E4022B6418}"/>
              </a:ext>
            </a:extLst>
          </p:cNvPr>
          <p:cNvSpPr/>
          <p:nvPr/>
        </p:nvSpPr>
        <p:spPr>
          <a:xfrm>
            <a:off x="612041" y="1307566"/>
            <a:ext cx="3539147" cy="5217059"/>
          </a:xfrm>
          <a:prstGeom prst="roundRect">
            <a:avLst>
              <a:gd name="adj" fmla="val 10818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6FF4A3-D37D-9E42-6CD4-E7F96A3F3ADB}"/>
              </a:ext>
            </a:extLst>
          </p:cNvPr>
          <p:cNvSpPr txBox="1"/>
          <p:nvPr/>
        </p:nvSpPr>
        <p:spPr>
          <a:xfrm>
            <a:off x="630518" y="751532"/>
            <a:ext cx="3412348" cy="483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1</a:t>
            </a:r>
            <a:endParaRPr lang="ru-RU" sz="2000" b="1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2FADAEE-DBC1-0E32-C25A-F2B902A696D7}"/>
              </a:ext>
            </a:extLst>
          </p:cNvPr>
          <p:cNvSpPr txBox="1"/>
          <p:nvPr/>
        </p:nvSpPr>
        <p:spPr>
          <a:xfrm>
            <a:off x="894075" y="1581949"/>
            <a:ext cx="3297640" cy="1396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оверенные структуры бизнес-презентаций 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од разные задачи</a:t>
            </a:r>
          </a:p>
        </p:txBody>
      </p:sp>
      <p:sp>
        <p:nvSpPr>
          <p:cNvPr id="47" name="Rectangle: Rounded Corners 70">
            <a:extLst>
              <a:ext uri="{FF2B5EF4-FFF2-40B4-BE49-F238E27FC236}">
                <a16:creationId xmlns:a16="http://schemas.microsoft.com/office/drawing/2014/main" id="{B757CB36-0058-A064-BCF0-2CFE89591F63}"/>
              </a:ext>
            </a:extLst>
          </p:cNvPr>
          <p:cNvSpPr/>
          <p:nvPr/>
        </p:nvSpPr>
        <p:spPr>
          <a:xfrm rot="10800000">
            <a:off x="965960" y="3243232"/>
            <a:ext cx="2752824" cy="3050061"/>
          </a:xfrm>
          <a:prstGeom prst="roundRect">
            <a:avLst>
              <a:gd name="adj" fmla="val 13536"/>
            </a:avLst>
          </a:prstGeom>
          <a:solidFill>
            <a:schemeClr val="bg1">
              <a:alpha val="10036"/>
            </a:schemeClr>
          </a:solidFill>
          <a:ln w="15875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AA1DE7CE-024A-A818-C56B-9FF6157E666B}"/>
              </a:ext>
            </a:extLst>
          </p:cNvPr>
          <p:cNvSpPr/>
          <p:nvPr/>
        </p:nvSpPr>
        <p:spPr>
          <a:xfrm>
            <a:off x="818980" y="3233093"/>
            <a:ext cx="3105632" cy="57135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Unbounded" panose="020B0305040102020103" pitchFamily="34" charset="0"/>
              </a:rPr>
              <a:t>antonovlad.com</a:t>
            </a:r>
            <a:r>
              <a:rPr lang="e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" panose="020B0305040102020103" pitchFamily="34" charset="0"/>
              </a:rPr>
              <a:t>/blog</a:t>
            </a:r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latin typeface="Unbounded" panose="020B0305040102020103" pitchFamily="34" charset="0"/>
            </a:endParaRPr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E2BB15DE-E2D4-2561-E3F7-8B367DD8C95A}"/>
              </a:ext>
            </a:extLst>
          </p:cNvPr>
          <p:cNvSpPr/>
          <p:nvPr/>
        </p:nvSpPr>
        <p:spPr>
          <a:xfrm>
            <a:off x="8293524" y="584200"/>
            <a:ext cx="3539147" cy="5924985"/>
          </a:xfrm>
          <a:prstGeom prst="roundRect">
            <a:avLst>
              <a:gd name="adj" fmla="val 10818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!!4343">
            <a:extLst>
              <a:ext uri="{FF2B5EF4-FFF2-40B4-BE49-F238E27FC236}">
                <a16:creationId xmlns:a16="http://schemas.microsoft.com/office/drawing/2014/main" id="{23AF5462-4393-580B-AF82-9D387BC77140}"/>
              </a:ext>
            </a:extLst>
          </p:cNvPr>
          <p:cNvSpPr/>
          <p:nvPr/>
        </p:nvSpPr>
        <p:spPr>
          <a:xfrm>
            <a:off x="4462156" y="1307566"/>
            <a:ext cx="3539147" cy="5217059"/>
          </a:xfrm>
          <a:prstGeom prst="roundRect">
            <a:avLst>
              <a:gd name="adj" fmla="val 10818"/>
            </a:avLst>
          </a:prstGeom>
          <a:solidFill>
            <a:srgbClr val="620C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FD28223-618F-0293-B82B-E6AC455FC384}"/>
              </a:ext>
            </a:extLst>
          </p:cNvPr>
          <p:cNvSpPr txBox="1"/>
          <p:nvPr/>
        </p:nvSpPr>
        <p:spPr>
          <a:xfrm>
            <a:off x="4480633" y="751532"/>
            <a:ext cx="3412348" cy="483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НУС </a:t>
            </a: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2</a:t>
            </a:r>
            <a:endParaRPr lang="ru-RU" sz="2000" b="1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Unbounded SemiBold" panose="020B030504010202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25" name="TextBox 524">
            <a:extLst>
              <a:ext uri="{FF2B5EF4-FFF2-40B4-BE49-F238E27FC236}">
                <a16:creationId xmlns:a16="http://schemas.microsoft.com/office/drawing/2014/main" id="{57A48E63-0815-E583-E306-7CD135CC61BA}"/>
              </a:ext>
            </a:extLst>
          </p:cNvPr>
          <p:cNvSpPr txBox="1"/>
          <p:nvPr/>
        </p:nvSpPr>
        <p:spPr>
          <a:xfrm>
            <a:off x="4744190" y="1581949"/>
            <a:ext cx="3297640" cy="1396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Как эффективно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применять презентации</a:t>
            </a:r>
            <a:b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компании сегодня</a:t>
            </a:r>
          </a:p>
        </p:txBody>
      </p:sp>
      <p:grpSp>
        <p:nvGrpSpPr>
          <p:cNvPr id="528" name="Группа 527">
            <a:extLst>
              <a:ext uri="{FF2B5EF4-FFF2-40B4-BE49-F238E27FC236}">
                <a16:creationId xmlns:a16="http://schemas.microsoft.com/office/drawing/2014/main" id="{F7D6AA21-21ED-53E6-BA50-1F7F703BE28A}"/>
              </a:ext>
            </a:extLst>
          </p:cNvPr>
          <p:cNvGrpSpPr/>
          <p:nvPr/>
        </p:nvGrpSpPr>
        <p:grpSpPr>
          <a:xfrm>
            <a:off x="4669095" y="3233093"/>
            <a:ext cx="3105632" cy="3060200"/>
            <a:chOff x="1100253" y="3123154"/>
            <a:chExt cx="3105632" cy="3060200"/>
          </a:xfrm>
        </p:grpSpPr>
        <p:sp>
          <p:nvSpPr>
            <p:cNvPr id="529" name="Rectangle: Rounded Corners 70">
              <a:extLst>
                <a:ext uri="{FF2B5EF4-FFF2-40B4-BE49-F238E27FC236}">
                  <a16:creationId xmlns:a16="http://schemas.microsoft.com/office/drawing/2014/main" id="{70572287-E5D5-985D-8219-59B9F50BFB33}"/>
                </a:ext>
              </a:extLst>
            </p:cNvPr>
            <p:cNvSpPr/>
            <p:nvPr/>
          </p:nvSpPr>
          <p:spPr>
            <a:xfrm rot="10800000">
              <a:off x="1247233" y="3133293"/>
              <a:ext cx="2752824" cy="3050061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10036"/>
              </a:schemeClr>
            </a:solidFill>
            <a:ln w="15875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530" name="Скругленный прямоугольник 529">
              <a:extLst>
                <a:ext uri="{FF2B5EF4-FFF2-40B4-BE49-F238E27FC236}">
                  <a16:creationId xmlns:a16="http://schemas.microsoft.com/office/drawing/2014/main" id="{1D2E158B-969B-8BD3-7103-7012E250055B}"/>
                </a:ext>
              </a:extLst>
            </p:cNvPr>
            <p:cNvSpPr/>
            <p:nvPr/>
          </p:nvSpPr>
          <p:spPr>
            <a:xfrm>
              <a:off x="1100253" y="3123154"/>
              <a:ext cx="3105632" cy="571358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" panose="020B0305040102020103" pitchFamily="34" charset="0"/>
                </a:rPr>
                <a:t>https://</a:t>
              </a:r>
              <a:r>
                <a:rPr lang="en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" panose="020B0305040102020103" pitchFamily="34" charset="0"/>
                </a:rPr>
                <a:t>goo.su</a:t>
              </a:r>
              <a:r>
                <a:rPr lang="en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Unbounded" panose="020B0305040102020103" pitchFamily="34" charset="0"/>
                </a:rPr>
                <a:t>/bon_1</a:t>
              </a:r>
              <a:endPara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" panose="020B0305040102020103" pitchFamily="34" charset="0"/>
              </a:endParaRPr>
            </a:p>
          </p:txBody>
        </p:sp>
        <p:grpSp>
          <p:nvGrpSpPr>
            <p:cNvPr id="531" name="Рисунок 167">
              <a:extLst>
                <a:ext uri="{FF2B5EF4-FFF2-40B4-BE49-F238E27FC236}">
                  <a16:creationId xmlns:a16="http://schemas.microsoft.com/office/drawing/2014/main" id="{29C969BD-1E9A-63CF-C0D0-F034B339063C}"/>
                </a:ext>
              </a:extLst>
            </p:cNvPr>
            <p:cNvGrpSpPr/>
            <p:nvPr/>
          </p:nvGrpSpPr>
          <p:grpSpPr>
            <a:xfrm>
              <a:off x="1644213" y="4007606"/>
              <a:ext cx="1883766" cy="1883766"/>
              <a:chOff x="1252377" y="3901076"/>
              <a:chExt cx="2279357" cy="2279357"/>
            </a:xfrm>
            <a:solidFill>
              <a:schemeClr val="bg1"/>
            </a:solidFill>
          </p:grpSpPr>
          <p:sp>
            <p:nvSpPr>
              <p:cNvPr id="532" name="Полилиния 531">
                <a:extLst>
                  <a:ext uri="{FF2B5EF4-FFF2-40B4-BE49-F238E27FC236}">
                    <a16:creationId xmlns:a16="http://schemas.microsoft.com/office/drawing/2014/main" id="{86878A70-E046-7E8D-657C-5B115C9BDDFF}"/>
                  </a:ext>
                </a:extLst>
              </p:cNvPr>
              <p:cNvSpPr/>
              <p:nvPr/>
            </p:nvSpPr>
            <p:spPr>
              <a:xfrm rot="-5400000">
                <a:off x="1434726" y="5724562"/>
                <a:ext cx="273522" cy="273522"/>
              </a:xfrm>
              <a:custGeom>
                <a:avLst/>
                <a:gdLst>
                  <a:gd name="connsiteX0" fmla="*/ 273523 w 273522"/>
                  <a:gd name="connsiteY0" fmla="*/ 136761 h 273522"/>
                  <a:gd name="connsiteX1" fmla="*/ 136761 w 273522"/>
                  <a:gd name="connsiteY1" fmla="*/ 273523 h 273522"/>
                  <a:gd name="connsiteX2" fmla="*/ 0 w 273522"/>
                  <a:gd name="connsiteY2" fmla="*/ 136761 h 273522"/>
                  <a:gd name="connsiteX3" fmla="*/ 136761 w 273522"/>
                  <a:gd name="connsiteY3" fmla="*/ 0 h 273522"/>
                  <a:gd name="connsiteX4" fmla="*/ 273523 w 273522"/>
                  <a:gd name="connsiteY4" fmla="*/ 136761 h 273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522" h="273522">
                    <a:moveTo>
                      <a:pt x="273523" y="136761"/>
                    </a:moveTo>
                    <a:cubicBezTo>
                      <a:pt x="273523" y="212293"/>
                      <a:pt x="212293" y="273523"/>
                      <a:pt x="136761" y="273523"/>
                    </a:cubicBezTo>
                    <a:cubicBezTo>
                      <a:pt x="61230" y="273523"/>
                      <a:pt x="0" y="212293"/>
                      <a:pt x="0" y="136761"/>
                    </a:cubicBezTo>
                    <a:cubicBezTo>
                      <a:pt x="0" y="61230"/>
                      <a:pt x="61230" y="0"/>
                      <a:pt x="136761" y="0"/>
                    </a:cubicBezTo>
                    <a:cubicBezTo>
                      <a:pt x="212293" y="0"/>
                      <a:pt x="273523" y="61230"/>
                      <a:pt x="273523" y="136761"/>
                    </a:cubicBez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3" name="Полилиния 532">
                <a:extLst>
                  <a:ext uri="{FF2B5EF4-FFF2-40B4-BE49-F238E27FC236}">
                    <a16:creationId xmlns:a16="http://schemas.microsoft.com/office/drawing/2014/main" id="{23628D8D-C1A1-631C-5836-723E8A7A4857}"/>
                  </a:ext>
                </a:extLst>
              </p:cNvPr>
              <p:cNvSpPr/>
              <p:nvPr/>
            </p:nvSpPr>
            <p:spPr>
              <a:xfrm rot="-5400000">
                <a:off x="1252377" y="5542214"/>
                <a:ext cx="638220" cy="638220"/>
              </a:xfrm>
              <a:custGeom>
                <a:avLst/>
                <a:gdLst>
                  <a:gd name="connsiteX0" fmla="*/ 0 w 638220"/>
                  <a:gd name="connsiteY0" fmla="*/ 227936 h 638220"/>
                  <a:gd name="connsiteX1" fmla="*/ 0 w 638220"/>
                  <a:gd name="connsiteY1" fmla="*/ 410284 h 638220"/>
                  <a:gd name="connsiteX2" fmla="*/ 227936 w 638220"/>
                  <a:gd name="connsiteY2" fmla="*/ 638220 h 638220"/>
                  <a:gd name="connsiteX3" fmla="*/ 410284 w 638220"/>
                  <a:gd name="connsiteY3" fmla="*/ 638220 h 638220"/>
                  <a:gd name="connsiteX4" fmla="*/ 638220 w 638220"/>
                  <a:gd name="connsiteY4" fmla="*/ 410284 h 638220"/>
                  <a:gd name="connsiteX5" fmla="*/ 638220 w 638220"/>
                  <a:gd name="connsiteY5" fmla="*/ 227936 h 638220"/>
                  <a:gd name="connsiteX6" fmla="*/ 410284 w 638220"/>
                  <a:gd name="connsiteY6" fmla="*/ 0 h 638220"/>
                  <a:gd name="connsiteX7" fmla="*/ 227936 w 638220"/>
                  <a:gd name="connsiteY7" fmla="*/ 0 h 638220"/>
                  <a:gd name="connsiteX8" fmla="*/ 0 w 638220"/>
                  <a:gd name="connsiteY8" fmla="*/ 227936 h 638220"/>
                  <a:gd name="connsiteX9" fmla="*/ 227936 w 638220"/>
                  <a:gd name="connsiteY9" fmla="*/ 91174 h 638220"/>
                  <a:gd name="connsiteX10" fmla="*/ 410284 w 638220"/>
                  <a:gd name="connsiteY10" fmla="*/ 91174 h 638220"/>
                  <a:gd name="connsiteX11" fmla="*/ 547046 w 638220"/>
                  <a:gd name="connsiteY11" fmla="*/ 227936 h 638220"/>
                  <a:gd name="connsiteX12" fmla="*/ 547046 w 638220"/>
                  <a:gd name="connsiteY12" fmla="*/ 410284 h 638220"/>
                  <a:gd name="connsiteX13" fmla="*/ 410284 w 638220"/>
                  <a:gd name="connsiteY13" fmla="*/ 547046 h 638220"/>
                  <a:gd name="connsiteX14" fmla="*/ 227936 w 638220"/>
                  <a:gd name="connsiteY14" fmla="*/ 547046 h 638220"/>
                  <a:gd name="connsiteX15" fmla="*/ 91174 w 638220"/>
                  <a:gd name="connsiteY15" fmla="*/ 410284 h 638220"/>
                  <a:gd name="connsiteX16" fmla="*/ 91174 w 638220"/>
                  <a:gd name="connsiteY16" fmla="*/ 227936 h 638220"/>
                  <a:gd name="connsiteX17" fmla="*/ 227936 w 638220"/>
                  <a:gd name="connsiteY17" fmla="*/ 91174 h 63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38220" h="638220">
                    <a:moveTo>
                      <a:pt x="0" y="227936"/>
                    </a:moveTo>
                    <a:lnTo>
                      <a:pt x="0" y="410284"/>
                    </a:lnTo>
                    <a:cubicBezTo>
                      <a:pt x="0" y="536170"/>
                      <a:pt x="102050" y="638220"/>
                      <a:pt x="227936" y="638220"/>
                    </a:cubicBezTo>
                    <a:lnTo>
                      <a:pt x="410284" y="638220"/>
                    </a:lnTo>
                    <a:cubicBezTo>
                      <a:pt x="536170" y="638220"/>
                      <a:pt x="638220" y="536170"/>
                      <a:pt x="638220" y="410284"/>
                    </a:cubicBezTo>
                    <a:lnTo>
                      <a:pt x="638220" y="227936"/>
                    </a:lnTo>
                    <a:cubicBezTo>
                      <a:pt x="638220" y="102050"/>
                      <a:pt x="536170" y="0"/>
                      <a:pt x="410284" y="0"/>
                    </a:cubicBezTo>
                    <a:lnTo>
                      <a:pt x="227936" y="0"/>
                    </a:lnTo>
                    <a:cubicBezTo>
                      <a:pt x="102050" y="0"/>
                      <a:pt x="0" y="102050"/>
                      <a:pt x="0" y="227936"/>
                    </a:cubicBezTo>
                    <a:moveTo>
                      <a:pt x="227936" y="91174"/>
                    </a:moveTo>
                    <a:lnTo>
                      <a:pt x="410284" y="91174"/>
                    </a:lnTo>
                    <a:cubicBezTo>
                      <a:pt x="485816" y="91174"/>
                      <a:pt x="547046" y="152405"/>
                      <a:pt x="547046" y="227936"/>
                    </a:cubicBezTo>
                    <a:lnTo>
                      <a:pt x="547046" y="410284"/>
                    </a:lnTo>
                    <a:cubicBezTo>
                      <a:pt x="547046" y="485816"/>
                      <a:pt x="485816" y="547046"/>
                      <a:pt x="410284" y="547046"/>
                    </a:cubicBezTo>
                    <a:lnTo>
                      <a:pt x="227936" y="547046"/>
                    </a:lnTo>
                    <a:cubicBezTo>
                      <a:pt x="152405" y="547046"/>
                      <a:pt x="91174" y="485816"/>
                      <a:pt x="91174" y="410284"/>
                    </a:cubicBezTo>
                    <a:lnTo>
                      <a:pt x="91174" y="227936"/>
                    </a:lnTo>
                    <a:cubicBezTo>
                      <a:pt x="91174" y="152405"/>
                      <a:pt x="152405" y="91174"/>
                      <a:pt x="227936" y="91174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4" name="Полилиния 533">
                <a:extLst>
                  <a:ext uri="{FF2B5EF4-FFF2-40B4-BE49-F238E27FC236}">
                    <a16:creationId xmlns:a16="http://schemas.microsoft.com/office/drawing/2014/main" id="{6CB63FE4-9EF8-E37A-FA0D-8072C5AAFEA8}"/>
                  </a:ext>
                </a:extLst>
              </p:cNvPr>
              <p:cNvSpPr/>
              <p:nvPr/>
            </p:nvSpPr>
            <p:spPr>
              <a:xfrm rot="5400000">
                <a:off x="3075863" y="4083425"/>
                <a:ext cx="273522" cy="273522"/>
              </a:xfrm>
              <a:custGeom>
                <a:avLst/>
                <a:gdLst>
                  <a:gd name="connsiteX0" fmla="*/ 273523 w 273522"/>
                  <a:gd name="connsiteY0" fmla="*/ 136761 h 273522"/>
                  <a:gd name="connsiteX1" fmla="*/ 136761 w 273522"/>
                  <a:gd name="connsiteY1" fmla="*/ 273523 h 273522"/>
                  <a:gd name="connsiteX2" fmla="*/ 0 w 273522"/>
                  <a:gd name="connsiteY2" fmla="*/ 136761 h 273522"/>
                  <a:gd name="connsiteX3" fmla="*/ 136761 w 273522"/>
                  <a:gd name="connsiteY3" fmla="*/ 0 h 273522"/>
                  <a:gd name="connsiteX4" fmla="*/ 273523 w 273522"/>
                  <a:gd name="connsiteY4" fmla="*/ 136761 h 273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522" h="273522">
                    <a:moveTo>
                      <a:pt x="273523" y="136761"/>
                    </a:moveTo>
                    <a:cubicBezTo>
                      <a:pt x="273523" y="212293"/>
                      <a:pt x="212293" y="273523"/>
                      <a:pt x="136761" y="273523"/>
                    </a:cubicBezTo>
                    <a:cubicBezTo>
                      <a:pt x="61230" y="273523"/>
                      <a:pt x="0" y="212293"/>
                      <a:pt x="0" y="136761"/>
                    </a:cubicBezTo>
                    <a:cubicBezTo>
                      <a:pt x="0" y="61230"/>
                      <a:pt x="61230" y="0"/>
                      <a:pt x="136761" y="0"/>
                    </a:cubicBezTo>
                    <a:cubicBezTo>
                      <a:pt x="212293" y="0"/>
                      <a:pt x="273523" y="61230"/>
                      <a:pt x="273523" y="136761"/>
                    </a:cubicBez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5" name="Полилиния 534">
                <a:extLst>
                  <a:ext uri="{FF2B5EF4-FFF2-40B4-BE49-F238E27FC236}">
                    <a16:creationId xmlns:a16="http://schemas.microsoft.com/office/drawing/2014/main" id="{581A6E66-2779-B117-1F4A-CD19B0B17DC8}"/>
                  </a:ext>
                </a:extLst>
              </p:cNvPr>
              <p:cNvSpPr/>
              <p:nvPr/>
            </p:nvSpPr>
            <p:spPr>
              <a:xfrm rot="5400000">
                <a:off x="2893515" y="3901076"/>
                <a:ext cx="638220" cy="638220"/>
              </a:xfrm>
              <a:custGeom>
                <a:avLst/>
                <a:gdLst>
                  <a:gd name="connsiteX0" fmla="*/ 0 w 638220"/>
                  <a:gd name="connsiteY0" fmla="*/ 227936 h 638220"/>
                  <a:gd name="connsiteX1" fmla="*/ 0 w 638220"/>
                  <a:gd name="connsiteY1" fmla="*/ 410284 h 638220"/>
                  <a:gd name="connsiteX2" fmla="*/ 227936 w 638220"/>
                  <a:gd name="connsiteY2" fmla="*/ 638220 h 638220"/>
                  <a:gd name="connsiteX3" fmla="*/ 410284 w 638220"/>
                  <a:gd name="connsiteY3" fmla="*/ 638220 h 638220"/>
                  <a:gd name="connsiteX4" fmla="*/ 638220 w 638220"/>
                  <a:gd name="connsiteY4" fmla="*/ 410284 h 638220"/>
                  <a:gd name="connsiteX5" fmla="*/ 638220 w 638220"/>
                  <a:gd name="connsiteY5" fmla="*/ 227936 h 638220"/>
                  <a:gd name="connsiteX6" fmla="*/ 410284 w 638220"/>
                  <a:gd name="connsiteY6" fmla="*/ 0 h 638220"/>
                  <a:gd name="connsiteX7" fmla="*/ 227936 w 638220"/>
                  <a:gd name="connsiteY7" fmla="*/ 0 h 638220"/>
                  <a:gd name="connsiteX8" fmla="*/ 0 w 638220"/>
                  <a:gd name="connsiteY8" fmla="*/ 227936 h 638220"/>
                  <a:gd name="connsiteX9" fmla="*/ 227936 w 638220"/>
                  <a:gd name="connsiteY9" fmla="*/ 91174 h 638220"/>
                  <a:gd name="connsiteX10" fmla="*/ 410284 w 638220"/>
                  <a:gd name="connsiteY10" fmla="*/ 91174 h 638220"/>
                  <a:gd name="connsiteX11" fmla="*/ 547046 w 638220"/>
                  <a:gd name="connsiteY11" fmla="*/ 227936 h 638220"/>
                  <a:gd name="connsiteX12" fmla="*/ 547046 w 638220"/>
                  <a:gd name="connsiteY12" fmla="*/ 410284 h 638220"/>
                  <a:gd name="connsiteX13" fmla="*/ 410284 w 638220"/>
                  <a:gd name="connsiteY13" fmla="*/ 547046 h 638220"/>
                  <a:gd name="connsiteX14" fmla="*/ 227936 w 638220"/>
                  <a:gd name="connsiteY14" fmla="*/ 547046 h 638220"/>
                  <a:gd name="connsiteX15" fmla="*/ 91174 w 638220"/>
                  <a:gd name="connsiteY15" fmla="*/ 410284 h 638220"/>
                  <a:gd name="connsiteX16" fmla="*/ 91174 w 638220"/>
                  <a:gd name="connsiteY16" fmla="*/ 227936 h 638220"/>
                  <a:gd name="connsiteX17" fmla="*/ 227936 w 638220"/>
                  <a:gd name="connsiteY17" fmla="*/ 91174 h 63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38220" h="638220">
                    <a:moveTo>
                      <a:pt x="0" y="227936"/>
                    </a:moveTo>
                    <a:lnTo>
                      <a:pt x="0" y="410284"/>
                    </a:lnTo>
                    <a:cubicBezTo>
                      <a:pt x="0" y="536170"/>
                      <a:pt x="102050" y="638220"/>
                      <a:pt x="227936" y="638220"/>
                    </a:cubicBezTo>
                    <a:lnTo>
                      <a:pt x="410284" y="638220"/>
                    </a:lnTo>
                    <a:cubicBezTo>
                      <a:pt x="536170" y="638220"/>
                      <a:pt x="638220" y="536170"/>
                      <a:pt x="638220" y="410284"/>
                    </a:cubicBezTo>
                    <a:lnTo>
                      <a:pt x="638220" y="227936"/>
                    </a:lnTo>
                    <a:cubicBezTo>
                      <a:pt x="638220" y="102050"/>
                      <a:pt x="536170" y="0"/>
                      <a:pt x="410284" y="0"/>
                    </a:cubicBezTo>
                    <a:lnTo>
                      <a:pt x="227936" y="0"/>
                    </a:lnTo>
                    <a:cubicBezTo>
                      <a:pt x="102050" y="0"/>
                      <a:pt x="0" y="102050"/>
                      <a:pt x="0" y="227936"/>
                    </a:cubicBezTo>
                    <a:moveTo>
                      <a:pt x="227936" y="91174"/>
                    </a:moveTo>
                    <a:lnTo>
                      <a:pt x="410284" y="91174"/>
                    </a:lnTo>
                    <a:cubicBezTo>
                      <a:pt x="485816" y="91174"/>
                      <a:pt x="547046" y="152405"/>
                      <a:pt x="547046" y="227936"/>
                    </a:cubicBezTo>
                    <a:lnTo>
                      <a:pt x="547046" y="410284"/>
                    </a:lnTo>
                    <a:cubicBezTo>
                      <a:pt x="547046" y="485816"/>
                      <a:pt x="485816" y="547046"/>
                      <a:pt x="410284" y="547046"/>
                    </a:cubicBezTo>
                    <a:lnTo>
                      <a:pt x="227936" y="547046"/>
                    </a:lnTo>
                    <a:cubicBezTo>
                      <a:pt x="152405" y="547046"/>
                      <a:pt x="91174" y="485816"/>
                      <a:pt x="91174" y="410284"/>
                    </a:cubicBezTo>
                    <a:lnTo>
                      <a:pt x="91174" y="227936"/>
                    </a:lnTo>
                    <a:cubicBezTo>
                      <a:pt x="91174" y="152405"/>
                      <a:pt x="152405" y="91174"/>
                      <a:pt x="227936" y="91174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6" name="Полилиния 535">
                <a:extLst>
                  <a:ext uri="{FF2B5EF4-FFF2-40B4-BE49-F238E27FC236}">
                    <a16:creationId xmlns:a16="http://schemas.microsoft.com/office/drawing/2014/main" id="{8493BEBD-9DB3-1266-2A23-12D0BCC49B81}"/>
                  </a:ext>
                </a:extLst>
              </p:cNvPr>
              <p:cNvSpPr/>
              <p:nvPr/>
            </p:nvSpPr>
            <p:spPr>
              <a:xfrm>
                <a:off x="1434726" y="4083425"/>
                <a:ext cx="273522" cy="273522"/>
              </a:xfrm>
              <a:custGeom>
                <a:avLst/>
                <a:gdLst>
                  <a:gd name="connsiteX0" fmla="*/ 273523 w 273522"/>
                  <a:gd name="connsiteY0" fmla="*/ 136761 h 273522"/>
                  <a:gd name="connsiteX1" fmla="*/ 136761 w 273522"/>
                  <a:gd name="connsiteY1" fmla="*/ 273523 h 273522"/>
                  <a:gd name="connsiteX2" fmla="*/ 0 w 273522"/>
                  <a:gd name="connsiteY2" fmla="*/ 136761 h 273522"/>
                  <a:gd name="connsiteX3" fmla="*/ 136761 w 273522"/>
                  <a:gd name="connsiteY3" fmla="*/ 0 h 273522"/>
                  <a:gd name="connsiteX4" fmla="*/ 273523 w 273522"/>
                  <a:gd name="connsiteY4" fmla="*/ 136761 h 273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522" h="273522">
                    <a:moveTo>
                      <a:pt x="273523" y="136761"/>
                    </a:moveTo>
                    <a:cubicBezTo>
                      <a:pt x="273523" y="212293"/>
                      <a:pt x="212293" y="273523"/>
                      <a:pt x="136761" y="273523"/>
                    </a:cubicBezTo>
                    <a:cubicBezTo>
                      <a:pt x="61230" y="273523"/>
                      <a:pt x="0" y="212293"/>
                      <a:pt x="0" y="136761"/>
                    </a:cubicBezTo>
                    <a:cubicBezTo>
                      <a:pt x="0" y="61230"/>
                      <a:pt x="61230" y="0"/>
                      <a:pt x="136761" y="0"/>
                    </a:cubicBezTo>
                    <a:cubicBezTo>
                      <a:pt x="212293" y="0"/>
                      <a:pt x="273523" y="61230"/>
                      <a:pt x="273523" y="136761"/>
                    </a:cubicBez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7" name="Полилиния 536">
                <a:extLst>
                  <a:ext uri="{FF2B5EF4-FFF2-40B4-BE49-F238E27FC236}">
                    <a16:creationId xmlns:a16="http://schemas.microsoft.com/office/drawing/2014/main" id="{8BD4C8DA-3CD1-0C9C-B538-FC20834F9289}"/>
                  </a:ext>
                </a:extLst>
              </p:cNvPr>
              <p:cNvSpPr/>
              <p:nvPr/>
            </p:nvSpPr>
            <p:spPr>
              <a:xfrm>
                <a:off x="1252377" y="3901076"/>
                <a:ext cx="638220" cy="638220"/>
              </a:xfrm>
              <a:custGeom>
                <a:avLst/>
                <a:gdLst>
                  <a:gd name="connsiteX0" fmla="*/ 0 w 638220"/>
                  <a:gd name="connsiteY0" fmla="*/ 227936 h 638220"/>
                  <a:gd name="connsiteX1" fmla="*/ 0 w 638220"/>
                  <a:gd name="connsiteY1" fmla="*/ 410284 h 638220"/>
                  <a:gd name="connsiteX2" fmla="*/ 227936 w 638220"/>
                  <a:gd name="connsiteY2" fmla="*/ 638220 h 638220"/>
                  <a:gd name="connsiteX3" fmla="*/ 410284 w 638220"/>
                  <a:gd name="connsiteY3" fmla="*/ 638220 h 638220"/>
                  <a:gd name="connsiteX4" fmla="*/ 638220 w 638220"/>
                  <a:gd name="connsiteY4" fmla="*/ 410284 h 638220"/>
                  <a:gd name="connsiteX5" fmla="*/ 638220 w 638220"/>
                  <a:gd name="connsiteY5" fmla="*/ 227936 h 638220"/>
                  <a:gd name="connsiteX6" fmla="*/ 410284 w 638220"/>
                  <a:gd name="connsiteY6" fmla="*/ 0 h 638220"/>
                  <a:gd name="connsiteX7" fmla="*/ 227936 w 638220"/>
                  <a:gd name="connsiteY7" fmla="*/ 0 h 638220"/>
                  <a:gd name="connsiteX8" fmla="*/ 0 w 638220"/>
                  <a:gd name="connsiteY8" fmla="*/ 227936 h 638220"/>
                  <a:gd name="connsiteX9" fmla="*/ 227936 w 638220"/>
                  <a:gd name="connsiteY9" fmla="*/ 91174 h 638220"/>
                  <a:gd name="connsiteX10" fmla="*/ 410284 w 638220"/>
                  <a:gd name="connsiteY10" fmla="*/ 91174 h 638220"/>
                  <a:gd name="connsiteX11" fmla="*/ 547046 w 638220"/>
                  <a:gd name="connsiteY11" fmla="*/ 227936 h 638220"/>
                  <a:gd name="connsiteX12" fmla="*/ 547046 w 638220"/>
                  <a:gd name="connsiteY12" fmla="*/ 410284 h 638220"/>
                  <a:gd name="connsiteX13" fmla="*/ 410284 w 638220"/>
                  <a:gd name="connsiteY13" fmla="*/ 547046 h 638220"/>
                  <a:gd name="connsiteX14" fmla="*/ 227936 w 638220"/>
                  <a:gd name="connsiteY14" fmla="*/ 547046 h 638220"/>
                  <a:gd name="connsiteX15" fmla="*/ 91174 w 638220"/>
                  <a:gd name="connsiteY15" fmla="*/ 410284 h 638220"/>
                  <a:gd name="connsiteX16" fmla="*/ 91174 w 638220"/>
                  <a:gd name="connsiteY16" fmla="*/ 227936 h 638220"/>
                  <a:gd name="connsiteX17" fmla="*/ 227936 w 638220"/>
                  <a:gd name="connsiteY17" fmla="*/ 91174 h 63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38220" h="638220">
                    <a:moveTo>
                      <a:pt x="0" y="227936"/>
                    </a:moveTo>
                    <a:lnTo>
                      <a:pt x="0" y="410284"/>
                    </a:lnTo>
                    <a:cubicBezTo>
                      <a:pt x="0" y="536170"/>
                      <a:pt x="102050" y="638220"/>
                      <a:pt x="227936" y="638220"/>
                    </a:cubicBezTo>
                    <a:lnTo>
                      <a:pt x="410284" y="638220"/>
                    </a:lnTo>
                    <a:cubicBezTo>
                      <a:pt x="536170" y="638220"/>
                      <a:pt x="638220" y="536170"/>
                      <a:pt x="638220" y="410284"/>
                    </a:cubicBezTo>
                    <a:lnTo>
                      <a:pt x="638220" y="227936"/>
                    </a:lnTo>
                    <a:cubicBezTo>
                      <a:pt x="638220" y="102050"/>
                      <a:pt x="536170" y="0"/>
                      <a:pt x="410284" y="0"/>
                    </a:cubicBezTo>
                    <a:lnTo>
                      <a:pt x="227936" y="0"/>
                    </a:lnTo>
                    <a:cubicBezTo>
                      <a:pt x="102050" y="0"/>
                      <a:pt x="0" y="102050"/>
                      <a:pt x="0" y="227936"/>
                    </a:cubicBezTo>
                    <a:moveTo>
                      <a:pt x="227936" y="91174"/>
                    </a:moveTo>
                    <a:lnTo>
                      <a:pt x="410284" y="91174"/>
                    </a:lnTo>
                    <a:cubicBezTo>
                      <a:pt x="485816" y="91174"/>
                      <a:pt x="547046" y="152405"/>
                      <a:pt x="547046" y="227936"/>
                    </a:cubicBezTo>
                    <a:lnTo>
                      <a:pt x="547046" y="410284"/>
                    </a:lnTo>
                    <a:cubicBezTo>
                      <a:pt x="547046" y="485816"/>
                      <a:pt x="485816" y="547046"/>
                      <a:pt x="410284" y="547046"/>
                    </a:cubicBezTo>
                    <a:lnTo>
                      <a:pt x="227936" y="547046"/>
                    </a:lnTo>
                    <a:cubicBezTo>
                      <a:pt x="152405" y="547046"/>
                      <a:pt x="91174" y="485816"/>
                      <a:pt x="91174" y="410284"/>
                    </a:cubicBezTo>
                    <a:lnTo>
                      <a:pt x="91174" y="227936"/>
                    </a:lnTo>
                    <a:cubicBezTo>
                      <a:pt x="91174" y="152405"/>
                      <a:pt x="152405" y="91174"/>
                      <a:pt x="227936" y="91174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8" name="Полилиния 537">
                <a:extLst>
                  <a:ext uri="{FF2B5EF4-FFF2-40B4-BE49-F238E27FC236}">
                    <a16:creationId xmlns:a16="http://schemas.microsoft.com/office/drawing/2014/main" id="{C462F85D-7870-EBB5-3B3B-576DF6013C94}"/>
                  </a:ext>
                </a:extLst>
              </p:cNvPr>
              <p:cNvSpPr/>
              <p:nvPr/>
            </p:nvSpPr>
            <p:spPr>
              <a:xfrm rot="-5400000">
                <a:off x="2346469" y="390107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9" name="Полилиния 538">
                <a:extLst>
                  <a:ext uri="{FF2B5EF4-FFF2-40B4-BE49-F238E27FC236}">
                    <a16:creationId xmlns:a16="http://schemas.microsoft.com/office/drawing/2014/main" id="{6916A1DE-91DD-2194-FEB7-A370B7D02E50}"/>
                  </a:ext>
                </a:extLst>
              </p:cNvPr>
              <p:cNvSpPr/>
              <p:nvPr/>
            </p:nvSpPr>
            <p:spPr>
              <a:xfrm rot="5400000">
                <a:off x="2528817" y="390107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0" name="Полилиния 539">
                <a:extLst>
                  <a:ext uri="{FF2B5EF4-FFF2-40B4-BE49-F238E27FC236}">
                    <a16:creationId xmlns:a16="http://schemas.microsoft.com/office/drawing/2014/main" id="{61829902-13A0-0AC5-B784-E7C955E04684}"/>
                  </a:ext>
                </a:extLst>
              </p:cNvPr>
              <p:cNvSpPr/>
              <p:nvPr/>
            </p:nvSpPr>
            <p:spPr>
              <a:xfrm rot="-5400000">
                <a:off x="1981772" y="399225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1" name="Полилиния 540">
                <a:extLst>
                  <a:ext uri="{FF2B5EF4-FFF2-40B4-BE49-F238E27FC236}">
                    <a16:creationId xmlns:a16="http://schemas.microsoft.com/office/drawing/2014/main" id="{F3670A4C-A28F-8D08-72A0-6574FEA0F63B}"/>
                  </a:ext>
                </a:extLst>
              </p:cNvPr>
              <p:cNvSpPr/>
              <p:nvPr/>
            </p:nvSpPr>
            <p:spPr>
              <a:xfrm>
                <a:off x="2072946" y="399225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2" name="Полилиния 541">
                <a:extLst>
                  <a:ext uri="{FF2B5EF4-FFF2-40B4-BE49-F238E27FC236}">
                    <a16:creationId xmlns:a16="http://schemas.microsoft.com/office/drawing/2014/main" id="{93AB6487-F0F2-DB71-2B12-5361D8D73F7E}"/>
                  </a:ext>
                </a:extLst>
              </p:cNvPr>
              <p:cNvSpPr/>
              <p:nvPr/>
            </p:nvSpPr>
            <p:spPr>
              <a:xfrm>
                <a:off x="2164120" y="399225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3" name="Полилиния 542">
                <a:extLst>
                  <a:ext uri="{FF2B5EF4-FFF2-40B4-BE49-F238E27FC236}">
                    <a16:creationId xmlns:a16="http://schemas.microsoft.com/office/drawing/2014/main" id="{0EBDDBD2-8B63-8671-960D-8C212DFD5B6B}"/>
                  </a:ext>
                </a:extLst>
              </p:cNvPr>
              <p:cNvSpPr/>
              <p:nvPr/>
            </p:nvSpPr>
            <p:spPr>
              <a:xfrm rot="5400000">
                <a:off x="2346469" y="399225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4" name="Полилиния 543">
                <a:extLst>
                  <a:ext uri="{FF2B5EF4-FFF2-40B4-BE49-F238E27FC236}">
                    <a16:creationId xmlns:a16="http://schemas.microsoft.com/office/drawing/2014/main" id="{7C24BF08-24EC-E337-5827-A8E9594F8183}"/>
                  </a:ext>
                </a:extLst>
              </p:cNvPr>
              <p:cNvSpPr/>
              <p:nvPr/>
            </p:nvSpPr>
            <p:spPr>
              <a:xfrm rot="5400000">
                <a:off x="2711166" y="399225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5" name="Полилиния 544">
                <a:extLst>
                  <a:ext uri="{FF2B5EF4-FFF2-40B4-BE49-F238E27FC236}">
                    <a16:creationId xmlns:a16="http://schemas.microsoft.com/office/drawing/2014/main" id="{448D075C-0B21-B34A-A401-D48209292EC2}"/>
                  </a:ext>
                </a:extLst>
              </p:cNvPr>
              <p:cNvSpPr/>
              <p:nvPr/>
            </p:nvSpPr>
            <p:spPr>
              <a:xfrm>
                <a:off x="2072946" y="408342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6" name="Полилиния 545">
                <a:extLst>
                  <a:ext uri="{FF2B5EF4-FFF2-40B4-BE49-F238E27FC236}">
                    <a16:creationId xmlns:a16="http://schemas.microsoft.com/office/drawing/2014/main" id="{31AC5AEF-E787-3E4B-0D42-C021C3F35A2A}"/>
                  </a:ext>
                </a:extLst>
              </p:cNvPr>
              <p:cNvSpPr/>
              <p:nvPr/>
            </p:nvSpPr>
            <p:spPr>
              <a:xfrm>
                <a:off x="2164120" y="408342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7" name="Полилиния 546">
                <a:extLst>
                  <a:ext uri="{FF2B5EF4-FFF2-40B4-BE49-F238E27FC236}">
                    <a16:creationId xmlns:a16="http://schemas.microsoft.com/office/drawing/2014/main" id="{F6867C03-3D05-018F-BDF1-9968EF051D40}"/>
                  </a:ext>
                </a:extLst>
              </p:cNvPr>
              <p:cNvSpPr/>
              <p:nvPr/>
            </p:nvSpPr>
            <p:spPr>
              <a:xfrm rot="5400000">
                <a:off x="2437643" y="408342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8" name="Полилиния 547">
                <a:extLst>
                  <a:ext uri="{FF2B5EF4-FFF2-40B4-BE49-F238E27FC236}">
                    <a16:creationId xmlns:a16="http://schemas.microsoft.com/office/drawing/2014/main" id="{DCAA18AF-9622-A270-E31D-FDFA42D550EB}"/>
                  </a:ext>
                </a:extLst>
              </p:cNvPr>
              <p:cNvSpPr/>
              <p:nvPr/>
            </p:nvSpPr>
            <p:spPr>
              <a:xfrm rot="-5400000">
                <a:off x="1981772" y="417459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9" name="Полилиния 548">
                <a:extLst>
                  <a:ext uri="{FF2B5EF4-FFF2-40B4-BE49-F238E27FC236}">
                    <a16:creationId xmlns:a16="http://schemas.microsoft.com/office/drawing/2014/main" id="{1C1528F3-24C9-E7BC-18D8-C709303A4B20}"/>
                  </a:ext>
                </a:extLst>
              </p:cNvPr>
              <p:cNvSpPr/>
              <p:nvPr/>
            </p:nvSpPr>
            <p:spPr>
              <a:xfrm rot="5400000">
                <a:off x="2164120" y="417459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0" name="Полилиния 549">
                <a:extLst>
                  <a:ext uri="{FF2B5EF4-FFF2-40B4-BE49-F238E27FC236}">
                    <a16:creationId xmlns:a16="http://schemas.microsoft.com/office/drawing/2014/main" id="{E95E1220-6670-997F-12D0-07FC33D70693}"/>
                  </a:ext>
                </a:extLst>
              </p:cNvPr>
              <p:cNvSpPr/>
              <p:nvPr/>
            </p:nvSpPr>
            <p:spPr>
              <a:xfrm rot="-5400000">
                <a:off x="2619992" y="417459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1" name="Полилиния 550">
                <a:extLst>
                  <a:ext uri="{FF2B5EF4-FFF2-40B4-BE49-F238E27FC236}">
                    <a16:creationId xmlns:a16="http://schemas.microsoft.com/office/drawing/2014/main" id="{E82DEAC8-5F62-77F7-E74A-CF0912F5F468}"/>
                  </a:ext>
                </a:extLst>
              </p:cNvPr>
              <p:cNvSpPr/>
              <p:nvPr/>
            </p:nvSpPr>
            <p:spPr>
              <a:xfrm>
                <a:off x="2711166" y="417459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2" name="Полилиния 551">
                <a:extLst>
                  <a:ext uri="{FF2B5EF4-FFF2-40B4-BE49-F238E27FC236}">
                    <a16:creationId xmlns:a16="http://schemas.microsoft.com/office/drawing/2014/main" id="{43A14014-4979-D327-CA0A-1FBFC8CE9A46}"/>
                  </a:ext>
                </a:extLst>
              </p:cNvPr>
              <p:cNvSpPr/>
              <p:nvPr/>
            </p:nvSpPr>
            <p:spPr>
              <a:xfrm>
                <a:off x="1981772" y="4265773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3" name="Полилиния 552">
                <a:extLst>
                  <a:ext uri="{FF2B5EF4-FFF2-40B4-BE49-F238E27FC236}">
                    <a16:creationId xmlns:a16="http://schemas.microsoft.com/office/drawing/2014/main" id="{B4099D71-5406-EDEF-43AD-3529CFCADB25}"/>
                  </a:ext>
                </a:extLst>
              </p:cNvPr>
              <p:cNvSpPr/>
              <p:nvPr/>
            </p:nvSpPr>
            <p:spPr>
              <a:xfrm rot="5400000">
                <a:off x="2072946" y="4265773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4" name="Полилиния 553">
                <a:extLst>
                  <a:ext uri="{FF2B5EF4-FFF2-40B4-BE49-F238E27FC236}">
                    <a16:creationId xmlns:a16="http://schemas.microsoft.com/office/drawing/2014/main" id="{88E2D3A8-FA69-FD5D-309D-2A7BFFD93182}"/>
                  </a:ext>
                </a:extLst>
              </p:cNvPr>
              <p:cNvSpPr/>
              <p:nvPr/>
            </p:nvSpPr>
            <p:spPr>
              <a:xfrm rot="-5400000">
                <a:off x="2346469" y="4265773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5" name="Полилиния 554">
                <a:extLst>
                  <a:ext uri="{FF2B5EF4-FFF2-40B4-BE49-F238E27FC236}">
                    <a16:creationId xmlns:a16="http://schemas.microsoft.com/office/drawing/2014/main" id="{ECE9B67F-2C92-A670-191A-5C7B4EFA8B4E}"/>
                  </a:ext>
                </a:extLst>
              </p:cNvPr>
              <p:cNvSpPr/>
              <p:nvPr/>
            </p:nvSpPr>
            <p:spPr>
              <a:xfrm>
                <a:off x="2437643" y="4265773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6" name="Полилиния 555">
                <a:extLst>
                  <a:ext uri="{FF2B5EF4-FFF2-40B4-BE49-F238E27FC236}">
                    <a16:creationId xmlns:a16="http://schemas.microsoft.com/office/drawing/2014/main" id="{1B1B83E4-7A5E-F4E1-962F-408BC8C0A17C}"/>
                  </a:ext>
                </a:extLst>
              </p:cNvPr>
              <p:cNvSpPr/>
              <p:nvPr/>
            </p:nvSpPr>
            <p:spPr>
              <a:xfrm>
                <a:off x="2711166" y="4265773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7" name="Полилиния 556">
                <a:extLst>
                  <a:ext uri="{FF2B5EF4-FFF2-40B4-BE49-F238E27FC236}">
                    <a16:creationId xmlns:a16="http://schemas.microsoft.com/office/drawing/2014/main" id="{AE8D0D8C-06A4-C018-77E9-13CE13E7A973}"/>
                  </a:ext>
                </a:extLst>
              </p:cNvPr>
              <p:cNvSpPr/>
              <p:nvPr/>
            </p:nvSpPr>
            <p:spPr>
              <a:xfrm rot="-5400000">
                <a:off x="2164120" y="435694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8" name="Полилиния 557">
                <a:extLst>
                  <a:ext uri="{FF2B5EF4-FFF2-40B4-BE49-F238E27FC236}">
                    <a16:creationId xmlns:a16="http://schemas.microsoft.com/office/drawing/2014/main" id="{AD6AE965-1580-2526-BFD2-8F4C372FE99E}"/>
                  </a:ext>
                </a:extLst>
              </p:cNvPr>
              <p:cNvSpPr/>
              <p:nvPr/>
            </p:nvSpPr>
            <p:spPr>
              <a:xfrm>
                <a:off x="2346469" y="435694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9" name="Полилиния 558">
                <a:extLst>
                  <a:ext uri="{FF2B5EF4-FFF2-40B4-BE49-F238E27FC236}">
                    <a16:creationId xmlns:a16="http://schemas.microsoft.com/office/drawing/2014/main" id="{C7775B17-FAA0-2E59-8549-9055E87B90DC}"/>
                  </a:ext>
                </a:extLst>
              </p:cNvPr>
              <p:cNvSpPr/>
              <p:nvPr/>
            </p:nvSpPr>
            <p:spPr>
              <a:xfrm>
                <a:off x="2437643" y="435694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0" name="Полилиния 559">
                <a:extLst>
                  <a:ext uri="{FF2B5EF4-FFF2-40B4-BE49-F238E27FC236}">
                    <a16:creationId xmlns:a16="http://schemas.microsoft.com/office/drawing/2014/main" id="{89167D5B-3FBF-CFF8-350B-EA9ACC518A3B}"/>
                  </a:ext>
                </a:extLst>
              </p:cNvPr>
              <p:cNvSpPr/>
              <p:nvPr/>
            </p:nvSpPr>
            <p:spPr>
              <a:xfrm>
                <a:off x="2528817" y="435694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1" name="Полилиния 560">
                <a:extLst>
                  <a:ext uri="{FF2B5EF4-FFF2-40B4-BE49-F238E27FC236}">
                    <a16:creationId xmlns:a16="http://schemas.microsoft.com/office/drawing/2014/main" id="{CF8DC306-3D59-A19B-108F-6A01CC6C9BC5}"/>
                  </a:ext>
                </a:extLst>
              </p:cNvPr>
              <p:cNvSpPr/>
              <p:nvPr/>
            </p:nvSpPr>
            <p:spPr>
              <a:xfrm>
                <a:off x="2711166" y="435694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2" name="Полилиния 561">
                <a:extLst>
                  <a:ext uri="{FF2B5EF4-FFF2-40B4-BE49-F238E27FC236}">
                    <a16:creationId xmlns:a16="http://schemas.microsoft.com/office/drawing/2014/main" id="{EC909E0F-BAAF-FF6A-804B-CEE987D6EADF}"/>
                  </a:ext>
                </a:extLst>
              </p:cNvPr>
              <p:cNvSpPr/>
              <p:nvPr/>
            </p:nvSpPr>
            <p:spPr>
              <a:xfrm rot="-5400000">
                <a:off x="1981772" y="444812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3" name="Полилиния 562">
                <a:extLst>
                  <a:ext uri="{FF2B5EF4-FFF2-40B4-BE49-F238E27FC236}">
                    <a16:creationId xmlns:a16="http://schemas.microsoft.com/office/drawing/2014/main" id="{3D82B215-B134-D096-0BEC-13AD582E8845}"/>
                  </a:ext>
                </a:extLst>
              </p:cNvPr>
              <p:cNvSpPr/>
              <p:nvPr/>
            </p:nvSpPr>
            <p:spPr>
              <a:xfrm rot="5400000">
                <a:off x="2164120" y="444812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4" name="Полилиния 563">
                <a:extLst>
                  <a:ext uri="{FF2B5EF4-FFF2-40B4-BE49-F238E27FC236}">
                    <a16:creationId xmlns:a16="http://schemas.microsoft.com/office/drawing/2014/main" id="{447D75E7-0966-1B4E-88B4-BDC391EEB165}"/>
                  </a:ext>
                </a:extLst>
              </p:cNvPr>
              <p:cNvSpPr/>
              <p:nvPr/>
            </p:nvSpPr>
            <p:spPr>
              <a:xfrm>
                <a:off x="2346469" y="444812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5" name="Полилиния 564">
                <a:extLst>
                  <a:ext uri="{FF2B5EF4-FFF2-40B4-BE49-F238E27FC236}">
                    <a16:creationId xmlns:a16="http://schemas.microsoft.com/office/drawing/2014/main" id="{A4FE7A6A-E2E0-F880-D777-856500FA4BFF}"/>
                  </a:ext>
                </a:extLst>
              </p:cNvPr>
              <p:cNvSpPr/>
              <p:nvPr/>
            </p:nvSpPr>
            <p:spPr>
              <a:xfrm rot="5400000">
                <a:off x="2528817" y="444812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6" name="Полилиния 565">
                <a:extLst>
                  <a:ext uri="{FF2B5EF4-FFF2-40B4-BE49-F238E27FC236}">
                    <a16:creationId xmlns:a16="http://schemas.microsoft.com/office/drawing/2014/main" id="{F77456D8-2129-1079-990C-74FA9D22E4C2}"/>
                  </a:ext>
                </a:extLst>
              </p:cNvPr>
              <p:cNvSpPr/>
              <p:nvPr/>
            </p:nvSpPr>
            <p:spPr>
              <a:xfrm rot="5400000">
                <a:off x="2711166" y="444812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7" name="Полилиния 566">
                <a:extLst>
                  <a:ext uri="{FF2B5EF4-FFF2-40B4-BE49-F238E27FC236}">
                    <a16:creationId xmlns:a16="http://schemas.microsoft.com/office/drawing/2014/main" id="{38A48F69-F788-3977-0E25-6D0AB3592C47}"/>
                  </a:ext>
                </a:extLst>
              </p:cNvPr>
              <p:cNvSpPr/>
              <p:nvPr/>
            </p:nvSpPr>
            <p:spPr>
              <a:xfrm>
                <a:off x="1981772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8" name="Полилиния 567">
                <a:extLst>
                  <a:ext uri="{FF2B5EF4-FFF2-40B4-BE49-F238E27FC236}">
                    <a16:creationId xmlns:a16="http://schemas.microsoft.com/office/drawing/2014/main" id="{D8871AEB-7BE7-78EA-F624-AE824D495398}"/>
                  </a:ext>
                </a:extLst>
              </p:cNvPr>
              <p:cNvSpPr/>
              <p:nvPr/>
            </p:nvSpPr>
            <p:spPr>
              <a:xfrm rot="5400000">
                <a:off x="2072946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9" name="Полилиния 568">
                <a:extLst>
                  <a:ext uri="{FF2B5EF4-FFF2-40B4-BE49-F238E27FC236}">
                    <a16:creationId xmlns:a16="http://schemas.microsoft.com/office/drawing/2014/main" id="{C06CD3CA-5226-239F-DC2C-9810A0B072E7}"/>
                  </a:ext>
                </a:extLst>
              </p:cNvPr>
              <p:cNvSpPr/>
              <p:nvPr/>
            </p:nvSpPr>
            <p:spPr>
              <a:xfrm rot="-5400000">
                <a:off x="2255295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0" name="Полилиния 569">
                <a:extLst>
                  <a:ext uri="{FF2B5EF4-FFF2-40B4-BE49-F238E27FC236}">
                    <a16:creationId xmlns:a16="http://schemas.microsoft.com/office/drawing/2014/main" id="{5AC41434-86A3-317E-B585-7123BAD1B5AB}"/>
                  </a:ext>
                </a:extLst>
              </p:cNvPr>
              <p:cNvSpPr/>
              <p:nvPr/>
            </p:nvSpPr>
            <p:spPr>
              <a:xfrm>
                <a:off x="2346469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1" name="Полилиния 570">
                <a:extLst>
                  <a:ext uri="{FF2B5EF4-FFF2-40B4-BE49-F238E27FC236}">
                    <a16:creationId xmlns:a16="http://schemas.microsoft.com/office/drawing/2014/main" id="{D3F0385F-E46C-471A-1FAF-362430086E52}"/>
                  </a:ext>
                </a:extLst>
              </p:cNvPr>
              <p:cNvSpPr/>
              <p:nvPr/>
            </p:nvSpPr>
            <p:spPr>
              <a:xfrm rot="5400000">
                <a:off x="2437643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2" name="Полилиния 571">
                <a:extLst>
                  <a:ext uri="{FF2B5EF4-FFF2-40B4-BE49-F238E27FC236}">
                    <a16:creationId xmlns:a16="http://schemas.microsoft.com/office/drawing/2014/main" id="{EEA14819-5B9D-4462-21CB-F06DE72F21E5}"/>
                  </a:ext>
                </a:extLst>
              </p:cNvPr>
              <p:cNvSpPr/>
              <p:nvPr/>
            </p:nvSpPr>
            <p:spPr>
              <a:xfrm rot="-5400000">
                <a:off x="2619992" y="453929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3" name="Полилиния 572">
                <a:extLst>
                  <a:ext uri="{FF2B5EF4-FFF2-40B4-BE49-F238E27FC236}">
                    <a16:creationId xmlns:a16="http://schemas.microsoft.com/office/drawing/2014/main" id="{D6239881-EA77-71E8-181E-0E89FBC7B1A1}"/>
                  </a:ext>
                </a:extLst>
              </p:cNvPr>
              <p:cNvSpPr/>
              <p:nvPr/>
            </p:nvSpPr>
            <p:spPr>
              <a:xfrm rot="-5400000">
                <a:off x="1343551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4" name="Полилиния 573">
                <a:extLst>
                  <a:ext uri="{FF2B5EF4-FFF2-40B4-BE49-F238E27FC236}">
                    <a16:creationId xmlns:a16="http://schemas.microsoft.com/office/drawing/2014/main" id="{6AEEA2D3-6169-1935-EBED-7E5AC60F2F91}"/>
                  </a:ext>
                </a:extLst>
              </p:cNvPr>
              <p:cNvSpPr/>
              <p:nvPr/>
            </p:nvSpPr>
            <p:spPr>
              <a:xfrm rot="-5400000">
                <a:off x="1525900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5" name="Полилиния 574">
                <a:extLst>
                  <a:ext uri="{FF2B5EF4-FFF2-40B4-BE49-F238E27FC236}">
                    <a16:creationId xmlns:a16="http://schemas.microsoft.com/office/drawing/2014/main" id="{915A62BA-392F-4A79-5464-1B6566670C38}"/>
                  </a:ext>
                </a:extLst>
              </p:cNvPr>
              <p:cNvSpPr/>
              <p:nvPr/>
            </p:nvSpPr>
            <p:spPr>
              <a:xfrm>
                <a:off x="1617074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4" name="Полилиния 703">
                <a:extLst>
                  <a:ext uri="{FF2B5EF4-FFF2-40B4-BE49-F238E27FC236}">
                    <a16:creationId xmlns:a16="http://schemas.microsoft.com/office/drawing/2014/main" id="{4C162FCB-7D93-3D3B-449B-C534D94C73E2}"/>
                  </a:ext>
                </a:extLst>
              </p:cNvPr>
              <p:cNvSpPr/>
              <p:nvPr/>
            </p:nvSpPr>
            <p:spPr>
              <a:xfrm>
                <a:off x="1708249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5" name="Полилиния 704">
                <a:extLst>
                  <a:ext uri="{FF2B5EF4-FFF2-40B4-BE49-F238E27FC236}">
                    <a16:creationId xmlns:a16="http://schemas.microsoft.com/office/drawing/2014/main" id="{7F994058-8A50-92CC-1A0E-DBBEDB0E64B5}"/>
                  </a:ext>
                </a:extLst>
              </p:cNvPr>
              <p:cNvSpPr/>
              <p:nvPr/>
            </p:nvSpPr>
            <p:spPr>
              <a:xfrm rot="5400000">
                <a:off x="1799423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6" name="Полилиния 705">
                <a:extLst>
                  <a:ext uri="{FF2B5EF4-FFF2-40B4-BE49-F238E27FC236}">
                    <a16:creationId xmlns:a16="http://schemas.microsoft.com/office/drawing/2014/main" id="{BCBA7C62-245C-177A-3FCC-AE395F5E65AC}"/>
                  </a:ext>
                </a:extLst>
              </p:cNvPr>
              <p:cNvSpPr/>
              <p:nvPr/>
            </p:nvSpPr>
            <p:spPr>
              <a:xfrm rot="5400000">
                <a:off x="1981772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7" name="Полилиния 706">
                <a:extLst>
                  <a:ext uri="{FF2B5EF4-FFF2-40B4-BE49-F238E27FC236}">
                    <a16:creationId xmlns:a16="http://schemas.microsoft.com/office/drawing/2014/main" id="{E1E0A6B3-132C-5ACB-8584-CD89BD2CF2F3}"/>
                  </a:ext>
                </a:extLst>
              </p:cNvPr>
              <p:cNvSpPr/>
              <p:nvPr/>
            </p:nvSpPr>
            <p:spPr>
              <a:xfrm>
                <a:off x="2619992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8" name="Полилиния 707">
                <a:extLst>
                  <a:ext uri="{FF2B5EF4-FFF2-40B4-BE49-F238E27FC236}">
                    <a16:creationId xmlns:a16="http://schemas.microsoft.com/office/drawing/2014/main" id="{3DB72606-7DD4-3773-753D-A08F7BB7D5C6}"/>
                  </a:ext>
                </a:extLst>
              </p:cNvPr>
              <p:cNvSpPr/>
              <p:nvPr/>
            </p:nvSpPr>
            <p:spPr>
              <a:xfrm>
                <a:off x="2711166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9" name="Полилиния 708">
                <a:extLst>
                  <a:ext uri="{FF2B5EF4-FFF2-40B4-BE49-F238E27FC236}">
                    <a16:creationId xmlns:a16="http://schemas.microsoft.com/office/drawing/2014/main" id="{E1000CA3-5200-3C2B-DEF0-BAFB053129FD}"/>
                  </a:ext>
                </a:extLst>
              </p:cNvPr>
              <p:cNvSpPr/>
              <p:nvPr/>
            </p:nvSpPr>
            <p:spPr>
              <a:xfrm>
                <a:off x="2802340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0" name="Полилиния 709">
                <a:extLst>
                  <a:ext uri="{FF2B5EF4-FFF2-40B4-BE49-F238E27FC236}">
                    <a16:creationId xmlns:a16="http://schemas.microsoft.com/office/drawing/2014/main" id="{D9ED52A5-B1A6-0227-FF4F-834BDEF039C9}"/>
                  </a:ext>
                </a:extLst>
              </p:cNvPr>
              <p:cNvSpPr/>
              <p:nvPr/>
            </p:nvSpPr>
            <p:spPr>
              <a:xfrm rot="5400000">
                <a:off x="2893515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1" name="Полилиния 710">
                <a:extLst>
                  <a:ext uri="{FF2B5EF4-FFF2-40B4-BE49-F238E27FC236}">
                    <a16:creationId xmlns:a16="http://schemas.microsoft.com/office/drawing/2014/main" id="{BA0D2F2E-74C4-5446-A67A-73E57F6984D5}"/>
                  </a:ext>
                </a:extLst>
              </p:cNvPr>
              <p:cNvSpPr/>
              <p:nvPr/>
            </p:nvSpPr>
            <p:spPr>
              <a:xfrm rot="-5400000">
                <a:off x="3075863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2" name="Полилиния 711">
                <a:extLst>
                  <a:ext uri="{FF2B5EF4-FFF2-40B4-BE49-F238E27FC236}">
                    <a16:creationId xmlns:a16="http://schemas.microsoft.com/office/drawing/2014/main" id="{7272C2E1-D799-FFF9-0627-3ED2F5A853F8}"/>
                  </a:ext>
                </a:extLst>
              </p:cNvPr>
              <p:cNvSpPr/>
              <p:nvPr/>
            </p:nvSpPr>
            <p:spPr>
              <a:xfrm>
                <a:off x="3167038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3" name="Полилиния 712">
                <a:extLst>
                  <a:ext uri="{FF2B5EF4-FFF2-40B4-BE49-F238E27FC236}">
                    <a16:creationId xmlns:a16="http://schemas.microsoft.com/office/drawing/2014/main" id="{3A715B7D-A954-6D32-D76C-74D2FCCE4728}"/>
                  </a:ext>
                </a:extLst>
              </p:cNvPr>
              <p:cNvSpPr/>
              <p:nvPr/>
            </p:nvSpPr>
            <p:spPr>
              <a:xfrm rot="-5400000">
                <a:off x="3349386" y="463047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4" name="Полилиния 713">
                <a:extLst>
                  <a:ext uri="{FF2B5EF4-FFF2-40B4-BE49-F238E27FC236}">
                    <a16:creationId xmlns:a16="http://schemas.microsoft.com/office/drawing/2014/main" id="{42C833C0-DE94-3EB1-40E6-6137F28A9F1A}"/>
                  </a:ext>
                </a:extLst>
              </p:cNvPr>
              <p:cNvSpPr/>
              <p:nvPr/>
            </p:nvSpPr>
            <p:spPr>
              <a:xfrm rot="-5400000">
                <a:off x="1252377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5" name="Полилиния 714">
                <a:extLst>
                  <a:ext uri="{FF2B5EF4-FFF2-40B4-BE49-F238E27FC236}">
                    <a16:creationId xmlns:a16="http://schemas.microsoft.com/office/drawing/2014/main" id="{186D4A0A-1E8A-C327-5091-8EEC0614445D}"/>
                  </a:ext>
                </a:extLst>
              </p:cNvPr>
              <p:cNvSpPr/>
              <p:nvPr/>
            </p:nvSpPr>
            <p:spPr>
              <a:xfrm>
                <a:off x="1343551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6" name="Полилиния 715">
                <a:extLst>
                  <a:ext uri="{FF2B5EF4-FFF2-40B4-BE49-F238E27FC236}">
                    <a16:creationId xmlns:a16="http://schemas.microsoft.com/office/drawing/2014/main" id="{18AE950C-693B-C98C-6D62-97ECCE29E574}"/>
                  </a:ext>
                </a:extLst>
              </p:cNvPr>
              <p:cNvSpPr/>
              <p:nvPr/>
            </p:nvSpPr>
            <p:spPr>
              <a:xfrm>
                <a:off x="1434726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7" name="Полилиния 716">
                <a:extLst>
                  <a:ext uri="{FF2B5EF4-FFF2-40B4-BE49-F238E27FC236}">
                    <a16:creationId xmlns:a16="http://schemas.microsoft.com/office/drawing/2014/main" id="{5257BBE5-81A2-04FF-1181-42CDE0FB42AA}"/>
                  </a:ext>
                </a:extLst>
              </p:cNvPr>
              <p:cNvSpPr/>
              <p:nvPr/>
            </p:nvSpPr>
            <p:spPr>
              <a:xfrm>
                <a:off x="1525900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8" name="Полилиния 717">
                <a:extLst>
                  <a:ext uri="{FF2B5EF4-FFF2-40B4-BE49-F238E27FC236}">
                    <a16:creationId xmlns:a16="http://schemas.microsoft.com/office/drawing/2014/main" id="{712C0273-8C89-9AC3-182E-39565C6FDCDA}"/>
                  </a:ext>
                </a:extLst>
              </p:cNvPr>
              <p:cNvSpPr/>
              <p:nvPr/>
            </p:nvSpPr>
            <p:spPr>
              <a:xfrm>
                <a:off x="1617074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9" name="Полилиния 718">
                <a:extLst>
                  <a:ext uri="{FF2B5EF4-FFF2-40B4-BE49-F238E27FC236}">
                    <a16:creationId xmlns:a16="http://schemas.microsoft.com/office/drawing/2014/main" id="{210164BA-0F17-AF0B-4C42-CFACBC14B677}"/>
                  </a:ext>
                </a:extLst>
              </p:cNvPr>
              <p:cNvSpPr/>
              <p:nvPr/>
            </p:nvSpPr>
            <p:spPr>
              <a:xfrm>
                <a:off x="1708249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0" name="Полилиния 719">
                <a:extLst>
                  <a:ext uri="{FF2B5EF4-FFF2-40B4-BE49-F238E27FC236}">
                    <a16:creationId xmlns:a16="http://schemas.microsoft.com/office/drawing/2014/main" id="{C60EE525-76AF-D68B-D786-DEBFA80EB144}"/>
                  </a:ext>
                </a:extLst>
              </p:cNvPr>
              <p:cNvSpPr/>
              <p:nvPr/>
            </p:nvSpPr>
            <p:spPr>
              <a:xfrm rot="-5400000">
                <a:off x="1890597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1" name="Полилиния 720">
                <a:extLst>
                  <a:ext uri="{FF2B5EF4-FFF2-40B4-BE49-F238E27FC236}">
                    <a16:creationId xmlns:a16="http://schemas.microsoft.com/office/drawing/2014/main" id="{506B8887-0525-1DB2-D364-0228FE5AF7C1}"/>
                  </a:ext>
                </a:extLst>
              </p:cNvPr>
              <p:cNvSpPr/>
              <p:nvPr/>
            </p:nvSpPr>
            <p:spPr>
              <a:xfrm rot="-5400000">
                <a:off x="2072946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2" name="Полилиния 721">
                <a:extLst>
                  <a:ext uri="{FF2B5EF4-FFF2-40B4-BE49-F238E27FC236}">
                    <a16:creationId xmlns:a16="http://schemas.microsoft.com/office/drawing/2014/main" id="{1A31C3AC-8519-02CF-1D62-029273B7BF5B}"/>
                  </a:ext>
                </a:extLst>
              </p:cNvPr>
              <p:cNvSpPr/>
              <p:nvPr/>
            </p:nvSpPr>
            <p:spPr>
              <a:xfrm rot="5400000">
                <a:off x="2164120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3" name="Полилиния 722">
                <a:extLst>
                  <a:ext uri="{FF2B5EF4-FFF2-40B4-BE49-F238E27FC236}">
                    <a16:creationId xmlns:a16="http://schemas.microsoft.com/office/drawing/2014/main" id="{3A70AFEC-F1AB-8C52-7B46-287B6F78CE96}"/>
                  </a:ext>
                </a:extLst>
              </p:cNvPr>
              <p:cNvSpPr/>
              <p:nvPr/>
            </p:nvSpPr>
            <p:spPr>
              <a:xfrm rot="-5400000">
                <a:off x="2346469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4" name="Полилиния 723">
                <a:extLst>
                  <a:ext uri="{FF2B5EF4-FFF2-40B4-BE49-F238E27FC236}">
                    <a16:creationId xmlns:a16="http://schemas.microsoft.com/office/drawing/2014/main" id="{1FFEB704-7ED4-414C-40D5-DBF294088AA8}"/>
                  </a:ext>
                </a:extLst>
              </p:cNvPr>
              <p:cNvSpPr/>
              <p:nvPr/>
            </p:nvSpPr>
            <p:spPr>
              <a:xfrm>
                <a:off x="2619992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5" name="Полилиния 724">
                <a:extLst>
                  <a:ext uri="{FF2B5EF4-FFF2-40B4-BE49-F238E27FC236}">
                    <a16:creationId xmlns:a16="http://schemas.microsoft.com/office/drawing/2014/main" id="{7D3CA8FF-F0B8-F452-C9DA-4134E8E9069D}"/>
                  </a:ext>
                </a:extLst>
              </p:cNvPr>
              <p:cNvSpPr/>
              <p:nvPr/>
            </p:nvSpPr>
            <p:spPr>
              <a:xfrm rot="-5400000">
                <a:off x="2984689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6" name="Полилиния 725">
                <a:extLst>
                  <a:ext uri="{FF2B5EF4-FFF2-40B4-BE49-F238E27FC236}">
                    <a16:creationId xmlns:a16="http://schemas.microsoft.com/office/drawing/2014/main" id="{F6D33AB1-15E6-5C0B-53CD-BDC52DD188F1}"/>
                  </a:ext>
                </a:extLst>
              </p:cNvPr>
              <p:cNvSpPr/>
              <p:nvPr/>
            </p:nvSpPr>
            <p:spPr>
              <a:xfrm>
                <a:off x="3075863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7" name="Полилиния 726">
                <a:extLst>
                  <a:ext uri="{FF2B5EF4-FFF2-40B4-BE49-F238E27FC236}">
                    <a16:creationId xmlns:a16="http://schemas.microsoft.com/office/drawing/2014/main" id="{D2F90DD3-5FD3-475E-DAF2-92F1593D7D80}"/>
                  </a:ext>
                </a:extLst>
              </p:cNvPr>
              <p:cNvSpPr/>
              <p:nvPr/>
            </p:nvSpPr>
            <p:spPr>
              <a:xfrm>
                <a:off x="3167038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8" name="Полилиния 727">
                <a:extLst>
                  <a:ext uri="{FF2B5EF4-FFF2-40B4-BE49-F238E27FC236}">
                    <a16:creationId xmlns:a16="http://schemas.microsoft.com/office/drawing/2014/main" id="{27EDA6BC-DDCC-EC2F-FA24-CED0E07A87DE}"/>
                  </a:ext>
                </a:extLst>
              </p:cNvPr>
              <p:cNvSpPr/>
              <p:nvPr/>
            </p:nvSpPr>
            <p:spPr>
              <a:xfrm>
                <a:off x="3258212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9" name="Полилиния 728">
                <a:extLst>
                  <a:ext uri="{FF2B5EF4-FFF2-40B4-BE49-F238E27FC236}">
                    <a16:creationId xmlns:a16="http://schemas.microsoft.com/office/drawing/2014/main" id="{D9EE93BD-E3B0-4CC1-E9AF-A561F3722CAA}"/>
                  </a:ext>
                </a:extLst>
              </p:cNvPr>
              <p:cNvSpPr/>
              <p:nvPr/>
            </p:nvSpPr>
            <p:spPr>
              <a:xfrm rot="5400000">
                <a:off x="3349386" y="472164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0" name="Полилиния 729">
                <a:extLst>
                  <a:ext uri="{FF2B5EF4-FFF2-40B4-BE49-F238E27FC236}">
                    <a16:creationId xmlns:a16="http://schemas.microsoft.com/office/drawing/2014/main" id="{7AEA3D03-5931-F131-9771-FFBD0A290D57}"/>
                  </a:ext>
                </a:extLst>
              </p:cNvPr>
              <p:cNvSpPr/>
              <p:nvPr/>
            </p:nvSpPr>
            <p:spPr>
              <a:xfrm rot="5400000">
                <a:off x="1525900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1" name="Полилиния 730">
                <a:extLst>
                  <a:ext uri="{FF2B5EF4-FFF2-40B4-BE49-F238E27FC236}">
                    <a16:creationId xmlns:a16="http://schemas.microsoft.com/office/drawing/2014/main" id="{973187BD-60A5-E870-965F-18761ED9E4D6}"/>
                  </a:ext>
                </a:extLst>
              </p:cNvPr>
              <p:cNvSpPr/>
              <p:nvPr/>
            </p:nvSpPr>
            <p:spPr>
              <a:xfrm>
                <a:off x="1708249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2" name="Полилиния 731">
                <a:extLst>
                  <a:ext uri="{FF2B5EF4-FFF2-40B4-BE49-F238E27FC236}">
                    <a16:creationId xmlns:a16="http://schemas.microsoft.com/office/drawing/2014/main" id="{5CEF9A34-299C-B43F-3506-8E47BF75856D}"/>
                  </a:ext>
                </a:extLst>
              </p:cNvPr>
              <p:cNvSpPr/>
              <p:nvPr/>
            </p:nvSpPr>
            <p:spPr>
              <a:xfrm>
                <a:off x="1799423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3" name="Полилиния 732">
                <a:extLst>
                  <a:ext uri="{FF2B5EF4-FFF2-40B4-BE49-F238E27FC236}">
                    <a16:creationId xmlns:a16="http://schemas.microsoft.com/office/drawing/2014/main" id="{D7640FE4-DC14-F128-6CB1-23E648812395}"/>
                  </a:ext>
                </a:extLst>
              </p:cNvPr>
              <p:cNvSpPr/>
              <p:nvPr/>
            </p:nvSpPr>
            <p:spPr>
              <a:xfrm>
                <a:off x="1890597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4" name="Полилиния 733">
                <a:extLst>
                  <a:ext uri="{FF2B5EF4-FFF2-40B4-BE49-F238E27FC236}">
                    <a16:creationId xmlns:a16="http://schemas.microsoft.com/office/drawing/2014/main" id="{3AE0FFC9-0239-F513-711F-B71FBD285304}"/>
                  </a:ext>
                </a:extLst>
              </p:cNvPr>
              <p:cNvSpPr/>
              <p:nvPr/>
            </p:nvSpPr>
            <p:spPr>
              <a:xfrm rot="-5400000">
                <a:off x="2255295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5" name="Полилиния 734">
                <a:extLst>
                  <a:ext uri="{FF2B5EF4-FFF2-40B4-BE49-F238E27FC236}">
                    <a16:creationId xmlns:a16="http://schemas.microsoft.com/office/drawing/2014/main" id="{A5F4C6B8-24BF-98C5-58BE-0BBEE22210CF}"/>
                  </a:ext>
                </a:extLst>
              </p:cNvPr>
              <p:cNvSpPr/>
              <p:nvPr/>
            </p:nvSpPr>
            <p:spPr>
              <a:xfrm rot="5400000">
                <a:off x="2346469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6" name="Полилиния 735">
                <a:extLst>
                  <a:ext uri="{FF2B5EF4-FFF2-40B4-BE49-F238E27FC236}">
                    <a16:creationId xmlns:a16="http://schemas.microsoft.com/office/drawing/2014/main" id="{0488B066-DB40-83EC-D5EB-BD003781E564}"/>
                  </a:ext>
                </a:extLst>
              </p:cNvPr>
              <p:cNvSpPr/>
              <p:nvPr/>
            </p:nvSpPr>
            <p:spPr>
              <a:xfrm rot="-5400000">
                <a:off x="2528817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7" name="Полилиния 736">
                <a:extLst>
                  <a:ext uri="{FF2B5EF4-FFF2-40B4-BE49-F238E27FC236}">
                    <a16:creationId xmlns:a16="http://schemas.microsoft.com/office/drawing/2014/main" id="{64FA8BF5-43BE-AE04-01D6-024426AEAFAF}"/>
                  </a:ext>
                </a:extLst>
              </p:cNvPr>
              <p:cNvSpPr/>
              <p:nvPr/>
            </p:nvSpPr>
            <p:spPr>
              <a:xfrm>
                <a:off x="2619992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8" name="Полилиния 737">
                <a:extLst>
                  <a:ext uri="{FF2B5EF4-FFF2-40B4-BE49-F238E27FC236}">
                    <a16:creationId xmlns:a16="http://schemas.microsoft.com/office/drawing/2014/main" id="{1A407647-AB8D-0FD2-286B-A88CD10AFAEE}"/>
                  </a:ext>
                </a:extLst>
              </p:cNvPr>
              <p:cNvSpPr/>
              <p:nvPr/>
            </p:nvSpPr>
            <p:spPr>
              <a:xfrm rot="5400000">
                <a:off x="2711166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9" name="Полилиния 738">
                <a:extLst>
                  <a:ext uri="{FF2B5EF4-FFF2-40B4-BE49-F238E27FC236}">
                    <a16:creationId xmlns:a16="http://schemas.microsoft.com/office/drawing/2014/main" id="{5FA4E4D0-6A25-A90E-1C2F-02EA6EC141D9}"/>
                  </a:ext>
                </a:extLst>
              </p:cNvPr>
              <p:cNvSpPr/>
              <p:nvPr/>
            </p:nvSpPr>
            <p:spPr>
              <a:xfrm>
                <a:off x="2984689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0" name="Полилиния 739">
                <a:extLst>
                  <a:ext uri="{FF2B5EF4-FFF2-40B4-BE49-F238E27FC236}">
                    <a16:creationId xmlns:a16="http://schemas.microsoft.com/office/drawing/2014/main" id="{BE425AC8-0CCE-65A8-E0F5-13D78908070E}"/>
                  </a:ext>
                </a:extLst>
              </p:cNvPr>
              <p:cNvSpPr/>
              <p:nvPr/>
            </p:nvSpPr>
            <p:spPr>
              <a:xfrm>
                <a:off x="3167038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1" name="Полилиния 740">
                <a:extLst>
                  <a:ext uri="{FF2B5EF4-FFF2-40B4-BE49-F238E27FC236}">
                    <a16:creationId xmlns:a16="http://schemas.microsoft.com/office/drawing/2014/main" id="{CB4CA7E8-3C6D-076D-FF6B-91D4E09779B9}"/>
                  </a:ext>
                </a:extLst>
              </p:cNvPr>
              <p:cNvSpPr/>
              <p:nvPr/>
            </p:nvSpPr>
            <p:spPr>
              <a:xfrm rot="-5400000">
                <a:off x="3440561" y="481281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2" name="Полилиния 741">
                <a:extLst>
                  <a:ext uri="{FF2B5EF4-FFF2-40B4-BE49-F238E27FC236}">
                    <a16:creationId xmlns:a16="http://schemas.microsoft.com/office/drawing/2014/main" id="{DD30A194-9115-26E6-DCE0-9FFCCF8844C8}"/>
                  </a:ext>
                </a:extLst>
              </p:cNvPr>
              <p:cNvSpPr/>
              <p:nvPr/>
            </p:nvSpPr>
            <p:spPr>
              <a:xfrm rot="-5400000">
                <a:off x="1343551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3" name="Полилиния 742">
                <a:extLst>
                  <a:ext uri="{FF2B5EF4-FFF2-40B4-BE49-F238E27FC236}">
                    <a16:creationId xmlns:a16="http://schemas.microsoft.com/office/drawing/2014/main" id="{7EDA9E04-3B00-9FB0-6DDF-6937510F85CF}"/>
                  </a:ext>
                </a:extLst>
              </p:cNvPr>
              <p:cNvSpPr/>
              <p:nvPr/>
            </p:nvSpPr>
            <p:spPr>
              <a:xfrm>
                <a:off x="1434726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4" name="Полилиния 743">
                <a:extLst>
                  <a:ext uri="{FF2B5EF4-FFF2-40B4-BE49-F238E27FC236}">
                    <a16:creationId xmlns:a16="http://schemas.microsoft.com/office/drawing/2014/main" id="{1A420C7E-CE5B-9D7C-83EE-F116F8D9629C}"/>
                  </a:ext>
                </a:extLst>
              </p:cNvPr>
              <p:cNvSpPr/>
              <p:nvPr/>
            </p:nvSpPr>
            <p:spPr>
              <a:xfrm rot="5400000">
                <a:off x="1617074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5" name="Полилиния 744">
                <a:extLst>
                  <a:ext uri="{FF2B5EF4-FFF2-40B4-BE49-F238E27FC236}">
                    <a16:creationId xmlns:a16="http://schemas.microsoft.com/office/drawing/2014/main" id="{CB10C1CE-3CDF-EFD0-6660-DFC39134904D}"/>
                  </a:ext>
                </a:extLst>
              </p:cNvPr>
              <p:cNvSpPr/>
              <p:nvPr/>
            </p:nvSpPr>
            <p:spPr>
              <a:xfrm>
                <a:off x="1890597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6" name="Полилиния 745">
                <a:extLst>
                  <a:ext uri="{FF2B5EF4-FFF2-40B4-BE49-F238E27FC236}">
                    <a16:creationId xmlns:a16="http://schemas.microsoft.com/office/drawing/2014/main" id="{B11A8213-8AA6-9960-63C6-F370A571ECDA}"/>
                  </a:ext>
                </a:extLst>
              </p:cNvPr>
              <p:cNvSpPr/>
              <p:nvPr/>
            </p:nvSpPr>
            <p:spPr>
              <a:xfrm>
                <a:off x="1981772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7" name="Полилиния 746">
                <a:extLst>
                  <a:ext uri="{FF2B5EF4-FFF2-40B4-BE49-F238E27FC236}">
                    <a16:creationId xmlns:a16="http://schemas.microsoft.com/office/drawing/2014/main" id="{49AF6862-3A91-AAC7-808E-25A0CC5E2047}"/>
                  </a:ext>
                </a:extLst>
              </p:cNvPr>
              <p:cNvSpPr/>
              <p:nvPr/>
            </p:nvSpPr>
            <p:spPr>
              <a:xfrm rot="5400000">
                <a:off x="2072946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8" name="Полилиния 747">
                <a:extLst>
                  <a:ext uri="{FF2B5EF4-FFF2-40B4-BE49-F238E27FC236}">
                    <a16:creationId xmlns:a16="http://schemas.microsoft.com/office/drawing/2014/main" id="{963CD911-643E-CE89-B146-EA835A5F949B}"/>
                  </a:ext>
                </a:extLst>
              </p:cNvPr>
              <p:cNvSpPr/>
              <p:nvPr/>
            </p:nvSpPr>
            <p:spPr>
              <a:xfrm>
                <a:off x="2528817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9" name="Полилиния 748">
                <a:extLst>
                  <a:ext uri="{FF2B5EF4-FFF2-40B4-BE49-F238E27FC236}">
                    <a16:creationId xmlns:a16="http://schemas.microsoft.com/office/drawing/2014/main" id="{6BF1758C-363A-3911-44CB-5C483C5C4F65}"/>
                  </a:ext>
                </a:extLst>
              </p:cNvPr>
              <p:cNvSpPr/>
              <p:nvPr/>
            </p:nvSpPr>
            <p:spPr>
              <a:xfrm rot="5400000">
                <a:off x="2619992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0" name="Полилиния 749">
                <a:extLst>
                  <a:ext uri="{FF2B5EF4-FFF2-40B4-BE49-F238E27FC236}">
                    <a16:creationId xmlns:a16="http://schemas.microsoft.com/office/drawing/2014/main" id="{A7DB97F3-8579-6F96-2E1E-2A2CC74D130D}"/>
                  </a:ext>
                </a:extLst>
              </p:cNvPr>
              <p:cNvSpPr/>
              <p:nvPr/>
            </p:nvSpPr>
            <p:spPr>
              <a:xfrm>
                <a:off x="2984689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1" name="Полилиния 750">
                <a:extLst>
                  <a:ext uri="{FF2B5EF4-FFF2-40B4-BE49-F238E27FC236}">
                    <a16:creationId xmlns:a16="http://schemas.microsoft.com/office/drawing/2014/main" id="{E51EA759-6D13-B4D2-19FB-081BDB47C44D}"/>
                  </a:ext>
                </a:extLst>
              </p:cNvPr>
              <p:cNvSpPr/>
              <p:nvPr/>
            </p:nvSpPr>
            <p:spPr>
              <a:xfrm>
                <a:off x="3167038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2" name="Полилиния 751">
                <a:extLst>
                  <a:ext uri="{FF2B5EF4-FFF2-40B4-BE49-F238E27FC236}">
                    <a16:creationId xmlns:a16="http://schemas.microsoft.com/office/drawing/2014/main" id="{60154151-333A-841F-5612-160CCB133EEE}"/>
                  </a:ext>
                </a:extLst>
              </p:cNvPr>
              <p:cNvSpPr/>
              <p:nvPr/>
            </p:nvSpPr>
            <p:spPr>
              <a:xfrm>
                <a:off x="3258212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3" name="Полилиния 752">
                <a:extLst>
                  <a:ext uri="{FF2B5EF4-FFF2-40B4-BE49-F238E27FC236}">
                    <a16:creationId xmlns:a16="http://schemas.microsoft.com/office/drawing/2014/main" id="{AFFA4CD6-3876-A468-9F09-03DC0783C7EF}"/>
                  </a:ext>
                </a:extLst>
              </p:cNvPr>
              <p:cNvSpPr/>
              <p:nvPr/>
            </p:nvSpPr>
            <p:spPr>
              <a:xfrm>
                <a:off x="3349386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4" name="Полилиния 753">
                <a:extLst>
                  <a:ext uri="{FF2B5EF4-FFF2-40B4-BE49-F238E27FC236}">
                    <a16:creationId xmlns:a16="http://schemas.microsoft.com/office/drawing/2014/main" id="{55E7847E-3438-FB81-CD7B-FFE44B4F9840}"/>
                  </a:ext>
                </a:extLst>
              </p:cNvPr>
              <p:cNvSpPr/>
              <p:nvPr/>
            </p:nvSpPr>
            <p:spPr>
              <a:xfrm>
                <a:off x="3440561" y="490399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5" name="Полилиния 754">
                <a:extLst>
                  <a:ext uri="{FF2B5EF4-FFF2-40B4-BE49-F238E27FC236}">
                    <a16:creationId xmlns:a16="http://schemas.microsoft.com/office/drawing/2014/main" id="{6141A13D-1C0C-4255-3610-9817E8BE127C}"/>
                  </a:ext>
                </a:extLst>
              </p:cNvPr>
              <p:cNvSpPr/>
              <p:nvPr/>
            </p:nvSpPr>
            <p:spPr>
              <a:xfrm rot="-5400000">
                <a:off x="1252377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6" name="Полилиния 755">
                <a:extLst>
                  <a:ext uri="{FF2B5EF4-FFF2-40B4-BE49-F238E27FC236}">
                    <a16:creationId xmlns:a16="http://schemas.microsoft.com/office/drawing/2014/main" id="{D0B5C0CC-E28C-A912-B931-1D2612ACF13F}"/>
                  </a:ext>
                </a:extLst>
              </p:cNvPr>
              <p:cNvSpPr/>
              <p:nvPr/>
            </p:nvSpPr>
            <p:spPr>
              <a:xfrm>
                <a:off x="1343551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7" name="Полилиния 756">
                <a:extLst>
                  <a:ext uri="{FF2B5EF4-FFF2-40B4-BE49-F238E27FC236}">
                    <a16:creationId xmlns:a16="http://schemas.microsoft.com/office/drawing/2014/main" id="{0F7A53FD-1BED-B141-8106-00745855A4AB}"/>
                  </a:ext>
                </a:extLst>
              </p:cNvPr>
              <p:cNvSpPr/>
              <p:nvPr/>
            </p:nvSpPr>
            <p:spPr>
              <a:xfrm>
                <a:off x="1434726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8" name="Полилиния 757">
                <a:extLst>
                  <a:ext uri="{FF2B5EF4-FFF2-40B4-BE49-F238E27FC236}">
                    <a16:creationId xmlns:a16="http://schemas.microsoft.com/office/drawing/2014/main" id="{264643EF-748F-4F49-9514-FE2E4ADC8F53}"/>
                  </a:ext>
                </a:extLst>
              </p:cNvPr>
              <p:cNvSpPr/>
              <p:nvPr/>
            </p:nvSpPr>
            <p:spPr>
              <a:xfrm rot="5400000">
                <a:off x="1799423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9" name="Полилиния 758">
                <a:extLst>
                  <a:ext uri="{FF2B5EF4-FFF2-40B4-BE49-F238E27FC236}">
                    <a16:creationId xmlns:a16="http://schemas.microsoft.com/office/drawing/2014/main" id="{BB7D1062-7A94-8B8C-9D10-366CC61C27F8}"/>
                  </a:ext>
                </a:extLst>
              </p:cNvPr>
              <p:cNvSpPr/>
              <p:nvPr/>
            </p:nvSpPr>
            <p:spPr>
              <a:xfrm rot="5400000">
                <a:off x="1981772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0" name="Полилиния 759">
                <a:extLst>
                  <a:ext uri="{FF2B5EF4-FFF2-40B4-BE49-F238E27FC236}">
                    <a16:creationId xmlns:a16="http://schemas.microsoft.com/office/drawing/2014/main" id="{6FFF7A1A-7EAC-C3FA-284C-F1D66B1D0190}"/>
                  </a:ext>
                </a:extLst>
              </p:cNvPr>
              <p:cNvSpPr/>
              <p:nvPr/>
            </p:nvSpPr>
            <p:spPr>
              <a:xfrm rot="5400000">
                <a:off x="2255295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1" name="Полилиния 760">
                <a:extLst>
                  <a:ext uri="{FF2B5EF4-FFF2-40B4-BE49-F238E27FC236}">
                    <a16:creationId xmlns:a16="http://schemas.microsoft.com/office/drawing/2014/main" id="{47896A44-58CB-DF42-6289-77EE4E710FF0}"/>
                  </a:ext>
                </a:extLst>
              </p:cNvPr>
              <p:cNvSpPr/>
              <p:nvPr/>
            </p:nvSpPr>
            <p:spPr>
              <a:xfrm rot="-5400000">
                <a:off x="2437643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2" name="Полилиния 761">
                <a:extLst>
                  <a:ext uri="{FF2B5EF4-FFF2-40B4-BE49-F238E27FC236}">
                    <a16:creationId xmlns:a16="http://schemas.microsoft.com/office/drawing/2014/main" id="{A0BD64B4-C172-7085-3485-611C4CD92007}"/>
                  </a:ext>
                </a:extLst>
              </p:cNvPr>
              <p:cNvSpPr/>
              <p:nvPr/>
            </p:nvSpPr>
            <p:spPr>
              <a:xfrm>
                <a:off x="2528817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3" name="Полилиния 762">
                <a:extLst>
                  <a:ext uri="{FF2B5EF4-FFF2-40B4-BE49-F238E27FC236}">
                    <a16:creationId xmlns:a16="http://schemas.microsoft.com/office/drawing/2014/main" id="{A16E8D62-A443-3080-4568-0D28717D726F}"/>
                  </a:ext>
                </a:extLst>
              </p:cNvPr>
              <p:cNvSpPr/>
              <p:nvPr/>
            </p:nvSpPr>
            <p:spPr>
              <a:xfrm rot="5400000">
                <a:off x="2711166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4" name="Полилиния 763">
                <a:extLst>
                  <a:ext uri="{FF2B5EF4-FFF2-40B4-BE49-F238E27FC236}">
                    <a16:creationId xmlns:a16="http://schemas.microsoft.com/office/drawing/2014/main" id="{C2AFF86F-15B8-B07E-72CE-9D02AB429E2A}"/>
                  </a:ext>
                </a:extLst>
              </p:cNvPr>
              <p:cNvSpPr/>
              <p:nvPr/>
            </p:nvSpPr>
            <p:spPr>
              <a:xfrm rot="-5400000">
                <a:off x="2893515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5" name="Полилиния 764">
                <a:extLst>
                  <a:ext uri="{FF2B5EF4-FFF2-40B4-BE49-F238E27FC236}">
                    <a16:creationId xmlns:a16="http://schemas.microsoft.com/office/drawing/2014/main" id="{AF9B310F-2710-BECB-1798-271C7E6FEA8D}"/>
                  </a:ext>
                </a:extLst>
              </p:cNvPr>
              <p:cNvSpPr/>
              <p:nvPr/>
            </p:nvSpPr>
            <p:spPr>
              <a:xfrm rot="5400000">
                <a:off x="2984689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7" name="Полилиния 766">
                <a:extLst>
                  <a:ext uri="{FF2B5EF4-FFF2-40B4-BE49-F238E27FC236}">
                    <a16:creationId xmlns:a16="http://schemas.microsoft.com/office/drawing/2014/main" id="{717A1999-A75D-3966-335B-E3043A57C045}"/>
                  </a:ext>
                </a:extLst>
              </p:cNvPr>
              <p:cNvSpPr/>
              <p:nvPr/>
            </p:nvSpPr>
            <p:spPr>
              <a:xfrm rot="5400000">
                <a:off x="3440561" y="499516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8" name="Полилиния 767">
                <a:extLst>
                  <a:ext uri="{FF2B5EF4-FFF2-40B4-BE49-F238E27FC236}">
                    <a16:creationId xmlns:a16="http://schemas.microsoft.com/office/drawing/2014/main" id="{2926F927-8028-6CF7-0F46-97014BA548B0}"/>
                  </a:ext>
                </a:extLst>
              </p:cNvPr>
              <p:cNvSpPr/>
              <p:nvPr/>
            </p:nvSpPr>
            <p:spPr>
              <a:xfrm>
                <a:off x="1252377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9" name="Полилиния 768">
                <a:extLst>
                  <a:ext uri="{FF2B5EF4-FFF2-40B4-BE49-F238E27FC236}">
                    <a16:creationId xmlns:a16="http://schemas.microsoft.com/office/drawing/2014/main" id="{E4C5E04A-66FD-10CB-9D96-5FC86CD12409}"/>
                  </a:ext>
                </a:extLst>
              </p:cNvPr>
              <p:cNvSpPr/>
              <p:nvPr/>
            </p:nvSpPr>
            <p:spPr>
              <a:xfrm>
                <a:off x="1343551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0" name="Полилиния 769">
                <a:extLst>
                  <a:ext uri="{FF2B5EF4-FFF2-40B4-BE49-F238E27FC236}">
                    <a16:creationId xmlns:a16="http://schemas.microsoft.com/office/drawing/2014/main" id="{03E7C53C-9D87-3BCA-5A85-3A58C18AC7D9}"/>
                  </a:ext>
                </a:extLst>
              </p:cNvPr>
              <p:cNvSpPr/>
              <p:nvPr/>
            </p:nvSpPr>
            <p:spPr>
              <a:xfrm>
                <a:off x="1434726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1" name="Полилиния 770">
                <a:extLst>
                  <a:ext uri="{FF2B5EF4-FFF2-40B4-BE49-F238E27FC236}">
                    <a16:creationId xmlns:a16="http://schemas.microsoft.com/office/drawing/2014/main" id="{B313ECB1-88B4-6CC6-9CBD-00CB6724F597}"/>
                  </a:ext>
                </a:extLst>
              </p:cNvPr>
              <p:cNvSpPr/>
              <p:nvPr/>
            </p:nvSpPr>
            <p:spPr>
              <a:xfrm rot="5400000">
                <a:off x="1708249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2" name="Полилиния 771">
                <a:extLst>
                  <a:ext uri="{FF2B5EF4-FFF2-40B4-BE49-F238E27FC236}">
                    <a16:creationId xmlns:a16="http://schemas.microsoft.com/office/drawing/2014/main" id="{132DD3B8-2479-949F-28B9-336B697F88B9}"/>
                  </a:ext>
                </a:extLst>
              </p:cNvPr>
              <p:cNvSpPr/>
              <p:nvPr/>
            </p:nvSpPr>
            <p:spPr>
              <a:xfrm rot="5400000">
                <a:off x="1890597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3" name="Полилиния 772">
                <a:extLst>
                  <a:ext uri="{FF2B5EF4-FFF2-40B4-BE49-F238E27FC236}">
                    <a16:creationId xmlns:a16="http://schemas.microsoft.com/office/drawing/2014/main" id="{7B4BA375-F452-FE20-B512-73AF9F77911D}"/>
                  </a:ext>
                </a:extLst>
              </p:cNvPr>
              <p:cNvSpPr/>
              <p:nvPr/>
            </p:nvSpPr>
            <p:spPr>
              <a:xfrm rot="5400000">
                <a:off x="2072946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4" name="Полилиния 773">
                <a:extLst>
                  <a:ext uri="{FF2B5EF4-FFF2-40B4-BE49-F238E27FC236}">
                    <a16:creationId xmlns:a16="http://schemas.microsoft.com/office/drawing/2014/main" id="{0454EF6D-94DE-640B-2773-28FC28BBC721}"/>
                  </a:ext>
                </a:extLst>
              </p:cNvPr>
              <p:cNvSpPr/>
              <p:nvPr/>
            </p:nvSpPr>
            <p:spPr>
              <a:xfrm rot="-5400000">
                <a:off x="2346469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5" name="Полилиния 774">
                <a:extLst>
                  <a:ext uri="{FF2B5EF4-FFF2-40B4-BE49-F238E27FC236}">
                    <a16:creationId xmlns:a16="http://schemas.microsoft.com/office/drawing/2014/main" id="{0338189C-B635-37D0-E9F7-E1A3156A1158}"/>
                  </a:ext>
                </a:extLst>
              </p:cNvPr>
              <p:cNvSpPr/>
              <p:nvPr/>
            </p:nvSpPr>
            <p:spPr>
              <a:xfrm>
                <a:off x="2437643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6" name="Полилиния 775">
                <a:extLst>
                  <a:ext uri="{FF2B5EF4-FFF2-40B4-BE49-F238E27FC236}">
                    <a16:creationId xmlns:a16="http://schemas.microsoft.com/office/drawing/2014/main" id="{64E288B0-9AD4-4DDD-3905-B7A1C2CC917A}"/>
                  </a:ext>
                </a:extLst>
              </p:cNvPr>
              <p:cNvSpPr/>
              <p:nvPr/>
            </p:nvSpPr>
            <p:spPr>
              <a:xfrm>
                <a:off x="2528817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7" name="Полилиния 776">
                <a:extLst>
                  <a:ext uri="{FF2B5EF4-FFF2-40B4-BE49-F238E27FC236}">
                    <a16:creationId xmlns:a16="http://schemas.microsoft.com/office/drawing/2014/main" id="{839BB8A4-A04E-A7DD-4570-079557251F61}"/>
                  </a:ext>
                </a:extLst>
              </p:cNvPr>
              <p:cNvSpPr/>
              <p:nvPr/>
            </p:nvSpPr>
            <p:spPr>
              <a:xfrm>
                <a:off x="2619992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8" name="Полилиния 777">
                <a:extLst>
                  <a:ext uri="{FF2B5EF4-FFF2-40B4-BE49-F238E27FC236}">
                    <a16:creationId xmlns:a16="http://schemas.microsoft.com/office/drawing/2014/main" id="{31A9D023-B5C5-A905-0714-BE1D1BFF270F}"/>
                  </a:ext>
                </a:extLst>
              </p:cNvPr>
              <p:cNvSpPr/>
              <p:nvPr/>
            </p:nvSpPr>
            <p:spPr>
              <a:xfrm rot="-5400000">
                <a:off x="3075863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9" name="Полилиния 778">
                <a:extLst>
                  <a:ext uri="{FF2B5EF4-FFF2-40B4-BE49-F238E27FC236}">
                    <a16:creationId xmlns:a16="http://schemas.microsoft.com/office/drawing/2014/main" id="{84781572-6821-9EB1-E020-8E2B250D8614}"/>
                  </a:ext>
                </a:extLst>
              </p:cNvPr>
              <p:cNvSpPr/>
              <p:nvPr/>
            </p:nvSpPr>
            <p:spPr>
              <a:xfrm rot="-5400000">
                <a:off x="3349386" y="508634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0" name="Полилиния 779">
                <a:extLst>
                  <a:ext uri="{FF2B5EF4-FFF2-40B4-BE49-F238E27FC236}">
                    <a16:creationId xmlns:a16="http://schemas.microsoft.com/office/drawing/2014/main" id="{A8107BD0-4DB1-175D-BFDE-AD1B9FD7893F}"/>
                  </a:ext>
                </a:extLst>
              </p:cNvPr>
              <p:cNvSpPr/>
              <p:nvPr/>
            </p:nvSpPr>
            <p:spPr>
              <a:xfrm>
                <a:off x="1252377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1" name="Полилиния 780">
                <a:extLst>
                  <a:ext uri="{FF2B5EF4-FFF2-40B4-BE49-F238E27FC236}">
                    <a16:creationId xmlns:a16="http://schemas.microsoft.com/office/drawing/2014/main" id="{697F78C4-4B77-7B1A-3224-854023FEEF0D}"/>
                  </a:ext>
                </a:extLst>
              </p:cNvPr>
              <p:cNvSpPr/>
              <p:nvPr/>
            </p:nvSpPr>
            <p:spPr>
              <a:xfrm>
                <a:off x="1343551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2" name="Полилиния 781">
                <a:extLst>
                  <a:ext uri="{FF2B5EF4-FFF2-40B4-BE49-F238E27FC236}">
                    <a16:creationId xmlns:a16="http://schemas.microsoft.com/office/drawing/2014/main" id="{9BFB7818-5F64-F6F0-AD70-DFA0D03DB9A9}"/>
                  </a:ext>
                </a:extLst>
              </p:cNvPr>
              <p:cNvSpPr/>
              <p:nvPr/>
            </p:nvSpPr>
            <p:spPr>
              <a:xfrm>
                <a:off x="1434726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3" name="Полилиния 782">
                <a:extLst>
                  <a:ext uri="{FF2B5EF4-FFF2-40B4-BE49-F238E27FC236}">
                    <a16:creationId xmlns:a16="http://schemas.microsoft.com/office/drawing/2014/main" id="{CEECED3E-7E4E-623C-0072-9023AC8AEA75}"/>
                  </a:ext>
                </a:extLst>
              </p:cNvPr>
              <p:cNvSpPr/>
              <p:nvPr/>
            </p:nvSpPr>
            <p:spPr>
              <a:xfrm rot="5400000">
                <a:off x="1617074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4" name="Полилиния 783">
                <a:extLst>
                  <a:ext uri="{FF2B5EF4-FFF2-40B4-BE49-F238E27FC236}">
                    <a16:creationId xmlns:a16="http://schemas.microsoft.com/office/drawing/2014/main" id="{AC5BEB53-4522-CD0B-CED5-209C1D4DBD24}"/>
                  </a:ext>
                </a:extLst>
              </p:cNvPr>
              <p:cNvSpPr/>
              <p:nvPr/>
            </p:nvSpPr>
            <p:spPr>
              <a:xfrm rot="5400000">
                <a:off x="1799423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5" name="Полилиния 784">
                <a:extLst>
                  <a:ext uri="{FF2B5EF4-FFF2-40B4-BE49-F238E27FC236}">
                    <a16:creationId xmlns:a16="http://schemas.microsoft.com/office/drawing/2014/main" id="{7383094E-6446-8964-93DE-1CB8192FC56C}"/>
                  </a:ext>
                </a:extLst>
              </p:cNvPr>
              <p:cNvSpPr/>
              <p:nvPr/>
            </p:nvSpPr>
            <p:spPr>
              <a:xfrm rot="-5400000">
                <a:off x="2164120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6" name="Полилиния 785">
                <a:extLst>
                  <a:ext uri="{FF2B5EF4-FFF2-40B4-BE49-F238E27FC236}">
                    <a16:creationId xmlns:a16="http://schemas.microsoft.com/office/drawing/2014/main" id="{24C5A309-CE6B-5F30-13DB-6F6209556615}"/>
                  </a:ext>
                </a:extLst>
              </p:cNvPr>
              <p:cNvSpPr/>
              <p:nvPr/>
            </p:nvSpPr>
            <p:spPr>
              <a:xfrm rot="5400000">
                <a:off x="2346469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7" name="Полилиния 786">
                <a:extLst>
                  <a:ext uri="{FF2B5EF4-FFF2-40B4-BE49-F238E27FC236}">
                    <a16:creationId xmlns:a16="http://schemas.microsoft.com/office/drawing/2014/main" id="{44BF3A3C-EBE9-F781-FA3A-5287141199B9}"/>
                  </a:ext>
                </a:extLst>
              </p:cNvPr>
              <p:cNvSpPr/>
              <p:nvPr/>
            </p:nvSpPr>
            <p:spPr>
              <a:xfrm>
                <a:off x="2528817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8" name="Полилиния 787">
                <a:extLst>
                  <a:ext uri="{FF2B5EF4-FFF2-40B4-BE49-F238E27FC236}">
                    <a16:creationId xmlns:a16="http://schemas.microsoft.com/office/drawing/2014/main" id="{A9466290-FC4B-D280-2198-9C7CCCF9372F}"/>
                  </a:ext>
                </a:extLst>
              </p:cNvPr>
              <p:cNvSpPr/>
              <p:nvPr/>
            </p:nvSpPr>
            <p:spPr>
              <a:xfrm rot="5400000">
                <a:off x="2619992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9" name="Полилиния 788">
                <a:extLst>
                  <a:ext uri="{FF2B5EF4-FFF2-40B4-BE49-F238E27FC236}">
                    <a16:creationId xmlns:a16="http://schemas.microsoft.com/office/drawing/2014/main" id="{650F1F33-979A-48BA-FF72-36A78F3C4ACA}"/>
                  </a:ext>
                </a:extLst>
              </p:cNvPr>
              <p:cNvSpPr/>
              <p:nvPr/>
            </p:nvSpPr>
            <p:spPr>
              <a:xfrm rot="-5400000">
                <a:off x="2802340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0" name="Полилиния 789">
                <a:extLst>
                  <a:ext uri="{FF2B5EF4-FFF2-40B4-BE49-F238E27FC236}">
                    <a16:creationId xmlns:a16="http://schemas.microsoft.com/office/drawing/2014/main" id="{C1FEC56D-6EC9-3A55-137C-906A37E2379B}"/>
                  </a:ext>
                </a:extLst>
              </p:cNvPr>
              <p:cNvSpPr/>
              <p:nvPr/>
            </p:nvSpPr>
            <p:spPr>
              <a:xfrm>
                <a:off x="3075863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1" name="Полилиния 790">
                <a:extLst>
                  <a:ext uri="{FF2B5EF4-FFF2-40B4-BE49-F238E27FC236}">
                    <a16:creationId xmlns:a16="http://schemas.microsoft.com/office/drawing/2014/main" id="{E4504287-DB7A-130A-96B4-F8F2C38C7235}"/>
                  </a:ext>
                </a:extLst>
              </p:cNvPr>
              <p:cNvSpPr/>
              <p:nvPr/>
            </p:nvSpPr>
            <p:spPr>
              <a:xfrm>
                <a:off x="3167038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2" name="Полилиния 791">
                <a:extLst>
                  <a:ext uri="{FF2B5EF4-FFF2-40B4-BE49-F238E27FC236}">
                    <a16:creationId xmlns:a16="http://schemas.microsoft.com/office/drawing/2014/main" id="{4A945A7A-1EA3-05A0-8FDB-2CC70305C773}"/>
                  </a:ext>
                </a:extLst>
              </p:cNvPr>
              <p:cNvSpPr/>
              <p:nvPr/>
            </p:nvSpPr>
            <p:spPr>
              <a:xfrm>
                <a:off x="3258212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3" name="Полилиния 792">
                <a:extLst>
                  <a:ext uri="{FF2B5EF4-FFF2-40B4-BE49-F238E27FC236}">
                    <a16:creationId xmlns:a16="http://schemas.microsoft.com/office/drawing/2014/main" id="{EB907123-1EB3-A221-B7D6-BB422B434E8C}"/>
                  </a:ext>
                </a:extLst>
              </p:cNvPr>
              <p:cNvSpPr/>
              <p:nvPr/>
            </p:nvSpPr>
            <p:spPr>
              <a:xfrm>
                <a:off x="3349386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4" name="Полилиния 793">
                <a:extLst>
                  <a:ext uri="{FF2B5EF4-FFF2-40B4-BE49-F238E27FC236}">
                    <a16:creationId xmlns:a16="http://schemas.microsoft.com/office/drawing/2014/main" id="{107CD3D1-A1B6-E976-E599-E282367B59BF}"/>
                  </a:ext>
                </a:extLst>
              </p:cNvPr>
              <p:cNvSpPr/>
              <p:nvPr/>
            </p:nvSpPr>
            <p:spPr>
              <a:xfrm>
                <a:off x="3440561" y="5177516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5" name="Полилиния 794">
                <a:extLst>
                  <a:ext uri="{FF2B5EF4-FFF2-40B4-BE49-F238E27FC236}">
                    <a16:creationId xmlns:a16="http://schemas.microsoft.com/office/drawing/2014/main" id="{9C979351-8161-5A57-9E9B-D57E078A09D7}"/>
                  </a:ext>
                </a:extLst>
              </p:cNvPr>
              <p:cNvSpPr/>
              <p:nvPr/>
            </p:nvSpPr>
            <p:spPr>
              <a:xfrm>
                <a:off x="1252377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6" name="Полилиния 795">
                <a:extLst>
                  <a:ext uri="{FF2B5EF4-FFF2-40B4-BE49-F238E27FC236}">
                    <a16:creationId xmlns:a16="http://schemas.microsoft.com/office/drawing/2014/main" id="{EDD75303-F496-785E-E384-7C95D679620C}"/>
                  </a:ext>
                </a:extLst>
              </p:cNvPr>
              <p:cNvSpPr/>
              <p:nvPr/>
            </p:nvSpPr>
            <p:spPr>
              <a:xfrm>
                <a:off x="1434726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7" name="Полилиния 796">
                <a:extLst>
                  <a:ext uri="{FF2B5EF4-FFF2-40B4-BE49-F238E27FC236}">
                    <a16:creationId xmlns:a16="http://schemas.microsoft.com/office/drawing/2014/main" id="{7E1260B2-304D-7169-63FC-7E2D82D41336}"/>
                  </a:ext>
                </a:extLst>
              </p:cNvPr>
              <p:cNvSpPr/>
              <p:nvPr/>
            </p:nvSpPr>
            <p:spPr>
              <a:xfrm rot="5400000">
                <a:off x="1525900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8" name="Полилиния 797">
                <a:extLst>
                  <a:ext uri="{FF2B5EF4-FFF2-40B4-BE49-F238E27FC236}">
                    <a16:creationId xmlns:a16="http://schemas.microsoft.com/office/drawing/2014/main" id="{0136A1C0-786E-352E-FCAA-BAB344E2D5B2}"/>
                  </a:ext>
                </a:extLst>
              </p:cNvPr>
              <p:cNvSpPr/>
              <p:nvPr/>
            </p:nvSpPr>
            <p:spPr>
              <a:xfrm rot="5400000">
                <a:off x="2164120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9" name="Полилиния 798">
                <a:extLst>
                  <a:ext uri="{FF2B5EF4-FFF2-40B4-BE49-F238E27FC236}">
                    <a16:creationId xmlns:a16="http://schemas.microsoft.com/office/drawing/2014/main" id="{15F8BAB5-EFE6-D8DC-EADA-7A21DD27462F}"/>
                  </a:ext>
                </a:extLst>
              </p:cNvPr>
              <p:cNvSpPr/>
              <p:nvPr/>
            </p:nvSpPr>
            <p:spPr>
              <a:xfrm rot="-5400000">
                <a:off x="2437643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0" name="Полилиния 799">
                <a:extLst>
                  <a:ext uri="{FF2B5EF4-FFF2-40B4-BE49-F238E27FC236}">
                    <a16:creationId xmlns:a16="http://schemas.microsoft.com/office/drawing/2014/main" id="{D33C0FFB-7F3D-F370-C480-035C5E9C2B53}"/>
                  </a:ext>
                </a:extLst>
              </p:cNvPr>
              <p:cNvSpPr/>
              <p:nvPr/>
            </p:nvSpPr>
            <p:spPr>
              <a:xfrm>
                <a:off x="2802340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1" name="Полилиния 800">
                <a:extLst>
                  <a:ext uri="{FF2B5EF4-FFF2-40B4-BE49-F238E27FC236}">
                    <a16:creationId xmlns:a16="http://schemas.microsoft.com/office/drawing/2014/main" id="{82221C55-BFA1-206D-D90F-263B27FCA739}"/>
                  </a:ext>
                </a:extLst>
              </p:cNvPr>
              <p:cNvSpPr/>
              <p:nvPr/>
            </p:nvSpPr>
            <p:spPr>
              <a:xfrm rot="-5400000">
                <a:off x="2984689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2" name="Полилиния 801">
                <a:extLst>
                  <a:ext uri="{FF2B5EF4-FFF2-40B4-BE49-F238E27FC236}">
                    <a16:creationId xmlns:a16="http://schemas.microsoft.com/office/drawing/2014/main" id="{017CD9D0-5B76-0603-1499-3C2FE8C877FA}"/>
                  </a:ext>
                </a:extLst>
              </p:cNvPr>
              <p:cNvSpPr/>
              <p:nvPr/>
            </p:nvSpPr>
            <p:spPr>
              <a:xfrm>
                <a:off x="3167038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3" name="Полилиния 802">
                <a:extLst>
                  <a:ext uri="{FF2B5EF4-FFF2-40B4-BE49-F238E27FC236}">
                    <a16:creationId xmlns:a16="http://schemas.microsoft.com/office/drawing/2014/main" id="{8D412086-1F5A-D592-64C3-2DBC34E2BD7C}"/>
                  </a:ext>
                </a:extLst>
              </p:cNvPr>
              <p:cNvSpPr/>
              <p:nvPr/>
            </p:nvSpPr>
            <p:spPr>
              <a:xfrm>
                <a:off x="3258212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4" name="Полилиния 803">
                <a:extLst>
                  <a:ext uri="{FF2B5EF4-FFF2-40B4-BE49-F238E27FC236}">
                    <a16:creationId xmlns:a16="http://schemas.microsoft.com/office/drawing/2014/main" id="{54345EB4-0658-8CDC-B230-889AA1599B8F}"/>
                  </a:ext>
                </a:extLst>
              </p:cNvPr>
              <p:cNvSpPr/>
              <p:nvPr/>
            </p:nvSpPr>
            <p:spPr>
              <a:xfrm rot="5400000">
                <a:off x="3440561" y="526869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5" name="Полилиния 804">
                <a:extLst>
                  <a:ext uri="{FF2B5EF4-FFF2-40B4-BE49-F238E27FC236}">
                    <a16:creationId xmlns:a16="http://schemas.microsoft.com/office/drawing/2014/main" id="{6C95F849-62DF-F882-D4BC-A2BCAB65E6FC}"/>
                  </a:ext>
                </a:extLst>
              </p:cNvPr>
              <p:cNvSpPr/>
              <p:nvPr/>
            </p:nvSpPr>
            <p:spPr>
              <a:xfrm rot="5400000">
                <a:off x="1252377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6" name="Полилиния 805">
                <a:extLst>
                  <a:ext uri="{FF2B5EF4-FFF2-40B4-BE49-F238E27FC236}">
                    <a16:creationId xmlns:a16="http://schemas.microsoft.com/office/drawing/2014/main" id="{F8543CBD-C548-253A-AC6A-10317C9F32D7}"/>
                  </a:ext>
                </a:extLst>
              </p:cNvPr>
              <p:cNvSpPr/>
              <p:nvPr/>
            </p:nvSpPr>
            <p:spPr>
              <a:xfrm rot="-5400000">
                <a:off x="1617074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7" name="Полилиния 806">
                <a:extLst>
                  <a:ext uri="{FF2B5EF4-FFF2-40B4-BE49-F238E27FC236}">
                    <a16:creationId xmlns:a16="http://schemas.microsoft.com/office/drawing/2014/main" id="{947E5750-943F-2978-E048-D7ED31F94E4D}"/>
                  </a:ext>
                </a:extLst>
              </p:cNvPr>
              <p:cNvSpPr/>
              <p:nvPr/>
            </p:nvSpPr>
            <p:spPr>
              <a:xfrm>
                <a:off x="1708249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8" name="Полилиния 807">
                <a:extLst>
                  <a:ext uri="{FF2B5EF4-FFF2-40B4-BE49-F238E27FC236}">
                    <a16:creationId xmlns:a16="http://schemas.microsoft.com/office/drawing/2014/main" id="{5E269F13-A1FB-0529-29C7-A4E29C196E59}"/>
                  </a:ext>
                </a:extLst>
              </p:cNvPr>
              <p:cNvSpPr/>
              <p:nvPr/>
            </p:nvSpPr>
            <p:spPr>
              <a:xfrm rot="5400000">
                <a:off x="1799423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9" name="Полилиния 808">
                <a:extLst>
                  <a:ext uri="{FF2B5EF4-FFF2-40B4-BE49-F238E27FC236}">
                    <a16:creationId xmlns:a16="http://schemas.microsoft.com/office/drawing/2014/main" id="{1EDE576E-63FC-453E-C03D-99FF799D4585}"/>
                  </a:ext>
                </a:extLst>
              </p:cNvPr>
              <p:cNvSpPr/>
              <p:nvPr/>
            </p:nvSpPr>
            <p:spPr>
              <a:xfrm rot="5400000">
                <a:off x="2072946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0" name="Полилиния 809">
                <a:extLst>
                  <a:ext uri="{FF2B5EF4-FFF2-40B4-BE49-F238E27FC236}">
                    <a16:creationId xmlns:a16="http://schemas.microsoft.com/office/drawing/2014/main" id="{ABD872A3-0077-81DF-58AB-9C7DDB8ACF0D}"/>
                  </a:ext>
                </a:extLst>
              </p:cNvPr>
              <p:cNvSpPr/>
              <p:nvPr/>
            </p:nvSpPr>
            <p:spPr>
              <a:xfrm rot="-5400000">
                <a:off x="2255295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1" name="Полилиния 810">
                <a:extLst>
                  <a:ext uri="{FF2B5EF4-FFF2-40B4-BE49-F238E27FC236}">
                    <a16:creationId xmlns:a16="http://schemas.microsoft.com/office/drawing/2014/main" id="{779C8A92-DEAA-9938-B9DD-A7A8B140BAEF}"/>
                  </a:ext>
                </a:extLst>
              </p:cNvPr>
              <p:cNvSpPr/>
              <p:nvPr/>
            </p:nvSpPr>
            <p:spPr>
              <a:xfrm>
                <a:off x="2437643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2" name="Полилиния 811">
                <a:extLst>
                  <a:ext uri="{FF2B5EF4-FFF2-40B4-BE49-F238E27FC236}">
                    <a16:creationId xmlns:a16="http://schemas.microsoft.com/office/drawing/2014/main" id="{87F70CBF-5932-30BE-8D58-993989D369A0}"/>
                  </a:ext>
                </a:extLst>
              </p:cNvPr>
              <p:cNvSpPr/>
              <p:nvPr/>
            </p:nvSpPr>
            <p:spPr>
              <a:xfrm>
                <a:off x="2528817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3" name="Полилиния 812">
                <a:extLst>
                  <a:ext uri="{FF2B5EF4-FFF2-40B4-BE49-F238E27FC236}">
                    <a16:creationId xmlns:a16="http://schemas.microsoft.com/office/drawing/2014/main" id="{79EB3002-F9BE-A182-A025-2FAAA696DA59}"/>
                  </a:ext>
                </a:extLst>
              </p:cNvPr>
              <p:cNvSpPr/>
              <p:nvPr/>
            </p:nvSpPr>
            <p:spPr>
              <a:xfrm>
                <a:off x="2619992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4" name="Полилиния 813">
                <a:extLst>
                  <a:ext uri="{FF2B5EF4-FFF2-40B4-BE49-F238E27FC236}">
                    <a16:creationId xmlns:a16="http://schemas.microsoft.com/office/drawing/2014/main" id="{D7B23AF1-A1F3-C0A7-1664-AAD8A86BD083}"/>
                  </a:ext>
                </a:extLst>
              </p:cNvPr>
              <p:cNvSpPr/>
              <p:nvPr/>
            </p:nvSpPr>
            <p:spPr>
              <a:xfrm>
                <a:off x="2711166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5" name="Полилиния 814">
                <a:extLst>
                  <a:ext uri="{FF2B5EF4-FFF2-40B4-BE49-F238E27FC236}">
                    <a16:creationId xmlns:a16="http://schemas.microsoft.com/office/drawing/2014/main" id="{9EE40735-CB90-F49F-E1E9-AA1E6A9C6B9C}"/>
                  </a:ext>
                </a:extLst>
              </p:cNvPr>
              <p:cNvSpPr/>
              <p:nvPr/>
            </p:nvSpPr>
            <p:spPr>
              <a:xfrm>
                <a:off x="2802340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6" name="Полилиния 815">
                <a:extLst>
                  <a:ext uri="{FF2B5EF4-FFF2-40B4-BE49-F238E27FC236}">
                    <a16:creationId xmlns:a16="http://schemas.microsoft.com/office/drawing/2014/main" id="{8DC589C7-8139-EFF5-6CB3-94F156A862E3}"/>
                  </a:ext>
                </a:extLst>
              </p:cNvPr>
              <p:cNvSpPr/>
              <p:nvPr/>
            </p:nvSpPr>
            <p:spPr>
              <a:xfrm>
                <a:off x="2893515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7" name="Полилиния 816">
                <a:extLst>
                  <a:ext uri="{FF2B5EF4-FFF2-40B4-BE49-F238E27FC236}">
                    <a16:creationId xmlns:a16="http://schemas.microsoft.com/office/drawing/2014/main" id="{D00E6B80-81D7-2300-7B38-F04EC038EF5E}"/>
                  </a:ext>
                </a:extLst>
              </p:cNvPr>
              <p:cNvSpPr/>
              <p:nvPr/>
            </p:nvSpPr>
            <p:spPr>
              <a:xfrm>
                <a:off x="2984689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8" name="Полилиния 817">
                <a:extLst>
                  <a:ext uri="{FF2B5EF4-FFF2-40B4-BE49-F238E27FC236}">
                    <a16:creationId xmlns:a16="http://schemas.microsoft.com/office/drawing/2014/main" id="{2082D887-6700-614B-48DE-8A1CB5208724}"/>
                  </a:ext>
                </a:extLst>
              </p:cNvPr>
              <p:cNvSpPr/>
              <p:nvPr/>
            </p:nvSpPr>
            <p:spPr>
              <a:xfrm>
                <a:off x="3075863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9" name="Полилиния 818">
                <a:extLst>
                  <a:ext uri="{FF2B5EF4-FFF2-40B4-BE49-F238E27FC236}">
                    <a16:creationId xmlns:a16="http://schemas.microsoft.com/office/drawing/2014/main" id="{8D49E80B-0F8C-9118-ABE3-096FFD9FC673}"/>
                  </a:ext>
                </a:extLst>
              </p:cNvPr>
              <p:cNvSpPr/>
              <p:nvPr/>
            </p:nvSpPr>
            <p:spPr>
              <a:xfrm>
                <a:off x="3258212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0" name="Полилиния 819">
                <a:extLst>
                  <a:ext uri="{FF2B5EF4-FFF2-40B4-BE49-F238E27FC236}">
                    <a16:creationId xmlns:a16="http://schemas.microsoft.com/office/drawing/2014/main" id="{3A743D44-7C0D-1CF2-ACA7-B89F67D3BDBD}"/>
                  </a:ext>
                </a:extLst>
              </p:cNvPr>
              <p:cNvSpPr/>
              <p:nvPr/>
            </p:nvSpPr>
            <p:spPr>
              <a:xfrm>
                <a:off x="3349386" y="535986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1" name="Полилиния 820">
                <a:extLst>
                  <a:ext uri="{FF2B5EF4-FFF2-40B4-BE49-F238E27FC236}">
                    <a16:creationId xmlns:a16="http://schemas.microsoft.com/office/drawing/2014/main" id="{6C5EFFCC-B223-0494-4AD2-F828272BDAAB}"/>
                  </a:ext>
                </a:extLst>
              </p:cNvPr>
              <p:cNvSpPr/>
              <p:nvPr/>
            </p:nvSpPr>
            <p:spPr>
              <a:xfrm rot="5400000">
                <a:off x="1981772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2" name="Полилиния 821">
                <a:extLst>
                  <a:ext uri="{FF2B5EF4-FFF2-40B4-BE49-F238E27FC236}">
                    <a16:creationId xmlns:a16="http://schemas.microsoft.com/office/drawing/2014/main" id="{B46C4B4E-3022-63E8-DED3-DDE3BFCD98AE}"/>
                  </a:ext>
                </a:extLst>
              </p:cNvPr>
              <p:cNvSpPr/>
              <p:nvPr/>
            </p:nvSpPr>
            <p:spPr>
              <a:xfrm>
                <a:off x="2255295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3" name="Полилиния 822">
                <a:extLst>
                  <a:ext uri="{FF2B5EF4-FFF2-40B4-BE49-F238E27FC236}">
                    <a16:creationId xmlns:a16="http://schemas.microsoft.com/office/drawing/2014/main" id="{2DBBE039-4CF0-E255-0F7F-E5F6FB2F3B8A}"/>
                  </a:ext>
                </a:extLst>
              </p:cNvPr>
              <p:cNvSpPr/>
              <p:nvPr/>
            </p:nvSpPr>
            <p:spPr>
              <a:xfrm rot="5400000">
                <a:off x="2346469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4" name="Полилиния 823">
                <a:extLst>
                  <a:ext uri="{FF2B5EF4-FFF2-40B4-BE49-F238E27FC236}">
                    <a16:creationId xmlns:a16="http://schemas.microsoft.com/office/drawing/2014/main" id="{E61C9F66-43F4-1E9B-101C-D89E46F77ECB}"/>
                  </a:ext>
                </a:extLst>
              </p:cNvPr>
              <p:cNvSpPr/>
              <p:nvPr/>
            </p:nvSpPr>
            <p:spPr>
              <a:xfrm>
                <a:off x="2619992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5" name="Полилиния 824">
                <a:extLst>
                  <a:ext uri="{FF2B5EF4-FFF2-40B4-BE49-F238E27FC236}">
                    <a16:creationId xmlns:a16="http://schemas.microsoft.com/office/drawing/2014/main" id="{35E06797-D8E0-F60F-3C9D-C186DD142CA2}"/>
                  </a:ext>
                </a:extLst>
              </p:cNvPr>
              <p:cNvSpPr/>
              <p:nvPr/>
            </p:nvSpPr>
            <p:spPr>
              <a:xfrm>
                <a:off x="2711166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6" name="Полилиния 825">
                <a:extLst>
                  <a:ext uri="{FF2B5EF4-FFF2-40B4-BE49-F238E27FC236}">
                    <a16:creationId xmlns:a16="http://schemas.microsoft.com/office/drawing/2014/main" id="{049D8DE0-BCAE-00D9-94B1-FE8AE509149B}"/>
                  </a:ext>
                </a:extLst>
              </p:cNvPr>
              <p:cNvSpPr/>
              <p:nvPr/>
            </p:nvSpPr>
            <p:spPr>
              <a:xfrm>
                <a:off x="3075863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7" name="Полилиния 826">
                <a:extLst>
                  <a:ext uri="{FF2B5EF4-FFF2-40B4-BE49-F238E27FC236}">
                    <a16:creationId xmlns:a16="http://schemas.microsoft.com/office/drawing/2014/main" id="{ECF61AB9-3C6F-7B91-D153-D1A08BF45E4A}"/>
                  </a:ext>
                </a:extLst>
              </p:cNvPr>
              <p:cNvSpPr/>
              <p:nvPr/>
            </p:nvSpPr>
            <p:spPr>
              <a:xfrm>
                <a:off x="3258212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8" name="Полилиния 827">
                <a:extLst>
                  <a:ext uri="{FF2B5EF4-FFF2-40B4-BE49-F238E27FC236}">
                    <a16:creationId xmlns:a16="http://schemas.microsoft.com/office/drawing/2014/main" id="{2A5B97ED-7216-6A96-5FCF-259F157EE5C1}"/>
                  </a:ext>
                </a:extLst>
              </p:cNvPr>
              <p:cNvSpPr/>
              <p:nvPr/>
            </p:nvSpPr>
            <p:spPr>
              <a:xfrm rot="5400000">
                <a:off x="3349386" y="5451039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9" name="Полилиния 828">
                <a:extLst>
                  <a:ext uri="{FF2B5EF4-FFF2-40B4-BE49-F238E27FC236}">
                    <a16:creationId xmlns:a16="http://schemas.microsoft.com/office/drawing/2014/main" id="{34186A6A-3D07-EC5C-0BB7-7560AE53485B}"/>
                  </a:ext>
                </a:extLst>
              </p:cNvPr>
              <p:cNvSpPr/>
              <p:nvPr/>
            </p:nvSpPr>
            <p:spPr>
              <a:xfrm>
                <a:off x="2255295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0" name="Полилиния 829">
                <a:extLst>
                  <a:ext uri="{FF2B5EF4-FFF2-40B4-BE49-F238E27FC236}">
                    <a16:creationId xmlns:a16="http://schemas.microsoft.com/office/drawing/2014/main" id="{E2FC090A-C533-2155-E1D4-340498D60F4C}"/>
                  </a:ext>
                </a:extLst>
              </p:cNvPr>
              <p:cNvSpPr/>
              <p:nvPr/>
            </p:nvSpPr>
            <p:spPr>
              <a:xfrm rot="5400000">
                <a:off x="2437643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1" name="Полилиния 830">
                <a:extLst>
                  <a:ext uri="{FF2B5EF4-FFF2-40B4-BE49-F238E27FC236}">
                    <a16:creationId xmlns:a16="http://schemas.microsoft.com/office/drawing/2014/main" id="{3870CD64-4EAE-31E7-3DD5-BD0E84F0F64F}"/>
                  </a:ext>
                </a:extLst>
              </p:cNvPr>
              <p:cNvSpPr/>
              <p:nvPr/>
            </p:nvSpPr>
            <p:spPr>
              <a:xfrm>
                <a:off x="2711166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2" name="Полилиния 831">
                <a:extLst>
                  <a:ext uri="{FF2B5EF4-FFF2-40B4-BE49-F238E27FC236}">
                    <a16:creationId xmlns:a16="http://schemas.microsoft.com/office/drawing/2014/main" id="{611000A6-EE4E-3215-2E2E-275308F856D4}"/>
                  </a:ext>
                </a:extLst>
              </p:cNvPr>
              <p:cNvSpPr/>
              <p:nvPr/>
            </p:nvSpPr>
            <p:spPr>
              <a:xfrm rot="5400000">
                <a:off x="2893515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3" name="Полилиния 832">
                <a:extLst>
                  <a:ext uri="{FF2B5EF4-FFF2-40B4-BE49-F238E27FC236}">
                    <a16:creationId xmlns:a16="http://schemas.microsoft.com/office/drawing/2014/main" id="{3A6F9E03-1E43-D90A-9DBB-320063BC3996}"/>
                  </a:ext>
                </a:extLst>
              </p:cNvPr>
              <p:cNvSpPr/>
              <p:nvPr/>
            </p:nvSpPr>
            <p:spPr>
              <a:xfrm>
                <a:off x="3075863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4" name="Полилиния 833">
                <a:extLst>
                  <a:ext uri="{FF2B5EF4-FFF2-40B4-BE49-F238E27FC236}">
                    <a16:creationId xmlns:a16="http://schemas.microsoft.com/office/drawing/2014/main" id="{76F12956-67DC-9B77-CFC0-A67B101258F4}"/>
                  </a:ext>
                </a:extLst>
              </p:cNvPr>
              <p:cNvSpPr/>
              <p:nvPr/>
            </p:nvSpPr>
            <p:spPr>
              <a:xfrm rot="-5400000">
                <a:off x="3440561" y="5542214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5" name="Полилиния 834">
                <a:extLst>
                  <a:ext uri="{FF2B5EF4-FFF2-40B4-BE49-F238E27FC236}">
                    <a16:creationId xmlns:a16="http://schemas.microsoft.com/office/drawing/2014/main" id="{12705EB1-2E31-584F-A235-14EDDFAFA9A7}"/>
                  </a:ext>
                </a:extLst>
              </p:cNvPr>
              <p:cNvSpPr/>
              <p:nvPr/>
            </p:nvSpPr>
            <p:spPr>
              <a:xfrm rot="-5400000">
                <a:off x="1981772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6" name="Полилиния 835">
                <a:extLst>
                  <a:ext uri="{FF2B5EF4-FFF2-40B4-BE49-F238E27FC236}">
                    <a16:creationId xmlns:a16="http://schemas.microsoft.com/office/drawing/2014/main" id="{931A1042-D817-8EB0-DD5C-A21F444F3568}"/>
                  </a:ext>
                </a:extLst>
              </p:cNvPr>
              <p:cNvSpPr/>
              <p:nvPr/>
            </p:nvSpPr>
            <p:spPr>
              <a:xfrm>
                <a:off x="2255295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7" name="Полилиния 836">
                <a:extLst>
                  <a:ext uri="{FF2B5EF4-FFF2-40B4-BE49-F238E27FC236}">
                    <a16:creationId xmlns:a16="http://schemas.microsoft.com/office/drawing/2014/main" id="{D9718391-83DC-AD86-8065-8C3343B8FA1D}"/>
                  </a:ext>
                </a:extLst>
              </p:cNvPr>
              <p:cNvSpPr/>
              <p:nvPr/>
            </p:nvSpPr>
            <p:spPr>
              <a:xfrm rot="-5400000">
                <a:off x="2619992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8" name="Полилиния 837">
                <a:extLst>
                  <a:ext uri="{FF2B5EF4-FFF2-40B4-BE49-F238E27FC236}">
                    <a16:creationId xmlns:a16="http://schemas.microsoft.com/office/drawing/2014/main" id="{83E07249-015F-987D-65C8-CA1D89E18510}"/>
                  </a:ext>
                </a:extLst>
              </p:cNvPr>
              <p:cNvSpPr/>
              <p:nvPr/>
            </p:nvSpPr>
            <p:spPr>
              <a:xfrm>
                <a:off x="2711166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9" name="Полилиния 838">
                <a:extLst>
                  <a:ext uri="{FF2B5EF4-FFF2-40B4-BE49-F238E27FC236}">
                    <a16:creationId xmlns:a16="http://schemas.microsoft.com/office/drawing/2014/main" id="{10CB3FA8-C3A7-5CA8-6A70-C451EE9E789E}"/>
                  </a:ext>
                </a:extLst>
              </p:cNvPr>
              <p:cNvSpPr/>
              <p:nvPr/>
            </p:nvSpPr>
            <p:spPr>
              <a:xfrm>
                <a:off x="3075863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0" name="Полилиния 839">
                <a:extLst>
                  <a:ext uri="{FF2B5EF4-FFF2-40B4-BE49-F238E27FC236}">
                    <a16:creationId xmlns:a16="http://schemas.microsoft.com/office/drawing/2014/main" id="{A3BF3BB0-BBAD-BD17-8CFE-27BBBD902BF4}"/>
                  </a:ext>
                </a:extLst>
              </p:cNvPr>
              <p:cNvSpPr/>
              <p:nvPr/>
            </p:nvSpPr>
            <p:spPr>
              <a:xfrm>
                <a:off x="3440561" y="5633388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1" name="Полилиния 840">
                <a:extLst>
                  <a:ext uri="{FF2B5EF4-FFF2-40B4-BE49-F238E27FC236}">
                    <a16:creationId xmlns:a16="http://schemas.microsoft.com/office/drawing/2014/main" id="{67E9DEEB-ED11-A355-9EEC-D9D7B7F5F750}"/>
                  </a:ext>
                </a:extLst>
              </p:cNvPr>
              <p:cNvSpPr/>
              <p:nvPr/>
            </p:nvSpPr>
            <p:spPr>
              <a:xfrm>
                <a:off x="1981772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2" name="Полилиния 841">
                <a:extLst>
                  <a:ext uri="{FF2B5EF4-FFF2-40B4-BE49-F238E27FC236}">
                    <a16:creationId xmlns:a16="http://schemas.microsoft.com/office/drawing/2014/main" id="{8F9059AC-8115-DD94-085D-6A31F051737E}"/>
                  </a:ext>
                </a:extLst>
              </p:cNvPr>
              <p:cNvSpPr/>
              <p:nvPr/>
            </p:nvSpPr>
            <p:spPr>
              <a:xfrm rot="-5400000">
                <a:off x="2164120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3" name="Полилиния 842">
                <a:extLst>
                  <a:ext uri="{FF2B5EF4-FFF2-40B4-BE49-F238E27FC236}">
                    <a16:creationId xmlns:a16="http://schemas.microsoft.com/office/drawing/2014/main" id="{8F534931-4F3A-29CA-704B-D495E331B6CA}"/>
                  </a:ext>
                </a:extLst>
              </p:cNvPr>
              <p:cNvSpPr/>
              <p:nvPr/>
            </p:nvSpPr>
            <p:spPr>
              <a:xfrm>
                <a:off x="2255295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4" name="Полилиния 843">
                <a:extLst>
                  <a:ext uri="{FF2B5EF4-FFF2-40B4-BE49-F238E27FC236}">
                    <a16:creationId xmlns:a16="http://schemas.microsoft.com/office/drawing/2014/main" id="{84E1D542-BC40-0E4B-5EEE-D9618ED99DD6}"/>
                  </a:ext>
                </a:extLst>
              </p:cNvPr>
              <p:cNvSpPr/>
              <p:nvPr/>
            </p:nvSpPr>
            <p:spPr>
              <a:xfrm>
                <a:off x="2346469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5" name="Полилиния 844">
                <a:extLst>
                  <a:ext uri="{FF2B5EF4-FFF2-40B4-BE49-F238E27FC236}">
                    <a16:creationId xmlns:a16="http://schemas.microsoft.com/office/drawing/2014/main" id="{7457609A-7378-48D0-4142-2595F4D631A1}"/>
                  </a:ext>
                </a:extLst>
              </p:cNvPr>
              <p:cNvSpPr/>
              <p:nvPr/>
            </p:nvSpPr>
            <p:spPr>
              <a:xfrm>
                <a:off x="2437643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6" name="Полилиния 845">
                <a:extLst>
                  <a:ext uri="{FF2B5EF4-FFF2-40B4-BE49-F238E27FC236}">
                    <a16:creationId xmlns:a16="http://schemas.microsoft.com/office/drawing/2014/main" id="{C8D21FE2-5731-DDCD-0D81-05BC0AD4D82B}"/>
                  </a:ext>
                </a:extLst>
              </p:cNvPr>
              <p:cNvSpPr/>
              <p:nvPr/>
            </p:nvSpPr>
            <p:spPr>
              <a:xfrm>
                <a:off x="2528817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7" name="Полилиния 846">
                <a:extLst>
                  <a:ext uri="{FF2B5EF4-FFF2-40B4-BE49-F238E27FC236}">
                    <a16:creationId xmlns:a16="http://schemas.microsoft.com/office/drawing/2014/main" id="{BBB6B7BF-1DD2-897C-7215-1F5FF3088D28}"/>
                  </a:ext>
                </a:extLst>
              </p:cNvPr>
              <p:cNvSpPr/>
              <p:nvPr/>
            </p:nvSpPr>
            <p:spPr>
              <a:xfrm>
                <a:off x="2619992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8" name="Полилиния 847">
                <a:extLst>
                  <a:ext uri="{FF2B5EF4-FFF2-40B4-BE49-F238E27FC236}">
                    <a16:creationId xmlns:a16="http://schemas.microsoft.com/office/drawing/2014/main" id="{8ECB727F-DF11-9ABA-C544-23069F28D147}"/>
                  </a:ext>
                </a:extLst>
              </p:cNvPr>
              <p:cNvSpPr/>
              <p:nvPr/>
            </p:nvSpPr>
            <p:spPr>
              <a:xfrm>
                <a:off x="2711166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9" name="Полилиния 848">
                <a:extLst>
                  <a:ext uri="{FF2B5EF4-FFF2-40B4-BE49-F238E27FC236}">
                    <a16:creationId xmlns:a16="http://schemas.microsoft.com/office/drawing/2014/main" id="{92E119C7-9AA3-74C2-37CD-81280E48116E}"/>
                  </a:ext>
                </a:extLst>
              </p:cNvPr>
              <p:cNvSpPr/>
              <p:nvPr/>
            </p:nvSpPr>
            <p:spPr>
              <a:xfrm>
                <a:off x="2802340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0" name="Полилиния 849">
                <a:extLst>
                  <a:ext uri="{FF2B5EF4-FFF2-40B4-BE49-F238E27FC236}">
                    <a16:creationId xmlns:a16="http://schemas.microsoft.com/office/drawing/2014/main" id="{A7F184CE-83A2-93CF-BCDE-7A457EA255C3}"/>
                  </a:ext>
                </a:extLst>
              </p:cNvPr>
              <p:cNvSpPr/>
              <p:nvPr/>
            </p:nvSpPr>
            <p:spPr>
              <a:xfrm>
                <a:off x="2893515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1" name="Полилиния 850">
                <a:extLst>
                  <a:ext uri="{FF2B5EF4-FFF2-40B4-BE49-F238E27FC236}">
                    <a16:creationId xmlns:a16="http://schemas.microsoft.com/office/drawing/2014/main" id="{8A378B42-3EC7-EBA6-B265-F733F430A50F}"/>
                  </a:ext>
                </a:extLst>
              </p:cNvPr>
              <p:cNvSpPr/>
              <p:nvPr/>
            </p:nvSpPr>
            <p:spPr>
              <a:xfrm>
                <a:off x="2984689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2" name="Полилиния 851">
                <a:extLst>
                  <a:ext uri="{FF2B5EF4-FFF2-40B4-BE49-F238E27FC236}">
                    <a16:creationId xmlns:a16="http://schemas.microsoft.com/office/drawing/2014/main" id="{2C87C76A-4DA9-AE63-C514-D14ACD5E808E}"/>
                  </a:ext>
                </a:extLst>
              </p:cNvPr>
              <p:cNvSpPr/>
              <p:nvPr/>
            </p:nvSpPr>
            <p:spPr>
              <a:xfrm rot="5400000">
                <a:off x="3075863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3" name="Полилиния 852">
                <a:extLst>
                  <a:ext uri="{FF2B5EF4-FFF2-40B4-BE49-F238E27FC236}">
                    <a16:creationId xmlns:a16="http://schemas.microsoft.com/office/drawing/2014/main" id="{F18587EF-D307-AF62-618A-81628E5AD21B}"/>
                  </a:ext>
                </a:extLst>
              </p:cNvPr>
              <p:cNvSpPr/>
              <p:nvPr/>
            </p:nvSpPr>
            <p:spPr>
              <a:xfrm rot="-5400000">
                <a:off x="3349386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4" name="Полилиния 853">
                <a:extLst>
                  <a:ext uri="{FF2B5EF4-FFF2-40B4-BE49-F238E27FC236}">
                    <a16:creationId xmlns:a16="http://schemas.microsoft.com/office/drawing/2014/main" id="{7453C610-D3DE-E3B8-E25D-8F382C1D556F}"/>
                  </a:ext>
                </a:extLst>
              </p:cNvPr>
              <p:cNvSpPr/>
              <p:nvPr/>
            </p:nvSpPr>
            <p:spPr>
              <a:xfrm>
                <a:off x="3440561" y="5724562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5" name="Полилиния 854">
                <a:extLst>
                  <a:ext uri="{FF2B5EF4-FFF2-40B4-BE49-F238E27FC236}">
                    <a16:creationId xmlns:a16="http://schemas.microsoft.com/office/drawing/2014/main" id="{2B96A9E9-0C39-D241-CDD7-224D4F5CBA84}"/>
                  </a:ext>
                </a:extLst>
              </p:cNvPr>
              <p:cNvSpPr/>
              <p:nvPr/>
            </p:nvSpPr>
            <p:spPr>
              <a:xfrm>
                <a:off x="1981772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6" name="Полилиния 855">
                <a:extLst>
                  <a:ext uri="{FF2B5EF4-FFF2-40B4-BE49-F238E27FC236}">
                    <a16:creationId xmlns:a16="http://schemas.microsoft.com/office/drawing/2014/main" id="{5A34AC47-AF1A-E511-657A-B917AE7AD647}"/>
                  </a:ext>
                </a:extLst>
              </p:cNvPr>
              <p:cNvSpPr/>
              <p:nvPr/>
            </p:nvSpPr>
            <p:spPr>
              <a:xfrm>
                <a:off x="2072946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7" name="Полилиния 856">
                <a:extLst>
                  <a:ext uri="{FF2B5EF4-FFF2-40B4-BE49-F238E27FC236}">
                    <a16:creationId xmlns:a16="http://schemas.microsoft.com/office/drawing/2014/main" id="{DD5E05B3-7128-EF63-6C07-31399E428098}"/>
                  </a:ext>
                </a:extLst>
              </p:cNvPr>
              <p:cNvSpPr/>
              <p:nvPr/>
            </p:nvSpPr>
            <p:spPr>
              <a:xfrm>
                <a:off x="2528817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8" name="Полилиния 857">
                <a:extLst>
                  <a:ext uri="{FF2B5EF4-FFF2-40B4-BE49-F238E27FC236}">
                    <a16:creationId xmlns:a16="http://schemas.microsoft.com/office/drawing/2014/main" id="{4EC0D508-243D-DF06-1B8A-CFE4F1278EA4}"/>
                  </a:ext>
                </a:extLst>
              </p:cNvPr>
              <p:cNvSpPr/>
              <p:nvPr/>
            </p:nvSpPr>
            <p:spPr>
              <a:xfrm>
                <a:off x="2619992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9" name="Полилиния 858">
                <a:extLst>
                  <a:ext uri="{FF2B5EF4-FFF2-40B4-BE49-F238E27FC236}">
                    <a16:creationId xmlns:a16="http://schemas.microsoft.com/office/drawing/2014/main" id="{BC252442-2406-F28F-3E3D-F95478C41409}"/>
                  </a:ext>
                </a:extLst>
              </p:cNvPr>
              <p:cNvSpPr/>
              <p:nvPr/>
            </p:nvSpPr>
            <p:spPr>
              <a:xfrm rot="5400000">
                <a:off x="2893515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0" name="Полилиния 859">
                <a:extLst>
                  <a:ext uri="{FF2B5EF4-FFF2-40B4-BE49-F238E27FC236}">
                    <a16:creationId xmlns:a16="http://schemas.microsoft.com/office/drawing/2014/main" id="{85F32B7D-44C3-9A5B-B256-4B37C6F32C72}"/>
                  </a:ext>
                </a:extLst>
              </p:cNvPr>
              <p:cNvSpPr/>
              <p:nvPr/>
            </p:nvSpPr>
            <p:spPr>
              <a:xfrm>
                <a:off x="3349386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1" name="Полилиния 860">
                <a:extLst>
                  <a:ext uri="{FF2B5EF4-FFF2-40B4-BE49-F238E27FC236}">
                    <a16:creationId xmlns:a16="http://schemas.microsoft.com/office/drawing/2014/main" id="{D37BC6DA-A791-3238-0698-52BAF7A2AF3D}"/>
                  </a:ext>
                </a:extLst>
              </p:cNvPr>
              <p:cNvSpPr/>
              <p:nvPr/>
            </p:nvSpPr>
            <p:spPr>
              <a:xfrm>
                <a:off x="3440561" y="5815737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2" name="Полилиния 861">
                <a:extLst>
                  <a:ext uri="{FF2B5EF4-FFF2-40B4-BE49-F238E27FC236}">
                    <a16:creationId xmlns:a16="http://schemas.microsoft.com/office/drawing/2014/main" id="{D244DD90-B047-710F-0EE0-40CD9AC21615}"/>
                  </a:ext>
                </a:extLst>
              </p:cNvPr>
              <p:cNvSpPr/>
              <p:nvPr/>
            </p:nvSpPr>
            <p:spPr>
              <a:xfrm>
                <a:off x="2072946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3" name="Полилиния 862">
                <a:extLst>
                  <a:ext uri="{FF2B5EF4-FFF2-40B4-BE49-F238E27FC236}">
                    <a16:creationId xmlns:a16="http://schemas.microsoft.com/office/drawing/2014/main" id="{FC1D6F64-99FD-7550-50DD-16895FD8C782}"/>
                  </a:ext>
                </a:extLst>
              </p:cNvPr>
              <p:cNvSpPr/>
              <p:nvPr/>
            </p:nvSpPr>
            <p:spPr>
              <a:xfrm>
                <a:off x="2164120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4" name="Полилиния 863">
                <a:extLst>
                  <a:ext uri="{FF2B5EF4-FFF2-40B4-BE49-F238E27FC236}">
                    <a16:creationId xmlns:a16="http://schemas.microsoft.com/office/drawing/2014/main" id="{13C254C1-4566-7870-5B51-8900DBDED9A9}"/>
                  </a:ext>
                </a:extLst>
              </p:cNvPr>
              <p:cNvSpPr/>
              <p:nvPr/>
            </p:nvSpPr>
            <p:spPr>
              <a:xfrm>
                <a:off x="2255295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5" name="Полилиния 864">
                <a:extLst>
                  <a:ext uri="{FF2B5EF4-FFF2-40B4-BE49-F238E27FC236}">
                    <a16:creationId xmlns:a16="http://schemas.microsoft.com/office/drawing/2014/main" id="{F800024A-E688-7367-5B56-ECD79103E09F}"/>
                  </a:ext>
                </a:extLst>
              </p:cNvPr>
              <p:cNvSpPr/>
              <p:nvPr/>
            </p:nvSpPr>
            <p:spPr>
              <a:xfrm>
                <a:off x="2346469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6" name="Полилиния 865">
                <a:extLst>
                  <a:ext uri="{FF2B5EF4-FFF2-40B4-BE49-F238E27FC236}">
                    <a16:creationId xmlns:a16="http://schemas.microsoft.com/office/drawing/2014/main" id="{206B7069-8FC5-2DDD-DF09-E34D97ED00D0}"/>
                  </a:ext>
                </a:extLst>
              </p:cNvPr>
              <p:cNvSpPr/>
              <p:nvPr/>
            </p:nvSpPr>
            <p:spPr>
              <a:xfrm>
                <a:off x="2437643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7" name="Полилиния 866">
                <a:extLst>
                  <a:ext uri="{FF2B5EF4-FFF2-40B4-BE49-F238E27FC236}">
                    <a16:creationId xmlns:a16="http://schemas.microsoft.com/office/drawing/2014/main" id="{C741362A-EEB1-0481-11CF-FAB3B7393AAE}"/>
                  </a:ext>
                </a:extLst>
              </p:cNvPr>
              <p:cNvSpPr/>
              <p:nvPr/>
            </p:nvSpPr>
            <p:spPr>
              <a:xfrm>
                <a:off x="2528817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8" name="Полилиния 867">
                <a:extLst>
                  <a:ext uri="{FF2B5EF4-FFF2-40B4-BE49-F238E27FC236}">
                    <a16:creationId xmlns:a16="http://schemas.microsoft.com/office/drawing/2014/main" id="{C71F67D2-7E60-1A9C-370E-A2A5D0E5BF58}"/>
                  </a:ext>
                </a:extLst>
              </p:cNvPr>
              <p:cNvSpPr/>
              <p:nvPr/>
            </p:nvSpPr>
            <p:spPr>
              <a:xfrm>
                <a:off x="2619992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9" name="Полилиния 868">
                <a:extLst>
                  <a:ext uri="{FF2B5EF4-FFF2-40B4-BE49-F238E27FC236}">
                    <a16:creationId xmlns:a16="http://schemas.microsoft.com/office/drawing/2014/main" id="{BE4EDC6C-48AC-0368-3983-52503EFEBD5E}"/>
                  </a:ext>
                </a:extLst>
              </p:cNvPr>
              <p:cNvSpPr/>
              <p:nvPr/>
            </p:nvSpPr>
            <p:spPr>
              <a:xfrm rot="5400000">
                <a:off x="2802340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0" name="Полилиния 869">
                <a:extLst>
                  <a:ext uri="{FF2B5EF4-FFF2-40B4-BE49-F238E27FC236}">
                    <a16:creationId xmlns:a16="http://schemas.microsoft.com/office/drawing/2014/main" id="{802E67CF-C4F6-E812-3149-90EDE0CB35E6}"/>
                  </a:ext>
                </a:extLst>
              </p:cNvPr>
              <p:cNvSpPr/>
              <p:nvPr/>
            </p:nvSpPr>
            <p:spPr>
              <a:xfrm rot="-5400000">
                <a:off x="3075863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1" name="Полилиния 870">
                <a:extLst>
                  <a:ext uri="{FF2B5EF4-FFF2-40B4-BE49-F238E27FC236}">
                    <a16:creationId xmlns:a16="http://schemas.microsoft.com/office/drawing/2014/main" id="{11A6A411-A12F-C0C4-EE63-4FF202C691D7}"/>
                  </a:ext>
                </a:extLst>
              </p:cNvPr>
              <p:cNvSpPr/>
              <p:nvPr/>
            </p:nvSpPr>
            <p:spPr>
              <a:xfrm>
                <a:off x="3167038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2" name="Полилиния 871">
                <a:extLst>
                  <a:ext uri="{FF2B5EF4-FFF2-40B4-BE49-F238E27FC236}">
                    <a16:creationId xmlns:a16="http://schemas.microsoft.com/office/drawing/2014/main" id="{19215C31-F84C-8F27-780D-1D047849027C}"/>
                  </a:ext>
                </a:extLst>
              </p:cNvPr>
              <p:cNvSpPr/>
              <p:nvPr/>
            </p:nvSpPr>
            <p:spPr>
              <a:xfrm>
                <a:off x="3258212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3" name="Полилиния 872">
                <a:extLst>
                  <a:ext uri="{FF2B5EF4-FFF2-40B4-BE49-F238E27FC236}">
                    <a16:creationId xmlns:a16="http://schemas.microsoft.com/office/drawing/2014/main" id="{4806153C-BE2D-BAC0-695C-955FC6C57AAA}"/>
                  </a:ext>
                </a:extLst>
              </p:cNvPr>
              <p:cNvSpPr/>
              <p:nvPr/>
            </p:nvSpPr>
            <p:spPr>
              <a:xfrm>
                <a:off x="3349386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4" name="Полилиния 873">
                <a:extLst>
                  <a:ext uri="{FF2B5EF4-FFF2-40B4-BE49-F238E27FC236}">
                    <a16:creationId xmlns:a16="http://schemas.microsoft.com/office/drawing/2014/main" id="{F647BDC5-C9B1-536C-0566-ED0C6AE8BE01}"/>
                  </a:ext>
                </a:extLst>
              </p:cNvPr>
              <p:cNvSpPr/>
              <p:nvPr/>
            </p:nvSpPr>
            <p:spPr>
              <a:xfrm>
                <a:off x="3440561" y="5906911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5" name="Полилиния 874">
                <a:extLst>
                  <a:ext uri="{FF2B5EF4-FFF2-40B4-BE49-F238E27FC236}">
                    <a16:creationId xmlns:a16="http://schemas.microsoft.com/office/drawing/2014/main" id="{115AE795-00A6-7556-3DAB-D4FDF197CAE8}"/>
                  </a:ext>
                </a:extLst>
              </p:cNvPr>
              <p:cNvSpPr/>
              <p:nvPr/>
            </p:nvSpPr>
            <p:spPr>
              <a:xfrm rot="5400000">
                <a:off x="1981772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6" name="Полилиния 875">
                <a:extLst>
                  <a:ext uri="{FF2B5EF4-FFF2-40B4-BE49-F238E27FC236}">
                    <a16:creationId xmlns:a16="http://schemas.microsoft.com/office/drawing/2014/main" id="{393931D4-3DB8-925A-93D2-49305A936B90}"/>
                  </a:ext>
                </a:extLst>
              </p:cNvPr>
              <p:cNvSpPr/>
              <p:nvPr/>
            </p:nvSpPr>
            <p:spPr>
              <a:xfrm>
                <a:off x="2164120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7" name="Полилиния 876">
                <a:extLst>
                  <a:ext uri="{FF2B5EF4-FFF2-40B4-BE49-F238E27FC236}">
                    <a16:creationId xmlns:a16="http://schemas.microsoft.com/office/drawing/2014/main" id="{FB919DD9-98A3-EB8D-8385-EE89CF1BC3D3}"/>
                  </a:ext>
                </a:extLst>
              </p:cNvPr>
              <p:cNvSpPr/>
              <p:nvPr/>
            </p:nvSpPr>
            <p:spPr>
              <a:xfrm>
                <a:off x="2255295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8" name="Полилиния 877">
                <a:extLst>
                  <a:ext uri="{FF2B5EF4-FFF2-40B4-BE49-F238E27FC236}">
                    <a16:creationId xmlns:a16="http://schemas.microsoft.com/office/drawing/2014/main" id="{F1F089E9-6A02-52F8-BC61-D61E3E3D130E}"/>
                  </a:ext>
                </a:extLst>
              </p:cNvPr>
              <p:cNvSpPr/>
              <p:nvPr/>
            </p:nvSpPr>
            <p:spPr>
              <a:xfrm>
                <a:off x="2437643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9" name="Полилиния 878">
                <a:extLst>
                  <a:ext uri="{FF2B5EF4-FFF2-40B4-BE49-F238E27FC236}">
                    <a16:creationId xmlns:a16="http://schemas.microsoft.com/office/drawing/2014/main" id="{3DDC204D-905F-C14A-6264-99F1487AAB71}"/>
                  </a:ext>
                </a:extLst>
              </p:cNvPr>
              <p:cNvSpPr/>
              <p:nvPr/>
            </p:nvSpPr>
            <p:spPr>
              <a:xfrm rot="5400000">
                <a:off x="2619992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0" name="Полилиния 879">
                <a:extLst>
                  <a:ext uri="{FF2B5EF4-FFF2-40B4-BE49-F238E27FC236}">
                    <a16:creationId xmlns:a16="http://schemas.microsoft.com/office/drawing/2014/main" id="{A3638DBB-86A5-0BC9-41A4-0CDDC0915372}"/>
                  </a:ext>
                </a:extLst>
              </p:cNvPr>
              <p:cNvSpPr/>
              <p:nvPr/>
            </p:nvSpPr>
            <p:spPr>
              <a:xfrm rot="-5400000">
                <a:off x="2984689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1" name="Полилиния 880">
                <a:extLst>
                  <a:ext uri="{FF2B5EF4-FFF2-40B4-BE49-F238E27FC236}">
                    <a16:creationId xmlns:a16="http://schemas.microsoft.com/office/drawing/2014/main" id="{BA1882EC-CE22-E5B4-D3C4-8B2C3267F434}"/>
                  </a:ext>
                </a:extLst>
              </p:cNvPr>
              <p:cNvSpPr/>
              <p:nvPr/>
            </p:nvSpPr>
            <p:spPr>
              <a:xfrm rot="5400000">
                <a:off x="3075863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2" name="Полилиния 881">
                <a:extLst>
                  <a:ext uri="{FF2B5EF4-FFF2-40B4-BE49-F238E27FC236}">
                    <a16:creationId xmlns:a16="http://schemas.microsoft.com/office/drawing/2014/main" id="{E6D55AD4-3218-17D3-1661-A9459443FDD7}"/>
                  </a:ext>
                </a:extLst>
              </p:cNvPr>
              <p:cNvSpPr/>
              <p:nvPr/>
            </p:nvSpPr>
            <p:spPr>
              <a:xfrm>
                <a:off x="3258212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3" name="Полилиния 882">
                <a:extLst>
                  <a:ext uri="{FF2B5EF4-FFF2-40B4-BE49-F238E27FC236}">
                    <a16:creationId xmlns:a16="http://schemas.microsoft.com/office/drawing/2014/main" id="{0578B67C-E301-492E-E83A-C13E58827A05}"/>
                  </a:ext>
                </a:extLst>
              </p:cNvPr>
              <p:cNvSpPr/>
              <p:nvPr/>
            </p:nvSpPr>
            <p:spPr>
              <a:xfrm>
                <a:off x="3349386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4" name="Полилиния 883">
                <a:extLst>
                  <a:ext uri="{FF2B5EF4-FFF2-40B4-BE49-F238E27FC236}">
                    <a16:creationId xmlns:a16="http://schemas.microsoft.com/office/drawing/2014/main" id="{8E1C5138-2D04-F009-2C65-A6EF577EAFF6}"/>
                  </a:ext>
                </a:extLst>
              </p:cNvPr>
              <p:cNvSpPr/>
              <p:nvPr/>
            </p:nvSpPr>
            <p:spPr>
              <a:xfrm>
                <a:off x="3440561" y="5998085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5" name="Полилиния 884">
                <a:extLst>
                  <a:ext uri="{FF2B5EF4-FFF2-40B4-BE49-F238E27FC236}">
                    <a16:creationId xmlns:a16="http://schemas.microsoft.com/office/drawing/2014/main" id="{E2D8AE6D-963E-BC07-54E4-54E3D85A5467}"/>
                  </a:ext>
                </a:extLst>
              </p:cNvPr>
              <p:cNvSpPr/>
              <p:nvPr/>
            </p:nvSpPr>
            <p:spPr>
              <a:xfrm rot="-5400000">
                <a:off x="2072946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6" name="Полилиния 885">
                <a:extLst>
                  <a:ext uri="{FF2B5EF4-FFF2-40B4-BE49-F238E27FC236}">
                    <a16:creationId xmlns:a16="http://schemas.microsoft.com/office/drawing/2014/main" id="{EE960FF9-A931-06DD-3519-C2A583B32D43}"/>
                  </a:ext>
                </a:extLst>
              </p:cNvPr>
              <p:cNvSpPr/>
              <p:nvPr/>
            </p:nvSpPr>
            <p:spPr>
              <a:xfrm>
                <a:off x="2164120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7" name="Полилиния 886">
                <a:extLst>
                  <a:ext uri="{FF2B5EF4-FFF2-40B4-BE49-F238E27FC236}">
                    <a16:creationId xmlns:a16="http://schemas.microsoft.com/office/drawing/2014/main" id="{04ACFB17-5532-0BA1-6BFF-401EBF1A011E}"/>
                  </a:ext>
                </a:extLst>
              </p:cNvPr>
              <p:cNvSpPr/>
              <p:nvPr/>
            </p:nvSpPr>
            <p:spPr>
              <a:xfrm rot="5400000">
                <a:off x="2255295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8" name="Полилиния 887">
                <a:extLst>
                  <a:ext uri="{FF2B5EF4-FFF2-40B4-BE49-F238E27FC236}">
                    <a16:creationId xmlns:a16="http://schemas.microsoft.com/office/drawing/2014/main" id="{A1BAD802-25FA-A194-4975-5D0DC638FAB9}"/>
                  </a:ext>
                </a:extLst>
              </p:cNvPr>
              <p:cNvSpPr/>
              <p:nvPr/>
            </p:nvSpPr>
            <p:spPr>
              <a:xfrm>
                <a:off x="2437643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91174 w 91174"/>
                  <a:gd name="connsiteY1" fmla="*/ 0 h 91174"/>
                  <a:gd name="connsiteX2" fmla="*/ 91174 w 91174"/>
                  <a:gd name="connsiteY2" fmla="*/ 91174 h 91174"/>
                  <a:gd name="connsiteX3" fmla="*/ 0 w 91174"/>
                  <a:gd name="connsiteY3" fmla="*/ 91174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91174" y="0"/>
                    </a:lnTo>
                    <a:lnTo>
                      <a:pt x="91174" y="91174"/>
                    </a:lnTo>
                    <a:lnTo>
                      <a:pt x="0" y="91174"/>
                    </a:lnTo>
                    <a:close/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9" name="Полилиния 888">
                <a:extLst>
                  <a:ext uri="{FF2B5EF4-FFF2-40B4-BE49-F238E27FC236}">
                    <a16:creationId xmlns:a16="http://schemas.microsoft.com/office/drawing/2014/main" id="{6079525E-0EE5-FB31-FDB8-D1F64A918753}"/>
                  </a:ext>
                </a:extLst>
              </p:cNvPr>
              <p:cNvSpPr/>
              <p:nvPr/>
            </p:nvSpPr>
            <p:spPr>
              <a:xfrm rot="5400000">
                <a:off x="2528817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90" name="Полилиния 889">
                <a:extLst>
                  <a:ext uri="{FF2B5EF4-FFF2-40B4-BE49-F238E27FC236}">
                    <a16:creationId xmlns:a16="http://schemas.microsoft.com/office/drawing/2014/main" id="{28B16514-1CAD-E4BE-2839-E2482C1D7A07}"/>
                  </a:ext>
                </a:extLst>
              </p:cNvPr>
              <p:cNvSpPr/>
              <p:nvPr/>
            </p:nvSpPr>
            <p:spPr>
              <a:xfrm rot="-5400000">
                <a:off x="2711166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91" name="Полилиния 890">
                <a:extLst>
                  <a:ext uri="{FF2B5EF4-FFF2-40B4-BE49-F238E27FC236}">
                    <a16:creationId xmlns:a16="http://schemas.microsoft.com/office/drawing/2014/main" id="{30255FFE-D197-D7C4-DB85-2BD702F1FA23}"/>
                  </a:ext>
                </a:extLst>
              </p:cNvPr>
              <p:cNvSpPr/>
              <p:nvPr/>
            </p:nvSpPr>
            <p:spPr>
              <a:xfrm rot="5400000">
                <a:off x="2802340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92" name="Полилиния 891">
                <a:extLst>
                  <a:ext uri="{FF2B5EF4-FFF2-40B4-BE49-F238E27FC236}">
                    <a16:creationId xmlns:a16="http://schemas.microsoft.com/office/drawing/2014/main" id="{EAB5991B-4AD1-8838-784B-195E7C924DFC}"/>
                  </a:ext>
                </a:extLst>
              </p:cNvPr>
              <p:cNvSpPr/>
              <p:nvPr/>
            </p:nvSpPr>
            <p:spPr>
              <a:xfrm rot="5400000">
                <a:off x="3167038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45587 h 91174"/>
                  <a:gd name="connsiteX2" fmla="*/ 45587 w 91174"/>
                  <a:gd name="connsiteY2" fmla="*/ 91174 h 91174"/>
                  <a:gd name="connsiteX3" fmla="*/ 91174 w 91174"/>
                  <a:gd name="connsiteY3" fmla="*/ 91174 h 91174"/>
                  <a:gd name="connsiteX4" fmla="*/ 91174 w 91174"/>
                  <a:gd name="connsiteY4" fmla="*/ 45587 h 91174"/>
                  <a:gd name="connsiteX5" fmla="*/ 45587 w 91174"/>
                  <a:gd name="connsiteY5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45587"/>
                    </a:lnTo>
                    <a:cubicBezTo>
                      <a:pt x="0" y="70764"/>
                      <a:pt x="20410" y="91174"/>
                      <a:pt x="45587" y="91174"/>
                    </a:cubicBezTo>
                    <a:lnTo>
                      <a:pt x="91174" y="91174"/>
                    </a:lnTo>
                    <a:lnTo>
                      <a:pt x="91174" y="45587"/>
                    </a:lnTo>
                    <a:cubicBezTo>
                      <a:pt x="91174" y="20410"/>
                      <a:pt x="70764" y="0"/>
                      <a:pt x="45587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93" name="Полилиния 892">
                <a:extLst>
                  <a:ext uri="{FF2B5EF4-FFF2-40B4-BE49-F238E27FC236}">
                    <a16:creationId xmlns:a16="http://schemas.microsoft.com/office/drawing/2014/main" id="{B8556A1D-ACDF-4757-DBAE-FF5537DC324C}"/>
                  </a:ext>
                </a:extLst>
              </p:cNvPr>
              <p:cNvSpPr/>
              <p:nvPr/>
            </p:nvSpPr>
            <p:spPr>
              <a:xfrm rot="5400000">
                <a:off x="3440561" y="6089260"/>
                <a:ext cx="91174" cy="91174"/>
              </a:xfrm>
              <a:custGeom>
                <a:avLst/>
                <a:gdLst>
                  <a:gd name="connsiteX0" fmla="*/ 0 w 91174"/>
                  <a:gd name="connsiteY0" fmla="*/ 0 h 91174"/>
                  <a:gd name="connsiteX1" fmla="*/ 0 w 91174"/>
                  <a:gd name="connsiteY1" fmla="*/ 91174 h 91174"/>
                  <a:gd name="connsiteX2" fmla="*/ 91174 w 91174"/>
                  <a:gd name="connsiteY2" fmla="*/ 91174 h 91174"/>
                  <a:gd name="connsiteX3" fmla="*/ 0 w 91174"/>
                  <a:gd name="connsiteY3" fmla="*/ 0 h 9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74" h="91174">
                    <a:moveTo>
                      <a:pt x="0" y="0"/>
                    </a:moveTo>
                    <a:lnTo>
                      <a:pt x="0" y="91174"/>
                    </a:lnTo>
                    <a:lnTo>
                      <a:pt x="91174" y="91174"/>
                    </a:lnTo>
                    <a:cubicBezTo>
                      <a:pt x="91174" y="40820"/>
                      <a:pt x="50354" y="0"/>
                      <a:pt x="0" y="0"/>
                    </a:cubicBezTo>
                  </a:path>
                </a:pathLst>
              </a:custGeom>
              <a:grpFill/>
              <a:ln w="113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sp>
        <p:nvSpPr>
          <p:cNvPr id="512" name="TextBox 511">
            <a:extLst>
              <a:ext uri="{FF2B5EF4-FFF2-40B4-BE49-F238E27FC236}">
                <a16:creationId xmlns:a16="http://schemas.microsoft.com/office/drawing/2014/main" id="{4EDC9C22-BC7F-8E5C-1559-677F3F12C3DE}"/>
              </a:ext>
            </a:extLst>
          </p:cNvPr>
          <p:cNvSpPr txBox="1"/>
          <p:nvPr/>
        </p:nvSpPr>
        <p:spPr>
          <a:xfrm>
            <a:off x="8566278" y="802528"/>
            <a:ext cx="3297640" cy="27183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ru-RU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rPr>
              <a:t>Бизнес-шаблон презентации 20+ слайдов в </a:t>
            </a:r>
            <a:r>
              <a:rPr lang="en-US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rPr>
              <a:t>PowerPoint </a:t>
            </a:r>
            <a:br>
              <a:rPr lang="ru-RU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rPr>
            </a:br>
            <a:br>
              <a:rPr lang="ru-RU" dirty="0">
                <a:solidFill>
                  <a:schemeClr val="bg1"/>
                </a:solidFill>
                <a:latin typeface="Unbounded Medium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Напишите мне </a:t>
            </a:r>
            <a:br>
              <a:rPr lang="ru-RU" sz="1600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</a:br>
            <a:r>
              <a:rPr lang="ru-RU" sz="1600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в личных сообщениях </a:t>
            </a:r>
            <a:r>
              <a:rPr lang="ru-RU" sz="1600" dirty="0" err="1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ТенЧат</a:t>
            </a:r>
            <a:r>
              <a:rPr lang="ru-RU" sz="1600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  <a:latin typeface="Unbounded" panose="020B0305040102020103" pitchFamily="34" charset="0"/>
                <a:cs typeface="Times New Roman" panose="02020603050405020304" pitchFamily="18" charset="0"/>
              </a:rPr>
              <a:t>«БОНУС»</a:t>
            </a:r>
            <a:endParaRPr lang="ru-RU" b="1" dirty="0">
              <a:solidFill>
                <a:schemeClr val="bg1"/>
              </a:solidFill>
              <a:latin typeface="Unbounded" panose="020B0305040102020103" pitchFamily="34" charset="0"/>
              <a:cs typeface="Times New Roman" panose="02020603050405020304" pitchFamily="18" charset="0"/>
            </a:endParaRPr>
          </a:p>
        </p:txBody>
      </p:sp>
      <p:sp>
        <p:nvSpPr>
          <p:cNvPr id="514" name="Rectangle: Rounded Corners 70">
            <a:extLst>
              <a:ext uri="{FF2B5EF4-FFF2-40B4-BE49-F238E27FC236}">
                <a16:creationId xmlns:a16="http://schemas.microsoft.com/office/drawing/2014/main" id="{C11D6B79-24DD-1B5A-CA89-B356E3DF7744}"/>
              </a:ext>
            </a:extLst>
          </p:cNvPr>
          <p:cNvSpPr/>
          <p:nvPr/>
        </p:nvSpPr>
        <p:spPr>
          <a:xfrm rot="10800000">
            <a:off x="8638163" y="3739229"/>
            <a:ext cx="2752824" cy="2554063"/>
          </a:xfrm>
          <a:prstGeom prst="roundRect">
            <a:avLst>
              <a:gd name="adj" fmla="val 13536"/>
            </a:avLst>
          </a:prstGeom>
          <a:solidFill>
            <a:schemeClr val="bg1">
              <a:alpha val="10036"/>
            </a:schemeClr>
          </a:solidFill>
          <a:ln w="15875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grpSp>
        <p:nvGrpSpPr>
          <p:cNvPr id="1085" name="Рисунок 1081">
            <a:extLst>
              <a:ext uri="{FF2B5EF4-FFF2-40B4-BE49-F238E27FC236}">
                <a16:creationId xmlns:a16="http://schemas.microsoft.com/office/drawing/2014/main" id="{00711918-A114-FAFD-374D-538DF2ACF457}"/>
              </a:ext>
            </a:extLst>
          </p:cNvPr>
          <p:cNvGrpSpPr/>
          <p:nvPr/>
        </p:nvGrpSpPr>
        <p:grpSpPr>
          <a:xfrm>
            <a:off x="9050056" y="4051742"/>
            <a:ext cx="1929038" cy="1929038"/>
            <a:chOff x="6534639" y="2216418"/>
            <a:chExt cx="5912068" cy="5912068"/>
          </a:xfrm>
          <a:solidFill>
            <a:schemeClr val="bg1"/>
          </a:solidFill>
        </p:grpSpPr>
        <p:sp>
          <p:nvSpPr>
            <p:cNvPr id="1086" name="Полилиния 1085">
              <a:extLst>
                <a:ext uri="{FF2B5EF4-FFF2-40B4-BE49-F238E27FC236}">
                  <a16:creationId xmlns:a16="http://schemas.microsoft.com/office/drawing/2014/main" id="{DEC805DE-2497-5EB9-0556-77B3533ECC2E}"/>
                </a:ext>
              </a:extLst>
            </p:cNvPr>
            <p:cNvSpPr/>
            <p:nvPr/>
          </p:nvSpPr>
          <p:spPr>
            <a:xfrm rot="-5400000">
              <a:off x="7007605" y="6946073"/>
              <a:ext cx="709448" cy="709448"/>
            </a:xfrm>
            <a:custGeom>
              <a:avLst/>
              <a:gdLst>
                <a:gd name="connsiteX0" fmla="*/ 709448 w 709448"/>
                <a:gd name="connsiteY0" fmla="*/ 354724 h 709448"/>
                <a:gd name="connsiteX1" fmla="*/ 354724 w 709448"/>
                <a:gd name="connsiteY1" fmla="*/ 709448 h 709448"/>
                <a:gd name="connsiteX2" fmla="*/ 0 w 709448"/>
                <a:gd name="connsiteY2" fmla="*/ 354724 h 709448"/>
                <a:gd name="connsiteX3" fmla="*/ 354724 w 709448"/>
                <a:gd name="connsiteY3" fmla="*/ 0 h 709448"/>
                <a:gd name="connsiteX4" fmla="*/ 709448 w 709448"/>
                <a:gd name="connsiteY4" fmla="*/ 354724 h 70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448" h="709448">
                  <a:moveTo>
                    <a:pt x="709448" y="354724"/>
                  </a:moveTo>
                  <a:cubicBezTo>
                    <a:pt x="709448" y="550633"/>
                    <a:pt x="550633" y="709448"/>
                    <a:pt x="354724" y="709448"/>
                  </a:cubicBezTo>
                  <a:cubicBezTo>
                    <a:pt x="158815" y="709448"/>
                    <a:pt x="0" y="550633"/>
                    <a:pt x="0" y="354724"/>
                  </a:cubicBezTo>
                  <a:cubicBezTo>
                    <a:pt x="0" y="158816"/>
                    <a:pt x="158815" y="0"/>
                    <a:pt x="354724" y="0"/>
                  </a:cubicBezTo>
                  <a:cubicBezTo>
                    <a:pt x="550633" y="0"/>
                    <a:pt x="709448" y="158816"/>
                    <a:pt x="709448" y="354724"/>
                  </a:cubicBez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7" name="Полилиния 1086">
              <a:extLst>
                <a:ext uri="{FF2B5EF4-FFF2-40B4-BE49-F238E27FC236}">
                  <a16:creationId xmlns:a16="http://schemas.microsoft.com/office/drawing/2014/main" id="{95D04F35-8F96-BC6F-A3CE-D0A4BCD7BC0B}"/>
                </a:ext>
              </a:extLst>
            </p:cNvPr>
            <p:cNvSpPr/>
            <p:nvPr/>
          </p:nvSpPr>
          <p:spPr>
            <a:xfrm rot="-5400000">
              <a:off x="6534639" y="6473108"/>
              <a:ext cx="1655379" cy="1655379"/>
            </a:xfrm>
            <a:custGeom>
              <a:avLst/>
              <a:gdLst>
                <a:gd name="connsiteX0" fmla="*/ 0 w 1655379"/>
                <a:gd name="connsiteY0" fmla="*/ 591207 h 1655379"/>
                <a:gd name="connsiteX1" fmla="*/ 0 w 1655379"/>
                <a:gd name="connsiteY1" fmla="*/ 1064172 h 1655379"/>
                <a:gd name="connsiteX2" fmla="*/ 591207 w 1655379"/>
                <a:gd name="connsiteY2" fmla="*/ 1655379 h 1655379"/>
                <a:gd name="connsiteX3" fmla="*/ 1064172 w 1655379"/>
                <a:gd name="connsiteY3" fmla="*/ 1655379 h 1655379"/>
                <a:gd name="connsiteX4" fmla="*/ 1655379 w 1655379"/>
                <a:gd name="connsiteY4" fmla="*/ 1064172 h 1655379"/>
                <a:gd name="connsiteX5" fmla="*/ 1655379 w 1655379"/>
                <a:gd name="connsiteY5" fmla="*/ 591207 h 1655379"/>
                <a:gd name="connsiteX6" fmla="*/ 1064172 w 1655379"/>
                <a:gd name="connsiteY6" fmla="*/ 0 h 1655379"/>
                <a:gd name="connsiteX7" fmla="*/ 591207 w 1655379"/>
                <a:gd name="connsiteY7" fmla="*/ 0 h 1655379"/>
                <a:gd name="connsiteX8" fmla="*/ 0 w 1655379"/>
                <a:gd name="connsiteY8" fmla="*/ 591207 h 1655379"/>
                <a:gd name="connsiteX9" fmla="*/ 591207 w 1655379"/>
                <a:gd name="connsiteY9" fmla="*/ 236483 h 1655379"/>
                <a:gd name="connsiteX10" fmla="*/ 1064172 w 1655379"/>
                <a:gd name="connsiteY10" fmla="*/ 236483 h 1655379"/>
                <a:gd name="connsiteX11" fmla="*/ 1418897 w 1655379"/>
                <a:gd name="connsiteY11" fmla="*/ 591207 h 1655379"/>
                <a:gd name="connsiteX12" fmla="*/ 1418897 w 1655379"/>
                <a:gd name="connsiteY12" fmla="*/ 1064172 h 1655379"/>
                <a:gd name="connsiteX13" fmla="*/ 1064172 w 1655379"/>
                <a:gd name="connsiteY13" fmla="*/ 1418897 h 1655379"/>
                <a:gd name="connsiteX14" fmla="*/ 591207 w 1655379"/>
                <a:gd name="connsiteY14" fmla="*/ 1418897 h 1655379"/>
                <a:gd name="connsiteX15" fmla="*/ 236483 w 1655379"/>
                <a:gd name="connsiteY15" fmla="*/ 1064172 h 1655379"/>
                <a:gd name="connsiteX16" fmla="*/ 236483 w 1655379"/>
                <a:gd name="connsiteY16" fmla="*/ 591207 h 1655379"/>
                <a:gd name="connsiteX17" fmla="*/ 591207 w 1655379"/>
                <a:gd name="connsiteY17" fmla="*/ 236483 h 1655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55379" h="1655379">
                  <a:moveTo>
                    <a:pt x="0" y="591207"/>
                  </a:moveTo>
                  <a:lnTo>
                    <a:pt x="0" y="1064172"/>
                  </a:lnTo>
                  <a:cubicBezTo>
                    <a:pt x="0" y="1390687"/>
                    <a:pt x="264692" y="1655379"/>
                    <a:pt x="591207" y="1655379"/>
                  </a:cubicBezTo>
                  <a:lnTo>
                    <a:pt x="1064172" y="1655379"/>
                  </a:lnTo>
                  <a:cubicBezTo>
                    <a:pt x="1390687" y="1655379"/>
                    <a:pt x="1655379" y="1390687"/>
                    <a:pt x="1655379" y="1064172"/>
                  </a:cubicBezTo>
                  <a:lnTo>
                    <a:pt x="1655379" y="591207"/>
                  </a:lnTo>
                  <a:cubicBezTo>
                    <a:pt x="1655379" y="264692"/>
                    <a:pt x="1390687" y="0"/>
                    <a:pt x="1064172" y="0"/>
                  </a:cubicBezTo>
                  <a:lnTo>
                    <a:pt x="591207" y="0"/>
                  </a:lnTo>
                  <a:cubicBezTo>
                    <a:pt x="264692" y="0"/>
                    <a:pt x="0" y="264692"/>
                    <a:pt x="0" y="591207"/>
                  </a:cubicBezTo>
                  <a:moveTo>
                    <a:pt x="591207" y="236483"/>
                  </a:moveTo>
                  <a:lnTo>
                    <a:pt x="1064172" y="236483"/>
                  </a:lnTo>
                  <a:cubicBezTo>
                    <a:pt x="1260081" y="236483"/>
                    <a:pt x="1418897" y="395298"/>
                    <a:pt x="1418897" y="591207"/>
                  </a:cubicBezTo>
                  <a:lnTo>
                    <a:pt x="1418897" y="1064172"/>
                  </a:lnTo>
                  <a:cubicBezTo>
                    <a:pt x="1418897" y="1260081"/>
                    <a:pt x="1260081" y="1418897"/>
                    <a:pt x="1064172" y="1418897"/>
                  </a:cubicBezTo>
                  <a:lnTo>
                    <a:pt x="591207" y="1418897"/>
                  </a:lnTo>
                  <a:cubicBezTo>
                    <a:pt x="395298" y="1418897"/>
                    <a:pt x="236483" y="1260081"/>
                    <a:pt x="236483" y="1064172"/>
                  </a:cubicBezTo>
                  <a:lnTo>
                    <a:pt x="236483" y="591207"/>
                  </a:lnTo>
                  <a:cubicBezTo>
                    <a:pt x="236483" y="395298"/>
                    <a:pt x="395298" y="236483"/>
                    <a:pt x="591207" y="236483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8" name="Полилиния 1087">
              <a:extLst>
                <a:ext uri="{FF2B5EF4-FFF2-40B4-BE49-F238E27FC236}">
                  <a16:creationId xmlns:a16="http://schemas.microsoft.com/office/drawing/2014/main" id="{30A35441-05FA-F8A1-C7AB-C27AA97E1010}"/>
                </a:ext>
              </a:extLst>
            </p:cNvPr>
            <p:cNvSpPr/>
            <p:nvPr/>
          </p:nvSpPr>
          <p:spPr>
            <a:xfrm rot="5400000">
              <a:off x="11264294" y="2689384"/>
              <a:ext cx="709448" cy="709448"/>
            </a:xfrm>
            <a:custGeom>
              <a:avLst/>
              <a:gdLst>
                <a:gd name="connsiteX0" fmla="*/ 709448 w 709448"/>
                <a:gd name="connsiteY0" fmla="*/ 354724 h 709448"/>
                <a:gd name="connsiteX1" fmla="*/ 354724 w 709448"/>
                <a:gd name="connsiteY1" fmla="*/ 709448 h 709448"/>
                <a:gd name="connsiteX2" fmla="*/ 0 w 709448"/>
                <a:gd name="connsiteY2" fmla="*/ 354724 h 709448"/>
                <a:gd name="connsiteX3" fmla="*/ 354724 w 709448"/>
                <a:gd name="connsiteY3" fmla="*/ 0 h 709448"/>
                <a:gd name="connsiteX4" fmla="*/ 709448 w 709448"/>
                <a:gd name="connsiteY4" fmla="*/ 354724 h 70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448" h="709448">
                  <a:moveTo>
                    <a:pt x="709448" y="354724"/>
                  </a:moveTo>
                  <a:cubicBezTo>
                    <a:pt x="709448" y="550633"/>
                    <a:pt x="550633" y="709448"/>
                    <a:pt x="354724" y="709448"/>
                  </a:cubicBezTo>
                  <a:cubicBezTo>
                    <a:pt x="158816" y="709448"/>
                    <a:pt x="0" y="550633"/>
                    <a:pt x="0" y="354724"/>
                  </a:cubicBezTo>
                  <a:cubicBezTo>
                    <a:pt x="0" y="158815"/>
                    <a:pt x="158816" y="0"/>
                    <a:pt x="354724" y="0"/>
                  </a:cubicBezTo>
                  <a:cubicBezTo>
                    <a:pt x="550633" y="0"/>
                    <a:pt x="709448" y="158815"/>
                    <a:pt x="709448" y="354724"/>
                  </a:cubicBez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9" name="Полилиния 1088">
              <a:extLst>
                <a:ext uri="{FF2B5EF4-FFF2-40B4-BE49-F238E27FC236}">
                  <a16:creationId xmlns:a16="http://schemas.microsoft.com/office/drawing/2014/main" id="{2579919E-E8C4-95E3-0883-15A82091F9BE}"/>
                </a:ext>
              </a:extLst>
            </p:cNvPr>
            <p:cNvSpPr/>
            <p:nvPr/>
          </p:nvSpPr>
          <p:spPr>
            <a:xfrm rot="5400000">
              <a:off x="10791329" y="2216418"/>
              <a:ext cx="1655379" cy="1655379"/>
            </a:xfrm>
            <a:custGeom>
              <a:avLst/>
              <a:gdLst>
                <a:gd name="connsiteX0" fmla="*/ 0 w 1655379"/>
                <a:gd name="connsiteY0" fmla="*/ 591207 h 1655379"/>
                <a:gd name="connsiteX1" fmla="*/ 0 w 1655379"/>
                <a:gd name="connsiteY1" fmla="*/ 1064172 h 1655379"/>
                <a:gd name="connsiteX2" fmla="*/ 591207 w 1655379"/>
                <a:gd name="connsiteY2" fmla="*/ 1655379 h 1655379"/>
                <a:gd name="connsiteX3" fmla="*/ 1064172 w 1655379"/>
                <a:gd name="connsiteY3" fmla="*/ 1655379 h 1655379"/>
                <a:gd name="connsiteX4" fmla="*/ 1655379 w 1655379"/>
                <a:gd name="connsiteY4" fmla="*/ 1064172 h 1655379"/>
                <a:gd name="connsiteX5" fmla="*/ 1655379 w 1655379"/>
                <a:gd name="connsiteY5" fmla="*/ 591207 h 1655379"/>
                <a:gd name="connsiteX6" fmla="*/ 1064172 w 1655379"/>
                <a:gd name="connsiteY6" fmla="*/ 0 h 1655379"/>
                <a:gd name="connsiteX7" fmla="*/ 591207 w 1655379"/>
                <a:gd name="connsiteY7" fmla="*/ 0 h 1655379"/>
                <a:gd name="connsiteX8" fmla="*/ 0 w 1655379"/>
                <a:gd name="connsiteY8" fmla="*/ 591207 h 1655379"/>
                <a:gd name="connsiteX9" fmla="*/ 591207 w 1655379"/>
                <a:gd name="connsiteY9" fmla="*/ 236483 h 1655379"/>
                <a:gd name="connsiteX10" fmla="*/ 1064172 w 1655379"/>
                <a:gd name="connsiteY10" fmla="*/ 236483 h 1655379"/>
                <a:gd name="connsiteX11" fmla="*/ 1418897 w 1655379"/>
                <a:gd name="connsiteY11" fmla="*/ 591207 h 1655379"/>
                <a:gd name="connsiteX12" fmla="*/ 1418897 w 1655379"/>
                <a:gd name="connsiteY12" fmla="*/ 1064172 h 1655379"/>
                <a:gd name="connsiteX13" fmla="*/ 1064172 w 1655379"/>
                <a:gd name="connsiteY13" fmla="*/ 1418897 h 1655379"/>
                <a:gd name="connsiteX14" fmla="*/ 591207 w 1655379"/>
                <a:gd name="connsiteY14" fmla="*/ 1418897 h 1655379"/>
                <a:gd name="connsiteX15" fmla="*/ 236483 w 1655379"/>
                <a:gd name="connsiteY15" fmla="*/ 1064172 h 1655379"/>
                <a:gd name="connsiteX16" fmla="*/ 236483 w 1655379"/>
                <a:gd name="connsiteY16" fmla="*/ 591207 h 1655379"/>
                <a:gd name="connsiteX17" fmla="*/ 591207 w 1655379"/>
                <a:gd name="connsiteY17" fmla="*/ 236483 h 1655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55379" h="1655379">
                  <a:moveTo>
                    <a:pt x="0" y="591207"/>
                  </a:moveTo>
                  <a:lnTo>
                    <a:pt x="0" y="1064172"/>
                  </a:lnTo>
                  <a:cubicBezTo>
                    <a:pt x="0" y="1390687"/>
                    <a:pt x="264692" y="1655379"/>
                    <a:pt x="591207" y="1655379"/>
                  </a:cubicBezTo>
                  <a:lnTo>
                    <a:pt x="1064172" y="1655379"/>
                  </a:lnTo>
                  <a:cubicBezTo>
                    <a:pt x="1390687" y="1655379"/>
                    <a:pt x="1655379" y="1390687"/>
                    <a:pt x="1655379" y="1064172"/>
                  </a:cubicBezTo>
                  <a:lnTo>
                    <a:pt x="1655379" y="591207"/>
                  </a:lnTo>
                  <a:cubicBezTo>
                    <a:pt x="1655379" y="264692"/>
                    <a:pt x="1390687" y="0"/>
                    <a:pt x="1064172" y="0"/>
                  </a:cubicBezTo>
                  <a:lnTo>
                    <a:pt x="591207" y="0"/>
                  </a:lnTo>
                  <a:cubicBezTo>
                    <a:pt x="264692" y="0"/>
                    <a:pt x="0" y="264692"/>
                    <a:pt x="0" y="591207"/>
                  </a:cubicBezTo>
                  <a:moveTo>
                    <a:pt x="591207" y="236483"/>
                  </a:moveTo>
                  <a:lnTo>
                    <a:pt x="1064172" y="236483"/>
                  </a:lnTo>
                  <a:cubicBezTo>
                    <a:pt x="1260081" y="236483"/>
                    <a:pt x="1418897" y="395298"/>
                    <a:pt x="1418897" y="591207"/>
                  </a:cubicBezTo>
                  <a:lnTo>
                    <a:pt x="1418897" y="1064172"/>
                  </a:lnTo>
                  <a:cubicBezTo>
                    <a:pt x="1418897" y="1260081"/>
                    <a:pt x="1260081" y="1418897"/>
                    <a:pt x="1064172" y="1418897"/>
                  </a:cubicBezTo>
                  <a:lnTo>
                    <a:pt x="591207" y="1418897"/>
                  </a:lnTo>
                  <a:cubicBezTo>
                    <a:pt x="395298" y="1418897"/>
                    <a:pt x="236483" y="1260081"/>
                    <a:pt x="236483" y="1064172"/>
                  </a:cubicBezTo>
                  <a:lnTo>
                    <a:pt x="236483" y="591207"/>
                  </a:lnTo>
                  <a:cubicBezTo>
                    <a:pt x="236483" y="395298"/>
                    <a:pt x="395298" y="236483"/>
                    <a:pt x="591207" y="236483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0" name="Полилиния 1089">
              <a:extLst>
                <a:ext uri="{FF2B5EF4-FFF2-40B4-BE49-F238E27FC236}">
                  <a16:creationId xmlns:a16="http://schemas.microsoft.com/office/drawing/2014/main" id="{2B7F1C99-CEFB-AA8B-CD5F-ED461959C785}"/>
                </a:ext>
              </a:extLst>
            </p:cNvPr>
            <p:cNvSpPr/>
            <p:nvPr/>
          </p:nvSpPr>
          <p:spPr>
            <a:xfrm>
              <a:off x="7007605" y="2689384"/>
              <a:ext cx="709448" cy="709448"/>
            </a:xfrm>
            <a:custGeom>
              <a:avLst/>
              <a:gdLst>
                <a:gd name="connsiteX0" fmla="*/ 709448 w 709448"/>
                <a:gd name="connsiteY0" fmla="*/ 354724 h 709448"/>
                <a:gd name="connsiteX1" fmla="*/ 354724 w 709448"/>
                <a:gd name="connsiteY1" fmla="*/ 709448 h 709448"/>
                <a:gd name="connsiteX2" fmla="*/ 0 w 709448"/>
                <a:gd name="connsiteY2" fmla="*/ 354724 h 709448"/>
                <a:gd name="connsiteX3" fmla="*/ 354724 w 709448"/>
                <a:gd name="connsiteY3" fmla="*/ 0 h 709448"/>
                <a:gd name="connsiteX4" fmla="*/ 709448 w 709448"/>
                <a:gd name="connsiteY4" fmla="*/ 354724 h 70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448" h="709448">
                  <a:moveTo>
                    <a:pt x="709448" y="354724"/>
                  </a:moveTo>
                  <a:cubicBezTo>
                    <a:pt x="709448" y="550633"/>
                    <a:pt x="550633" y="709448"/>
                    <a:pt x="354724" y="709448"/>
                  </a:cubicBezTo>
                  <a:cubicBezTo>
                    <a:pt x="158815" y="709448"/>
                    <a:pt x="0" y="550633"/>
                    <a:pt x="0" y="354724"/>
                  </a:cubicBezTo>
                  <a:cubicBezTo>
                    <a:pt x="0" y="158815"/>
                    <a:pt x="158815" y="0"/>
                    <a:pt x="354724" y="0"/>
                  </a:cubicBezTo>
                  <a:cubicBezTo>
                    <a:pt x="550633" y="0"/>
                    <a:pt x="709448" y="158815"/>
                    <a:pt x="709448" y="354724"/>
                  </a:cubicBez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1" name="Полилиния 1090">
              <a:extLst>
                <a:ext uri="{FF2B5EF4-FFF2-40B4-BE49-F238E27FC236}">
                  <a16:creationId xmlns:a16="http://schemas.microsoft.com/office/drawing/2014/main" id="{44D9949E-DA58-FF96-B9BB-0096742E75AA}"/>
                </a:ext>
              </a:extLst>
            </p:cNvPr>
            <p:cNvSpPr/>
            <p:nvPr/>
          </p:nvSpPr>
          <p:spPr>
            <a:xfrm>
              <a:off x="6534639" y="2216418"/>
              <a:ext cx="1655379" cy="1655379"/>
            </a:xfrm>
            <a:custGeom>
              <a:avLst/>
              <a:gdLst>
                <a:gd name="connsiteX0" fmla="*/ 0 w 1655379"/>
                <a:gd name="connsiteY0" fmla="*/ 591207 h 1655379"/>
                <a:gd name="connsiteX1" fmla="*/ 0 w 1655379"/>
                <a:gd name="connsiteY1" fmla="*/ 1064172 h 1655379"/>
                <a:gd name="connsiteX2" fmla="*/ 591207 w 1655379"/>
                <a:gd name="connsiteY2" fmla="*/ 1655379 h 1655379"/>
                <a:gd name="connsiteX3" fmla="*/ 1064172 w 1655379"/>
                <a:gd name="connsiteY3" fmla="*/ 1655379 h 1655379"/>
                <a:gd name="connsiteX4" fmla="*/ 1655379 w 1655379"/>
                <a:gd name="connsiteY4" fmla="*/ 1064172 h 1655379"/>
                <a:gd name="connsiteX5" fmla="*/ 1655379 w 1655379"/>
                <a:gd name="connsiteY5" fmla="*/ 591207 h 1655379"/>
                <a:gd name="connsiteX6" fmla="*/ 1064172 w 1655379"/>
                <a:gd name="connsiteY6" fmla="*/ 0 h 1655379"/>
                <a:gd name="connsiteX7" fmla="*/ 591207 w 1655379"/>
                <a:gd name="connsiteY7" fmla="*/ 0 h 1655379"/>
                <a:gd name="connsiteX8" fmla="*/ 0 w 1655379"/>
                <a:gd name="connsiteY8" fmla="*/ 591207 h 1655379"/>
                <a:gd name="connsiteX9" fmla="*/ 591207 w 1655379"/>
                <a:gd name="connsiteY9" fmla="*/ 236483 h 1655379"/>
                <a:gd name="connsiteX10" fmla="*/ 1064172 w 1655379"/>
                <a:gd name="connsiteY10" fmla="*/ 236483 h 1655379"/>
                <a:gd name="connsiteX11" fmla="*/ 1418897 w 1655379"/>
                <a:gd name="connsiteY11" fmla="*/ 591207 h 1655379"/>
                <a:gd name="connsiteX12" fmla="*/ 1418897 w 1655379"/>
                <a:gd name="connsiteY12" fmla="*/ 1064172 h 1655379"/>
                <a:gd name="connsiteX13" fmla="*/ 1064172 w 1655379"/>
                <a:gd name="connsiteY13" fmla="*/ 1418897 h 1655379"/>
                <a:gd name="connsiteX14" fmla="*/ 591207 w 1655379"/>
                <a:gd name="connsiteY14" fmla="*/ 1418897 h 1655379"/>
                <a:gd name="connsiteX15" fmla="*/ 236483 w 1655379"/>
                <a:gd name="connsiteY15" fmla="*/ 1064172 h 1655379"/>
                <a:gd name="connsiteX16" fmla="*/ 236483 w 1655379"/>
                <a:gd name="connsiteY16" fmla="*/ 591207 h 1655379"/>
                <a:gd name="connsiteX17" fmla="*/ 591207 w 1655379"/>
                <a:gd name="connsiteY17" fmla="*/ 236483 h 1655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55379" h="1655379">
                  <a:moveTo>
                    <a:pt x="0" y="591207"/>
                  </a:moveTo>
                  <a:lnTo>
                    <a:pt x="0" y="1064172"/>
                  </a:lnTo>
                  <a:cubicBezTo>
                    <a:pt x="0" y="1390687"/>
                    <a:pt x="264692" y="1655379"/>
                    <a:pt x="591207" y="1655379"/>
                  </a:cubicBezTo>
                  <a:lnTo>
                    <a:pt x="1064172" y="1655379"/>
                  </a:lnTo>
                  <a:cubicBezTo>
                    <a:pt x="1390687" y="1655379"/>
                    <a:pt x="1655379" y="1390687"/>
                    <a:pt x="1655379" y="1064172"/>
                  </a:cubicBezTo>
                  <a:lnTo>
                    <a:pt x="1655379" y="591207"/>
                  </a:lnTo>
                  <a:cubicBezTo>
                    <a:pt x="1655379" y="264692"/>
                    <a:pt x="1390687" y="0"/>
                    <a:pt x="1064172" y="0"/>
                  </a:cubicBezTo>
                  <a:lnTo>
                    <a:pt x="591207" y="0"/>
                  </a:lnTo>
                  <a:cubicBezTo>
                    <a:pt x="264692" y="0"/>
                    <a:pt x="0" y="264692"/>
                    <a:pt x="0" y="591207"/>
                  </a:cubicBezTo>
                  <a:moveTo>
                    <a:pt x="591207" y="236483"/>
                  </a:moveTo>
                  <a:lnTo>
                    <a:pt x="1064172" y="236483"/>
                  </a:lnTo>
                  <a:cubicBezTo>
                    <a:pt x="1260081" y="236483"/>
                    <a:pt x="1418897" y="395298"/>
                    <a:pt x="1418897" y="591207"/>
                  </a:cubicBezTo>
                  <a:lnTo>
                    <a:pt x="1418897" y="1064172"/>
                  </a:lnTo>
                  <a:cubicBezTo>
                    <a:pt x="1418897" y="1260081"/>
                    <a:pt x="1260081" y="1418897"/>
                    <a:pt x="1064172" y="1418897"/>
                  </a:cubicBezTo>
                  <a:lnTo>
                    <a:pt x="591207" y="1418897"/>
                  </a:lnTo>
                  <a:cubicBezTo>
                    <a:pt x="395298" y="1418897"/>
                    <a:pt x="236483" y="1260081"/>
                    <a:pt x="236483" y="1064172"/>
                  </a:cubicBezTo>
                  <a:lnTo>
                    <a:pt x="236483" y="591207"/>
                  </a:lnTo>
                  <a:cubicBezTo>
                    <a:pt x="236483" y="395298"/>
                    <a:pt x="395298" y="236483"/>
                    <a:pt x="591207" y="236483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2" name="Полилиния 1091">
              <a:extLst>
                <a:ext uri="{FF2B5EF4-FFF2-40B4-BE49-F238E27FC236}">
                  <a16:creationId xmlns:a16="http://schemas.microsoft.com/office/drawing/2014/main" id="{F5651E4C-1847-AFB8-8D82-8FCECD845493}"/>
                </a:ext>
              </a:extLst>
            </p:cNvPr>
            <p:cNvSpPr/>
            <p:nvPr/>
          </p:nvSpPr>
          <p:spPr>
            <a:xfrm rot="-5400000">
              <a:off x="9372432" y="221641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3" name="Полилиния 1092">
              <a:extLst>
                <a:ext uri="{FF2B5EF4-FFF2-40B4-BE49-F238E27FC236}">
                  <a16:creationId xmlns:a16="http://schemas.microsoft.com/office/drawing/2014/main" id="{E58F0A24-3551-0AFF-D42A-9B513F8BE984}"/>
                </a:ext>
              </a:extLst>
            </p:cNvPr>
            <p:cNvSpPr/>
            <p:nvPr/>
          </p:nvSpPr>
          <p:spPr>
            <a:xfrm rot="5400000">
              <a:off x="9845398" y="221641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8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4" name="Полилиния 1093">
              <a:extLst>
                <a:ext uri="{FF2B5EF4-FFF2-40B4-BE49-F238E27FC236}">
                  <a16:creationId xmlns:a16="http://schemas.microsoft.com/office/drawing/2014/main" id="{7C88A70C-CE5F-337A-33F3-ED4F030D9906}"/>
                </a:ext>
              </a:extLst>
            </p:cNvPr>
            <p:cNvSpPr/>
            <p:nvPr/>
          </p:nvSpPr>
          <p:spPr>
            <a:xfrm rot="5400000">
              <a:off x="8426501" y="245290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8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5" name="Полилиния 1094">
              <a:extLst>
                <a:ext uri="{FF2B5EF4-FFF2-40B4-BE49-F238E27FC236}">
                  <a16:creationId xmlns:a16="http://schemas.microsoft.com/office/drawing/2014/main" id="{A9D31364-0148-C446-26BF-ACDFEC8B30BA}"/>
                </a:ext>
              </a:extLst>
            </p:cNvPr>
            <p:cNvSpPr/>
            <p:nvPr/>
          </p:nvSpPr>
          <p:spPr>
            <a:xfrm rot="-5400000">
              <a:off x="9135949" y="245290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6" name="Полилиния 1095">
              <a:extLst>
                <a:ext uri="{FF2B5EF4-FFF2-40B4-BE49-F238E27FC236}">
                  <a16:creationId xmlns:a16="http://schemas.microsoft.com/office/drawing/2014/main" id="{79C428E6-2768-7FDC-F293-057CAB3E3219}"/>
                </a:ext>
              </a:extLst>
            </p:cNvPr>
            <p:cNvSpPr/>
            <p:nvPr/>
          </p:nvSpPr>
          <p:spPr>
            <a:xfrm>
              <a:off x="9372432" y="245290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7" name="Полилиния 1096">
              <a:extLst>
                <a:ext uri="{FF2B5EF4-FFF2-40B4-BE49-F238E27FC236}">
                  <a16:creationId xmlns:a16="http://schemas.microsoft.com/office/drawing/2014/main" id="{08B35A6E-6C76-BB11-46C1-6F180FA8D14D}"/>
                </a:ext>
              </a:extLst>
            </p:cNvPr>
            <p:cNvSpPr/>
            <p:nvPr/>
          </p:nvSpPr>
          <p:spPr>
            <a:xfrm rot="5400000">
              <a:off x="10318363" y="245290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8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8" name="Полилиния 1097">
              <a:extLst>
                <a:ext uri="{FF2B5EF4-FFF2-40B4-BE49-F238E27FC236}">
                  <a16:creationId xmlns:a16="http://schemas.microsoft.com/office/drawing/2014/main" id="{5ADDEA93-B566-85A2-2E37-427C0737E0E3}"/>
                </a:ext>
              </a:extLst>
            </p:cNvPr>
            <p:cNvSpPr/>
            <p:nvPr/>
          </p:nvSpPr>
          <p:spPr>
            <a:xfrm rot="-5400000">
              <a:off x="8899467" y="268938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9" name="Полилиния 1098">
              <a:extLst>
                <a:ext uri="{FF2B5EF4-FFF2-40B4-BE49-F238E27FC236}">
                  <a16:creationId xmlns:a16="http://schemas.microsoft.com/office/drawing/2014/main" id="{21A85868-ABD4-A156-635F-70FDC05FC621}"/>
                </a:ext>
              </a:extLst>
            </p:cNvPr>
            <p:cNvSpPr/>
            <p:nvPr/>
          </p:nvSpPr>
          <p:spPr>
            <a:xfrm>
              <a:off x="9372432" y="268938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0" name="Полилиния 1099">
              <a:extLst>
                <a:ext uri="{FF2B5EF4-FFF2-40B4-BE49-F238E27FC236}">
                  <a16:creationId xmlns:a16="http://schemas.microsoft.com/office/drawing/2014/main" id="{A7E04170-6CB7-461A-4D15-442AB0048B8A}"/>
                </a:ext>
              </a:extLst>
            </p:cNvPr>
            <p:cNvSpPr/>
            <p:nvPr/>
          </p:nvSpPr>
          <p:spPr>
            <a:xfrm rot="5400000">
              <a:off x="9608915" y="268938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1" name="Полилиния 1100">
              <a:extLst>
                <a:ext uri="{FF2B5EF4-FFF2-40B4-BE49-F238E27FC236}">
                  <a16:creationId xmlns:a16="http://schemas.microsoft.com/office/drawing/2014/main" id="{FCFD3FFB-92B0-C322-598D-4AF004F110DA}"/>
                </a:ext>
              </a:extLst>
            </p:cNvPr>
            <p:cNvSpPr/>
            <p:nvPr/>
          </p:nvSpPr>
          <p:spPr>
            <a:xfrm rot="-5400000">
              <a:off x="8426501" y="292586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2" name="Полилиния 1101">
              <a:extLst>
                <a:ext uri="{FF2B5EF4-FFF2-40B4-BE49-F238E27FC236}">
                  <a16:creationId xmlns:a16="http://schemas.microsoft.com/office/drawing/2014/main" id="{7DD1C837-F561-9733-2A8F-AC8D0C7DB4CC}"/>
                </a:ext>
              </a:extLst>
            </p:cNvPr>
            <p:cNvSpPr/>
            <p:nvPr/>
          </p:nvSpPr>
          <p:spPr>
            <a:xfrm>
              <a:off x="8899467" y="292586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3" name="Полилиния 1102">
              <a:extLst>
                <a:ext uri="{FF2B5EF4-FFF2-40B4-BE49-F238E27FC236}">
                  <a16:creationId xmlns:a16="http://schemas.microsoft.com/office/drawing/2014/main" id="{FF1B8041-F992-F6F6-6BB2-21B11E95B323}"/>
                </a:ext>
              </a:extLst>
            </p:cNvPr>
            <p:cNvSpPr/>
            <p:nvPr/>
          </p:nvSpPr>
          <p:spPr>
            <a:xfrm rot="-5400000">
              <a:off x="10081880" y="292586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4" name="Полилиния 1103">
              <a:extLst>
                <a:ext uri="{FF2B5EF4-FFF2-40B4-BE49-F238E27FC236}">
                  <a16:creationId xmlns:a16="http://schemas.microsoft.com/office/drawing/2014/main" id="{0AB98060-8007-B240-CF81-18F174EE6067}"/>
                </a:ext>
              </a:extLst>
            </p:cNvPr>
            <p:cNvSpPr/>
            <p:nvPr/>
          </p:nvSpPr>
          <p:spPr>
            <a:xfrm>
              <a:off x="10318363" y="292586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5" name="Полилиния 1104">
              <a:extLst>
                <a:ext uri="{FF2B5EF4-FFF2-40B4-BE49-F238E27FC236}">
                  <a16:creationId xmlns:a16="http://schemas.microsoft.com/office/drawing/2014/main" id="{2877F8F7-C10D-E13F-1080-2A9A5DE25DF8}"/>
                </a:ext>
              </a:extLst>
            </p:cNvPr>
            <p:cNvSpPr/>
            <p:nvPr/>
          </p:nvSpPr>
          <p:spPr>
            <a:xfrm rot="5400000">
              <a:off x="8426501" y="316234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6" name="Полилиния 1105">
              <a:extLst>
                <a:ext uri="{FF2B5EF4-FFF2-40B4-BE49-F238E27FC236}">
                  <a16:creationId xmlns:a16="http://schemas.microsoft.com/office/drawing/2014/main" id="{269B85C6-7A25-7B0C-1E97-ABC46204F772}"/>
                </a:ext>
              </a:extLst>
            </p:cNvPr>
            <p:cNvSpPr/>
            <p:nvPr/>
          </p:nvSpPr>
          <p:spPr>
            <a:xfrm>
              <a:off x="8899467" y="316234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7" name="Полилиния 1106">
              <a:extLst>
                <a:ext uri="{FF2B5EF4-FFF2-40B4-BE49-F238E27FC236}">
                  <a16:creationId xmlns:a16="http://schemas.microsoft.com/office/drawing/2014/main" id="{010C0DD8-33A1-190D-305C-94A1421402C8}"/>
                </a:ext>
              </a:extLst>
            </p:cNvPr>
            <p:cNvSpPr/>
            <p:nvPr/>
          </p:nvSpPr>
          <p:spPr>
            <a:xfrm>
              <a:off x="9135949" y="316234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8" name="Полилиния 1107">
              <a:extLst>
                <a:ext uri="{FF2B5EF4-FFF2-40B4-BE49-F238E27FC236}">
                  <a16:creationId xmlns:a16="http://schemas.microsoft.com/office/drawing/2014/main" id="{4D96CCB1-EC93-A716-9D38-0DAE5DF28B85}"/>
                </a:ext>
              </a:extLst>
            </p:cNvPr>
            <p:cNvSpPr/>
            <p:nvPr/>
          </p:nvSpPr>
          <p:spPr>
            <a:xfrm rot="-5400000">
              <a:off x="9608915" y="316234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9" name="Полилиния 1108">
              <a:extLst>
                <a:ext uri="{FF2B5EF4-FFF2-40B4-BE49-F238E27FC236}">
                  <a16:creationId xmlns:a16="http://schemas.microsoft.com/office/drawing/2014/main" id="{067AAFB6-219B-D395-1401-DF2D8B825BBA}"/>
                </a:ext>
              </a:extLst>
            </p:cNvPr>
            <p:cNvSpPr/>
            <p:nvPr/>
          </p:nvSpPr>
          <p:spPr>
            <a:xfrm>
              <a:off x="10318363" y="316234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0" name="Полилиния 1109">
              <a:extLst>
                <a:ext uri="{FF2B5EF4-FFF2-40B4-BE49-F238E27FC236}">
                  <a16:creationId xmlns:a16="http://schemas.microsoft.com/office/drawing/2014/main" id="{CAD93A7E-F033-CD9C-314D-C194F1CEAAEC}"/>
                </a:ext>
              </a:extLst>
            </p:cNvPr>
            <p:cNvSpPr/>
            <p:nvPr/>
          </p:nvSpPr>
          <p:spPr>
            <a:xfrm rot="-5400000">
              <a:off x="8662984" y="339883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1" name="Полилиния 1110">
              <a:extLst>
                <a:ext uri="{FF2B5EF4-FFF2-40B4-BE49-F238E27FC236}">
                  <a16:creationId xmlns:a16="http://schemas.microsoft.com/office/drawing/2014/main" id="{5DC6DA27-AE78-3B79-2CFE-294480EAE3B1}"/>
                </a:ext>
              </a:extLst>
            </p:cNvPr>
            <p:cNvSpPr/>
            <p:nvPr/>
          </p:nvSpPr>
          <p:spPr>
            <a:xfrm>
              <a:off x="8899467" y="339883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2" name="Полилиния 1111">
              <a:extLst>
                <a:ext uri="{FF2B5EF4-FFF2-40B4-BE49-F238E27FC236}">
                  <a16:creationId xmlns:a16="http://schemas.microsoft.com/office/drawing/2014/main" id="{C2761868-54D1-3A97-55B6-BA6E75D14297}"/>
                </a:ext>
              </a:extLst>
            </p:cNvPr>
            <p:cNvSpPr/>
            <p:nvPr/>
          </p:nvSpPr>
          <p:spPr>
            <a:xfrm rot="5400000">
              <a:off x="9135949" y="339883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3" name="Полилиния 1112">
              <a:extLst>
                <a:ext uri="{FF2B5EF4-FFF2-40B4-BE49-F238E27FC236}">
                  <a16:creationId xmlns:a16="http://schemas.microsoft.com/office/drawing/2014/main" id="{6E0C8EA7-1B1D-D2F7-9381-851A2FF9BD9F}"/>
                </a:ext>
              </a:extLst>
            </p:cNvPr>
            <p:cNvSpPr/>
            <p:nvPr/>
          </p:nvSpPr>
          <p:spPr>
            <a:xfrm>
              <a:off x="9608915" y="339883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4" name="Полилиния 1113">
              <a:extLst>
                <a:ext uri="{FF2B5EF4-FFF2-40B4-BE49-F238E27FC236}">
                  <a16:creationId xmlns:a16="http://schemas.microsoft.com/office/drawing/2014/main" id="{8C819C64-8093-925F-E8E3-B52A72AB8BD9}"/>
                </a:ext>
              </a:extLst>
            </p:cNvPr>
            <p:cNvSpPr/>
            <p:nvPr/>
          </p:nvSpPr>
          <p:spPr>
            <a:xfrm>
              <a:off x="9845398" y="339883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5" name="Полилиния 1114">
              <a:extLst>
                <a:ext uri="{FF2B5EF4-FFF2-40B4-BE49-F238E27FC236}">
                  <a16:creationId xmlns:a16="http://schemas.microsoft.com/office/drawing/2014/main" id="{1AA271A6-2EA3-2422-9102-379E9BD0E8A2}"/>
                </a:ext>
              </a:extLst>
            </p:cNvPr>
            <p:cNvSpPr/>
            <p:nvPr/>
          </p:nvSpPr>
          <p:spPr>
            <a:xfrm>
              <a:off x="10318363" y="339883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6" name="Полилиния 1115">
              <a:extLst>
                <a:ext uri="{FF2B5EF4-FFF2-40B4-BE49-F238E27FC236}">
                  <a16:creationId xmlns:a16="http://schemas.microsoft.com/office/drawing/2014/main" id="{161D5952-D912-8426-5C71-34C2C0790713}"/>
                </a:ext>
              </a:extLst>
            </p:cNvPr>
            <p:cNvSpPr/>
            <p:nvPr/>
          </p:nvSpPr>
          <p:spPr>
            <a:xfrm rot="-5400000">
              <a:off x="8426501" y="363531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7" name="Полилиния 1116">
              <a:extLst>
                <a:ext uri="{FF2B5EF4-FFF2-40B4-BE49-F238E27FC236}">
                  <a16:creationId xmlns:a16="http://schemas.microsoft.com/office/drawing/2014/main" id="{9A9B9F72-5A1F-BB18-30BF-63BE4B7F0FA2}"/>
                </a:ext>
              </a:extLst>
            </p:cNvPr>
            <p:cNvSpPr/>
            <p:nvPr/>
          </p:nvSpPr>
          <p:spPr>
            <a:xfrm rot="5400000">
              <a:off x="8899467" y="363531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8" name="Полилиния 1117">
              <a:extLst>
                <a:ext uri="{FF2B5EF4-FFF2-40B4-BE49-F238E27FC236}">
                  <a16:creationId xmlns:a16="http://schemas.microsoft.com/office/drawing/2014/main" id="{33C4C3BA-5917-5CCF-1F54-1DB92928009E}"/>
                </a:ext>
              </a:extLst>
            </p:cNvPr>
            <p:cNvSpPr/>
            <p:nvPr/>
          </p:nvSpPr>
          <p:spPr>
            <a:xfrm rot="-5400000">
              <a:off x="9372432" y="363531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9" name="Полилиния 1118">
              <a:extLst>
                <a:ext uri="{FF2B5EF4-FFF2-40B4-BE49-F238E27FC236}">
                  <a16:creationId xmlns:a16="http://schemas.microsoft.com/office/drawing/2014/main" id="{27CB0564-2D96-BDF0-C504-BAF63828F881}"/>
                </a:ext>
              </a:extLst>
            </p:cNvPr>
            <p:cNvSpPr/>
            <p:nvPr/>
          </p:nvSpPr>
          <p:spPr>
            <a:xfrm rot="5400000">
              <a:off x="9845398" y="363531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0" name="Полилиния 1119">
              <a:extLst>
                <a:ext uri="{FF2B5EF4-FFF2-40B4-BE49-F238E27FC236}">
                  <a16:creationId xmlns:a16="http://schemas.microsoft.com/office/drawing/2014/main" id="{5EF2021A-1470-E398-7B79-8430F23BF5CA}"/>
                </a:ext>
              </a:extLst>
            </p:cNvPr>
            <p:cNvSpPr/>
            <p:nvPr/>
          </p:nvSpPr>
          <p:spPr>
            <a:xfrm rot="5400000">
              <a:off x="10318363" y="363531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1" name="Полилиния 1120">
              <a:extLst>
                <a:ext uri="{FF2B5EF4-FFF2-40B4-BE49-F238E27FC236}">
                  <a16:creationId xmlns:a16="http://schemas.microsoft.com/office/drawing/2014/main" id="{D20937B0-5395-2DE1-5A38-0B7814EDFB11}"/>
                </a:ext>
              </a:extLst>
            </p:cNvPr>
            <p:cNvSpPr/>
            <p:nvPr/>
          </p:nvSpPr>
          <p:spPr>
            <a:xfrm>
              <a:off x="8426501" y="387179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2" name="Полилиния 1121">
              <a:extLst>
                <a:ext uri="{FF2B5EF4-FFF2-40B4-BE49-F238E27FC236}">
                  <a16:creationId xmlns:a16="http://schemas.microsoft.com/office/drawing/2014/main" id="{9B837E09-1A1B-8B20-35BD-FBBC954542DC}"/>
                </a:ext>
              </a:extLst>
            </p:cNvPr>
            <p:cNvSpPr/>
            <p:nvPr/>
          </p:nvSpPr>
          <p:spPr>
            <a:xfrm>
              <a:off x="8662984" y="387179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3" name="Полилиния 1122">
              <a:extLst>
                <a:ext uri="{FF2B5EF4-FFF2-40B4-BE49-F238E27FC236}">
                  <a16:creationId xmlns:a16="http://schemas.microsoft.com/office/drawing/2014/main" id="{A0D5A508-35BF-F53D-A843-25EE77FFF2E9}"/>
                </a:ext>
              </a:extLst>
            </p:cNvPr>
            <p:cNvSpPr/>
            <p:nvPr/>
          </p:nvSpPr>
          <p:spPr>
            <a:xfrm>
              <a:off x="9372432" y="387179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4" name="Полилиния 1123">
              <a:extLst>
                <a:ext uri="{FF2B5EF4-FFF2-40B4-BE49-F238E27FC236}">
                  <a16:creationId xmlns:a16="http://schemas.microsoft.com/office/drawing/2014/main" id="{3575B670-E7BA-357B-5A35-94536400F71C}"/>
                </a:ext>
              </a:extLst>
            </p:cNvPr>
            <p:cNvSpPr/>
            <p:nvPr/>
          </p:nvSpPr>
          <p:spPr>
            <a:xfrm rot="5400000">
              <a:off x="9608915" y="387179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5" name="Полилиния 1124">
              <a:extLst>
                <a:ext uri="{FF2B5EF4-FFF2-40B4-BE49-F238E27FC236}">
                  <a16:creationId xmlns:a16="http://schemas.microsoft.com/office/drawing/2014/main" id="{5DD6F548-3BBA-87FF-8D3C-30181F86C57D}"/>
                </a:ext>
              </a:extLst>
            </p:cNvPr>
            <p:cNvSpPr/>
            <p:nvPr/>
          </p:nvSpPr>
          <p:spPr>
            <a:xfrm rot="-5400000">
              <a:off x="10081880" y="387179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6" name="Полилиния 1125">
              <a:extLst>
                <a:ext uri="{FF2B5EF4-FFF2-40B4-BE49-F238E27FC236}">
                  <a16:creationId xmlns:a16="http://schemas.microsoft.com/office/drawing/2014/main" id="{C0DA0346-093D-DA29-462A-52B0F166300C}"/>
                </a:ext>
              </a:extLst>
            </p:cNvPr>
            <p:cNvSpPr/>
            <p:nvPr/>
          </p:nvSpPr>
          <p:spPr>
            <a:xfrm rot="5400000">
              <a:off x="6771122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8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9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7" name="Полилиния 1126">
              <a:extLst>
                <a:ext uri="{FF2B5EF4-FFF2-40B4-BE49-F238E27FC236}">
                  <a16:creationId xmlns:a16="http://schemas.microsoft.com/office/drawing/2014/main" id="{54022740-8100-DC60-FFB2-889E6509855C}"/>
                </a:ext>
              </a:extLst>
            </p:cNvPr>
            <p:cNvSpPr/>
            <p:nvPr/>
          </p:nvSpPr>
          <p:spPr>
            <a:xfrm rot="-5400000">
              <a:off x="7244087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8" name="Полилиния 1127">
              <a:extLst>
                <a:ext uri="{FF2B5EF4-FFF2-40B4-BE49-F238E27FC236}">
                  <a16:creationId xmlns:a16="http://schemas.microsoft.com/office/drawing/2014/main" id="{7EF908B6-39F4-DE2D-7E9F-1140B2BD6E0A}"/>
                </a:ext>
              </a:extLst>
            </p:cNvPr>
            <p:cNvSpPr/>
            <p:nvPr/>
          </p:nvSpPr>
          <p:spPr>
            <a:xfrm>
              <a:off x="7480570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9" name="Полилиния 1128">
              <a:extLst>
                <a:ext uri="{FF2B5EF4-FFF2-40B4-BE49-F238E27FC236}">
                  <a16:creationId xmlns:a16="http://schemas.microsoft.com/office/drawing/2014/main" id="{63055165-61D1-2F96-1ACC-EF7C3C4FFA94}"/>
                </a:ext>
              </a:extLst>
            </p:cNvPr>
            <p:cNvSpPr/>
            <p:nvPr/>
          </p:nvSpPr>
          <p:spPr>
            <a:xfrm>
              <a:off x="7717053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0" name="Полилиния 1129">
              <a:extLst>
                <a:ext uri="{FF2B5EF4-FFF2-40B4-BE49-F238E27FC236}">
                  <a16:creationId xmlns:a16="http://schemas.microsoft.com/office/drawing/2014/main" id="{83C6791C-3BFF-6655-3756-633546C19A14}"/>
                </a:ext>
              </a:extLst>
            </p:cNvPr>
            <p:cNvSpPr/>
            <p:nvPr/>
          </p:nvSpPr>
          <p:spPr>
            <a:xfrm rot="5400000">
              <a:off x="7953536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1" name="Полилиния 1130">
              <a:extLst>
                <a:ext uri="{FF2B5EF4-FFF2-40B4-BE49-F238E27FC236}">
                  <a16:creationId xmlns:a16="http://schemas.microsoft.com/office/drawing/2014/main" id="{68FC3259-F709-7B0B-01DB-132E7CBDC1A4}"/>
                </a:ext>
              </a:extLst>
            </p:cNvPr>
            <p:cNvSpPr/>
            <p:nvPr/>
          </p:nvSpPr>
          <p:spPr>
            <a:xfrm>
              <a:off x="8426501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2" name="Полилиния 1131">
              <a:extLst>
                <a:ext uri="{FF2B5EF4-FFF2-40B4-BE49-F238E27FC236}">
                  <a16:creationId xmlns:a16="http://schemas.microsoft.com/office/drawing/2014/main" id="{7B5F145C-8C82-0B7E-874C-24ABC7EC98B3}"/>
                </a:ext>
              </a:extLst>
            </p:cNvPr>
            <p:cNvSpPr/>
            <p:nvPr/>
          </p:nvSpPr>
          <p:spPr>
            <a:xfrm>
              <a:off x="8662984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3" name="Полилиния 1132">
              <a:extLst>
                <a:ext uri="{FF2B5EF4-FFF2-40B4-BE49-F238E27FC236}">
                  <a16:creationId xmlns:a16="http://schemas.microsoft.com/office/drawing/2014/main" id="{35A631D9-9732-1C42-FA53-69E2B4779883}"/>
                </a:ext>
              </a:extLst>
            </p:cNvPr>
            <p:cNvSpPr/>
            <p:nvPr/>
          </p:nvSpPr>
          <p:spPr>
            <a:xfrm rot="5400000">
              <a:off x="8899467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4" name="Полилиния 1133">
              <a:extLst>
                <a:ext uri="{FF2B5EF4-FFF2-40B4-BE49-F238E27FC236}">
                  <a16:creationId xmlns:a16="http://schemas.microsoft.com/office/drawing/2014/main" id="{DEF27AFD-0A45-2419-915B-A4C962FE1D4D}"/>
                </a:ext>
              </a:extLst>
            </p:cNvPr>
            <p:cNvSpPr/>
            <p:nvPr/>
          </p:nvSpPr>
          <p:spPr>
            <a:xfrm>
              <a:off x="10081880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5" name="Полилиния 1134">
              <a:extLst>
                <a:ext uri="{FF2B5EF4-FFF2-40B4-BE49-F238E27FC236}">
                  <a16:creationId xmlns:a16="http://schemas.microsoft.com/office/drawing/2014/main" id="{AF5B13C1-77B2-6E13-246A-214D88B694AC}"/>
                </a:ext>
              </a:extLst>
            </p:cNvPr>
            <p:cNvSpPr/>
            <p:nvPr/>
          </p:nvSpPr>
          <p:spPr>
            <a:xfrm>
              <a:off x="10318363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6" name="Полилиния 1135">
              <a:extLst>
                <a:ext uri="{FF2B5EF4-FFF2-40B4-BE49-F238E27FC236}">
                  <a16:creationId xmlns:a16="http://schemas.microsoft.com/office/drawing/2014/main" id="{92B0A881-B5A6-C972-3768-23F6A9466E2A}"/>
                </a:ext>
              </a:extLst>
            </p:cNvPr>
            <p:cNvSpPr/>
            <p:nvPr/>
          </p:nvSpPr>
          <p:spPr>
            <a:xfrm>
              <a:off x="10554846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7" name="Полилиния 1136">
              <a:extLst>
                <a:ext uri="{FF2B5EF4-FFF2-40B4-BE49-F238E27FC236}">
                  <a16:creationId xmlns:a16="http://schemas.microsoft.com/office/drawing/2014/main" id="{709F03D1-F829-D3EC-96A0-4B7D3D382A28}"/>
                </a:ext>
              </a:extLst>
            </p:cNvPr>
            <p:cNvSpPr/>
            <p:nvPr/>
          </p:nvSpPr>
          <p:spPr>
            <a:xfrm rot="5400000">
              <a:off x="10791329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8" name="Полилиния 1137">
              <a:extLst>
                <a:ext uri="{FF2B5EF4-FFF2-40B4-BE49-F238E27FC236}">
                  <a16:creationId xmlns:a16="http://schemas.microsoft.com/office/drawing/2014/main" id="{B0AAF2A5-B14A-0475-A642-CB9291A35C3F}"/>
                </a:ext>
              </a:extLst>
            </p:cNvPr>
            <p:cNvSpPr/>
            <p:nvPr/>
          </p:nvSpPr>
          <p:spPr>
            <a:xfrm rot="-5400000">
              <a:off x="11264294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9" name="Полилиния 1138">
              <a:extLst>
                <a:ext uri="{FF2B5EF4-FFF2-40B4-BE49-F238E27FC236}">
                  <a16:creationId xmlns:a16="http://schemas.microsoft.com/office/drawing/2014/main" id="{5AB407F6-80D6-EFD2-8D43-F652AF770ACD}"/>
                </a:ext>
              </a:extLst>
            </p:cNvPr>
            <p:cNvSpPr/>
            <p:nvPr/>
          </p:nvSpPr>
          <p:spPr>
            <a:xfrm>
              <a:off x="11500777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0" name="Полилиния 1139">
              <a:extLst>
                <a:ext uri="{FF2B5EF4-FFF2-40B4-BE49-F238E27FC236}">
                  <a16:creationId xmlns:a16="http://schemas.microsoft.com/office/drawing/2014/main" id="{DC2FF356-A575-A7AD-CE8B-BD9F60014CC6}"/>
                </a:ext>
              </a:extLst>
            </p:cNvPr>
            <p:cNvSpPr/>
            <p:nvPr/>
          </p:nvSpPr>
          <p:spPr>
            <a:xfrm rot="-5400000">
              <a:off x="11973742" y="410828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1" name="Полилиния 1140">
              <a:extLst>
                <a:ext uri="{FF2B5EF4-FFF2-40B4-BE49-F238E27FC236}">
                  <a16:creationId xmlns:a16="http://schemas.microsoft.com/office/drawing/2014/main" id="{FAA3F633-B7A9-2A11-C606-D3BD97FF4466}"/>
                </a:ext>
              </a:extLst>
            </p:cNvPr>
            <p:cNvSpPr/>
            <p:nvPr/>
          </p:nvSpPr>
          <p:spPr>
            <a:xfrm>
              <a:off x="7480570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2" name="Полилиния 1141">
              <a:extLst>
                <a:ext uri="{FF2B5EF4-FFF2-40B4-BE49-F238E27FC236}">
                  <a16:creationId xmlns:a16="http://schemas.microsoft.com/office/drawing/2014/main" id="{9A984F96-EEB6-5710-5886-909C3F746F31}"/>
                </a:ext>
              </a:extLst>
            </p:cNvPr>
            <p:cNvSpPr/>
            <p:nvPr/>
          </p:nvSpPr>
          <p:spPr>
            <a:xfrm rot="5400000">
              <a:off x="7717053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3" name="Полилиния 1142">
              <a:extLst>
                <a:ext uri="{FF2B5EF4-FFF2-40B4-BE49-F238E27FC236}">
                  <a16:creationId xmlns:a16="http://schemas.microsoft.com/office/drawing/2014/main" id="{CE93C729-B957-4D4E-A13B-186BE81EED6F}"/>
                </a:ext>
              </a:extLst>
            </p:cNvPr>
            <p:cNvSpPr/>
            <p:nvPr/>
          </p:nvSpPr>
          <p:spPr>
            <a:xfrm rot="-5400000">
              <a:off x="9135949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4" name="Полилиния 1143">
              <a:extLst>
                <a:ext uri="{FF2B5EF4-FFF2-40B4-BE49-F238E27FC236}">
                  <a16:creationId xmlns:a16="http://schemas.microsoft.com/office/drawing/2014/main" id="{B2BD1343-5E8C-912F-9BF3-063758C92322}"/>
                </a:ext>
              </a:extLst>
            </p:cNvPr>
            <p:cNvSpPr/>
            <p:nvPr/>
          </p:nvSpPr>
          <p:spPr>
            <a:xfrm rot="5400000">
              <a:off x="9372432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5" name="Полилиния 1144">
              <a:extLst>
                <a:ext uri="{FF2B5EF4-FFF2-40B4-BE49-F238E27FC236}">
                  <a16:creationId xmlns:a16="http://schemas.microsoft.com/office/drawing/2014/main" id="{4CB5B8A3-9569-80F9-E6BE-05C0BC48EC05}"/>
                </a:ext>
              </a:extLst>
            </p:cNvPr>
            <p:cNvSpPr/>
            <p:nvPr/>
          </p:nvSpPr>
          <p:spPr>
            <a:xfrm>
              <a:off x="10081880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6" name="Полилиния 1145">
              <a:extLst>
                <a:ext uri="{FF2B5EF4-FFF2-40B4-BE49-F238E27FC236}">
                  <a16:creationId xmlns:a16="http://schemas.microsoft.com/office/drawing/2014/main" id="{D1AB4C2D-677D-6FBD-1698-1C1E2D484161}"/>
                </a:ext>
              </a:extLst>
            </p:cNvPr>
            <p:cNvSpPr/>
            <p:nvPr/>
          </p:nvSpPr>
          <p:spPr>
            <a:xfrm rot="-5400000">
              <a:off x="11027811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7" name="Полилиния 1146">
              <a:extLst>
                <a:ext uri="{FF2B5EF4-FFF2-40B4-BE49-F238E27FC236}">
                  <a16:creationId xmlns:a16="http://schemas.microsoft.com/office/drawing/2014/main" id="{8E4778AF-05A3-2EAC-D38C-3BCD2812CAD6}"/>
                </a:ext>
              </a:extLst>
            </p:cNvPr>
            <p:cNvSpPr/>
            <p:nvPr/>
          </p:nvSpPr>
          <p:spPr>
            <a:xfrm>
              <a:off x="11264294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8" name="Полилиния 1147">
              <a:extLst>
                <a:ext uri="{FF2B5EF4-FFF2-40B4-BE49-F238E27FC236}">
                  <a16:creationId xmlns:a16="http://schemas.microsoft.com/office/drawing/2014/main" id="{F875218A-95ED-3BE7-156F-3273F777B7E3}"/>
                </a:ext>
              </a:extLst>
            </p:cNvPr>
            <p:cNvSpPr/>
            <p:nvPr/>
          </p:nvSpPr>
          <p:spPr>
            <a:xfrm>
              <a:off x="11500777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9" name="Полилиния 1148">
              <a:extLst>
                <a:ext uri="{FF2B5EF4-FFF2-40B4-BE49-F238E27FC236}">
                  <a16:creationId xmlns:a16="http://schemas.microsoft.com/office/drawing/2014/main" id="{01930E3C-4173-8C35-7673-EA4F6E04C530}"/>
                </a:ext>
              </a:extLst>
            </p:cNvPr>
            <p:cNvSpPr/>
            <p:nvPr/>
          </p:nvSpPr>
          <p:spPr>
            <a:xfrm>
              <a:off x="11737260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0" name="Полилиния 1149">
              <a:extLst>
                <a:ext uri="{FF2B5EF4-FFF2-40B4-BE49-F238E27FC236}">
                  <a16:creationId xmlns:a16="http://schemas.microsoft.com/office/drawing/2014/main" id="{AA9ED8D8-C4CD-CA98-6561-1B443F189C49}"/>
                </a:ext>
              </a:extLst>
            </p:cNvPr>
            <p:cNvSpPr/>
            <p:nvPr/>
          </p:nvSpPr>
          <p:spPr>
            <a:xfrm rot="5400000">
              <a:off x="11973742" y="434476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1" name="Полилиния 1150">
              <a:extLst>
                <a:ext uri="{FF2B5EF4-FFF2-40B4-BE49-F238E27FC236}">
                  <a16:creationId xmlns:a16="http://schemas.microsoft.com/office/drawing/2014/main" id="{E532D12B-DC9E-6178-B522-F408397AC973}"/>
                </a:ext>
              </a:extLst>
            </p:cNvPr>
            <p:cNvSpPr/>
            <p:nvPr/>
          </p:nvSpPr>
          <p:spPr>
            <a:xfrm rot="-5400000">
              <a:off x="6771122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2" name="Полилиния 1151">
              <a:extLst>
                <a:ext uri="{FF2B5EF4-FFF2-40B4-BE49-F238E27FC236}">
                  <a16:creationId xmlns:a16="http://schemas.microsoft.com/office/drawing/2014/main" id="{617E2344-31A1-4727-81DB-96C189D17ECE}"/>
                </a:ext>
              </a:extLst>
            </p:cNvPr>
            <p:cNvSpPr/>
            <p:nvPr/>
          </p:nvSpPr>
          <p:spPr>
            <a:xfrm rot="-5400000">
              <a:off x="7953536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3" name="Полилиния 1152">
              <a:extLst>
                <a:ext uri="{FF2B5EF4-FFF2-40B4-BE49-F238E27FC236}">
                  <a16:creationId xmlns:a16="http://schemas.microsoft.com/office/drawing/2014/main" id="{033D36F8-C636-4906-763E-F47CDA8165E9}"/>
                </a:ext>
              </a:extLst>
            </p:cNvPr>
            <p:cNvSpPr/>
            <p:nvPr/>
          </p:nvSpPr>
          <p:spPr>
            <a:xfrm>
              <a:off x="8190018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4" name="Полилиния 1153">
              <a:extLst>
                <a:ext uri="{FF2B5EF4-FFF2-40B4-BE49-F238E27FC236}">
                  <a16:creationId xmlns:a16="http://schemas.microsoft.com/office/drawing/2014/main" id="{1BE6CFB7-3405-1E56-7AD1-7E3D327359BB}"/>
                </a:ext>
              </a:extLst>
            </p:cNvPr>
            <p:cNvSpPr/>
            <p:nvPr/>
          </p:nvSpPr>
          <p:spPr>
            <a:xfrm>
              <a:off x="8426501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5" name="Полилиния 1154">
              <a:extLst>
                <a:ext uri="{FF2B5EF4-FFF2-40B4-BE49-F238E27FC236}">
                  <a16:creationId xmlns:a16="http://schemas.microsoft.com/office/drawing/2014/main" id="{DD7A65CA-46BA-8650-3E04-81D34FD3559B}"/>
                </a:ext>
              </a:extLst>
            </p:cNvPr>
            <p:cNvSpPr/>
            <p:nvPr/>
          </p:nvSpPr>
          <p:spPr>
            <a:xfrm>
              <a:off x="8662984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6" name="Полилиния 1155">
              <a:extLst>
                <a:ext uri="{FF2B5EF4-FFF2-40B4-BE49-F238E27FC236}">
                  <a16:creationId xmlns:a16="http://schemas.microsoft.com/office/drawing/2014/main" id="{744B5F3A-BED4-C0F5-5AE2-8DB6C4A4E8CB}"/>
                </a:ext>
              </a:extLst>
            </p:cNvPr>
            <p:cNvSpPr/>
            <p:nvPr/>
          </p:nvSpPr>
          <p:spPr>
            <a:xfrm>
              <a:off x="8899467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7" name="Полилиния 1156">
              <a:extLst>
                <a:ext uri="{FF2B5EF4-FFF2-40B4-BE49-F238E27FC236}">
                  <a16:creationId xmlns:a16="http://schemas.microsoft.com/office/drawing/2014/main" id="{EB0DF23D-83F4-B561-230E-109F427DFF32}"/>
                </a:ext>
              </a:extLst>
            </p:cNvPr>
            <p:cNvSpPr/>
            <p:nvPr/>
          </p:nvSpPr>
          <p:spPr>
            <a:xfrm rot="-5400000">
              <a:off x="9608915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8" name="Полилиния 1157">
              <a:extLst>
                <a:ext uri="{FF2B5EF4-FFF2-40B4-BE49-F238E27FC236}">
                  <a16:creationId xmlns:a16="http://schemas.microsoft.com/office/drawing/2014/main" id="{1802EFA3-C82A-0D54-92DD-2710FDEAE967}"/>
                </a:ext>
              </a:extLst>
            </p:cNvPr>
            <p:cNvSpPr/>
            <p:nvPr/>
          </p:nvSpPr>
          <p:spPr>
            <a:xfrm>
              <a:off x="9845398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9" name="Полилиния 1158">
              <a:extLst>
                <a:ext uri="{FF2B5EF4-FFF2-40B4-BE49-F238E27FC236}">
                  <a16:creationId xmlns:a16="http://schemas.microsoft.com/office/drawing/2014/main" id="{51200DFE-4651-3FE7-351D-35E19F8173A5}"/>
                </a:ext>
              </a:extLst>
            </p:cNvPr>
            <p:cNvSpPr/>
            <p:nvPr/>
          </p:nvSpPr>
          <p:spPr>
            <a:xfrm>
              <a:off x="10081880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0" name="Полилиния 1159">
              <a:extLst>
                <a:ext uri="{FF2B5EF4-FFF2-40B4-BE49-F238E27FC236}">
                  <a16:creationId xmlns:a16="http://schemas.microsoft.com/office/drawing/2014/main" id="{805293F9-32C0-2D3D-535E-87164D9C5D51}"/>
                </a:ext>
              </a:extLst>
            </p:cNvPr>
            <p:cNvSpPr/>
            <p:nvPr/>
          </p:nvSpPr>
          <p:spPr>
            <a:xfrm rot="5400000">
              <a:off x="10318363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1" name="Полилиния 1160">
              <a:extLst>
                <a:ext uri="{FF2B5EF4-FFF2-40B4-BE49-F238E27FC236}">
                  <a16:creationId xmlns:a16="http://schemas.microsoft.com/office/drawing/2014/main" id="{0A219E9C-E87E-F38F-4B5C-9A2319BDA266}"/>
                </a:ext>
              </a:extLst>
            </p:cNvPr>
            <p:cNvSpPr/>
            <p:nvPr/>
          </p:nvSpPr>
          <p:spPr>
            <a:xfrm>
              <a:off x="11027811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2" name="Полилиния 1161">
              <a:extLst>
                <a:ext uri="{FF2B5EF4-FFF2-40B4-BE49-F238E27FC236}">
                  <a16:creationId xmlns:a16="http://schemas.microsoft.com/office/drawing/2014/main" id="{368A2B2F-190F-4E65-41A5-C89F19ADE870}"/>
                </a:ext>
              </a:extLst>
            </p:cNvPr>
            <p:cNvSpPr/>
            <p:nvPr/>
          </p:nvSpPr>
          <p:spPr>
            <a:xfrm>
              <a:off x="11500777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3" name="Полилиния 1162">
              <a:extLst>
                <a:ext uri="{FF2B5EF4-FFF2-40B4-BE49-F238E27FC236}">
                  <a16:creationId xmlns:a16="http://schemas.microsoft.com/office/drawing/2014/main" id="{0934A35C-E3DA-34C7-FBB4-6650030798CA}"/>
                </a:ext>
              </a:extLst>
            </p:cNvPr>
            <p:cNvSpPr/>
            <p:nvPr/>
          </p:nvSpPr>
          <p:spPr>
            <a:xfrm rot="-5400000">
              <a:off x="12210225" y="458124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4" name="Полилиния 1163">
              <a:extLst>
                <a:ext uri="{FF2B5EF4-FFF2-40B4-BE49-F238E27FC236}">
                  <a16:creationId xmlns:a16="http://schemas.microsoft.com/office/drawing/2014/main" id="{053754C3-FDC8-0CC9-F9C7-C471B1AED7F7}"/>
                </a:ext>
              </a:extLst>
            </p:cNvPr>
            <p:cNvSpPr/>
            <p:nvPr/>
          </p:nvSpPr>
          <p:spPr>
            <a:xfrm rot="-5400000">
              <a:off x="6534639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5" name="Полилиния 1164">
              <a:extLst>
                <a:ext uri="{FF2B5EF4-FFF2-40B4-BE49-F238E27FC236}">
                  <a16:creationId xmlns:a16="http://schemas.microsoft.com/office/drawing/2014/main" id="{20E6169C-BCFF-5778-FAE5-6464017F9D56}"/>
                </a:ext>
              </a:extLst>
            </p:cNvPr>
            <p:cNvSpPr/>
            <p:nvPr/>
          </p:nvSpPr>
          <p:spPr>
            <a:xfrm>
              <a:off x="6771122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6" name="Полилиния 1165">
              <a:extLst>
                <a:ext uri="{FF2B5EF4-FFF2-40B4-BE49-F238E27FC236}">
                  <a16:creationId xmlns:a16="http://schemas.microsoft.com/office/drawing/2014/main" id="{4D46672D-1542-065A-21BE-B224D4F876F4}"/>
                </a:ext>
              </a:extLst>
            </p:cNvPr>
            <p:cNvSpPr/>
            <p:nvPr/>
          </p:nvSpPr>
          <p:spPr>
            <a:xfrm>
              <a:off x="7007605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7" name="Полилиния 1166">
              <a:extLst>
                <a:ext uri="{FF2B5EF4-FFF2-40B4-BE49-F238E27FC236}">
                  <a16:creationId xmlns:a16="http://schemas.microsoft.com/office/drawing/2014/main" id="{0F2C76E4-53E2-0553-D34D-3785B7A07761}"/>
                </a:ext>
              </a:extLst>
            </p:cNvPr>
            <p:cNvSpPr/>
            <p:nvPr/>
          </p:nvSpPr>
          <p:spPr>
            <a:xfrm>
              <a:off x="7244087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8" name="Полилиния 1167">
              <a:extLst>
                <a:ext uri="{FF2B5EF4-FFF2-40B4-BE49-F238E27FC236}">
                  <a16:creationId xmlns:a16="http://schemas.microsoft.com/office/drawing/2014/main" id="{83D254D5-2535-AB66-D30F-35A08F6C085C}"/>
                </a:ext>
              </a:extLst>
            </p:cNvPr>
            <p:cNvSpPr/>
            <p:nvPr/>
          </p:nvSpPr>
          <p:spPr>
            <a:xfrm>
              <a:off x="7480570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9" name="Полилиния 1168">
              <a:extLst>
                <a:ext uri="{FF2B5EF4-FFF2-40B4-BE49-F238E27FC236}">
                  <a16:creationId xmlns:a16="http://schemas.microsoft.com/office/drawing/2014/main" id="{F09454A1-0913-58C1-5281-1A0B9F6AB8CA}"/>
                </a:ext>
              </a:extLst>
            </p:cNvPr>
            <p:cNvSpPr/>
            <p:nvPr/>
          </p:nvSpPr>
          <p:spPr>
            <a:xfrm>
              <a:off x="8190018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0" name="Полилиния 1169">
              <a:extLst>
                <a:ext uri="{FF2B5EF4-FFF2-40B4-BE49-F238E27FC236}">
                  <a16:creationId xmlns:a16="http://schemas.microsoft.com/office/drawing/2014/main" id="{B9D473F3-216B-47F4-C2D0-120EAD769ECE}"/>
                </a:ext>
              </a:extLst>
            </p:cNvPr>
            <p:cNvSpPr/>
            <p:nvPr/>
          </p:nvSpPr>
          <p:spPr>
            <a:xfrm>
              <a:off x="8426501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1" name="Полилиния 1170">
              <a:extLst>
                <a:ext uri="{FF2B5EF4-FFF2-40B4-BE49-F238E27FC236}">
                  <a16:creationId xmlns:a16="http://schemas.microsoft.com/office/drawing/2014/main" id="{2D9BEC2A-D08C-44D0-FF5E-A989FABF4A88}"/>
                </a:ext>
              </a:extLst>
            </p:cNvPr>
            <p:cNvSpPr/>
            <p:nvPr/>
          </p:nvSpPr>
          <p:spPr>
            <a:xfrm>
              <a:off x="8662984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2" name="Полилиния 1171">
              <a:extLst>
                <a:ext uri="{FF2B5EF4-FFF2-40B4-BE49-F238E27FC236}">
                  <a16:creationId xmlns:a16="http://schemas.microsoft.com/office/drawing/2014/main" id="{5D416899-29BE-D87C-2C28-73743480A92C}"/>
                </a:ext>
              </a:extLst>
            </p:cNvPr>
            <p:cNvSpPr/>
            <p:nvPr/>
          </p:nvSpPr>
          <p:spPr>
            <a:xfrm rot="5400000">
              <a:off x="8899467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3" name="Полилиния 1172">
              <a:extLst>
                <a:ext uri="{FF2B5EF4-FFF2-40B4-BE49-F238E27FC236}">
                  <a16:creationId xmlns:a16="http://schemas.microsoft.com/office/drawing/2014/main" id="{0855A5A8-062D-C4DE-B71F-A17C15F674C2}"/>
                </a:ext>
              </a:extLst>
            </p:cNvPr>
            <p:cNvSpPr/>
            <p:nvPr/>
          </p:nvSpPr>
          <p:spPr>
            <a:xfrm rot="-5400000">
              <a:off x="9372432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4" name="Полилиния 1173">
              <a:extLst>
                <a:ext uri="{FF2B5EF4-FFF2-40B4-BE49-F238E27FC236}">
                  <a16:creationId xmlns:a16="http://schemas.microsoft.com/office/drawing/2014/main" id="{5233E691-6B68-55B1-9D1A-922934DEEE08}"/>
                </a:ext>
              </a:extLst>
            </p:cNvPr>
            <p:cNvSpPr/>
            <p:nvPr/>
          </p:nvSpPr>
          <p:spPr>
            <a:xfrm>
              <a:off x="9845398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5" name="Полилиния 1174">
              <a:extLst>
                <a:ext uri="{FF2B5EF4-FFF2-40B4-BE49-F238E27FC236}">
                  <a16:creationId xmlns:a16="http://schemas.microsoft.com/office/drawing/2014/main" id="{0F6BE035-1E11-F640-DA76-CDFD0B2DFA1D}"/>
                </a:ext>
              </a:extLst>
            </p:cNvPr>
            <p:cNvSpPr/>
            <p:nvPr/>
          </p:nvSpPr>
          <p:spPr>
            <a:xfrm rot="5400000">
              <a:off x="10081880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6" name="Полилиния 1175">
              <a:extLst>
                <a:ext uri="{FF2B5EF4-FFF2-40B4-BE49-F238E27FC236}">
                  <a16:creationId xmlns:a16="http://schemas.microsoft.com/office/drawing/2014/main" id="{2E53C2B4-2D9B-2B5E-B86A-D67D38EE0B99}"/>
                </a:ext>
              </a:extLst>
            </p:cNvPr>
            <p:cNvSpPr/>
            <p:nvPr/>
          </p:nvSpPr>
          <p:spPr>
            <a:xfrm>
              <a:off x="11027811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7" name="Полилиния 1176">
              <a:extLst>
                <a:ext uri="{FF2B5EF4-FFF2-40B4-BE49-F238E27FC236}">
                  <a16:creationId xmlns:a16="http://schemas.microsoft.com/office/drawing/2014/main" id="{12D8F3EB-B2FE-EFEB-8C2A-8B0781008659}"/>
                </a:ext>
              </a:extLst>
            </p:cNvPr>
            <p:cNvSpPr/>
            <p:nvPr/>
          </p:nvSpPr>
          <p:spPr>
            <a:xfrm>
              <a:off x="11500777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8" name="Полилиния 1177">
              <a:extLst>
                <a:ext uri="{FF2B5EF4-FFF2-40B4-BE49-F238E27FC236}">
                  <a16:creationId xmlns:a16="http://schemas.microsoft.com/office/drawing/2014/main" id="{B241BDBF-22DD-BA3A-5959-C54901919BD4}"/>
                </a:ext>
              </a:extLst>
            </p:cNvPr>
            <p:cNvSpPr/>
            <p:nvPr/>
          </p:nvSpPr>
          <p:spPr>
            <a:xfrm>
              <a:off x="11737260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9" name="Полилиния 1178">
              <a:extLst>
                <a:ext uri="{FF2B5EF4-FFF2-40B4-BE49-F238E27FC236}">
                  <a16:creationId xmlns:a16="http://schemas.microsoft.com/office/drawing/2014/main" id="{C0AD02C7-98E2-EE28-BCE5-127E86A0F5C2}"/>
                </a:ext>
              </a:extLst>
            </p:cNvPr>
            <p:cNvSpPr/>
            <p:nvPr/>
          </p:nvSpPr>
          <p:spPr>
            <a:xfrm>
              <a:off x="11973742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0" name="Полилиния 1179">
              <a:extLst>
                <a:ext uri="{FF2B5EF4-FFF2-40B4-BE49-F238E27FC236}">
                  <a16:creationId xmlns:a16="http://schemas.microsoft.com/office/drawing/2014/main" id="{1834AE51-7434-C668-7A1C-CE54C4D2EF5D}"/>
                </a:ext>
              </a:extLst>
            </p:cNvPr>
            <p:cNvSpPr/>
            <p:nvPr/>
          </p:nvSpPr>
          <p:spPr>
            <a:xfrm>
              <a:off x="12210225" y="481772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1" name="Полилиния 1180">
              <a:extLst>
                <a:ext uri="{FF2B5EF4-FFF2-40B4-BE49-F238E27FC236}">
                  <a16:creationId xmlns:a16="http://schemas.microsoft.com/office/drawing/2014/main" id="{BB15F6BE-6F9B-6ADA-F86E-414216A003A6}"/>
                </a:ext>
              </a:extLst>
            </p:cNvPr>
            <p:cNvSpPr/>
            <p:nvPr/>
          </p:nvSpPr>
          <p:spPr>
            <a:xfrm rot="5400000">
              <a:off x="6771122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2" name="Полилиния 1181">
              <a:extLst>
                <a:ext uri="{FF2B5EF4-FFF2-40B4-BE49-F238E27FC236}">
                  <a16:creationId xmlns:a16="http://schemas.microsoft.com/office/drawing/2014/main" id="{93E7F40B-79F0-82EF-B824-048FD1A6280B}"/>
                </a:ext>
              </a:extLst>
            </p:cNvPr>
            <p:cNvSpPr/>
            <p:nvPr/>
          </p:nvSpPr>
          <p:spPr>
            <a:xfrm>
              <a:off x="7244087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3" name="Полилиния 1182">
              <a:extLst>
                <a:ext uri="{FF2B5EF4-FFF2-40B4-BE49-F238E27FC236}">
                  <a16:creationId xmlns:a16="http://schemas.microsoft.com/office/drawing/2014/main" id="{7DC986CA-4695-325F-430F-09887D1313F8}"/>
                </a:ext>
              </a:extLst>
            </p:cNvPr>
            <p:cNvSpPr/>
            <p:nvPr/>
          </p:nvSpPr>
          <p:spPr>
            <a:xfrm>
              <a:off x="7480570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4" name="Полилиния 1183">
              <a:extLst>
                <a:ext uri="{FF2B5EF4-FFF2-40B4-BE49-F238E27FC236}">
                  <a16:creationId xmlns:a16="http://schemas.microsoft.com/office/drawing/2014/main" id="{DC96975C-63C7-D23D-830D-82C252CB50EB}"/>
                </a:ext>
              </a:extLst>
            </p:cNvPr>
            <p:cNvSpPr/>
            <p:nvPr/>
          </p:nvSpPr>
          <p:spPr>
            <a:xfrm rot="5400000">
              <a:off x="7953536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9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5" name="Полилиния 1184">
              <a:extLst>
                <a:ext uri="{FF2B5EF4-FFF2-40B4-BE49-F238E27FC236}">
                  <a16:creationId xmlns:a16="http://schemas.microsoft.com/office/drawing/2014/main" id="{C2865504-F71D-5D52-3F59-B726734ABB52}"/>
                </a:ext>
              </a:extLst>
            </p:cNvPr>
            <p:cNvSpPr/>
            <p:nvPr/>
          </p:nvSpPr>
          <p:spPr>
            <a:xfrm>
              <a:off x="8426501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6" name="Полилиния 1185">
              <a:extLst>
                <a:ext uri="{FF2B5EF4-FFF2-40B4-BE49-F238E27FC236}">
                  <a16:creationId xmlns:a16="http://schemas.microsoft.com/office/drawing/2014/main" id="{C4133868-06D5-E8CC-C949-53CED554217B}"/>
                </a:ext>
              </a:extLst>
            </p:cNvPr>
            <p:cNvSpPr/>
            <p:nvPr/>
          </p:nvSpPr>
          <p:spPr>
            <a:xfrm rot="-5400000">
              <a:off x="9135949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7" name="Полилиния 1186">
              <a:extLst>
                <a:ext uri="{FF2B5EF4-FFF2-40B4-BE49-F238E27FC236}">
                  <a16:creationId xmlns:a16="http://schemas.microsoft.com/office/drawing/2014/main" id="{654B0F57-FEE8-0E8D-ED8A-7C72B5A95713}"/>
                </a:ext>
              </a:extLst>
            </p:cNvPr>
            <p:cNvSpPr/>
            <p:nvPr/>
          </p:nvSpPr>
          <p:spPr>
            <a:xfrm>
              <a:off x="9372432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8" name="Полилиния 1187">
              <a:extLst>
                <a:ext uri="{FF2B5EF4-FFF2-40B4-BE49-F238E27FC236}">
                  <a16:creationId xmlns:a16="http://schemas.microsoft.com/office/drawing/2014/main" id="{FBB23A5C-D314-831E-A74E-FDE470AA036B}"/>
                </a:ext>
              </a:extLst>
            </p:cNvPr>
            <p:cNvSpPr/>
            <p:nvPr/>
          </p:nvSpPr>
          <p:spPr>
            <a:xfrm>
              <a:off x="9608915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9" name="Полилиния 1188">
              <a:extLst>
                <a:ext uri="{FF2B5EF4-FFF2-40B4-BE49-F238E27FC236}">
                  <a16:creationId xmlns:a16="http://schemas.microsoft.com/office/drawing/2014/main" id="{098422DB-7774-0184-EAA6-EA23E3218A00}"/>
                </a:ext>
              </a:extLst>
            </p:cNvPr>
            <p:cNvSpPr/>
            <p:nvPr/>
          </p:nvSpPr>
          <p:spPr>
            <a:xfrm>
              <a:off x="9845398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0" name="Полилиния 1189">
              <a:extLst>
                <a:ext uri="{FF2B5EF4-FFF2-40B4-BE49-F238E27FC236}">
                  <a16:creationId xmlns:a16="http://schemas.microsoft.com/office/drawing/2014/main" id="{2039844F-9B88-F779-CB46-E29B12DB4330}"/>
                </a:ext>
              </a:extLst>
            </p:cNvPr>
            <p:cNvSpPr/>
            <p:nvPr/>
          </p:nvSpPr>
          <p:spPr>
            <a:xfrm rot="5400000">
              <a:off x="10318363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9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1" name="Полилиния 1190">
              <a:extLst>
                <a:ext uri="{FF2B5EF4-FFF2-40B4-BE49-F238E27FC236}">
                  <a16:creationId xmlns:a16="http://schemas.microsoft.com/office/drawing/2014/main" id="{04C34F6E-1921-2610-79EB-B79C1F8C6348}"/>
                </a:ext>
              </a:extLst>
            </p:cNvPr>
            <p:cNvSpPr/>
            <p:nvPr/>
          </p:nvSpPr>
          <p:spPr>
            <a:xfrm rot="-5400000">
              <a:off x="10791329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2" name="Полилиния 1191">
              <a:extLst>
                <a:ext uri="{FF2B5EF4-FFF2-40B4-BE49-F238E27FC236}">
                  <a16:creationId xmlns:a16="http://schemas.microsoft.com/office/drawing/2014/main" id="{81CB42AC-43F2-E460-89EE-B3CBDDD7E307}"/>
                </a:ext>
              </a:extLst>
            </p:cNvPr>
            <p:cNvSpPr/>
            <p:nvPr/>
          </p:nvSpPr>
          <p:spPr>
            <a:xfrm rot="5400000">
              <a:off x="11027811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3" name="Полилиния 1192">
              <a:extLst>
                <a:ext uri="{FF2B5EF4-FFF2-40B4-BE49-F238E27FC236}">
                  <a16:creationId xmlns:a16="http://schemas.microsoft.com/office/drawing/2014/main" id="{FB9BC6CF-4352-4A84-A020-06A78C49548A}"/>
                </a:ext>
              </a:extLst>
            </p:cNvPr>
            <p:cNvSpPr/>
            <p:nvPr/>
          </p:nvSpPr>
          <p:spPr>
            <a:xfrm rot="5400000">
              <a:off x="12210225" y="505421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4" name="Полилиния 1193">
              <a:extLst>
                <a:ext uri="{FF2B5EF4-FFF2-40B4-BE49-F238E27FC236}">
                  <a16:creationId xmlns:a16="http://schemas.microsoft.com/office/drawing/2014/main" id="{A7ECDF04-1576-6F8E-6222-56395A058CB9}"/>
                </a:ext>
              </a:extLst>
            </p:cNvPr>
            <p:cNvSpPr/>
            <p:nvPr/>
          </p:nvSpPr>
          <p:spPr>
            <a:xfrm rot="-5400000">
              <a:off x="6534639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5" name="Полилиния 1194">
              <a:extLst>
                <a:ext uri="{FF2B5EF4-FFF2-40B4-BE49-F238E27FC236}">
                  <a16:creationId xmlns:a16="http://schemas.microsoft.com/office/drawing/2014/main" id="{1425ECB6-7108-CFCE-16EC-70F770FA1E39}"/>
                </a:ext>
              </a:extLst>
            </p:cNvPr>
            <p:cNvSpPr/>
            <p:nvPr/>
          </p:nvSpPr>
          <p:spPr>
            <a:xfrm>
              <a:off x="7244087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6" name="Полилиния 1195">
              <a:extLst>
                <a:ext uri="{FF2B5EF4-FFF2-40B4-BE49-F238E27FC236}">
                  <a16:creationId xmlns:a16="http://schemas.microsoft.com/office/drawing/2014/main" id="{BDE88223-9C09-6A71-4C2A-D9DF4CD3C5F0}"/>
                </a:ext>
              </a:extLst>
            </p:cNvPr>
            <p:cNvSpPr/>
            <p:nvPr/>
          </p:nvSpPr>
          <p:spPr>
            <a:xfrm>
              <a:off x="7480570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7" name="Полилиния 1196">
              <a:extLst>
                <a:ext uri="{FF2B5EF4-FFF2-40B4-BE49-F238E27FC236}">
                  <a16:creationId xmlns:a16="http://schemas.microsoft.com/office/drawing/2014/main" id="{608214FA-C85E-0670-20CF-07279B288E5F}"/>
                </a:ext>
              </a:extLst>
            </p:cNvPr>
            <p:cNvSpPr/>
            <p:nvPr/>
          </p:nvSpPr>
          <p:spPr>
            <a:xfrm rot="5400000">
              <a:off x="7717053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8" name="Полилиния 1197">
              <a:extLst>
                <a:ext uri="{FF2B5EF4-FFF2-40B4-BE49-F238E27FC236}">
                  <a16:creationId xmlns:a16="http://schemas.microsoft.com/office/drawing/2014/main" id="{A61E038A-4284-E844-0BE9-C4859A928147}"/>
                </a:ext>
              </a:extLst>
            </p:cNvPr>
            <p:cNvSpPr/>
            <p:nvPr/>
          </p:nvSpPr>
          <p:spPr>
            <a:xfrm>
              <a:off x="8426501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9" name="Полилиния 1198">
              <a:extLst>
                <a:ext uri="{FF2B5EF4-FFF2-40B4-BE49-F238E27FC236}">
                  <a16:creationId xmlns:a16="http://schemas.microsoft.com/office/drawing/2014/main" id="{3F42D126-8002-3D57-B6A9-A32314387C1C}"/>
                </a:ext>
              </a:extLst>
            </p:cNvPr>
            <p:cNvSpPr/>
            <p:nvPr/>
          </p:nvSpPr>
          <p:spPr>
            <a:xfrm>
              <a:off x="9135949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0" name="Полилиния 1199">
              <a:extLst>
                <a:ext uri="{FF2B5EF4-FFF2-40B4-BE49-F238E27FC236}">
                  <a16:creationId xmlns:a16="http://schemas.microsoft.com/office/drawing/2014/main" id="{DBA0326E-3E8A-956E-BB6A-79B9E1144BCB}"/>
                </a:ext>
              </a:extLst>
            </p:cNvPr>
            <p:cNvSpPr/>
            <p:nvPr/>
          </p:nvSpPr>
          <p:spPr>
            <a:xfrm>
              <a:off x="9372432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1" name="Полилиния 1200">
              <a:extLst>
                <a:ext uri="{FF2B5EF4-FFF2-40B4-BE49-F238E27FC236}">
                  <a16:creationId xmlns:a16="http://schemas.microsoft.com/office/drawing/2014/main" id="{C4D64D63-7BCB-81AA-C064-EDD7A226BFB7}"/>
                </a:ext>
              </a:extLst>
            </p:cNvPr>
            <p:cNvSpPr/>
            <p:nvPr/>
          </p:nvSpPr>
          <p:spPr>
            <a:xfrm>
              <a:off x="9845398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2" name="Полилиния 1201">
              <a:extLst>
                <a:ext uri="{FF2B5EF4-FFF2-40B4-BE49-F238E27FC236}">
                  <a16:creationId xmlns:a16="http://schemas.microsoft.com/office/drawing/2014/main" id="{A89EFB2C-D40A-9E96-6084-413349F5B779}"/>
                </a:ext>
              </a:extLst>
            </p:cNvPr>
            <p:cNvSpPr/>
            <p:nvPr/>
          </p:nvSpPr>
          <p:spPr>
            <a:xfrm>
              <a:off x="10081880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3" name="Полилиния 1202">
              <a:extLst>
                <a:ext uri="{FF2B5EF4-FFF2-40B4-BE49-F238E27FC236}">
                  <a16:creationId xmlns:a16="http://schemas.microsoft.com/office/drawing/2014/main" id="{26F2BE64-DFE1-7A9F-A129-6321E721185E}"/>
                </a:ext>
              </a:extLst>
            </p:cNvPr>
            <p:cNvSpPr/>
            <p:nvPr/>
          </p:nvSpPr>
          <p:spPr>
            <a:xfrm rot="-5400000">
              <a:off x="11264294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4" name="Полилиния 1203">
              <a:extLst>
                <a:ext uri="{FF2B5EF4-FFF2-40B4-BE49-F238E27FC236}">
                  <a16:creationId xmlns:a16="http://schemas.microsoft.com/office/drawing/2014/main" id="{48456A05-5636-A1CA-DAC8-8AED3181612F}"/>
                </a:ext>
              </a:extLst>
            </p:cNvPr>
            <p:cNvSpPr/>
            <p:nvPr/>
          </p:nvSpPr>
          <p:spPr>
            <a:xfrm rot="-5400000">
              <a:off x="11973742" y="529069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5" name="Полилиния 1204">
              <a:extLst>
                <a:ext uri="{FF2B5EF4-FFF2-40B4-BE49-F238E27FC236}">
                  <a16:creationId xmlns:a16="http://schemas.microsoft.com/office/drawing/2014/main" id="{CFEF4C67-5494-C656-BAF2-BE59F22D19C3}"/>
                </a:ext>
              </a:extLst>
            </p:cNvPr>
            <p:cNvSpPr/>
            <p:nvPr/>
          </p:nvSpPr>
          <p:spPr>
            <a:xfrm>
              <a:off x="6534639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6" name="Полилиния 1205">
              <a:extLst>
                <a:ext uri="{FF2B5EF4-FFF2-40B4-BE49-F238E27FC236}">
                  <a16:creationId xmlns:a16="http://schemas.microsoft.com/office/drawing/2014/main" id="{838CA9EF-62D3-17AB-D438-B17A89346625}"/>
                </a:ext>
              </a:extLst>
            </p:cNvPr>
            <p:cNvSpPr/>
            <p:nvPr/>
          </p:nvSpPr>
          <p:spPr>
            <a:xfrm>
              <a:off x="6771122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7" name="Полилиния 1206">
              <a:extLst>
                <a:ext uri="{FF2B5EF4-FFF2-40B4-BE49-F238E27FC236}">
                  <a16:creationId xmlns:a16="http://schemas.microsoft.com/office/drawing/2014/main" id="{B83E4FBB-9E48-0319-25D8-5F593D19C066}"/>
                </a:ext>
              </a:extLst>
            </p:cNvPr>
            <p:cNvSpPr/>
            <p:nvPr/>
          </p:nvSpPr>
          <p:spPr>
            <a:xfrm rot="5400000">
              <a:off x="7007605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8" name="Полилиния 1207">
              <a:extLst>
                <a:ext uri="{FF2B5EF4-FFF2-40B4-BE49-F238E27FC236}">
                  <a16:creationId xmlns:a16="http://schemas.microsoft.com/office/drawing/2014/main" id="{634BFF8C-C601-F1C6-1440-D1D7ED32322B}"/>
                </a:ext>
              </a:extLst>
            </p:cNvPr>
            <p:cNvSpPr/>
            <p:nvPr/>
          </p:nvSpPr>
          <p:spPr>
            <a:xfrm rot="5400000">
              <a:off x="7480570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9" name="Полилиния 1208">
              <a:extLst>
                <a:ext uri="{FF2B5EF4-FFF2-40B4-BE49-F238E27FC236}">
                  <a16:creationId xmlns:a16="http://schemas.microsoft.com/office/drawing/2014/main" id="{BC0AC63F-C1AF-AE36-2CDA-1C6311D0AED8}"/>
                </a:ext>
              </a:extLst>
            </p:cNvPr>
            <p:cNvSpPr/>
            <p:nvPr/>
          </p:nvSpPr>
          <p:spPr>
            <a:xfrm rot="5400000">
              <a:off x="7953536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9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0" name="Полилиния 1209">
              <a:extLst>
                <a:ext uri="{FF2B5EF4-FFF2-40B4-BE49-F238E27FC236}">
                  <a16:creationId xmlns:a16="http://schemas.microsoft.com/office/drawing/2014/main" id="{79A35D26-6D3F-B388-099A-FABCD3AFE912}"/>
                </a:ext>
              </a:extLst>
            </p:cNvPr>
            <p:cNvSpPr/>
            <p:nvPr/>
          </p:nvSpPr>
          <p:spPr>
            <a:xfrm>
              <a:off x="8426501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1" name="Полилиния 1210">
              <a:extLst>
                <a:ext uri="{FF2B5EF4-FFF2-40B4-BE49-F238E27FC236}">
                  <a16:creationId xmlns:a16="http://schemas.microsoft.com/office/drawing/2014/main" id="{3585B1C6-3CFD-F4BA-48AF-2AD9EDEA9C04}"/>
                </a:ext>
              </a:extLst>
            </p:cNvPr>
            <p:cNvSpPr/>
            <p:nvPr/>
          </p:nvSpPr>
          <p:spPr>
            <a:xfrm rot="-5400000">
              <a:off x="8899467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2" name="Полилиния 1211">
              <a:extLst>
                <a:ext uri="{FF2B5EF4-FFF2-40B4-BE49-F238E27FC236}">
                  <a16:creationId xmlns:a16="http://schemas.microsoft.com/office/drawing/2014/main" id="{BF2D0C1D-3335-6DAB-48C6-E6F5A3F0636D}"/>
                </a:ext>
              </a:extLst>
            </p:cNvPr>
            <p:cNvSpPr/>
            <p:nvPr/>
          </p:nvSpPr>
          <p:spPr>
            <a:xfrm>
              <a:off x="9135949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3" name="Полилиния 1212">
              <a:extLst>
                <a:ext uri="{FF2B5EF4-FFF2-40B4-BE49-F238E27FC236}">
                  <a16:creationId xmlns:a16="http://schemas.microsoft.com/office/drawing/2014/main" id="{A8263FA7-5AF8-D212-534A-A36F098E2E44}"/>
                </a:ext>
              </a:extLst>
            </p:cNvPr>
            <p:cNvSpPr/>
            <p:nvPr/>
          </p:nvSpPr>
          <p:spPr>
            <a:xfrm>
              <a:off x="9372432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4" name="Полилиния 1213">
              <a:extLst>
                <a:ext uri="{FF2B5EF4-FFF2-40B4-BE49-F238E27FC236}">
                  <a16:creationId xmlns:a16="http://schemas.microsoft.com/office/drawing/2014/main" id="{56955CC1-2276-8CF3-A7EF-A0E50959772C}"/>
                </a:ext>
              </a:extLst>
            </p:cNvPr>
            <p:cNvSpPr/>
            <p:nvPr/>
          </p:nvSpPr>
          <p:spPr>
            <a:xfrm rot="5400000">
              <a:off x="9608915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5" name="Полилиния 1214">
              <a:extLst>
                <a:ext uri="{FF2B5EF4-FFF2-40B4-BE49-F238E27FC236}">
                  <a16:creationId xmlns:a16="http://schemas.microsoft.com/office/drawing/2014/main" id="{60C0800D-68A3-968B-CB16-3D2BD44C9D69}"/>
                </a:ext>
              </a:extLst>
            </p:cNvPr>
            <p:cNvSpPr/>
            <p:nvPr/>
          </p:nvSpPr>
          <p:spPr>
            <a:xfrm rot="5400000">
              <a:off x="10081880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6" name="Полилиния 1215">
              <a:extLst>
                <a:ext uri="{FF2B5EF4-FFF2-40B4-BE49-F238E27FC236}">
                  <a16:creationId xmlns:a16="http://schemas.microsoft.com/office/drawing/2014/main" id="{12750045-DB8C-39A7-C29B-1B954A1785FB}"/>
                </a:ext>
              </a:extLst>
            </p:cNvPr>
            <p:cNvSpPr/>
            <p:nvPr/>
          </p:nvSpPr>
          <p:spPr>
            <a:xfrm rot="-5400000">
              <a:off x="10554846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7" name="Полилиния 1216">
              <a:extLst>
                <a:ext uri="{FF2B5EF4-FFF2-40B4-BE49-F238E27FC236}">
                  <a16:creationId xmlns:a16="http://schemas.microsoft.com/office/drawing/2014/main" id="{F7F2974A-CC32-8491-C89E-E6F8CDFB2A6A}"/>
                </a:ext>
              </a:extLst>
            </p:cNvPr>
            <p:cNvSpPr/>
            <p:nvPr/>
          </p:nvSpPr>
          <p:spPr>
            <a:xfrm>
              <a:off x="11264294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8" name="Полилиния 1217">
              <a:extLst>
                <a:ext uri="{FF2B5EF4-FFF2-40B4-BE49-F238E27FC236}">
                  <a16:creationId xmlns:a16="http://schemas.microsoft.com/office/drawing/2014/main" id="{4388D16C-F980-DB2A-163A-4A2FD20DCA5E}"/>
                </a:ext>
              </a:extLst>
            </p:cNvPr>
            <p:cNvSpPr/>
            <p:nvPr/>
          </p:nvSpPr>
          <p:spPr>
            <a:xfrm>
              <a:off x="11500777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9" name="Полилиния 1218">
              <a:extLst>
                <a:ext uri="{FF2B5EF4-FFF2-40B4-BE49-F238E27FC236}">
                  <a16:creationId xmlns:a16="http://schemas.microsoft.com/office/drawing/2014/main" id="{DB3CF288-19A3-0196-A26B-F99013E4BF35}"/>
                </a:ext>
              </a:extLst>
            </p:cNvPr>
            <p:cNvSpPr/>
            <p:nvPr/>
          </p:nvSpPr>
          <p:spPr>
            <a:xfrm>
              <a:off x="11737260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0" name="Полилиния 1219">
              <a:extLst>
                <a:ext uri="{FF2B5EF4-FFF2-40B4-BE49-F238E27FC236}">
                  <a16:creationId xmlns:a16="http://schemas.microsoft.com/office/drawing/2014/main" id="{35979D5D-EAB2-870D-BA77-D195A9BD300C}"/>
                </a:ext>
              </a:extLst>
            </p:cNvPr>
            <p:cNvSpPr/>
            <p:nvPr/>
          </p:nvSpPr>
          <p:spPr>
            <a:xfrm>
              <a:off x="11973742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1" name="Полилиния 1220">
              <a:extLst>
                <a:ext uri="{FF2B5EF4-FFF2-40B4-BE49-F238E27FC236}">
                  <a16:creationId xmlns:a16="http://schemas.microsoft.com/office/drawing/2014/main" id="{F5622378-3944-618F-E40E-1823A9F4FD2C}"/>
                </a:ext>
              </a:extLst>
            </p:cNvPr>
            <p:cNvSpPr/>
            <p:nvPr/>
          </p:nvSpPr>
          <p:spPr>
            <a:xfrm>
              <a:off x="12210225" y="5527177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2" name="Полилиния 1221">
              <a:extLst>
                <a:ext uri="{FF2B5EF4-FFF2-40B4-BE49-F238E27FC236}">
                  <a16:creationId xmlns:a16="http://schemas.microsoft.com/office/drawing/2014/main" id="{864658FD-BA90-7DE7-2B3E-6E93510F6E5B}"/>
                </a:ext>
              </a:extLst>
            </p:cNvPr>
            <p:cNvSpPr/>
            <p:nvPr/>
          </p:nvSpPr>
          <p:spPr>
            <a:xfrm>
              <a:off x="6534639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3" name="Полилиния 1222">
              <a:extLst>
                <a:ext uri="{FF2B5EF4-FFF2-40B4-BE49-F238E27FC236}">
                  <a16:creationId xmlns:a16="http://schemas.microsoft.com/office/drawing/2014/main" id="{35336406-A202-110F-FA9B-38878527F142}"/>
                </a:ext>
              </a:extLst>
            </p:cNvPr>
            <p:cNvSpPr/>
            <p:nvPr/>
          </p:nvSpPr>
          <p:spPr>
            <a:xfrm rot="-5400000">
              <a:off x="7717053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4" name="Полилиния 1223">
              <a:extLst>
                <a:ext uri="{FF2B5EF4-FFF2-40B4-BE49-F238E27FC236}">
                  <a16:creationId xmlns:a16="http://schemas.microsoft.com/office/drawing/2014/main" id="{109E1FA7-F52C-5CC1-07D1-ACD7F818F2ED}"/>
                </a:ext>
              </a:extLst>
            </p:cNvPr>
            <p:cNvSpPr/>
            <p:nvPr/>
          </p:nvSpPr>
          <p:spPr>
            <a:xfrm rot="5400000">
              <a:off x="8426501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5" name="Полилиния 1224">
              <a:extLst>
                <a:ext uri="{FF2B5EF4-FFF2-40B4-BE49-F238E27FC236}">
                  <a16:creationId xmlns:a16="http://schemas.microsoft.com/office/drawing/2014/main" id="{0F7009DB-F78B-E8FA-0438-B69EA46CB572}"/>
                </a:ext>
              </a:extLst>
            </p:cNvPr>
            <p:cNvSpPr/>
            <p:nvPr/>
          </p:nvSpPr>
          <p:spPr>
            <a:xfrm>
              <a:off x="8899467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6" name="Полилиния 1225">
              <a:extLst>
                <a:ext uri="{FF2B5EF4-FFF2-40B4-BE49-F238E27FC236}">
                  <a16:creationId xmlns:a16="http://schemas.microsoft.com/office/drawing/2014/main" id="{9CE942E7-6596-3AD8-A7EE-7D6BB308E62C}"/>
                </a:ext>
              </a:extLst>
            </p:cNvPr>
            <p:cNvSpPr/>
            <p:nvPr/>
          </p:nvSpPr>
          <p:spPr>
            <a:xfrm>
              <a:off x="9135949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7" name="Полилиния 1226">
              <a:extLst>
                <a:ext uri="{FF2B5EF4-FFF2-40B4-BE49-F238E27FC236}">
                  <a16:creationId xmlns:a16="http://schemas.microsoft.com/office/drawing/2014/main" id="{1D113F07-8358-05E6-D1BE-F2F777FA6ED1}"/>
                </a:ext>
              </a:extLst>
            </p:cNvPr>
            <p:cNvSpPr/>
            <p:nvPr/>
          </p:nvSpPr>
          <p:spPr>
            <a:xfrm>
              <a:off x="9372432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8" name="Полилиния 1227">
              <a:extLst>
                <a:ext uri="{FF2B5EF4-FFF2-40B4-BE49-F238E27FC236}">
                  <a16:creationId xmlns:a16="http://schemas.microsoft.com/office/drawing/2014/main" id="{65194E86-E8D3-CF0B-9560-2AB24FACF989}"/>
                </a:ext>
              </a:extLst>
            </p:cNvPr>
            <p:cNvSpPr/>
            <p:nvPr/>
          </p:nvSpPr>
          <p:spPr>
            <a:xfrm>
              <a:off x="10554846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9" name="Полилиния 1228">
              <a:extLst>
                <a:ext uri="{FF2B5EF4-FFF2-40B4-BE49-F238E27FC236}">
                  <a16:creationId xmlns:a16="http://schemas.microsoft.com/office/drawing/2014/main" id="{13193D93-4CDC-4E9A-3DF2-25803F8BAB06}"/>
                </a:ext>
              </a:extLst>
            </p:cNvPr>
            <p:cNvSpPr/>
            <p:nvPr/>
          </p:nvSpPr>
          <p:spPr>
            <a:xfrm rot="-5400000">
              <a:off x="11027811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0" name="Полилиния 1229">
              <a:extLst>
                <a:ext uri="{FF2B5EF4-FFF2-40B4-BE49-F238E27FC236}">
                  <a16:creationId xmlns:a16="http://schemas.microsoft.com/office/drawing/2014/main" id="{2FC989B2-EBDF-8D6F-689F-B4C166845024}"/>
                </a:ext>
              </a:extLst>
            </p:cNvPr>
            <p:cNvSpPr/>
            <p:nvPr/>
          </p:nvSpPr>
          <p:spPr>
            <a:xfrm>
              <a:off x="11500777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1" name="Полилиния 1230">
              <a:extLst>
                <a:ext uri="{FF2B5EF4-FFF2-40B4-BE49-F238E27FC236}">
                  <a16:creationId xmlns:a16="http://schemas.microsoft.com/office/drawing/2014/main" id="{29F27EE4-3803-C274-B949-FC215571B8C8}"/>
                </a:ext>
              </a:extLst>
            </p:cNvPr>
            <p:cNvSpPr/>
            <p:nvPr/>
          </p:nvSpPr>
          <p:spPr>
            <a:xfrm>
              <a:off x="11737260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2" name="Полилиния 1231">
              <a:extLst>
                <a:ext uri="{FF2B5EF4-FFF2-40B4-BE49-F238E27FC236}">
                  <a16:creationId xmlns:a16="http://schemas.microsoft.com/office/drawing/2014/main" id="{98BD50A3-2C0D-B03B-4236-5FEAA6CFF249}"/>
                </a:ext>
              </a:extLst>
            </p:cNvPr>
            <p:cNvSpPr/>
            <p:nvPr/>
          </p:nvSpPr>
          <p:spPr>
            <a:xfrm rot="5400000">
              <a:off x="12210225" y="576365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3" name="Полилиния 1232">
              <a:extLst>
                <a:ext uri="{FF2B5EF4-FFF2-40B4-BE49-F238E27FC236}">
                  <a16:creationId xmlns:a16="http://schemas.microsoft.com/office/drawing/2014/main" id="{17DF2DA2-0CF2-95F5-569E-2DF9D211A20D}"/>
                </a:ext>
              </a:extLst>
            </p:cNvPr>
            <p:cNvSpPr/>
            <p:nvPr/>
          </p:nvSpPr>
          <p:spPr>
            <a:xfrm rot="5400000">
              <a:off x="6534639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4" name="Полилиния 1233">
              <a:extLst>
                <a:ext uri="{FF2B5EF4-FFF2-40B4-BE49-F238E27FC236}">
                  <a16:creationId xmlns:a16="http://schemas.microsoft.com/office/drawing/2014/main" id="{2D313D6B-C57A-4496-B6A5-D9DF00105626}"/>
                </a:ext>
              </a:extLst>
            </p:cNvPr>
            <p:cNvSpPr/>
            <p:nvPr/>
          </p:nvSpPr>
          <p:spPr>
            <a:xfrm rot="-5400000">
              <a:off x="7244087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5" name="Полилиния 1234">
              <a:extLst>
                <a:ext uri="{FF2B5EF4-FFF2-40B4-BE49-F238E27FC236}">
                  <a16:creationId xmlns:a16="http://schemas.microsoft.com/office/drawing/2014/main" id="{A3CECDCF-1B05-3DC2-A414-E9456F44D42F}"/>
                </a:ext>
              </a:extLst>
            </p:cNvPr>
            <p:cNvSpPr/>
            <p:nvPr/>
          </p:nvSpPr>
          <p:spPr>
            <a:xfrm>
              <a:off x="7480570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6" name="Полилиния 1235">
              <a:extLst>
                <a:ext uri="{FF2B5EF4-FFF2-40B4-BE49-F238E27FC236}">
                  <a16:creationId xmlns:a16="http://schemas.microsoft.com/office/drawing/2014/main" id="{560D57D2-40ED-1701-C226-D8B6755D5058}"/>
                </a:ext>
              </a:extLst>
            </p:cNvPr>
            <p:cNvSpPr/>
            <p:nvPr/>
          </p:nvSpPr>
          <p:spPr>
            <a:xfrm>
              <a:off x="7717053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7" name="Полилиния 1236">
              <a:extLst>
                <a:ext uri="{FF2B5EF4-FFF2-40B4-BE49-F238E27FC236}">
                  <a16:creationId xmlns:a16="http://schemas.microsoft.com/office/drawing/2014/main" id="{185245B1-F466-70CE-D7E1-284FF1FC393F}"/>
                </a:ext>
              </a:extLst>
            </p:cNvPr>
            <p:cNvSpPr/>
            <p:nvPr/>
          </p:nvSpPr>
          <p:spPr>
            <a:xfrm>
              <a:off x="7953536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8" name="Полилиния 1237">
              <a:extLst>
                <a:ext uri="{FF2B5EF4-FFF2-40B4-BE49-F238E27FC236}">
                  <a16:creationId xmlns:a16="http://schemas.microsoft.com/office/drawing/2014/main" id="{79813336-B0D2-DA69-AD8B-70ECCAA499B0}"/>
                </a:ext>
              </a:extLst>
            </p:cNvPr>
            <p:cNvSpPr/>
            <p:nvPr/>
          </p:nvSpPr>
          <p:spPr>
            <a:xfrm rot="5400000">
              <a:off x="8190018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9" name="Полилиния 1238">
              <a:extLst>
                <a:ext uri="{FF2B5EF4-FFF2-40B4-BE49-F238E27FC236}">
                  <a16:creationId xmlns:a16="http://schemas.microsoft.com/office/drawing/2014/main" id="{3CA9F60C-D7B7-93DB-66BB-7BD3876C89A4}"/>
                </a:ext>
              </a:extLst>
            </p:cNvPr>
            <p:cNvSpPr/>
            <p:nvPr/>
          </p:nvSpPr>
          <p:spPr>
            <a:xfrm>
              <a:off x="8899467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0" name="Полилиния 1239">
              <a:extLst>
                <a:ext uri="{FF2B5EF4-FFF2-40B4-BE49-F238E27FC236}">
                  <a16:creationId xmlns:a16="http://schemas.microsoft.com/office/drawing/2014/main" id="{3E4D89A2-8D31-3D07-ABB3-6BABC83FC33F}"/>
                </a:ext>
              </a:extLst>
            </p:cNvPr>
            <p:cNvSpPr/>
            <p:nvPr/>
          </p:nvSpPr>
          <p:spPr>
            <a:xfrm>
              <a:off x="9372432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1" name="Полилиния 1240">
              <a:extLst>
                <a:ext uri="{FF2B5EF4-FFF2-40B4-BE49-F238E27FC236}">
                  <a16:creationId xmlns:a16="http://schemas.microsoft.com/office/drawing/2014/main" id="{EC9447DE-016B-00C0-DFD2-44BD0D484400}"/>
                </a:ext>
              </a:extLst>
            </p:cNvPr>
            <p:cNvSpPr/>
            <p:nvPr/>
          </p:nvSpPr>
          <p:spPr>
            <a:xfrm rot="-5400000">
              <a:off x="10081880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2" name="Полилиния 1241">
              <a:extLst>
                <a:ext uri="{FF2B5EF4-FFF2-40B4-BE49-F238E27FC236}">
                  <a16:creationId xmlns:a16="http://schemas.microsoft.com/office/drawing/2014/main" id="{066B05C9-E20C-76C1-F86A-B0B68C329956}"/>
                </a:ext>
              </a:extLst>
            </p:cNvPr>
            <p:cNvSpPr/>
            <p:nvPr/>
          </p:nvSpPr>
          <p:spPr>
            <a:xfrm>
              <a:off x="10318363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3" name="Полилиния 1242">
              <a:extLst>
                <a:ext uri="{FF2B5EF4-FFF2-40B4-BE49-F238E27FC236}">
                  <a16:creationId xmlns:a16="http://schemas.microsoft.com/office/drawing/2014/main" id="{F081A89A-03BF-007A-E31B-942FC6C5B9C5}"/>
                </a:ext>
              </a:extLst>
            </p:cNvPr>
            <p:cNvSpPr/>
            <p:nvPr/>
          </p:nvSpPr>
          <p:spPr>
            <a:xfrm>
              <a:off x="10554846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4" name="Полилиния 1243">
              <a:extLst>
                <a:ext uri="{FF2B5EF4-FFF2-40B4-BE49-F238E27FC236}">
                  <a16:creationId xmlns:a16="http://schemas.microsoft.com/office/drawing/2014/main" id="{78B59142-0BA7-0605-0DF8-65BB95C6FF59}"/>
                </a:ext>
              </a:extLst>
            </p:cNvPr>
            <p:cNvSpPr/>
            <p:nvPr/>
          </p:nvSpPr>
          <p:spPr>
            <a:xfrm>
              <a:off x="10791329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5" name="Полилиния 1244">
              <a:extLst>
                <a:ext uri="{FF2B5EF4-FFF2-40B4-BE49-F238E27FC236}">
                  <a16:creationId xmlns:a16="http://schemas.microsoft.com/office/drawing/2014/main" id="{99DA0CFF-2C66-F0D3-1EF0-9478718C17F5}"/>
                </a:ext>
              </a:extLst>
            </p:cNvPr>
            <p:cNvSpPr/>
            <p:nvPr/>
          </p:nvSpPr>
          <p:spPr>
            <a:xfrm>
              <a:off x="11027811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6" name="Полилиния 1245">
              <a:extLst>
                <a:ext uri="{FF2B5EF4-FFF2-40B4-BE49-F238E27FC236}">
                  <a16:creationId xmlns:a16="http://schemas.microsoft.com/office/drawing/2014/main" id="{B1A47A3E-9188-E494-58BA-0B6DC7C9F6E0}"/>
                </a:ext>
              </a:extLst>
            </p:cNvPr>
            <p:cNvSpPr/>
            <p:nvPr/>
          </p:nvSpPr>
          <p:spPr>
            <a:xfrm>
              <a:off x="11264294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7" name="Полилиния 1246">
              <a:extLst>
                <a:ext uri="{FF2B5EF4-FFF2-40B4-BE49-F238E27FC236}">
                  <a16:creationId xmlns:a16="http://schemas.microsoft.com/office/drawing/2014/main" id="{8FA7CF70-8C68-9C2C-3949-1F9D54F79EB5}"/>
                </a:ext>
              </a:extLst>
            </p:cNvPr>
            <p:cNvSpPr/>
            <p:nvPr/>
          </p:nvSpPr>
          <p:spPr>
            <a:xfrm>
              <a:off x="11737260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8" name="Полилиния 1247">
              <a:extLst>
                <a:ext uri="{FF2B5EF4-FFF2-40B4-BE49-F238E27FC236}">
                  <a16:creationId xmlns:a16="http://schemas.microsoft.com/office/drawing/2014/main" id="{A795192C-CCF3-FC75-6434-9F77CA384E88}"/>
                </a:ext>
              </a:extLst>
            </p:cNvPr>
            <p:cNvSpPr/>
            <p:nvPr/>
          </p:nvSpPr>
          <p:spPr>
            <a:xfrm>
              <a:off x="11973742" y="6000142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9" name="Полилиния 1248">
              <a:extLst>
                <a:ext uri="{FF2B5EF4-FFF2-40B4-BE49-F238E27FC236}">
                  <a16:creationId xmlns:a16="http://schemas.microsoft.com/office/drawing/2014/main" id="{8FAEAD19-EFDA-E030-08ED-9050D9F259A3}"/>
                </a:ext>
              </a:extLst>
            </p:cNvPr>
            <p:cNvSpPr/>
            <p:nvPr/>
          </p:nvSpPr>
          <p:spPr>
            <a:xfrm rot="-5400000">
              <a:off x="8426501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0" name="Полилиния 1249">
              <a:extLst>
                <a:ext uri="{FF2B5EF4-FFF2-40B4-BE49-F238E27FC236}">
                  <a16:creationId xmlns:a16="http://schemas.microsoft.com/office/drawing/2014/main" id="{49ECEF0F-BC7E-E4D3-542B-733DD6F3BEAB}"/>
                </a:ext>
              </a:extLst>
            </p:cNvPr>
            <p:cNvSpPr/>
            <p:nvPr/>
          </p:nvSpPr>
          <p:spPr>
            <a:xfrm>
              <a:off x="8662984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1" name="Полилиния 1250">
              <a:extLst>
                <a:ext uri="{FF2B5EF4-FFF2-40B4-BE49-F238E27FC236}">
                  <a16:creationId xmlns:a16="http://schemas.microsoft.com/office/drawing/2014/main" id="{3FEC40B1-746D-7AF9-30C9-D0EE873D7A9B}"/>
                </a:ext>
              </a:extLst>
            </p:cNvPr>
            <p:cNvSpPr/>
            <p:nvPr/>
          </p:nvSpPr>
          <p:spPr>
            <a:xfrm>
              <a:off x="8899467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2" name="Полилиния 1251">
              <a:extLst>
                <a:ext uri="{FF2B5EF4-FFF2-40B4-BE49-F238E27FC236}">
                  <a16:creationId xmlns:a16="http://schemas.microsoft.com/office/drawing/2014/main" id="{B651FF0A-FAF7-EF42-31BA-0F2410302982}"/>
                </a:ext>
              </a:extLst>
            </p:cNvPr>
            <p:cNvSpPr/>
            <p:nvPr/>
          </p:nvSpPr>
          <p:spPr>
            <a:xfrm>
              <a:off x="9372432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3" name="Полилиния 1252">
              <a:extLst>
                <a:ext uri="{FF2B5EF4-FFF2-40B4-BE49-F238E27FC236}">
                  <a16:creationId xmlns:a16="http://schemas.microsoft.com/office/drawing/2014/main" id="{39231AFD-00BE-B3C0-5F33-E031F625C685}"/>
                </a:ext>
              </a:extLst>
            </p:cNvPr>
            <p:cNvSpPr/>
            <p:nvPr/>
          </p:nvSpPr>
          <p:spPr>
            <a:xfrm>
              <a:off x="9608915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4" name="Полилиния 1253">
              <a:extLst>
                <a:ext uri="{FF2B5EF4-FFF2-40B4-BE49-F238E27FC236}">
                  <a16:creationId xmlns:a16="http://schemas.microsoft.com/office/drawing/2014/main" id="{DE33A84F-FF12-3325-5F1E-E322CC6BCC30}"/>
                </a:ext>
              </a:extLst>
            </p:cNvPr>
            <p:cNvSpPr/>
            <p:nvPr/>
          </p:nvSpPr>
          <p:spPr>
            <a:xfrm>
              <a:off x="9845398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5" name="Полилиния 1254">
              <a:extLst>
                <a:ext uri="{FF2B5EF4-FFF2-40B4-BE49-F238E27FC236}">
                  <a16:creationId xmlns:a16="http://schemas.microsoft.com/office/drawing/2014/main" id="{F16AE59C-47E6-A096-1DE5-991BD9984BDA}"/>
                </a:ext>
              </a:extLst>
            </p:cNvPr>
            <p:cNvSpPr/>
            <p:nvPr/>
          </p:nvSpPr>
          <p:spPr>
            <a:xfrm>
              <a:off x="10081880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6" name="Полилиния 1255">
              <a:extLst>
                <a:ext uri="{FF2B5EF4-FFF2-40B4-BE49-F238E27FC236}">
                  <a16:creationId xmlns:a16="http://schemas.microsoft.com/office/drawing/2014/main" id="{2C9D1612-1670-AFFC-62AB-754B2156B6B4}"/>
                </a:ext>
              </a:extLst>
            </p:cNvPr>
            <p:cNvSpPr/>
            <p:nvPr/>
          </p:nvSpPr>
          <p:spPr>
            <a:xfrm>
              <a:off x="10318363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7" name="Полилиния 1256">
              <a:extLst>
                <a:ext uri="{FF2B5EF4-FFF2-40B4-BE49-F238E27FC236}">
                  <a16:creationId xmlns:a16="http://schemas.microsoft.com/office/drawing/2014/main" id="{F6D57A99-46A9-5B55-CD1A-8096F5F17F4A}"/>
                </a:ext>
              </a:extLst>
            </p:cNvPr>
            <p:cNvSpPr/>
            <p:nvPr/>
          </p:nvSpPr>
          <p:spPr>
            <a:xfrm>
              <a:off x="11264294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8" name="Полилиния 1257">
              <a:extLst>
                <a:ext uri="{FF2B5EF4-FFF2-40B4-BE49-F238E27FC236}">
                  <a16:creationId xmlns:a16="http://schemas.microsoft.com/office/drawing/2014/main" id="{7F140334-3273-DE54-C99C-E58C9FE4D377}"/>
                </a:ext>
              </a:extLst>
            </p:cNvPr>
            <p:cNvSpPr/>
            <p:nvPr/>
          </p:nvSpPr>
          <p:spPr>
            <a:xfrm>
              <a:off x="11737260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9" name="Полилиния 1258">
              <a:extLst>
                <a:ext uri="{FF2B5EF4-FFF2-40B4-BE49-F238E27FC236}">
                  <a16:creationId xmlns:a16="http://schemas.microsoft.com/office/drawing/2014/main" id="{80687EE8-7A98-24D0-8563-1457FFF50F71}"/>
                </a:ext>
              </a:extLst>
            </p:cNvPr>
            <p:cNvSpPr/>
            <p:nvPr/>
          </p:nvSpPr>
          <p:spPr>
            <a:xfrm rot="5400000">
              <a:off x="11973742" y="6236625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0" name="Полилиния 1259">
              <a:extLst>
                <a:ext uri="{FF2B5EF4-FFF2-40B4-BE49-F238E27FC236}">
                  <a16:creationId xmlns:a16="http://schemas.microsoft.com/office/drawing/2014/main" id="{78E8BED1-D4C4-021A-3FDF-B9A3C39F305D}"/>
                </a:ext>
              </a:extLst>
            </p:cNvPr>
            <p:cNvSpPr/>
            <p:nvPr/>
          </p:nvSpPr>
          <p:spPr>
            <a:xfrm>
              <a:off x="8899467" y="647310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1" name="Полилиния 1260">
              <a:extLst>
                <a:ext uri="{FF2B5EF4-FFF2-40B4-BE49-F238E27FC236}">
                  <a16:creationId xmlns:a16="http://schemas.microsoft.com/office/drawing/2014/main" id="{C2D14E6D-9F69-CE33-0B24-A072B4298ED3}"/>
                </a:ext>
              </a:extLst>
            </p:cNvPr>
            <p:cNvSpPr/>
            <p:nvPr/>
          </p:nvSpPr>
          <p:spPr>
            <a:xfrm>
              <a:off x="9135949" y="647310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2" name="Полилиния 1261">
              <a:extLst>
                <a:ext uri="{FF2B5EF4-FFF2-40B4-BE49-F238E27FC236}">
                  <a16:creationId xmlns:a16="http://schemas.microsoft.com/office/drawing/2014/main" id="{A2C59DB7-90B9-2FF6-D107-C4DA877C2AEA}"/>
                </a:ext>
              </a:extLst>
            </p:cNvPr>
            <p:cNvSpPr/>
            <p:nvPr/>
          </p:nvSpPr>
          <p:spPr>
            <a:xfrm rot="5400000">
              <a:off x="9845398" y="647310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3" name="Полилиния 1262">
              <a:extLst>
                <a:ext uri="{FF2B5EF4-FFF2-40B4-BE49-F238E27FC236}">
                  <a16:creationId xmlns:a16="http://schemas.microsoft.com/office/drawing/2014/main" id="{9D460CE0-3A4D-E5F0-0457-DB1AFF38E656}"/>
                </a:ext>
              </a:extLst>
            </p:cNvPr>
            <p:cNvSpPr/>
            <p:nvPr/>
          </p:nvSpPr>
          <p:spPr>
            <a:xfrm>
              <a:off x="10318363" y="647310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4" name="Полилиния 1263">
              <a:extLst>
                <a:ext uri="{FF2B5EF4-FFF2-40B4-BE49-F238E27FC236}">
                  <a16:creationId xmlns:a16="http://schemas.microsoft.com/office/drawing/2014/main" id="{F0DAC841-EE11-5CFE-0A59-9D619F41C5E5}"/>
                </a:ext>
              </a:extLst>
            </p:cNvPr>
            <p:cNvSpPr/>
            <p:nvPr/>
          </p:nvSpPr>
          <p:spPr>
            <a:xfrm rot="5400000">
              <a:off x="10791329" y="647310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9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5" name="Полилиния 1264">
              <a:extLst>
                <a:ext uri="{FF2B5EF4-FFF2-40B4-BE49-F238E27FC236}">
                  <a16:creationId xmlns:a16="http://schemas.microsoft.com/office/drawing/2014/main" id="{50EE3126-3CB4-D806-336D-D66141D29907}"/>
                </a:ext>
              </a:extLst>
            </p:cNvPr>
            <p:cNvSpPr/>
            <p:nvPr/>
          </p:nvSpPr>
          <p:spPr>
            <a:xfrm>
              <a:off x="11264294" y="647310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6" name="Полилиния 1265">
              <a:extLst>
                <a:ext uri="{FF2B5EF4-FFF2-40B4-BE49-F238E27FC236}">
                  <a16:creationId xmlns:a16="http://schemas.microsoft.com/office/drawing/2014/main" id="{8804B549-6683-1667-5BCB-6B2374871B5F}"/>
                </a:ext>
              </a:extLst>
            </p:cNvPr>
            <p:cNvSpPr/>
            <p:nvPr/>
          </p:nvSpPr>
          <p:spPr>
            <a:xfrm rot="-5400000">
              <a:off x="12210225" y="6473108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7" name="Полилиния 1266">
              <a:extLst>
                <a:ext uri="{FF2B5EF4-FFF2-40B4-BE49-F238E27FC236}">
                  <a16:creationId xmlns:a16="http://schemas.microsoft.com/office/drawing/2014/main" id="{0D3202E8-B03F-B9F3-68A0-9824E11CABC4}"/>
                </a:ext>
              </a:extLst>
            </p:cNvPr>
            <p:cNvSpPr/>
            <p:nvPr/>
          </p:nvSpPr>
          <p:spPr>
            <a:xfrm rot="-5400000">
              <a:off x="8426501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8" name="Полилиния 1267">
              <a:extLst>
                <a:ext uri="{FF2B5EF4-FFF2-40B4-BE49-F238E27FC236}">
                  <a16:creationId xmlns:a16="http://schemas.microsoft.com/office/drawing/2014/main" id="{0BF84D0C-197E-9268-6A76-AED68BCDE89E}"/>
                </a:ext>
              </a:extLst>
            </p:cNvPr>
            <p:cNvSpPr/>
            <p:nvPr/>
          </p:nvSpPr>
          <p:spPr>
            <a:xfrm>
              <a:off x="8662984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9" name="Полилиния 1268">
              <a:extLst>
                <a:ext uri="{FF2B5EF4-FFF2-40B4-BE49-F238E27FC236}">
                  <a16:creationId xmlns:a16="http://schemas.microsoft.com/office/drawing/2014/main" id="{D86738B8-9F7F-8C94-F8CD-97D76E2CD1F6}"/>
                </a:ext>
              </a:extLst>
            </p:cNvPr>
            <p:cNvSpPr/>
            <p:nvPr/>
          </p:nvSpPr>
          <p:spPr>
            <a:xfrm>
              <a:off x="8899467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0" name="Полилиния 1269">
              <a:extLst>
                <a:ext uri="{FF2B5EF4-FFF2-40B4-BE49-F238E27FC236}">
                  <a16:creationId xmlns:a16="http://schemas.microsoft.com/office/drawing/2014/main" id="{5B69B455-D7B4-F1DB-E565-4A81F912A19F}"/>
                </a:ext>
              </a:extLst>
            </p:cNvPr>
            <p:cNvSpPr/>
            <p:nvPr/>
          </p:nvSpPr>
          <p:spPr>
            <a:xfrm>
              <a:off x="9135949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1" name="Полилиния 1270">
              <a:extLst>
                <a:ext uri="{FF2B5EF4-FFF2-40B4-BE49-F238E27FC236}">
                  <a16:creationId xmlns:a16="http://schemas.microsoft.com/office/drawing/2014/main" id="{B41A4D59-7B01-B07F-5809-1278DF375594}"/>
                </a:ext>
              </a:extLst>
            </p:cNvPr>
            <p:cNvSpPr/>
            <p:nvPr/>
          </p:nvSpPr>
          <p:spPr>
            <a:xfrm rot="5400000">
              <a:off x="9372432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2" name="Полилиния 1271">
              <a:extLst>
                <a:ext uri="{FF2B5EF4-FFF2-40B4-BE49-F238E27FC236}">
                  <a16:creationId xmlns:a16="http://schemas.microsoft.com/office/drawing/2014/main" id="{F93C85C2-C94C-ECDC-5604-F7066F952264}"/>
                </a:ext>
              </a:extLst>
            </p:cNvPr>
            <p:cNvSpPr/>
            <p:nvPr/>
          </p:nvSpPr>
          <p:spPr>
            <a:xfrm rot="-5400000">
              <a:off x="10081880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3" name="Полилиния 1272">
              <a:extLst>
                <a:ext uri="{FF2B5EF4-FFF2-40B4-BE49-F238E27FC236}">
                  <a16:creationId xmlns:a16="http://schemas.microsoft.com/office/drawing/2014/main" id="{CF5A1220-1B2C-D9E7-FB0E-11E92851E9B8}"/>
                </a:ext>
              </a:extLst>
            </p:cNvPr>
            <p:cNvSpPr/>
            <p:nvPr/>
          </p:nvSpPr>
          <p:spPr>
            <a:xfrm>
              <a:off x="10318363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4" name="Полилиния 1273">
              <a:extLst>
                <a:ext uri="{FF2B5EF4-FFF2-40B4-BE49-F238E27FC236}">
                  <a16:creationId xmlns:a16="http://schemas.microsoft.com/office/drawing/2014/main" id="{441F9B93-9D53-C981-975A-CBD8DFA125AB}"/>
                </a:ext>
              </a:extLst>
            </p:cNvPr>
            <p:cNvSpPr/>
            <p:nvPr/>
          </p:nvSpPr>
          <p:spPr>
            <a:xfrm>
              <a:off x="11264294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5" name="Полилиния 1274">
              <a:extLst>
                <a:ext uri="{FF2B5EF4-FFF2-40B4-BE49-F238E27FC236}">
                  <a16:creationId xmlns:a16="http://schemas.microsoft.com/office/drawing/2014/main" id="{3016DBB0-3AE2-2D4B-3330-4C7F65647ACC}"/>
                </a:ext>
              </a:extLst>
            </p:cNvPr>
            <p:cNvSpPr/>
            <p:nvPr/>
          </p:nvSpPr>
          <p:spPr>
            <a:xfrm>
              <a:off x="12210225" y="6709590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6" name="Полилиния 1275">
              <a:extLst>
                <a:ext uri="{FF2B5EF4-FFF2-40B4-BE49-F238E27FC236}">
                  <a16:creationId xmlns:a16="http://schemas.microsoft.com/office/drawing/2014/main" id="{8C7670B5-6B23-F6A7-D196-2B4D5EE92DFD}"/>
                </a:ext>
              </a:extLst>
            </p:cNvPr>
            <p:cNvSpPr/>
            <p:nvPr/>
          </p:nvSpPr>
          <p:spPr>
            <a:xfrm>
              <a:off x="8426501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7" name="Полилиния 1276">
              <a:extLst>
                <a:ext uri="{FF2B5EF4-FFF2-40B4-BE49-F238E27FC236}">
                  <a16:creationId xmlns:a16="http://schemas.microsoft.com/office/drawing/2014/main" id="{98E54233-25C6-1417-B975-2031CBC1DA7C}"/>
                </a:ext>
              </a:extLst>
            </p:cNvPr>
            <p:cNvSpPr/>
            <p:nvPr/>
          </p:nvSpPr>
          <p:spPr>
            <a:xfrm>
              <a:off x="8662984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8" name="Полилиния 1277">
              <a:extLst>
                <a:ext uri="{FF2B5EF4-FFF2-40B4-BE49-F238E27FC236}">
                  <a16:creationId xmlns:a16="http://schemas.microsoft.com/office/drawing/2014/main" id="{639B6E88-CCBD-C20C-B34A-4AFED9E0B70E}"/>
                </a:ext>
              </a:extLst>
            </p:cNvPr>
            <p:cNvSpPr/>
            <p:nvPr/>
          </p:nvSpPr>
          <p:spPr>
            <a:xfrm>
              <a:off x="8899467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9" name="Полилиния 1278">
              <a:extLst>
                <a:ext uri="{FF2B5EF4-FFF2-40B4-BE49-F238E27FC236}">
                  <a16:creationId xmlns:a16="http://schemas.microsoft.com/office/drawing/2014/main" id="{A378C61E-A015-E218-9423-99CD35659C66}"/>
                </a:ext>
              </a:extLst>
            </p:cNvPr>
            <p:cNvSpPr/>
            <p:nvPr/>
          </p:nvSpPr>
          <p:spPr>
            <a:xfrm>
              <a:off x="9135949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0" name="Полилиния 1279">
              <a:extLst>
                <a:ext uri="{FF2B5EF4-FFF2-40B4-BE49-F238E27FC236}">
                  <a16:creationId xmlns:a16="http://schemas.microsoft.com/office/drawing/2014/main" id="{453D6BAE-0AFE-8F3E-266E-00B2C70DFD24}"/>
                </a:ext>
              </a:extLst>
            </p:cNvPr>
            <p:cNvSpPr/>
            <p:nvPr/>
          </p:nvSpPr>
          <p:spPr>
            <a:xfrm rot="-5400000">
              <a:off x="9845398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1" name="Полилиния 1280">
              <a:extLst>
                <a:ext uri="{FF2B5EF4-FFF2-40B4-BE49-F238E27FC236}">
                  <a16:creationId xmlns:a16="http://schemas.microsoft.com/office/drawing/2014/main" id="{4C9F053E-C433-F3C9-B919-546991A5427C}"/>
                </a:ext>
              </a:extLst>
            </p:cNvPr>
            <p:cNvSpPr/>
            <p:nvPr/>
          </p:nvSpPr>
          <p:spPr>
            <a:xfrm>
              <a:off x="10081880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2" name="Полилиния 1281">
              <a:extLst>
                <a:ext uri="{FF2B5EF4-FFF2-40B4-BE49-F238E27FC236}">
                  <a16:creationId xmlns:a16="http://schemas.microsoft.com/office/drawing/2014/main" id="{E9384F85-B517-F1EC-2057-AC7E86ED57F3}"/>
                </a:ext>
              </a:extLst>
            </p:cNvPr>
            <p:cNvSpPr/>
            <p:nvPr/>
          </p:nvSpPr>
          <p:spPr>
            <a:xfrm>
              <a:off x="10318363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3" name="Полилиния 1282">
              <a:extLst>
                <a:ext uri="{FF2B5EF4-FFF2-40B4-BE49-F238E27FC236}">
                  <a16:creationId xmlns:a16="http://schemas.microsoft.com/office/drawing/2014/main" id="{BBC4BBC0-F388-9F71-DE69-F578CDF37D62}"/>
                </a:ext>
              </a:extLst>
            </p:cNvPr>
            <p:cNvSpPr/>
            <p:nvPr/>
          </p:nvSpPr>
          <p:spPr>
            <a:xfrm>
              <a:off x="10554846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4" name="Полилиния 1283">
              <a:extLst>
                <a:ext uri="{FF2B5EF4-FFF2-40B4-BE49-F238E27FC236}">
                  <a16:creationId xmlns:a16="http://schemas.microsoft.com/office/drawing/2014/main" id="{F053977B-C403-BC57-A9BA-E2271E670668}"/>
                </a:ext>
              </a:extLst>
            </p:cNvPr>
            <p:cNvSpPr/>
            <p:nvPr/>
          </p:nvSpPr>
          <p:spPr>
            <a:xfrm>
              <a:off x="10791329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5" name="Полилиния 1284">
              <a:extLst>
                <a:ext uri="{FF2B5EF4-FFF2-40B4-BE49-F238E27FC236}">
                  <a16:creationId xmlns:a16="http://schemas.microsoft.com/office/drawing/2014/main" id="{9960F918-14DF-8F0C-200D-185ECF720C5E}"/>
                </a:ext>
              </a:extLst>
            </p:cNvPr>
            <p:cNvSpPr/>
            <p:nvPr/>
          </p:nvSpPr>
          <p:spPr>
            <a:xfrm>
              <a:off x="11027811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6" name="Полилиния 1285">
              <a:extLst>
                <a:ext uri="{FF2B5EF4-FFF2-40B4-BE49-F238E27FC236}">
                  <a16:creationId xmlns:a16="http://schemas.microsoft.com/office/drawing/2014/main" id="{962FCC34-6D85-B1E7-A4C6-0F22ECF4F1B6}"/>
                </a:ext>
              </a:extLst>
            </p:cNvPr>
            <p:cNvSpPr/>
            <p:nvPr/>
          </p:nvSpPr>
          <p:spPr>
            <a:xfrm rot="5400000">
              <a:off x="11264294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7" name="Полилиния 1286">
              <a:extLst>
                <a:ext uri="{FF2B5EF4-FFF2-40B4-BE49-F238E27FC236}">
                  <a16:creationId xmlns:a16="http://schemas.microsoft.com/office/drawing/2014/main" id="{1C1AB019-EE31-3C0C-899D-65B75FE23F43}"/>
                </a:ext>
              </a:extLst>
            </p:cNvPr>
            <p:cNvSpPr/>
            <p:nvPr/>
          </p:nvSpPr>
          <p:spPr>
            <a:xfrm rot="-5400000">
              <a:off x="11973742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8" name="Полилиния 1287">
              <a:extLst>
                <a:ext uri="{FF2B5EF4-FFF2-40B4-BE49-F238E27FC236}">
                  <a16:creationId xmlns:a16="http://schemas.microsoft.com/office/drawing/2014/main" id="{CDAE7430-5B71-2A1D-FC12-2221D093743A}"/>
                </a:ext>
              </a:extLst>
            </p:cNvPr>
            <p:cNvSpPr/>
            <p:nvPr/>
          </p:nvSpPr>
          <p:spPr>
            <a:xfrm>
              <a:off x="12210225" y="6946073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9" name="Полилиния 1288">
              <a:extLst>
                <a:ext uri="{FF2B5EF4-FFF2-40B4-BE49-F238E27FC236}">
                  <a16:creationId xmlns:a16="http://schemas.microsoft.com/office/drawing/2014/main" id="{79BFFB24-AE52-63C0-A9BA-A274F4E895CA}"/>
                </a:ext>
              </a:extLst>
            </p:cNvPr>
            <p:cNvSpPr/>
            <p:nvPr/>
          </p:nvSpPr>
          <p:spPr>
            <a:xfrm rot="5400000">
              <a:off x="8426501" y="718255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0" name="Полилиния 1289">
              <a:extLst>
                <a:ext uri="{FF2B5EF4-FFF2-40B4-BE49-F238E27FC236}">
                  <a16:creationId xmlns:a16="http://schemas.microsoft.com/office/drawing/2014/main" id="{F22270B7-9E6B-8E5B-F926-FC9E758100EA}"/>
                </a:ext>
              </a:extLst>
            </p:cNvPr>
            <p:cNvSpPr/>
            <p:nvPr/>
          </p:nvSpPr>
          <p:spPr>
            <a:xfrm>
              <a:off x="8899467" y="718255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1" name="Полилиния 1290">
              <a:extLst>
                <a:ext uri="{FF2B5EF4-FFF2-40B4-BE49-F238E27FC236}">
                  <a16:creationId xmlns:a16="http://schemas.microsoft.com/office/drawing/2014/main" id="{37C125C8-5877-5D25-576A-412895FC0E98}"/>
                </a:ext>
              </a:extLst>
            </p:cNvPr>
            <p:cNvSpPr/>
            <p:nvPr/>
          </p:nvSpPr>
          <p:spPr>
            <a:xfrm>
              <a:off x="9135949" y="718255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2" name="Полилиния 1291">
              <a:extLst>
                <a:ext uri="{FF2B5EF4-FFF2-40B4-BE49-F238E27FC236}">
                  <a16:creationId xmlns:a16="http://schemas.microsoft.com/office/drawing/2014/main" id="{A30A3C63-4B35-F4EE-FD4C-DE111F0DD901}"/>
                </a:ext>
              </a:extLst>
            </p:cNvPr>
            <p:cNvSpPr/>
            <p:nvPr/>
          </p:nvSpPr>
          <p:spPr>
            <a:xfrm rot="5400000">
              <a:off x="9608915" y="718255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9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3" name="Полилиния 1292">
              <a:extLst>
                <a:ext uri="{FF2B5EF4-FFF2-40B4-BE49-F238E27FC236}">
                  <a16:creationId xmlns:a16="http://schemas.microsoft.com/office/drawing/2014/main" id="{6312CF1D-7864-E744-352D-8D1519BD7399}"/>
                </a:ext>
              </a:extLst>
            </p:cNvPr>
            <p:cNvSpPr/>
            <p:nvPr/>
          </p:nvSpPr>
          <p:spPr>
            <a:xfrm>
              <a:off x="10081880" y="718255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4" name="Полилиния 1293">
              <a:extLst>
                <a:ext uri="{FF2B5EF4-FFF2-40B4-BE49-F238E27FC236}">
                  <a16:creationId xmlns:a16="http://schemas.microsoft.com/office/drawing/2014/main" id="{B1B452A6-C075-3EAD-4F72-8DAEE56491D0}"/>
                </a:ext>
              </a:extLst>
            </p:cNvPr>
            <p:cNvSpPr/>
            <p:nvPr/>
          </p:nvSpPr>
          <p:spPr>
            <a:xfrm rot="5400000">
              <a:off x="10791329" y="718255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5" name="Полилиния 1294">
              <a:extLst>
                <a:ext uri="{FF2B5EF4-FFF2-40B4-BE49-F238E27FC236}">
                  <a16:creationId xmlns:a16="http://schemas.microsoft.com/office/drawing/2014/main" id="{A3EDAAD3-8D9A-F7D4-3213-F6EEB16A56BE}"/>
                </a:ext>
              </a:extLst>
            </p:cNvPr>
            <p:cNvSpPr/>
            <p:nvPr/>
          </p:nvSpPr>
          <p:spPr>
            <a:xfrm>
              <a:off x="11973742" y="718255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6" name="Полилиния 1295">
              <a:extLst>
                <a:ext uri="{FF2B5EF4-FFF2-40B4-BE49-F238E27FC236}">
                  <a16:creationId xmlns:a16="http://schemas.microsoft.com/office/drawing/2014/main" id="{B747890C-E89E-AFFF-DCD3-4738EB865F66}"/>
                </a:ext>
              </a:extLst>
            </p:cNvPr>
            <p:cNvSpPr/>
            <p:nvPr/>
          </p:nvSpPr>
          <p:spPr>
            <a:xfrm>
              <a:off x="12210225" y="7182556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7" name="Полилиния 1296">
              <a:extLst>
                <a:ext uri="{FF2B5EF4-FFF2-40B4-BE49-F238E27FC236}">
                  <a16:creationId xmlns:a16="http://schemas.microsoft.com/office/drawing/2014/main" id="{970630F3-DA20-BAFA-EF98-07CE59DEB65F}"/>
                </a:ext>
              </a:extLst>
            </p:cNvPr>
            <p:cNvSpPr/>
            <p:nvPr/>
          </p:nvSpPr>
          <p:spPr>
            <a:xfrm rot="-5400000">
              <a:off x="8662984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8" name="Полилиния 1297">
              <a:extLst>
                <a:ext uri="{FF2B5EF4-FFF2-40B4-BE49-F238E27FC236}">
                  <a16:creationId xmlns:a16="http://schemas.microsoft.com/office/drawing/2014/main" id="{15A9E561-05D0-488F-3953-2991CE05E396}"/>
                </a:ext>
              </a:extLst>
            </p:cNvPr>
            <p:cNvSpPr/>
            <p:nvPr/>
          </p:nvSpPr>
          <p:spPr>
            <a:xfrm>
              <a:off x="8899467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9" name="Полилиния 1298">
              <a:extLst>
                <a:ext uri="{FF2B5EF4-FFF2-40B4-BE49-F238E27FC236}">
                  <a16:creationId xmlns:a16="http://schemas.microsoft.com/office/drawing/2014/main" id="{A3FC9C9E-B0DD-23E0-EB82-9E9329E80089}"/>
                </a:ext>
              </a:extLst>
            </p:cNvPr>
            <p:cNvSpPr/>
            <p:nvPr/>
          </p:nvSpPr>
          <p:spPr>
            <a:xfrm>
              <a:off x="9135949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0" name="Полилиния 1299">
              <a:extLst>
                <a:ext uri="{FF2B5EF4-FFF2-40B4-BE49-F238E27FC236}">
                  <a16:creationId xmlns:a16="http://schemas.microsoft.com/office/drawing/2014/main" id="{182FFD3E-F4B6-BF10-615A-49CED01DD199}"/>
                </a:ext>
              </a:extLst>
            </p:cNvPr>
            <p:cNvSpPr/>
            <p:nvPr/>
          </p:nvSpPr>
          <p:spPr>
            <a:xfrm rot="5400000">
              <a:off x="9372432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1" name="Полилиния 1300">
              <a:extLst>
                <a:ext uri="{FF2B5EF4-FFF2-40B4-BE49-F238E27FC236}">
                  <a16:creationId xmlns:a16="http://schemas.microsoft.com/office/drawing/2014/main" id="{31F10A5E-FB78-A7F4-FA5F-2158D69B2DE9}"/>
                </a:ext>
              </a:extLst>
            </p:cNvPr>
            <p:cNvSpPr/>
            <p:nvPr/>
          </p:nvSpPr>
          <p:spPr>
            <a:xfrm rot="-5400000">
              <a:off x="9845398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2" name="Полилиния 1301">
              <a:extLst>
                <a:ext uri="{FF2B5EF4-FFF2-40B4-BE49-F238E27FC236}">
                  <a16:creationId xmlns:a16="http://schemas.microsoft.com/office/drawing/2014/main" id="{02A57094-921E-1540-9FE4-73DC1E224A66}"/>
                </a:ext>
              </a:extLst>
            </p:cNvPr>
            <p:cNvSpPr/>
            <p:nvPr/>
          </p:nvSpPr>
          <p:spPr>
            <a:xfrm>
              <a:off x="10081880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3" name="Полилиния 1302">
              <a:extLst>
                <a:ext uri="{FF2B5EF4-FFF2-40B4-BE49-F238E27FC236}">
                  <a16:creationId xmlns:a16="http://schemas.microsoft.com/office/drawing/2014/main" id="{ADB12852-275A-9867-7EB8-4DD8C925CDED}"/>
                </a:ext>
              </a:extLst>
            </p:cNvPr>
            <p:cNvSpPr/>
            <p:nvPr/>
          </p:nvSpPr>
          <p:spPr>
            <a:xfrm rot="5400000">
              <a:off x="10554846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9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4" name="Полилиния 1303">
              <a:extLst>
                <a:ext uri="{FF2B5EF4-FFF2-40B4-BE49-F238E27FC236}">
                  <a16:creationId xmlns:a16="http://schemas.microsoft.com/office/drawing/2014/main" id="{9A0CA912-EF89-7E27-ADB2-1BBDED907597}"/>
                </a:ext>
              </a:extLst>
            </p:cNvPr>
            <p:cNvSpPr/>
            <p:nvPr/>
          </p:nvSpPr>
          <p:spPr>
            <a:xfrm rot="-5400000">
              <a:off x="11264294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5" name="Полилиния 1304">
              <a:extLst>
                <a:ext uri="{FF2B5EF4-FFF2-40B4-BE49-F238E27FC236}">
                  <a16:creationId xmlns:a16="http://schemas.microsoft.com/office/drawing/2014/main" id="{6EEEBA37-ACE8-E863-4F6F-C418B16BA78F}"/>
                </a:ext>
              </a:extLst>
            </p:cNvPr>
            <p:cNvSpPr/>
            <p:nvPr/>
          </p:nvSpPr>
          <p:spPr>
            <a:xfrm>
              <a:off x="11500777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6" name="Полилиния 1305">
              <a:extLst>
                <a:ext uri="{FF2B5EF4-FFF2-40B4-BE49-F238E27FC236}">
                  <a16:creationId xmlns:a16="http://schemas.microsoft.com/office/drawing/2014/main" id="{B155D85D-42B6-57DD-D496-C8D0567E86B3}"/>
                </a:ext>
              </a:extLst>
            </p:cNvPr>
            <p:cNvSpPr/>
            <p:nvPr/>
          </p:nvSpPr>
          <p:spPr>
            <a:xfrm>
              <a:off x="11737260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7" name="Полилиния 1306">
              <a:extLst>
                <a:ext uri="{FF2B5EF4-FFF2-40B4-BE49-F238E27FC236}">
                  <a16:creationId xmlns:a16="http://schemas.microsoft.com/office/drawing/2014/main" id="{DF7B2FDA-C31D-5CD2-A247-727F3EC042C8}"/>
                </a:ext>
              </a:extLst>
            </p:cNvPr>
            <p:cNvSpPr/>
            <p:nvPr/>
          </p:nvSpPr>
          <p:spPr>
            <a:xfrm>
              <a:off x="11973742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8" name="Полилиния 1307">
              <a:extLst>
                <a:ext uri="{FF2B5EF4-FFF2-40B4-BE49-F238E27FC236}">
                  <a16:creationId xmlns:a16="http://schemas.microsoft.com/office/drawing/2014/main" id="{ACCCFCF2-1C9F-33DF-4B9C-3CAB8F8E5CB9}"/>
                </a:ext>
              </a:extLst>
            </p:cNvPr>
            <p:cNvSpPr/>
            <p:nvPr/>
          </p:nvSpPr>
          <p:spPr>
            <a:xfrm>
              <a:off x="12210225" y="7419039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9" name="Полилиния 1308">
              <a:extLst>
                <a:ext uri="{FF2B5EF4-FFF2-40B4-BE49-F238E27FC236}">
                  <a16:creationId xmlns:a16="http://schemas.microsoft.com/office/drawing/2014/main" id="{F097907F-E5BE-0A4B-B7E5-ED7CAF5ED2EC}"/>
                </a:ext>
              </a:extLst>
            </p:cNvPr>
            <p:cNvSpPr/>
            <p:nvPr/>
          </p:nvSpPr>
          <p:spPr>
            <a:xfrm rot="-5400000">
              <a:off x="8426501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0" name="Полилиния 1309">
              <a:extLst>
                <a:ext uri="{FF2B5EF4-FFF2-40B4-BE49-F238E27FC236}">
                  <a16:creationId xmlns:a16="http://schemas.microsoft.com/office/drawing/2014/main" id="{B8FC9A0A-C289-E852-ED77-62FF21AFFC7D}"/>
                </a:ext>
              </a:extLst>
            </p:cNvPr>
            <p:cNvSpPr/>
            <p:nvPr/>
          </p:nvSpPr>
          <p:spPr>
            <a:xfrm>
              <a:off x="8662984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1" name="Полилиния 1310">
              <a:extLst>
                <a:ext uri="{FF2B5EF4-FFF2-40B4-BE49-F238E27FC236}">
                  <a16:creationId xmlns:a16="http://schemas.microsoft.com/office/drawing/2014/main" id="{9A93C933-0B38-406B-B8A1-FCB09602F759}"/>
                </a:ext>
              </a:extLst>
            </p:cNvPr>
            <p:cNvSpPr/>
            <p:nvPr/>
          </p:nvSpPr>
          <p:spPr>
            <a:xfrm>
              <a:off x="8899467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2" name="Полилиния 1311">
              <a:extLst>
                <a:ext uri="{FF2B5EF4-FFF2-40B4-BE49-F238E27FC236}">
                  <a16:creationId xmlns:a16="http://schemas.microsoft.com/office/drawing/2014/main" id="{86B6E9C8-230D-7D58-32C1-4EA2C1724B2D}"/>
                </a:ext>
              </a:extLst>
            </p:cNvPr>
            <p:cNvSpPr/>
            <p:nvPr/>
          </p:nvSpPr>
          <p:spPr>
            <a:xfrm rot="5400000">
              <a:off x="9135949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3" name="Полилиния 1312">
              <a:extLst>
                <a:ext uri="{FF2B5EF4-FFF2-40B4-BE49-F238E27FC236}">
                  <a16:creationId xmlns:a16="http://schemas.microsoft.com/office/drawing/2014/main" id="{D5927869-8F45-B7F4-892D-7DCB35E14313}"/>
                </a:ext>
              </a:extLst>
            </p:cNvPr>
            <p:cNvSpPr/>
            <p:nvPr/>
          </p:nvSpPr>
          <p:spPr>
            <a:xfrm rot="5400000">
              <a:off x="10081880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4" name="Полилиния 1313">
              <a:extLst>
                <a:ext uri="{FF2B5EF4-FFF2-40B4-BE49-F238E27FC236}">
                  <a16:creationId xmlns:a16="http://schemas.microsoft.com/office/drawing/2014/main" id="{D9874324-7FC1-7CD5-8771-335060B234E3}"/>
                </a:ext>
              </a:extLst>
            </p:cNvPr>
            <p:cNvSpPr/>
            <p:nvPr/>
          </p:nvSpPr>
          <p:spPr>
            <a:xfrm rot="-5400000">
              <a:off x="11027811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5" name="Полилиния 1314">
              <a:extLst>
                <a:ext uri="{FF2B5EF4-FFF2-40B4-BE49-F238E27FC236}">
                  <a16:creationId xmlns:a16="http://schemas.microsoft.com/office/drawing/2014/main" id="{F2FB5BA6-C44F-2E2B-B4A9-5665B559F3A2}"/>
                </a:ext>
              </a:extLst>
            </p:cNvPr>
            <p:cNvSpPr/>
            <p:nvPr/>
          </p:nvSpPr>
          <p:spPr>
            <a:xfrm rot="5400000">
              <a:off x="11264294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6" name="Полилиния 1315">
              <a:extLst>
                <a:ext uri="{FF2B5EF4-FFF2-40B4-BE49-F238E27FC236}">
                  <a16:creationId xmlns:a16="http://schemas.microsoft.com/office/drawing/2014/main" id="{A4B98FAF-CBCE-8E9A-D15C-EB988DCDD5BB}"/>
                </a:ext>
              </a:extLst>
            </p:cNvPr>
            <p:cNvSpPr/>
            <p:nvPr/>
          </p:nvSpPr>
          <p:spPr>
            <a:xfrm>
              <a:off x="11737260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7" name="Полилиния 1316">
              <a:extLst>
                <a:ext uri="{FF2B5EF4-FFF2-40B4-BE49-F238E27FC236}">
                  <a16:creationId xmlns:a16="http://schemas.microsoft.com/office/drawing/2014/main" id="{0E7E86A1-FE0D-4E65-7832-EE2D52E85251}"/>
                </a:ext>
              </a:extLst>
            </p:cNvPr>
            <p:cNvSpPr/>
            <p:nvPr/>
          </p:nvSpPr>
          <p:spPr>
            <a:xfrm>
              <a:off x="11973742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8" name="Полилиния 1317">
              <a:extLst>
                <a:ext uri="{FF2B5EF4-FFF2-40B4-BE49-F238E27FC236}">
                  <a16:creationId xmlns:a16="http://schemas.microsoft.com/office/drawing/2014/main" id="{7DF1042E-5D3B-3F70-1B58-063D4F853B40}"/>
                </a:ext>
              </a:extLst>
            </p:cNvPr>
            <p:cNvSpPr/>
            <p:nvPr/>
          </p:nvSpPr>
          <p:spPr>
            <a:xfrm>
              <a:off x="12210225" y="7655521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9" name="Полилиния 1318">
              <a:extLst>
                <a:ext uri="{FF2B5EF4-FFF2-40B4-BE49-F238E27FC236}">
                  <a16:creationId xmlns:a16="http://schemas.microsoft.com/office/drawing/2014/main" id="{04433E66-07C5-5E1D-CB05-12D66DFF5F78}"/>
                </a:ext>
              </a:extLst>
            </p:cNvPr>
            <p:cNvSpPr/>
            <p:nvPr/>
          </p:nvSpPr>
          <p:spPr>
            <a:xfrm>
              <a:off x="8662984" y="789200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236483 w 236482"/>
                <a:gd name="connsiteY1" fmla="*/ 0 h 236482"/>
                <a:gd name="connsiteX2" fmla="*/ 236483 w 236482"/>
                <a:gd name="connsiteY2" fmla="*/ 236483 h 236482"/>
                <a:gd name="connsiteX3" fmla="*/ 0 w 236482"/>
                <a:gd name="connsiteY3" fmla="*/ 236483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236483" y="0"/>
                  </a:lnTo>
                  <a:lnTo>
                    <a:pt x="236483" y="236483"/>
                  </a:lnTo>
                  <a:lnTo>
                    <a:pt x="0" y="236483"/>
                  </a:lnTo>
                  <a:close/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0" name="Полилиния 1319">
              <a:extLst>
                <a:ext uri="{FF2B5EF4-FFF2-40B4-BE49-F238E27FC236}">
                  <a16:creationId xmlns:a16="http://schemas.microsoft.com/office/drawing/2014/main" id="{8A0CF861-D868-4644-9E09-64E80A69F1C1}"/>
                </a:ext>
              </a:extLst>
            </p:cNvPr>
            <p:cNvSpPr/>
            <p:nvPr/>
          </p:nvSpPr>
          <p:spPr>
            <a:xfrm rot="5400000">
              <a:off x="8899467" y="789200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1" name="Полилиния 1320">
              <a:extLst>
                <a:ext uri="{FF2B5EF4-FFF2-40B4-BE49-F238E27FC236}">
                  <a16:creationId xmlns:a16="http://schemas.microsoft.com/office/drawing/2014/main" id="{FD955DBB-4C9F-9904-6B9C-5DBCFD8DFDD7}"/>
                </a:ext>
              </a:extLst>
            </p:cNvPr>
            <p:cNvSpPr/>
            <p:nvPr/>
          </p:nvSpPr>
          <p:spPr>
            <a:xfrm rot="-5400000">
              <a:off x="9372432" y="789200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2" name="Полилиния 1321">
              <a:extLst>
                <a:ext uri="{FF2B5EF4-FFF2-40B4-BE49-F238E27FC236}">
                  <a16:creationId xmlns:a16="http://schemas.microsoft.com/office/drawing/2014/main" id="{B1D7DCCD-AD76-35F0-BD7A-879525A1D7D1}"/>
                </a:ext>
              </a:extLst>
            </p:cNvPr>
            <p:cNvSpPr/>
            <p:nvPr/>
          </p:nvSpPr>
          <p:spPr>
            <a:xfrm rot="5400000">
              <a:off x="9608915" y="789200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3" name="Полилиния 1322">
              <a:extLst>
                <a:ext uri="{FF2B5EF4-FFF2-40B4-BE49-F238E27FC236}">
                  <a16:creationId xmlns:a16="http://schemas.microsoft.com/office/drawing/2014/main" id="{CB4DB879-70BC-860A-6C25-7B90F3655541}"/>
                </a:ext>
              </a:extLst>
            </p:cNvPr>
            <p:cNvSpPr/>
            <p:nvPr/>
          </p:nvSpPr>
          <p:spPr>
            <a:xfrm rot="-5400000">
              <a:off x="10318363" y="789200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4" name="Полилиния 1323">
              <a:extLst>
                <a:ext uri="{FF2B5EF4-FFF2-40B4-BE49-F238E27FC236}">
                  <a16:creationId xmlns:a16="http://schemas.microsoft.com/office/drawing/2014/main" id="{BC51425A-7926-DB6F-AFB8-96F66F16C747}"/>
                </a:ext>
              </a:extLst>
            </p:cNvPr>
            <p:cNvSpPr/>
            <p:nvPr/>
          </p:nvSpPr>
          <p:spPr>
            <a:xfrm rot="5400000">
              <a:off x="10554846" y="789200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5" name="Полилиния 1324">
              <a:extLst>
                <a:ext uri="{FF2B5EF4-FFF2-40B4-BE49-F238E27FC236}">
                  <a16:creationId xmlns:a16="http://schemas.microsoft.com/office/drawing/2014/main" id="{377FA815-C1A1-FB2B-177E-F395C56ABCAD}"/>
                </a:ext>
              </a:extLst>
            </p:cNvPr>
            <p:cNvSpPr/>
            <p:nvPr/>
          </p:nvSpPr>
          <p:spPr>
            <a:xfrm rot="5400000">
              <a:off x="11500777" y="789200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118241 h 236482"/>
                <a:gd name="connsiteX2" fmla="*/ 118241 w 236482"/>
                <a:gd name="connsiteY2" fmla="*/ 236483 h 236482"/>
                <a:gd name="connsiteX3" fmla="*/ 236483 w 236482"/>
                <a:gd name="connsiteY3" fmla="*/ 236483 h 236482"/>
                <a:gd name="connsiteX4" fmla="*/ 236483 w 236482"/>
                <a:gd name="connsiteY4" fmla="*/ 118241 h 236482"/>
                <a:gd name="connsiteX5" fmla="*/ 118241 w 236482"/>
                <a:gd name="connsiteY5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118241"/>
                  </a:lnTo>
                  <a:cubicBezTo>
                    <a:pt x="0" y="183544"/>
                    <a:pt x="52939" y="236483"/>
                    <a:pt x="118241" y="236483"/>
                  </a:cubicBezTo>
                  <a:lnTo>
                    <a:pt x="236483" y="236483"/>
                  </a:lnTo>
                  <a:lnTo>
                    <a:pt x="236483" y="118241"/>
                  </a:lnTo>
                  <a:cubicBezTo>
                    <a:pt x="236483" y="52939"/>
                    <a:pt x="183544" y="0"/>
                    <a:pt x="118241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6" name="Полилиния 1325">
              <a:extLst>
                <a:ext uri="{FF2B5EF4-FFF2-40B4-BE49-F238E27FC236}">
                  <a16:creationId xmlns:a16="http://schemas.microsoft.com/office/drawing/2014/main" id="{DAFF1ACB-D66C-082A-A6AE-9284973F0C85}"/>
                </a:ext>
              </a:extLst>
            </p:cNvPr>
            <p:cNvSpPr/>
            <p:nvPr/>
          </p:nvSpPr>
          <p:spPr>
            <a:xfrm rot="5400000">
              <a:off x="12210225" y="7892004"/>
              <a:ext cx="236482" cy="236482"/>
            </a:xfrm>
            <a:custGeom>
              <a:avLst/>
              <a:gdLst>
                <a:gd name="connsiteX0" fmla="*/ 0 w 236482"/>
                <a:gd name="connsiteY0" fmla="*/ 0 h 236482"/>
                <a:gd name="connsiteX1" fmla="*/ 0 w 236482"/>
                <a:gd name="connsiteY1" fmla="*/ 236483 h 236482"/>
                <a:gd name="connsiteX2" fmla="*/ 236483 w 236482"/>
                <a:gd name="connsiteY2" fmla="*/ 236483 h 236482"/>
                <a:gd name="connsiteX3" fmla="*/ 0 w 236482"/>
                <a:gd name="connsiteY3" fmla="*/ 0 h 23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82" h="236482">
                  <a:moveTo>
                    <a:pt x="0" y="0"/>
                  </a:moveTo>
                  <a:lnTo>
                    <a:pt x="0" y="236483"/>
                  </a:lnTo>
                  <a:lnTo>
                    <a:pt x="236483" y="236483"/>
                  </a:lnTo>
                  <a:cubicBezTo>
                    <a:pt x="236483" y="105877"/>
                    <a:pt x="130606" y="0"/>
                    <a:pt x="0" y="0"/>
                  </a:cubicBezTo>
                </a:path>
              </a:pathLst>
            </a:custGeom>
            <a:grpFill/>
            <a:ln w="295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31" name="Рисунок 1327">
            <a:extLst>
              <a:ext uri="{FF2B5EF4-FFF2-40B4-BE49-F238E27FC236}">
                <a16:creationId xmlns:a16="http://schemas.microsoft.com/office/drawing/2014/main" id="{1EA571CA-85A3-DE09-855F-F2C47AF8AE1A}"/>
              </a:ext>
            </a:extLst>
          </p:cNvPr>
          <p:cNvGrpSpPr/>
          <p:nvPr/>
        </p:nvGrpSpPr>
        <p:grpSpPr>
          <a:xfrm>
            <a:off x="1420219" y="4166809"/>
            <a:ext cx="1850145" cy="1850145"/>
            <a:chOff x="3082636" y="415636"/>
            <a:chExt cx="6026727" cy="6026727"/>
          </a:xfrm>
          <a:solidFill>
            <a:schemeClr val="bg1"/>
          </a:solidFill>
        </p:grpSpPr>
        <p:sp>
          <p:nvSpPr>
            <p:cNvPr id="1332" name="Полилиния 1331">
              <a:extLst>
                <a:ext uri="{FF2B5EF4-FFF2-40B4-BE49-F238E27FC236}">
                  <a16:creationId xmlns:a16="http://schemas.microsoft.com/office/drawing/2014/main" id="{A02981A3-A00D-872E-C3C4-D5EDF0652923}"/>
                </a:ext>
              </a:extLst>
            </p:cNvPr>
            <p:cNvSpPr/>
            <p:nvPr/>
          </p:nvSpPr>
          <p:spPr>
            <a:xfrm rot="-5400000">
              <a:off x="3498272" y="5403272"/>
              <a:ext cx="623454" cy="623454"/>
            </a:xfrm>
            <a:custGeom>
              <a:avLst/>
              <a:gdLst>
                <a:gd name="connsiteX0" fmla="*/ 623455 w 623454"/>
                <a:gd name="connsiteY0" fmla="*/ 311727 h 623454"/>
                <a:gd name="connsiteX1" fmla="*/ 311727 w 623454"/>
                <a:gd name="connsiteY1" fmla="*/ 623455 h 623454"/>
                <a:gd name="connsiteX2" fmla="*/ 0 w 623454"/>
                <a:gd name="connsiteY2" fmla="*/ 311727 h 623454"/>
                <a:gd name="connsiteX3" fmla="*/ 311727 w 623454"/>
                <a:gd name="connsiteY3" fmla="*/ 0 h 623454"/>
                <a:gd name="connsiteX4" fmla="*/ 623455 w 623454"/>
                <a:gd name="connsiteY4" fmla="*/ 311727 h 62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54" h="623454">
                  <a:moveTo>
                    <a:pt x="623455" y="311727"/>
                  </a:moveTo>
                  <a:cubicBezTo>
                    <a:pt x="623455" y="483890"/>
                    <a:pt x="483889" y="623455"/>
                    <a:pt x="311727" y="623455"/>
                  </a:cubicBezTo>
                  <a:cubicBezTo>
                    <a:pt x="139565" y="623455"/>
                    <a:pt x="0" y="483890"/>
                    <a:pt x="0" y="311727"/>
                  </a:cubicBezTo>
                  <a:cubicBezTo>
                    <a:pt x="0" y="139565"/>
                    <a:pt x="139565" y="0"/>
                    <a:pt x="311727" y="0"/>
                  </a:cubicBezTo>
                  <a:cubicBezTo>
                    <a:pt x="483889" y="0"/>
                    <a:pt x="623455" y="139565"/>
                    <a:pt x="623455" y="311727"/>
                  </a:cubicBez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3" name="Полилиния 1332">
              <a:extLst>
                <a:ext uri="{FF2B5EF4-FFF2-40B4-BE49-F238E27FC236}">
                  <a16:creationId xmlns:a16="http://schemas.microsoft.com/office/drawing/2014/main" id="{292F9ABB-C5BF-2B8B-3514-34829BAAB556}"/>
                </a:ext>
              </a:extLst>
            </p:cNvPr>
            <p:cNvSpPr/>
            <p:nvPr/>
          </p:nvSpPr>
          <p:spPr>
            <a:xfrm rot="-5400000">
              <a:off x="3082636" y="4987636"/>
              <a:ext cx="1454727" cy="1454727"/>
            </a:xfrm>
            <a:custGeom>
              <a:avLst/>
              <a:gdLst>
                <a:gd name="connsiteX0" fmla="*/ 0 w 1454727"/>
                <a:gd name="connsiteY0" fmla="*/ 519545 h 1454727"/>
                <a:gd name="connsiteX1" fmla="*/ 0 w 1454727"/>
                <a:gd name="connsiteY1" fmla="*/ 935182 h 1454727"/>
                <a:gd name="connsiteX2" fmla="*/ 519545 w 1454727"/>
                <a:gd name="connsiteY2" fmla="*/ 1454727 h 1454727"/>
                <a:gd name="connsiteX3" fmla="*/ 935182 w 1454727"/>
                <a:gd name="connsiteY3" fmla="*/ 1454727 h 1454727"/>
                <a:gd name="connsiteX4" fmla="*/ 1454727 w 1454727"/>
                <a:gd name="connsiteY4" fmla="*/ 935182 h 1454727"/>
                <a:gd name="connsiteX5" fmla="*/ 1454727 w 1454727"/>
                <a:gd name="connsiteY5" fmla="*/ 519545 h 1454727"/>
                <a:gd name="connsiteX6" fmla="*/ 935182 w 1454727"/>
                <a:gd name="connsiteY6" fmla="*/ 0 h 1454727"/>
                <a:gd name="connsiteX7" fmla="*/ 519545 w 1454727"/>
                <a:gd name="connsiteY7" fmla="*/ 0 h 1454727"/>
                <a:gd name="connsiteX8" fmla="*/ 0 w 1454727"/>
                <a:gd name="connsiteY8" fmla="*/ 519545 h 1454727"/>
                <a:gd name="connsiteX9" fmla="*/ 519545 w 1454727"/>
                <a:gd name="connsiteY9" fmla="*/ 207818 h 1454727"/>
                <a:gd name="connsiteX10" fmla="*/ 935182 w 1454727"/>
                <a:gd name="connsiteY10" fmla="*/ 207818 h 1454727"/>
                <a:gd name="connsiteX11" fmla="*/ 1246909 w 1454727"/>
                <a:gd name="connsiteY11" fmla="*/ 519545 h 1454727"/>
                <a:gd name="connsiteX12" fmla="*/ 1246909 w 1454727"/>
                <a:gd name="connsiteY12" fmla="*/ 935182 h 1454727"/>
                <a:gd name="connsiteX13" fmla="*/ 935182 w 1454727"/>
                <a:gd name="connsiteY13" fmla="*/ 1246909 h 1454727"/>
                <a:gd name="connsiteX14" fmla="*/ 519545 w 1454727"/>
                <a:gd name="connsiteY14" fmla="*/ 1246909 h 1454727"/>
                <a:gd name="connsiteX15" fmla="*/ 207818 w 1454727"/>
                <a:gd name="connsiteY15" fmla="*/ 935182 h 1454727"/>
                <a:gd name="connsiteX16" fmla="*/ 207818 w 1454727"/>
                <a:gd name="connsiteY16" fmla="*/ 519545 h 1454727"/>
                <a:gd name="connsiteX17" fmla="*/ 519545 w 1454727"/>
                <a:gd name="connsiteY17" fmla="*/ 207818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4727" h="1454727">
                  <a:moveTo>
                    <a:pt x="0" y="519545"/>
                  </a:moveTo>
                  <a:lnTo>
                    <a:pt x="0" y="935182"/>
                  </a:lnTo>
                  <a:cubicBezTo>
                    <a:pt x="0" y="1222119"/>
                    <a:pt x="232608" y="1454727"/>
                    <a:pt x="519545" y="1454727"/>
                  </a:cubicBezTo>
                  <a:lnTo>
                    <a:pt x="935182" y="1454727"/>
                  </a:lnTo>
                  <a:cubicBezTo>
                    <a:pt x="1222119" y="1454727"/>
                    <a:pt x="1454727" y="1222119"/>
                    <a:pt x="1454727" y="935182"/>
                  </a:cubicBezTo>
                  <a:lnTo>
                    <a:pt x="1454727" y="519545"/>
                  </a:lnTo>
                  <a:cubicBezTo>
                    <a:pt x="1454727" y="232609"/>
                    <a:pt x="1222119" y="0"/>
                    <a:pt x="935182" y="0"/>
                  </a:cubicBezTo>
                  <a:lnTo>
                    <a:pt x="519545" y="0"/>
                  </a:lnTo>
                  <a:cubicBezTo>
                    <a:pt x="232608" y="0"/>
                    <a:pt x="0" y="232609"/>
                    <a:pt x="0" y="519545"/>
                  </a:cubicBezTo>
                  <a:moveTo>
                    <a:pt x="519545" y="207818"/>
                  </a:moveTo>
                  <a:lnTo>
                    <a:pt x="935182" y="207818"/>
                  </a:lnTo>
                  <a:cubicBezTo>
                    <a:pt x="1107344" y="207818"/>
                    <a:pt x="1246909" y="347383"/>
                    <a:pt x="1246909" y="519545"/>
                  </a:cubicBezTo>
                  <a:lnTo>
                    <a:pt x="1246909" y="935182"/>
                  </a:lnTo>
                  <a:cubicBezTo>
                    <a:pt x="1246909" y="1107344"/>
                    <a:pt x="1107344" y="1246909"/>
                    <a:pt x="935182" y="1246909"/>
                  </a:cubicBezTo>
                  <a:lnTo>
                    <a:pt x="519545" y="1246909"/>
                  </a:lnTo>
                  <a:cubicBezTo>
                    <a:pt x="347383" y="1246909"/>
                    <a:pt x="207818" y="1107344"/>
                    <a:pt x="207818" y="935182"/>
                  </a:cubicBezTo>
                  <a:lnTo>
                    <a:pt x="207818" y="519545"/>
                  </a:lnTo>
                  <a:cubicBezTo>
                    <a:pt x="207818" y="347383"/>
                    <a:pt x="347383" y="207818"/>
                    <a:pt x="519545" y="207818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4" name="Полилиния 1333">
              <a:extLst>
                <a:ext uri="{FF2B5EF4-FFF2-40B4-BE49-F238E27FC236}">
                  <a16:creationId xmlns:a16="http://schemas.microsoft.com/office/drawing/2014/main" id="{6748A715-6E39-BDA8-E52E-D62B6835E2DF}"/>
                </a:ext>
              </a:extLst>
            </p:cNvPr>
            <p:cNvSpPr/>
            <p:nvPr/>
          </p:nvSpPr>
          <p:spPr>
            <a:xfrm rot="5400000">
              <a:off x="8070272" y="831272"/>
              <a:ext cx="623454" cy="623454"/>
            </a:xfrm>
            <a:custGeom>
              <a:avLst/>
              <a:gdLst>
                <a:gd name="connsiteX0" fmla="*/ 623455 w 623454"/>
                <a:gd name="connsiteY0" fmla="*/ 311727 h 623454"/>
                <a:gd name="connsiteX1" fmla="*/ 311727 w 623454"/>
                <a:gd name="connsiteY1" fmla="*/ 623455 h 623454"/>
                <a:gd name="connsiteX2" fmla="*/ 0 w 623454"/>
                <a:gd name="connsiteY2" fmla="*/ 311727 h 623454"/>
                <a:gd name="connsiteX3" fmla="*/ 311727 w 623454"/>
                <a:gd name="connsiteY3" fmla="*/ 0 h 623454"/>
                <a:gd name="connsiteX4" fmla="*/ 623455 w 623454"/>
                <a:gd name="connsiteY4" fmla="*/ 311727 h 62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54" h="623454">
                  <a:moveTo>
                    <a:pt x="623455" y="311727"/>
                  </a:moveTo>
                  <a:cubicBezTo>
                    <a:pt x="623455" y="483889"/>
                    <a:pt x="483890" y="623455"/>
                    <a:pt x="311727" y="623455"/>
                  </a:cubicBezTo>
                  <a:cubicBezTo>
                    <a:pt x="139565" y="623455"/>
                    <a:pt x="0" y="483889"/>
                    <a:pt x="0" y="311727"/>
                  </a:cubicBezTo>
                  <a:cubicBezTo>
                    <a:pt x="0" y="139565"/>
                    <a:pt x="139565" y="0"/>
                    <a:pt x="311727" y="0"/>
                  </a:cubicBezTo>
                  <a:cubicBezTo>
                    <a:pt x="483890" y="0"/>
                    <a:pt x="623455" y="139565"/>
                    <a:pt x="623455" y="311727"/>
                  </a:cubicBez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5" name="Полилиния 1334">
              <a:extLst>
                <a:ext uri="{FF2B5EF4-FFF2-40B4-BE49-F238E27FC236}">
                  <a16:creationId xmlns:a16="http://schemas.microsoft.com/office/drawing/2014/main" id="{ABB23ADE-DF0B-EE59-4AE9-3BEB47D9A78C}"/>
                </a:ext>
              </a:extLst>
            </p:cNvPr>
            <p:cNvSpPr/>
            <p:nvPr/>
          </p:nvSpPr>
          <p:spPr>
            <a:xfrm rot="5400000">
              <a:off x="7654636" y="415636"/>
              <a:ext cx="1454727" cy="1454727"/>
            </a:xfrm>
            <a:custGeom>
              <a:avLst/>
              <a:gdLst>
                <a:gd name="connsiteX0" fmla="*/ 0 w 1454727"/>
                <a:gd name="connsiteY0" fmla="*/ 519545 h 1454727"/>
                <a:gd name="connsiteX1" fmla="*/ 0 w 1454727"/>
                <a:gd name="connsiteY1" fmla="*/ 935182 h 1454727"/>
                <a:gd name="connsiteX2" fmla="*/ 519545 w 1454727"/>
                <a:gd name="connsiteY2" fmla="*/ 1454727 h 1454727"/>
                <a:gd name="connsiteX3" fmla="*/ 935182 w 1454727"/>
                <a:gd name="connsiteY3" fmla="*/ 1454727 h 1454727"/>
                <a:gd name="connsiteX4" fmla="*/ 1454727 w 1454727"/>
                <a:gd name="connsiteY4" fmla="*/ 935182 h 1454727"/>
                <a:gd name="connsiteX5" fmla="*/ 1454727 w 1454727"/>
                <a:gd name="connsiteY5" fmla="*/ 519545 h 1454727"/>
                <a:gd name="connsiteX6" fmla="*/ 935182 w 1454727"/>
                <a:gd name="connsiteY6" fmla="*/ 0 h 1454727"/>
                <a:gd name="connsiteX7" fmla="*/ 519545 w 1454727"/>
                <a:gd name="connsiteY7" fmla="*/ 0 h 1454727"/>
                <a:gd name="connsiteX8" fmla="*/ 0 w 1454727"/>
                <a:gd name="connsiteY8" fmla="*/ 519545 h 1454727"/>
                <a:gd name="connsiteX9" fmla="*/ 519545 w 1454727"/>
                <a:gd name="connsiteY9" fmla="*/ 207818 h 1454727"/>
                <a:gd name="connsiteX10" fmla="*/ 935182 w 1454727"/>
                <a:gd name="connsiteY10" fmla="*/ 207818 h 1454727"/>
                <a:gd name="connsiteX11" fmla="*/ 1246909 w 1454727"/>
                <a:gd name="connsiteY11" fmla="*/ 519545 h 1454727"/>
                <a:gd name="connsiteX12" fmla="*/ 1246909 w 1454727"/>
                <a:gd name="connsiteY12" fmla="*/ 935182 h 1454727"/>
                <a:gd name="connsiteX13" fmla="*/ 935182 w 1454727"/>
                <a:gd name="connsiteY13" fmla="*/ 1246909 h 1454727"/>
                <a:gd name="connsiteX14" fmla="*/ 519545 w 1454727"/>
                <a:gd name="connsiteY14" fmla="*/ 1246909 h 1454727"/>
                <a:gd name="connsiteX15" fmla="*/ 207818 w 1454727"/>
                <a:gd name="connsiteY15" fmla="*/ 935182 h 1454727"/>
                <a:gd name="connsiteX16" fmla="*/ 207818 w 1454727"/>
                <a:gd name="connsiteY16" fmla="*/ 519545 h 1454727"/>
                <a:gd name="connsiteX17" fmla="*/ 519545 w 1454727"/>
                <a:gd name="connsiteY17" fmla="*/ 207818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4727" h="1454727">
                  <a:moveTo>
                    <a:pt x="0" y="519545"/>
                  </a:moveTo>
                  <a:lnTo>
                    <a:pt x="0" y="935182"/>
                  </a:lnTo>
                  <a:cubicBezTo>
                    <a:pt x="0" y="1222119"/>
                    <a:pt x="232609" y="1454727"/>
                    <a:pt x="519545" y="1454727"/>
                  </a:cubicBezTo>
                  <a:lnTo>
                    <a:pt x="935182" y="1454727"/>
                  </a:lnTo>
                  <a:cubicBezTo>
                    <a:pt x="1222119" y="1454727"/>
                    <a:pt x="1454727" y="1222119"/>
                    <a:pt x="1454727" y="935182"/>
                  </a:cubicBezTo>
                  <a:lnTo>
                    <a:pt x="1454727" y="519545"/>
                  </a:lnTo>
                  <a:cubicBezTo>
                    <a:pt x="1454727" y="232608"/>
                    <a:pt x="1222119" y="0"/>
                    <a:pt x="935182" y="0"/>
                  </a:cubicBezTo>
                  <a:lnTo>
                    <a:pt x="519545" y="0"/>
                  </a:lnTo>
                  <a:cubicBezTo>
                    <a:pt x="232609" y="0"/>
                    <a:pt x="0" y="232608"/>
                    <a:pt x="0" y="519545"/>
                  </a:cubicBezTo>
                  <a:moveTo>
                    <a:pt x="519545" y="207818"/>
                  </a:moveTo>
                  <a:lnTo>
                    <a:pt x="935182" y="207818"/>
                  </a:lnTo>
                  <a:cubicBezTo>
                    <a:pt x="1107344" y="207818"/>
                    <a:pt x="1246909" y="347383"/>
                    <a:pt x="1246909" y="519545"/>
                  </a:cubicBezTo>
                  <a:lnTo>
                    <a:pt x="1246909" y="935182"/>
                  </a:lnTo>
                  <a:cubicBezTo>
                    <a:pt x="1246909" y="1107344"/>
                    <a:pt x="1107344" y="1246909"/>
                    <a:pt x="935182" y="1246909"/>
                  </a:cubicBezTo>
                  <a:lnTo>
                    <a:pt x="519545" y="1246909"/>
                  </a:lnTo>
                  <a:cubicBezTo>
                    <a:pt x="347383" y="1246909"/>
                    <a:pt x="207818" y="1107344"/>
                    <a:pt x="207818" y="935182"/>
                  </a:cubicBezTo>
                  <a:lnTo>
                    <a:pt x="207818" y="519545"/>
                  </a:lnTo>
                  <a:cubicBezTo>
                    <a:pt x="207818" y="347383"/>
                    <a:pt x="347383" y="207818"/>
                    <a:pt x="519545" y="207818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6" name="Полилиния 1335">
              <a:extLst>
                <a:ext uri="{FF2B5EF4-FFF2-40B4-BE49-F238E27FC236}">
                  <a16:creationId xmlns:a16="http://schemas.microsoft.com/office/drawing/2014/main" id="{03BE5BA2-029C-62E2-5BF1-EBCACEC2C04A}"/>
                </a:ext>
              </a:extLst>
            </p:cNvPr>
            <p:cNvSpPr/>
            <p:nvPr/>
          </p:nvSpPr>
          <p:spPr>
            <a:xfrm>
              <a:off x="3498272" y="831272"/>
              <a:ext cx="623454" cy="623454"/>
            </a:xfrm>
            <a:custGeom>
              <a:avLst/>
              <a:gdLst>
                <a:gd name="connsiteX0" fmla="*/ 623455 w 623454"/>
                <a:gd name="connsiteY0" fmla="*/ 311727 h 623454"/>
                <a:gd name="connsiteX1" fmla="*/ 311727 w 623454"/>
                <a:gd name="connsiteY1" fmla="*/ 623455 h 623454"/>
                <a:gd name="connsiteX2" fmla="*/ 0 w 623454"/>
                <a:gd name="connsiteY2" fmla="*/ 311727 h 623454"/>
                <a:gd name="connsiteX3" fmla="*/ 311727 w 623454"/>
                <a:gd name="connsiteY3" fmla="*/ 0 h 623454"/>
                <a:gd name="connsiteX4" fmla="*/ 623455 w 623454"/>
                <a:gd name="connsiteY4" fmla="*/ 311727 h 62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54" h="623454">
                  <a:moveTo>
                    <a:pt x="623455" y="311727"/>
                  </a:moveTo>
                  <a:cubicBezTo>
                    <a:pt x="623455" y="483889"/>
                    <a:pt x="483889" y="623455"/>
                    <a:pt x="311727" y="623455"/>
                  </a:cubicBezTo>
                  <a:cubicBezTo>
                    <a:pt x="139565" y="623455"/>
                    <a:pt x="0" y="483889"/>
                    <a:pt x="0" y="311727"/>
                  </a:cubicBezTo>
                  <a:cubicBezTo>
                    <a:pt x="0" y="139565"/>
                    <a:pt x="139565" y="0"/>
                    <a:pt x="311727" y="0"/>
                  </a:cubicBezTo>
                  <a:cubicBezTo>
                    <a:pt x="483889" y="0"/>
                    <a:pt x="623455" y="139565"/>
                    <a:pt x="623455" y="311727"/>
                  </a:cubicBez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7" name="Полилиния 1336">
              <a:extLst>
                <a:ext uri="{FF2B5EF4-FFF2-40B4-BE49-F238E27FC236}">
                  <a16:creationId xmlns:a16="http://schemas.microsoft.com/office/drawing/2014/main" id="{8E9FECBF-A3F9-8C86-3BA4-293A3A1F593C}"/>
                </a:ext>
              </a:extLst>
            </p:cNvPr>
            <p:cNvSpPr/>
            <p:nvPr/>
          </p:nvSpPr>
          <p:spPr>
            <a:xfrm>
              <a:off x="3082636" y="415636"/>
              <a:ext cx="1454727" cy="1454727"/>
            </a:xfrm>
            <a:custGeom>
              <a:avLst/>
              <a:gdLst>
                <a:gd name="connsiteX0" fmla="*/ 0 w 1454727"/>
                <a:gd name="connsiteY0" fmla="*/ 519545 h 1454727"/>
                <a:gd name="connsiteX1" fmla="*/ 0 w 1454727"/>
                <a:gd name="connsiteY1" fmla="*/ 935182 h 1454727"/>
                <a:gd name="connsiteX2" fmla="*/ 519545 w 1454727"/>
                <a:gd name="connsiteY2" fmla="*/ 1454727 h 1454727"/>
                <a:gd name="connsiteX3" fmla="*/ 935182 w 1454727"/>
                <a:gd name="connsiteY3" fmla="*/ 1454727 h 1454727"/>
                <a:gd name="connsiteX4" fmla="*/ 1454727 w 1454727"/>
                <a:gd name="connsiteY4" fmla="*/ 935182 h 1454727"/>
                <a:gd name="connsiteX5" fmla="*/ 1454727 w 1454727"/>
                <a:gd name="connsiteY5" fmla="*/ 519545 h 1454727"/>
                <a:gd name="connsiteX6" fmla="*/ 935182 w 1454727"/>
                <a:gd name="connsiteY6" fmla="*/ 0 h 1454727"/>
                <a:gd name="connsiteX7" fmla="*/ 519545 w 1454727"/>
                <a:gd name="connsiteY7" fmla="*/ 0 h 1454727"/>
                <a:gd name="connsiteX8" fmla="*/ 0 w 1454727"/>
                <a:gd name="connsiteY8" fmla="*/ 519545 h 1454727"/>
                <a:gd name="connsiteX9" fmla="*/ 519545 w 1454727"/>
                <a:gd name="connsiteY9" fmla="*/ 207818 h 1454727"/>
                <a:gd name="connsiteX10" fmla="*/ 935182 w 1454727"/>
                <a:gd name="connsiteY10" fmla="*/ 207818 h 1454727"/>
                <a:gd name="connsiteX11" fmla="*/ 1246909 w 1454727"/>
                <a:gd name="connsiteY11" fmla="*/ 519545 h 1454727"/>
                <a:gd name="connsiteX12" fmla="*/ 1246909 w 1454727"/>
                <a:gd name="connsiteY12" fmla="*/ 935182 h 1454727"/>
                <a:gd name="connsiteX13" fmla="*/ 935182 w 1454727"/>
                <a:gd name="connsiteY13" fmla="*/ 1246909 h 1454727"/>
                <a:gd name="connsiteX14" fmla="*/ 519545 w 1454727"/>
                <a:gd name="connsiteY14" fmla="*/ 1246909 h 1454727"/>
                <a:gd name="connsiteX15" fmla="*/ 207818 w 1454727"/>
                <a:gd name="connsiteY15" fmla="*/ 935182 h 1454727"/>
                <a:gd name="connsiteX16" fmla="*/ 207818 w 1454727"/>
                <a:gd name="connsiteY16" fmla="*/ 519545 h 1454727"/>
                <a:gd name="connsiteX17" fmla="*/ 519545 w 1454727"/>
                <a:gd name="connsiteY17" fmla="*/ 207818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4727" h="1454727">
                  <a:moveTo>
                    <a:pt x="0" y="519545"/>
                  </a:moveTo>
                  <a:lnTo>
                    <a:pt x="0" y="935182"/>
                  </a:lnTo>
                  <a:cubicBezTo>
                    <a:pt x="0" y="1222119"/>
                    <a:pt x="232608" y="1454727"/>
                    <a:pt x="519545" y="1454727"/>
                  </a:cubicBezTo>
                  <a:lnTo>
                    <a:pt x="935182" y="1454727"/>
                  </a:lnTo>
                  <a:cubicBezTo>
                    <a:pt x="1222119" y="1454727"/>
                    <a:pt x="1454727" y="1222119"/>
                    <a:pt x="1454727" y="935182"/>
                  </a:cubicBezTo>
                  <a:lnTo>
                    <a:pt x="1454727" y="519545"/>
                  </a:lnTo>
                  <a:cubicBezTo>
                    <a:pt x="1454727" y="232608"/>
                    <a:pt x="1222119" y="0"/>
                    <a:pt x="935182" y="0"/>
                  </a:cubicBezTo>
                  <a:lnTo>
                    <a:pt x="519545" y="0"/>
                  </a:lnTo>
                  <a:cubicBezTo>
                    <a:pt x="232608" y="0"/>
                    <a:pt x="0" y="232608"/>
                    <a:pt x="0" y="519545"/>
                  </a:cubicBezTo>
                  <a:moveTo>
                    <a:pt x="519545" y="207818"/>
                  </a:moveTo>
                  <a:lnTo>
                    <a:pt x="935182" y="207818"/>
                  </a:lnTo>
                  <a:cubicBezTo>
                    <a:pt x="1107344" y="207818"/>
                    <a:pt x="1246909" y="347383"/>
                    <a:pt x="1246909" y="519545"/>
                  </a:cubicBezTo>
                  <a:lnTo>
                    <a:pt x="1246909" y="935182"/>
                  </a:lnTo>
                  <a:cubicBezTo>
                    <a:pt x="1246909" y="1107344"/>
                    <a:pt x="1107344" y="1246909"/>
                    <a:pt x="935182" y="1246909"/>
                  </a:cubicBezTo>
                  <a:lnTo>
                    <a:pt x="519545" y="1246909"/>
                  </a:lnTo>
                  <a:cubicBezTo>
                    <a:pt x="347383" y="1246909"/>
                    <a:pt x="207818" y="1107344"/>
                    <a:pt x="207818" y="935182"/>
                  </a:cubicBezTo>
                  <a:lnTo>
                    <a:pt x="207818" y="519545"/>
                  </a:lnTo>
                  <a:cubicBezTo>
                    <a:pt x="207818" y="347383"/>
                    <a:pt x="347383" y="207818"/>
                    <a:pt x="519545" y="207818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8" name="Полилиния 1337">
              <a:extLst>
                <a:ext uri="{FF2B5EF4-FFF2-40B4-BE49-F238E27FC236}">
                  <a16:creationId xmlns:a16="http://schemas.microsoft.com/office/drawing/2014/main" id="{A4786564-7B33-1248-65A4-9A82F1765C7E}"/>
                </a:ext>
              </a:extLst>
            </p:cNvPr>
            <p:cNvSpPr/>
            <p:nvPr/>
          </p:nvSpPr>
          <p:spPr>
            <a:xfrm rot="-5400000">
              <a:off x="5368636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9" name="Полилиния 1338">
              <a:extLst>
                <a:ext uri="{FF2B5EF4-FFF2-40B4-BE49-F238E27FC236}">
                  <a16:creationId xmlns:a16="http://schemas.microsoft.com/office/drawing/2014/main" id="{7397D010-CC09-C049-061B-BA1ADA034045}"/>
                </a:ext>
              </a:extLst>
            </p:cNvPr>
            <p:cNvSpPr/>
            <p:nvPr/>
          </p:nvSpPr>
          <p:spPr>
            <a:xfrm rot="5400000">
              <a:off x="5784272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0" name="Полилиния 1339">
              <a:extLst>
                <a:ext uri="{FF2B5EF4-FFF2-40B4-BE49-F238E27FC236}">
                  <a16:creationId xmlns:a16="http://schemas.microsoft.com/office/drawing/2014/main" id="{687473D3-6BF3-7464-4AB6-54F1C8305E77}"/>
                </a:ext>
              </a:extLst>
            </p:cNvPr>
            <p:cNvSpPr/>
            <p:nvPr/>
          </p:nvSpPr>
          <p:spPr>
            <a:xfrm rot="-5400000">
              <a:off x="6199909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1" name="Полилиния 1340">
              <a:extLst>
                <a:ext uri="{FF2B5EF4-FFF2-40B4-BE49-F238E27FC236}">
                  <a16:creationId xmlns:a16="http://schemas.microsoft.com/office/drawing/2014/main" id="{A944CF0C-799E-5389-3612-F624578CBF9D}"/>
                </a:ext>
              </a:extLst>
            </p:cNvPr>
            <p:cNvSpPr/>
            <p:nvPr/>
          </p:nvSpPr>
          <p:spPr>
            <a:xfrm rot="-5400000">
              <a:off x="6823363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2" name="Полилиния 1341">
              <a:extLst>
                <a:ext uri="{FF2B5EF4-FFF2-40B4-BE49-F238E27FC236}">
                  <a16:creationId xmlns:a16="http://schemas.microsoft.com/office/drawing/2014/main" id="{7577DBF3-17D1-DC23-FBAF-0654CF3E0ED5}"/>
                </a:ext>
              </a:extLst>
            </p:cNvPr>
            <p:cNvSpPr/>
            <p:nvPr/>
          </p:nvSpPr>
          <p:spPr>
            <a:xfrm>
              <a:off x="7031181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3" name="Полилиния 1342">
              <a:extLst>
                <a:ext uri="{FF2B5EF4-FFF2-40B4-BE49-F238E27FC236}">
                  <a16:creationId xmlns:a16="http://schemas.microsoft.com/office/drawing/2014/main" id="{A8B4EDB7-B04C-8A08-3636-F2D74E108367}"/>
                </a:ext>
              </a:extLst>
            </p:cNvPr>
            <p:cNvSpPr/>
            <p:nvPr/>
          </p:nvSpPr>
          <p:spPr>
            <a:xfrm rot="5400000">
              <a:off x="7239000" y="415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4" name="Полилиния 1343">
              <a:extLst>
                <a:ext uri="{FF2B5EF4-FFF2-40B4-BE49-F238E27FC236}">
                  <a16:creationId xmlns:a16="http://schemas.microsoft.com/office/drawing/2014/main" id="{5BFAE585-1DB3-AF63-DF04-BC3501DDDCB5}"/>
                </a:ext>
              </a:extLst>
            </p:cNvPr>
            <p:cNvSpPr/>
            <p:nvPr/>
          </p:nvSpPr>
          <p:spPr>
            <a:xfrm rot="-5400000">
              <a:off x="5160818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5" name="Полилиния 1344">
              <a:extLst>
                <a:ext uri="{FF2B5EF4-FFF2-40B4-BE49-F238E27FC236}">
                  <a16:creationId xmlns:a16="http://schemas.microsoft.com/office/drawing/2014/main" id="{6A3AC3E5-4361-5CD8-8C6F-CDFCAC0195D8}"/>
                </a:ext>
              </a:extLst>
            </p:cNvPr>
            <p:cNvSpPr/>
            <p:nvPr/>
          </p:nvSpPr>
          <p:spPr>
            <a:xfrm>
              <a:off x="5368636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6" name="Полилиния 1345">
              <a:extLst>
                <a:ext uri="{FF2B5EF4-FFF2-40B4-BE49-F238E27FC236}">
                  <a16:creationId xmlns:a16="http://schemas.microsoft.com/office/drawing/2014/main" id="{5AB48F79-0108-C44E-5D71-B53B290D2F6B}"/>
                </a:ext>
              </a:extLst>
            </p:cNvPr>
            <p:cNvSpPr/>
            <p:nvPr/>
          </p:nvSpPr>
          <p:spPr>
            <a:xfrm>
              <a:off x="5576454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7" name="Полилиния 1346">
              <a:extLst>
                <a:ext uri="{FF2B5EF4-FFF2-40B4-BE49-F238E27FC236}">
                  <a16:creationId xmlns:a16="http://schemas.microsoft.com/office/drawing/2014/main" id="{BD931C10-3964-D970-48AA-3F000E36693A}"/>
                </a:ext>
              </a:extLst>
            </p:cNvPr>
            <p:cNvSpPr/>
            <p:nvPr/>
          </p:nvSpPr>
          <p:spPr>
            <a:xfrm>
              <a:off x="6199909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8" name="Полилиния 1347">
              <a:extLst>
                <a:ext uri="{FF2B5EF4-FFF2-40B4-BE49-F238E27FC236}">
                  <a16:creationId xmlns:a16="http://schemas.microsoft.com/office/drawing/2014/main" id="{B75B8B74-FFE4-F61C-8F09-BD7640259FB5}"/>
                </a:ext>
              </a:extLst>
            </p:cNvPr>
            <p:cNvSpPr/>
            <p:nvPr/>
          </p:nvSpPr>
          <p:spPr>
            <a:xfrm>
              <a:off x="6407727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9" name="Полилиния 1348">
              <a:extLst>
                <a:ext uri="{FF2B5EF4-FFF2-40B4-BE49-F238E27FC236}">
                  <a16:creationId xmlns:a16="http://schemas.microsoft.com/office/drawing/2014/main" id="{A12D7B6F-3CEB-3748-2215-BC83FCDCDC5B}"/>
                </a:ext>
              </a:extLst>
            </p:cNvPr>
            <p:cNvSpPr/>
            <p:nvPr/>
          </p:nvSpPr>
          <p:spPr>
            <a:xfrm>
              <a:off x="7031181" y="623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0" name="Полилиния 1349">
              <a:extLst>
                <a:ext uri="{FF2B5EF4-FFF2-40B4-BE49-F238E27FC236}">
                  <a16:creationId xmlns:a16="http://schemas.microsoft.com/office/drawing/2014/main" id="{321246F1-6BA8-5472-9DB2-261050D2D631}"/>
                </a:ext>
              </a:extLst>
            </p:cNvPr>
            <p:cNvSpPr/>
            <p:nvPr/>
          </p:nvSpPr>
          <p:spPr>
            <a:xfrm rot="-5400000">
              <a:off x="4745181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1" name="Полилиния 1350">
              <a:extLst>
                <a:ext uri="{FF2B5EF4-FFF2-40B4-BE49-F238E27FC236}">
                  <a16:creationId xmlns:a16="http://schemas.microsoft.com/office/drawing/2014/main" id="{0B5B24FB-51BE-7E32-6314-5891E48430F6}"/>
                </a:ext>
              </a:extLst>
            </p:cNvPr>
            <p:cNvSpPr/>
            <p:nvPr/>
          </p:nvSpPr>
          <p:spPr>
            <a:xfrm>
              <a:off x="4953000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2" name="Полилиния 1351">
              <a:extLst>
                <a:ext uri="{FF2B5EF4-FFF2-40B4-BE49-F238E27FC236}">
                  <a16:creationId xmlns:a16="http://schemas.microsoft.com/office/drawing/2014/main" id="{A16383F0-6686-7E95-C8A2-0D467C639271}"/>
                </a:ext>
              </a:extLst>
            </p:cNvPr>
            <p:cNvSpPr/>
            <p:nvPr/>
          </p:nvSpPr>
          <p:spPr>
            <a:xfrm>
              <a:off x="5160818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3" name="Полилиния 1352">
              <a:extLst>
                <a:ext uri="{FF2B5EF4-FFF2-40B4-BE49-F238E27FC236}">
                  <a16:creationId xmlns:a16="http://schemas.microsoft.com/office/drawing/2014/main" id="{8E4075B7-F2F8-5AD4-58A5-6EC9ABE0D6E6}"/>
                </a:ext>
              </a:extLst>
            </p:cNvPr>
            <p:cNvSpPr/>
            <p:nvPr/>
          </p:nvSpPr>
          <p:spPr>
            <a:xfrm>
              <a:off x="5368636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4" name="Полилиния 1353">
              <a:extLst>
                <a:ext uri="{FF2B5EF4-FFF2-40B4-BE49-F238E27FC236}">
                  <a16:creationId xmlns:a16="http://schemas.microsoft.com/office/drawing/2014/main" id="{B6D12EF7-B2AA-3638-0D24-FCB6C1BD5C70}"/>
                </a:ext>
              </a:extLst>
            </p:cNvPr>
            <p:cNvSpPr/>
            <p:nvPr/>
          </p:nvSpPr>
          <p:spPr>
            <a:xfrm>
              <a:off x="5576454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5" name="Полилиния 1354">
              <a:extLst>
                <a:ext uri="{FF2B5EF4-FFF2-40B4-BE49-F238E27FC236}">
                  <a16:creationId xmlns:a16="http://schemas.microsoft.com/office/drawing/2014/main" id="{B0387983-A110-F1C4-9B37-9B634A3DEBBE}"/>
                </a:ext>
              </a:extLst>
            </p:cNvPr>
            <p:cNvSpPr/>
            <p:nvPr/>
          </p:nvSpPr>
          <p:spPr>
            <a:xfrm rot="-5400000">
              <a:off x="5992090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6" name="Полилиния 1355">
              <a:extLst>
                <a:ext uri="{FF2B5EF4-FFF2-40B4-BE49-F238E27FC236}">
                  <a16:creationId xmlns:a16="http://schemas.microsoft.com/office/drawing/2014/main" id="{B5F147FB-6BDA-77F0-9FA6-61807E0C2F8E}"/>
                </a:ext>
              </a:extLst>
            </p:cNvPr>
            <p:cNvSpPr/>
            <p:nvPr/>
          </p:nvSpPr>
          <p:spPr>
            <a:xfrm>
              <a:off x="6199909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7" name="Полилиния 1356">
              <a:extLst>
                <a:ext uri="{FF2B5EF4-FFF2-40B4-BE49-F238E27FC236}">
                  <a16:creationId xmlns:a16="http://schemas.microsoft.com/office/drawing/2014/main" id="{7BC50074-727D-D3A7-963C-439D4FFBCA3F}"/>
                </a:ext>
              </a:extLst>
            </p:cNvPr>
            <p:cNvSpPr/>
            <p:nvPr/>
          </p:nvSpPr>
          <p:spPr>
            <a:xfrm>
              <a:off x="6407727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8" name="Полилиния 1357">
              <a:extLst>
                <a:ext uri="{FF2B5EF4-FFF2-40B4-BE49-F238E27FC236}">
                  <a16:creationId xmlns:a16="http://schemas.microsoft.com/office/drawing/2014/main" id="{7F2F7FA0-3E4C-494E-C606-EEB6DE75F37A}"/>
                </a:ext>
              </a:extLst>
            </p:cNvPr>
            <p:cNvSpPr/>
            <p:nvPr/>
          </p:nvSpPr>
          <p:spPr>
            <a:xfrm rot="5400000">
              <a:off x="6615545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9" name="Полилиния 1358">
              <a:extLst>
                <a:ext uri="{FF2B5EF4-FFF2-40B4-BE49-F238E27FC236}">
                  <a16:creationId xmlns:a16="http://schemas.microsoft.com/office/drawing/2014/main" id="{41A3B9AF-3E64-9E5D-FFD4-7B01B38154FC}"/>
                </a:ext>
              </a:extLst>
            </p:cNvPr>
            <p:cNvSpPr/>
            <p:nvPr/>
          </p:nvSpPr>
          <p:spPr>
            <a:xfrm>
              <a:off x="7031181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0" name="Полилиния 1359">
              <a:extLst>
                <a:ext uri="{FF2B5EF4-FFF2-40B4-BE49-F238E27FC236}">
                  <a16:creationId xmlns:a16="http://schemas.microsoft.com/office/drawing/2014/main" id="{35A997C1-819E-186B-2757-15EC93F85A8C}"/>
                </a:ext>
              </a:extLst>
            </p:cNvPr>
            <p:cNvSpPr/>
            <p:nvPr/>
          </p:nvSpPr>
          <p:spPr>
            <a:xfrm>
              <a:off x="7239000" y="831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1" name="Полилиния 1360">
              <a:extLst>
                <a:ext uri="{FF2B5EF4-FFF2-40B4-BE49-F238E27FC236}">
                  <a16:creationId xmlns:a16="http://schemas.microsoft.com/office/drawing/2014/main" id="{A393C694-F77B-5C28-3A68-12B8CF173B82}"/>
                </a:ext>
              </a:extLst>
            </p:cNvPr>
            <p:cNvSpPr/>
            <p:nvPr/>
          </p:nvSpPr>
          <p:spPr>
            <a:xfrm>
              <a:off x="5576454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2" name="Полилиния 1361">
              <a:extLst>
                <a:ext uri="{FF2B5EF4-FFF2-40B4-BE49-F238E27FC236}">
                  <a16:creationId xmlns:a16="http://schemas.microsoft.com/office/drawing/2014/main" id="{AE247830-2B9A-D8C4-6B73-ED384B279DB4}"/>
                </a:ext>
              </a:extLst>
            </p:cNvPr>
            <p:cNvSpPr/>
            <p:nvPr/>
          </p:nvSpPr>
          <p:spPr>
            <a:xfrm rot="5400000">
              <a:off x="6407727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3" name="Полилиния 1362">
              <a:extLst>
                <a:ext uri="{FF2B5EF4-FFF2-40B4-BE49-F238E27FC236}">
                  <a16:creationId xmlns:a16="http://schemas.microsoft.com/office/drawing/2014/main" id="{0EBF9E0C-D10D-C885-09E6-74218D3B7B19}"/>
                </a:ext>
              </a:extLst>
            </p:cNvPr>
            <p:cNvSpPr/>
            <p:nvPr/>
          </p:nvSpPr>
          <p:spPr>
            <a:xfrm rot="-5400000">
              <a:off x="6823363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4" name="Полилиния 1363">
              <a:extLst>
                <a:ext uri="{FF2B5EF4-FFF2-40B4-BE49-F238E27FC236}">
                  <a16:creationId xmlns:a16="http://schemas.microsoft.com/office/drawing/2014/main" id="{DA81783E-3063-54D4-D293-6BDC7F0B8FA1}"/>
                </a:ext>
              </a:extLst>
            </p:cNvPr>
            <p:cNvSpPr/>
            <p:nvPr/>
          </p:nvSpPr>
          <p:spPr>
            <a:xfrm rot="5400000">
              <a:off x="7239000" y="1039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5" name="Полилиния 1364">
              <a:extLst>
                <a:ext uri="{FF2B5EF4-FFF2-40B4-BE49-F238E27FC236}">
                  <a16:creationId xmlns:a16="http://schemas.microsoft.com/office/drawing/2014/main" id="{BE8285D7-9688-0002-A801-A5EF4209768E}"/>
                </a:ext>
              </a:extLst>
            </p:cNvPr>
            <p:cNvSpPr/>
            <p:nvPr/>
          </p:nvSpPr>
          <p:spPr>
            <a:xfrm rot="-5400000">
              <a:off x="4745181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6" name="Полилиния 1365">
              <a:extLst>
                <a:ext uri="{FF2B5EF4-FFF2-40B4-BE49-F238E27FC236}">
                  <a16:creationId xmlns:a16="http://schemas.microsoft.com/office/drawing/2014/main" id="{A9387965-26E8-5C5F-4F02-471F754C5056}"/>
                </a:ext>
              </a:extLst>
            </p:cNvPr>
            <p:cNvSpPr/>
            <p:nvPr/>
          </p:nvSpPr>
          <p:spPr>
            <a:xfrm rot="5400000">
              <a:off x="4953000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7" name="Полилиния 1366">
              <a:extLst>
                <a:ext uri="{FF2B5EF4-FFF2-40B4-BE49-F238E27FC236}">
                  <a16:creationId xmlns:a16="http://schemas.microsoft.com/office/drawing/2014/main" id="{FDFE0BEB-AF30-B3DB-D6DE-FB6B2AA5DE70}"/>
                </a:ext>
              </a:extLst>
            </p:cNvPr>
            <p:cNvSpPr/>
            <p:nvPr/>
          </p:nvSpPr>
          <p:spPr>
            <a:xfrm>
              <a:off x="5576454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8" name="Полилиния 1367">
              <a:extLst>
                <a:ext uri="{FF2B5EF4-FFF2-40B4-BE49-F238E27FC236}">
                  <a16:creationId xmlns:a16="http://schemas.microsoft.com/office/drawing/2014/main" id="{5E6514BF-8044-4B36-455E-878CD46DD55E}"/>
                </a:ext>
              </a:extLst>
            </p:cNvPr>
            <p:cNvSpPr/>
            <p:nvPr/>
          </p:nvSpPr>
          <p:spPr>
            <a:xfrm>
              <a:off x="5784272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9" name="Полилиния 1368">
              <a:extLst>
                <a:ext uri="{FF2B5EF4-FFF2-40B4-BE49-F238E27FC236}">
                  <a16:creationId xmlns:a16="http://schemas.microsoft.com/office/drawing/2014/main" id="{653CC119-AD7E-06E0-E4D2-BBF4B0023728}"/>
                </a:ext>
              </a:extLst>
            </p:cNvPr>
            <p:cNvSpPr/>
            <p:nvPr/>
          </p:nvSpPr>
          <p:spPr>
            <a:xfrm rot="-5400000">
              <a:off x="6199909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0" name="Полилиния 1369">
              <a:extLst>
                <a:ext uri="{FF2B5EF4-FFF2-40B4-BE49-F238E27FC236}">
                  <a16:creationId xmlns:a16="http://schemas.microsoft.com/office/drawing/2014/main" id="{0B8526FF-92B6-65C3-C449-11FF63BEF0AC}"/>
                </a:ext>
              </a:extLst>
            </p:cNvPr>
            <p:cNvSpPr/>
            <p:nvPr/>
          </p:nvSpPr>
          <p:spPr>
            <a:xfrm rot="-5400000">
              <a:off x="6615545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1" name="Полилиния 1370">
              <a:extLst>
                <a:ext uri="{FF2B5EF4-FFF2-40B4-BE49-F238E27FC236}">
                  <a16:creationId xmlns:a16="http://schemas.microsoft.com/office/drawing/2014/main" id="{D03C8437-21F1-AA05-D499-70B722825288}"/>
                </a:ext>
              </a:extLst>
            </p:cNvPr>
            <p:cNvSpPr/>
            <p:nvPr/>
          </p:nvSpPr>
          <p:spPr>
            <a:xfrm rot="5400000">
              <a:off x="6823363" y="1246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2" name="Полилиния 1371">
              <a:extLst>
                <a:ext uri="{FF2B5EF4-FFF2-40B4-BE49-F238E27FC236}">
                  <a16:creationId xmlns:a16="http://schemas.microsoft.com/office/drawing/2014/main" id="{F173FB5B-FE64-7DF8-67F2-B3A7AB2C180F}"/>
                </a:ext>
              </a:extLst>
            </p:cNvPr>
            <p:cNvSpPr/>
            <p:nvPr/>
          </p:nvSpPr>
          <p:spPr>
            <a:xfrm>
              <a:off x="4745181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3" name="Полилиния 1372">
              <a:extLst>
                <a:ext uri="{FF2B5EF4-FFF2-40B4-BE49-F238E27FC236}">
                  <a16:creationId xmlns:a16="http://schemas.microsoft.com/office/drawing/2014/main" id="{DEE2EC55-A65D-E640-DB14-3B7841D52451}"/>
                </a:ext>
              </a:extLst>
            </p:cNvPr>
            <p:cNvSpPr/>
            <p:nvPr/>
          </p:nvSpPr>
          <p:spPr>
            <a:xfrm rot="-5400000">
              <a:off x="5368636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4" name="Полилиния 1373">
              <a:extLst>
                <a:ext uri="{FF2B5EF4-FFF2-40B4-BE49-F238E27FC236}">
                  <a16:creationId xmlns:a16="http://schemas.microsoft.com/office/drawing/2014/main" id="{A5C0218C-88C3-FF5B-16AF-7DB5D23BA9A0}"/>
                </a:ext>
              </a:extLst>
            </p:cNvPr>
            <p:cNvSpPr/>
            <p:nvPr/>
          </p:nvSpPr>
          <p:spPr>
            <a:xfrm>
              <a:off x="5576454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5" name="Полилиния 1374">
              <a:extLst>
                <a:ext uri="{FF2B5EF4-FFF2-40B4-BE49-F238E27FC236}">
                  <a16:creationId xmlns:a16="http://schemas.microsoft.com/office/drawing/2014/main" id="{19CB5D3E-D7B5-7D05-4EE7-0C9401B105AE}"/>
                </a:ext>
              </a:extLst>
            </p:cNvPr>
            <p:cNvSpPr/>
            <p:nvPr/>
          </p:nvSpPr>
          <p:spPr>
            <a:xfrm>
              <a:off x="5784272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6" name="Полилиния 1375">
              <a:extLst>
                <a:ext uri="{FF2B5EF4-FFF2-40B4-BE49-F238E27FC236}">
                  <a16:creationId xmlns:a16="http://schemas.microsoft.com/office/drawing/2014/main" id="{B4E72EDB-BC03-30B1-7B52-F30E9E4546B4}"/>
                </a:ext>
              </a:extLst>
            </p:cNvPr>
            <p:cNvSpPr/>
            <p:nvPr/>
          </p:nvSpPr>
          <p:spPr>
            <a:xfrm>
              <a:off x="5992090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7" name="Полилиния 1376">
              <a:extLst>
                <a:ext uri="{FF2B5EF4-FFF2-40B4-BE49-F238E27FC236}">
                  <a16:creationId xmlns:a16="http://schemas.microsoft.com/office/drawing/2014/main" id="{B51C6265-8046-A6F4-BDD3-C2ED1BDC0282}"/>
                </a:ext>
              </a:extLst>
            </p:cNvPr>
            <p:cNvSpPr/>
            <p:nvPr/>
          </p:nvSpPr>
          <p:spPr>
            <a:xfrm rot="5400000">
              <a:off x="6199909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8" name="Полилиния 1377">
              <a:extLst>
                <a:ext uri="{FF2B5EF4-FFF2-40B4-BE49-F238E27FC236}">
                  <a16:creationId xmlns:a16="http://schemas.microsoft.com/office/drawing/2014/main" id="{9A3CF879-5315-0B98-BA2F-024CD41BEBC9}"/>
                </a:ext>
              </a:extLst>
            </p:cNvPr>
            <p:cNvSpPr/>
            <p:nvPr/>
          </p:nvSpPr>
          <p:spPr>
            <a:xfrm rot="5400000">
              <a:off x="6615545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9" name="Полилиния 1378">
              <a:extLst>
                <a:ext uri="{FF2B5EF4-FFF2-40B4-BE49-F238E27FC236}">
                  <a16:creationId xmlns:a16="http://schemas.microsoft.com/office/drawing/2014/main" id="{70BF2362-6207-EF4E-0E34-21AA83598A36}"/>
                </a:ext>
              </a:extLst>
            </p:cNvPr>
            <p:cNvSpPr/>
            <p:nvPr/>
          </p:nvSpPr>
          <p:spPr>
            <a:xfrm rot="-5400000">
              <a:off x="7031181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0" name="Полилиния 1379">
              <a:extLst>
                <a:ext uri="{FF2B5EF4-FFF2-40B4-BE49-F238E27FC236}">
                  <a16:creationId xmlns:a16="http://schemas.microsoft.com/office/drawing/2014/main" id="{0668C3E8-64E9-DDAB-807B-00661EC664CF}"/>
                </a:ext>
              </a:extLst>
            </p:cNvPr>
            <p:cNvSpPr/>
            <p:nvPr/>
          </p:nvSpPr>
          <p:spPr>
            <a:xfrm>
              <a:off x="7239000" y="1454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1" name="Полилиния 1380">
              <a:extLst>
                <a:ext uri="{FF2B5EF4-FFF2-40B4-BE49-F238E27FC236}">
                  <a16:creationId xmlns:a16="http://schemas.microsoft.com/office/drawing/2014/main" id="{DA3435CE-D0F6-2E39-123C-CEEE3C2F542F}"/>
                </a:ext>
              </a:extLst>
            </p:cNvPr>
            <p:cNvSpPr/>
            <p:nvPr/>
          </p:nvSpPr>
          <p:spPr>
            <a:xfrm rot="5400000">
              <a:off x="4745181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2" name="Полилиния 1381">
              <a:extLst>
                <a:ext uri="{FF2B5EF4-FFF2-40B4-BE49-F238E27FC236}">
                  <a16:creationId xmlns:a16="http://schemas.microsoft.com/office/drawing/2014/main" id="{129B6053-3BAA-75A8-A301-74BE6DE9A642}"/>
                </a:ext>
              </a:extLst>
            </p:cNvPr>
            <p:cNvSpPr/>
            <p:nvPr/>
          </p:nvSpPr>
          <p:spPr>
            <a:xfrm rot="-5400000">
              <a:off x="5160818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3" name="Полилиния 1382">
              <a:extLst>
                <a:ext uri="{FF2B5EF4-FFF2-40B4-BE49-F238E27FC236}">
                  <a16:creationId xmlns:a16="http://schemas.microsoft.com/office/drawing/2014/main" id="{92DD3900-DD73-8706-C222-AFB766AE288C}"/>
                </a:ext>
              </a:extLst>
            </p:cNvPr>
            <p:cNvSpPr/>
            <p:nvPr/>
          </p:nvSpPr>
          <p:spPr>
            <a:xfrm>
              <a:off x="5576454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4" name="Полилиния 1383">
              <a:extLst>
                <a:ext uri="{FF2B5EF4-FFF2-40B4-BE49-F238E27FC236}">
                  <a16:creationId xmlns:a16="http://schemas.microsoft.com/office/drawing/2014/main" id="{B8DD53C8-801F-60B9-3D41-A7B40C7CD44C}"/>
                </a:ext>
              </a:extLst>
            </p:cNvPr>
            <p:cNvSpPr/>
            <p:nvPr/>
          </p:nvSpPr>
          <p:spPr>
            <a:xfrm rot="5400000">
              <a:off x="5992090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5" name="Полилиния 1384">
              <a:extLst>
                <a:ext uri="{FF2B5EF4-FFF2-40B4-BE49-F238E27FC236}">
                  <a16:creationId xmlns:a16="http://schemas.microsoft.com/office/drawing/2014/main" id="{BD6BC085-A07E-2387-0AD5-683D04DB2B97}"/>
                </a:ext>
              </a:extLst>
            </p:cNvPr>
            <p:cNvSpPr/>
            <p:nvPr/>
          </p:nvSpPr>
          <p:spPr>
            <a:xfrm rot="-5400000">
              <a:off x="6407727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6" name="Полилиния 1385">
              <a:extLst>
                <a:ext uri="{FF2B5EF4-FFF2-40B4-BE49-F238E27FC236}">
                  <a16:creationId xmlns:a16="http://schemas.microsoft.com/office/drawing/2014/main" id="{E9BA6D6C-8282-AB61-6984-23B9F0034B2F}"/>
                </a:ext>
              </a:extLst>
            </p:cNvPr>
            <p:cNvSpPr/>
            <p:nvPr/>
          </p:nvSpPr>
          <p:spPr>
            <a:xfrm rot="5400000">
              <a:off x="6823363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6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7" name="Полилиния 1386">
              <a:extLst>
                <a:ext uri="{FF2B5EF4-FFF2-40B4-BE49-F238E27FC236}">
                  <a16:creationId xmlns:a16="http://schemas.microsoft.com/office/drawing/2014/main" id="{5F048B76-5C28-2E9F-F6EF-23A614A11DC6}"/>
                </a:ext>
              </a:extLst>
            </p:cNvPr>
            <p:cNvSpPr/>
            <p:nvPr/>
          </p:nvSpPr>
          <p:spPr>
            <a:xfrm>
              <a:off x="7239000" y="1662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8" name="Полилиния 1387">
              <a:extLst>
                <a:ext uri="{FF2B5EF4-FFF2-40B4-BE49-F238E27FC236}">
                  <a16:creationId xmlns:a16="http://schemas.microsoft.com/office/drawing/2014/main" id="{1E2EC15C-00CB-5261-9516-25E6818A523D}"/>
                </a:ext>
              </a:extLst>
            </p:cNvPr>
            <p:cNvSpPr/>
            <p:nvPr/>
          </p:nvSpPr>
          <p:spPr>
            <a:xfrm>
              <a:off x="5160818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9" name="Полилиния 1388">
              <a:extLst>
                <a:ext uri="{FF2B5EF4-FFF2-40B4-BE49-F238E27FC236}">
                  <a16:creationId xmlns:a16="http://schemas.microsoft.com/office/drawing/2014/main" id="{DD753C21-C554-FA58-1C86-9A5043D891CD}"/>
                </a:ext>
              </a:extLst>
            </p:cNvPr>
            <p:cNvSpPr/>
            <p:nvPr/>
          </p:nvSpPr>
          <p:spPr>
            <a:xfrm>
              <a:off x="5368636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0" name="Полилиния 1389">
              <a:extLst>
                <a:ext uri="{FF2B5EF4-FFF2-40B4-BE49-F238E27FC236}">
                  <a16:creationId xmlns:a16="http://schemas.microsoft.com/office/drawing/2014/main" id="{3BEE0541-4DF9-F6F6-2AC5-C6D0C3F172FF}"/>
                </a:ext>
              </a:extLst>
            </p:cNvPr>
            <p:cNvSpPr/>
            <p:nvPr/>
          </p:nvSpPr>
          <p:spPr>
            <a:xfrm>
              <a:off x="5576454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1" name="Полилиния 1390">
              <a:extLst>
                <a:ext uri="{FF2B5EF4-FFF2-40B4-BE49-F238E27FC236}">
                  <a16:creationId xmlns:a16="http://schemas.microsoft.com/office/drawing/2014/main" id="{C77C2F47-E02B-4618-F800-9BFE55E030CF}"/>
                </a:ext>
              </a:extLst>
            </p:cNvPr>
            <p:cNvSpPr/>
            <p:nvPr/>
          </p:nvSpPr>
          <p:spPr>
            <a:xfrm rot="-5400000">
              <a:off x="6199909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2" name="Полилиния 1391">
              <a:extLst>
                <a:ext uri="{FF2B5EF4-FFF2-40B4-BE49-F238E27FC236}">
                  <a16:creationId xmlns:a16="http://schemas.microsoft.com/office/drawing/2014/main" id="{8FC4380A-EE7C-1658-629C-05852155FDAA}"/>
                </a:ext>
              </a:extLst>
            </p:cNvPr>
            <p:cNvSpPr/>
            <p:nvPr/>
          </p:nvSpPr>
          <p:spPr>
            <a:xfrm>
              <a:off x="6407727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3" name="Полилиния 1392">
              <a:extLst>
                <a:ext uri="{FF2B5EF4-FFF2-40B4-BE49-F238E27FC236}">
                  <a16:creationId xmlns:a16="http://schemas.microsoft.com/office/drawing/2014/main" id="{9F0E9E2A-D1BF-2441-82D2-DBC9EA7EAF56}"/>
                </a:ext>
              </a:extLst>
            </p:cNvPr>
            <p:cNvSpPr/>
            <p:nvPr/>
          </p:nvSpPr>
          <p:spPr>
            <a:xfrm rot="-5400000">
              <a:off x="7031181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4" name="Полилиния 1393">
              <a:extLst>
                <a:ext uri="{FF2B5EF4-FFF2-40B4-BE49-F238E27FC236}">
                  <a16:creationId xmlns:a16="http://schemas.microsoft.com/office/drawing/2014/main" id="{A57B1BFF-2478-A84B-D20E-4E79F5B0775D}"/>
                </a:ext>
              </a:extLst>
            </p:cNvPr>
            <p:cNvSpPr/>
            <p:nvPr/>
          </p:nvSpPr>
          <p:spPr>
            <a:xfrm>
              <a:off x="7239000" y="1870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5" name="Полилиния 1394">
              <a:extLst>
                <a:ext uri="{FF2B5EF4-FFF2-40B4-BE49-F238E27FC236}">
                  <a16:creationId xmlns:a16="http://schemas.microsoft.com/office/drawing/2014/main" id="{442B141D-5637-73C8-1829-1861002B2DB5}"/>
                </a:ext>
              </a:extLst>
            </p:cNvPr>
            <p:cNvSpPr/>
            <p:nvPr/>
          </p:nvSpPr>
          <p:spPr>
            <a:xfrm rot="5400000">
              <a:off x="3290454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6" name="Полилиния 1395">
              <a:extLst>
                <a:ext uri="{FF2B5EF4-FFF2-40B4-BE49-F238E27FC236}">
                  <a16:creationId xmlns:a16="http://schemas.microsoft.com/office/drawing/2014/main" id="{A0661E92-B62C-1CC0-4C1F-9298D47B244A}"/>
                </a:ext>
              </a:extLst>
            </p:cNvPr>
            <p:cNvSpPr/>
            <p:nvPr/>
          </p:nvSpPr>
          <p:spPr>
            <a:xfrm rot="-5400000">
              <a:off x="3913909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7" name="Полилиния 1396">
              <a:extLst>
                <a:ext uri="{FF2B5EF4-FFF2-40B4-BE49-F238E27FC236}">
                  <a16:creationId xmlns:a16="http://schemas.microsoft.com/office/drawing/2014/main" id="{C825B158-EAA6-B152-51AC-A4E82A05122B}"/>
                </a:ext>
              </a:extLst>
            </p:cNvPr>
            <p:cNvSpPr/>
            <p:nvPr/>
          </p:nvSpPr>
          <p:spPr>
            <a:xfrm rot="5400000">
              <a:off x="4329545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6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8" name="Полилиния 1397">
              <a:extLst>
                <a:ext uri="{FF2B5EF4-FFF2-40B4-BE49-F238E27FC236}">
                  <a16:creationId xmlns:a16="http://schemas.microsoft.com/office/drawing/2014/main" id="{C65CA438-C5C4-40FC-C5F7-E7BFF4C0F623}"/>
                </a:ext>
              </a:extLst>
            </p:cNvPr>
            <p:cNvSpPr/>
            <p:nvPr/>
          </p:nvSpPr>
          <p:spPr>
            <a:xfrm rot="-5400000">
              <a:off x="4745181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9" name="Полилиния 1398">
              <a:extLst>
                <a:ext uri="{FF2B5EF4-FFF2-40B4-BE49-F238E27FC236}">
                  <a16:creationId xmlns:a16="http://schemas.microsoft.com/office/drawing/2014/main" id="{F67E2A18-07AF-3A0F-D3AA-7AD813F54A6F}"/>
                </a:ext>
              </a:extLst>
            </p:cNvPr>
            <p:cNvSpPr/>
            <p:nvPr/>
          </p:nvSpPr>
          <p:spPr>
            <a:xfrm>
              <a:off x="4953000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0" name="Полилиния 1399">
              <a:extLst>
                <a:ext uri="{FF2B5EF4-FFF2-40B4-BE49-F238E27FC236}">
                  <a16:creationId xmlns:a16="http://schemas.microsoft.com/office/drawing/2014/main" id="{DD667F7C-5CDC-619E-6354-9D0B1A14D337}"/>
                </a:ext>
              </a:extLst>
            </p:cNvPr>
            <p:cNvSpPr/>
            <p:nvPr/>
          </p:nvSpPr>
          <p:spPr>
            <a:xfrm>
              <a:off x="5160818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1" name="Полилиния 1400">
              <a:extLst>
                <a:ext uri="{FF2B5EF4-FFF2-40B4-BE49-F238E27FC236}">
                  <a16:creationId xmlns:a16="http://schemas.microsoft.com/office/drawing/2014/main" id="{CD115A1A-3EAC-DEF7-24AC-F8D737171E95}"/>
                </a:ext>
              </a:extLst>
            </p:cNvPr>
            <p:cNvSpPr/>
            <p:nvPr/>
          </p:nvSpPr>
          <p:spPr>
            <a:xfrm>
              <a:off x="5368636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2" name="Полилиния 1401">
              <a:extLst>
                <a:ext uri="{FF2B5EF4-FFF2-40B4-BE49-F238E27FC236}">
                  <a16:creationId xmlns:a16="http://schemas.microsoft.com/office/drawing/2014/main" id="{811C8D98-93FB-F5F6-AA89-4F5734536E76}"/>
                </a:ext>
              </a:extLst>
            </p:cNvPr>
            <p:cNvSpPr/>
            <p:nvPr/>
          </p:nvSpPr>
          <p:spPr>
            <a:xfrm>
              <a:off x="5576454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3" name="Полилиния 1402">
              <a:extLst>
                <a:ext uri="{FF2B5EF4-FFF2-40B4-BE49-F238E27FC236}">
                  <a16:creationId xmlns:a16="http://schemas.microsoft.com/office/drawing/2014/main" id="{7846F90A-CA41-87B1-7361-2724258359BF}"/>
                </a:ext>
              </a:extLst>
            </p:cNvPr>
            <p:cNvSpPr/>
            <p:nvPr/>
          </p:nvSpPr>
          <p:spPr>
            <a:xfrm rot="5400000">
              <a:off x="5784272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4" name="Полилиния 1403">
              <a:extLst>
                <a:ext uri="{FF2B5EF4-FFF2-40B4-BE49-F238E27FC236}">
                  <a16:creationId xmlns:a16="http://schemas.microsoft.com/office/drawing/2014/main" id="{7283BDC9-50A2-BEDB-F8D3-008A759FAFF1}"/>
                </a:ext>
              </a:extLst>
            </p:cNvPr>
            <p:cNvSpPr/>
            <p:nvPr/>
          </p:nvSpPr>
          <p:spPr>
            <a:xfrm rot="5400000">
              <a:off x="6407727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5" name="Полилиния 1404">
              <a:extLst>
                <a:ext uri="{FF2B5EF4-FFF2-40B4-BE49-F238E27FC236}">
                  <a16:creationId xmlns:a16="http://schemas.microsoft.com/office/drawing/2014/main" id="{2414B069-1BE9-3AFF-D1B2-926F57AF4254}"/>
                </a:ext>
              </a:extLst>
            </p:cNvPr>
            <p:cNvSpPr/>
            <p:nvPr/>
          </p:nvSpPr>
          <p:spPr>
            <a:xfrm>
              <a:off x="7239000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6" name="Полилиния 1405">
              <a:extLst>
                <a:ext uri="{FF2B5EF4-FFF2-40B4-BE49-F238E27FC236}">
                  <a16:creationId xmlns:a16="http://schemas.microsoft.com/office/drawing/2014/main" id="{2BCD56FD-740F-D88B-0722-36A8F3197370}"/>
                </a:ext>
              </a:extLst>
            </p:cNvPr>
            <p:cNvSpPr/>
            <p:nvPr/>
          </p:nvSpPr>
          <p:spPr>
            <a:xfrm rot="5400000">
              <a:off x="7446818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7" name="Полилиния 1406">
              <a:extLst>
                <a:ext uri="{FF2B5EF4-FFF2-40B4-BE49-F238E27FC236}">
                  <a16:creationId xmlns:a16="http://schemas.microsoft.com/office/drawing/2014/main" id="{6E5FE8AA-7311-3AC9-4DCB-BEE058D9311E}"/>
                </a:ext>
              </a:extLst>
            </p:cNvPr>
            <p:cNvSpPr/>
            <p:nvPr/>
          </p:nvSpPr>
          <p:spPr>
            <a:xfrm rot="-5400000">
              <a:off x="7862454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8" name="Полилиния 1407">
              <a:extLst>
                <a:ext uri="{FF2B5EF4-FFF2-40B4-BE49-F238E27FC236}">
                  <a16:creationId xmlns:a16="http://schemas.microsoft.com/office/drawing/2014/main" id="{8425BF87-BCC4-BAA4-3661-1F0ED7D26A39}"/>
                </a:ext>
              </a:extLst>
            </p:cNvPr>
            <p:cNvSpPr/>
            <p:nvPr/>
          </p:nvSpPr>
          <p:spPr>
            <a:xfrm>
              <a:off x="8070272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9" name="Полилиния 1408">
              <a:extLst>
                <a:ext uri="{FF2B5EF4-FFF2-40B4-BE49-F238E27FC236}">
                  <a16:creationId xmlns:a16="http://schemas.microsoft.com/office/drawing/2014/main" id="{AD5F48CD-6441-EDA4-C156-9D06E80F39A8}"/>
                </a:ext>
              </a:extLst>
            </p:cNvPr>
            <p:cNvSpPr/>
            <p:nvPr/>
          </p:nvSpPr>
          <p:spPr>
            <a:xfrm rot="-5400000">
              <a:off x="8485909" y="2078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0" name="Полилиния 1409">
              <a:extLst>
                <a:ext uri="{FF2B5EF4-FFF2-40B4-BE49-F238E27FC236}">
                  <a16:creationId xmlns:a16="http://schemas.microsoft.com/office/drawing/2014/main" id="{78211EFE-8E58-26A8-38F1-C972DF95491E}"/>
                </a:ext>
              </a:extLst>
            </p:cNvPr>
            <p:cNvSpPr/>
            <p:nvPr/>
          </p:nvSpPr>
          <p:spPr>
            <a:xfrm rot="-5400000">
              <a:off x="3082636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1" name="Полилиния 1410">
              <a:extLst>
                <a:ext uri="{FF2B5EF4-FFF2-40B4-BE49-F238E27FC236}">
                  <a16:creationId xmlns:a16="http://schemas.microsoft.com/office/drawing/2014/main" id="{83A6A215-C392-F1DF-2739-254CBE4396C2}"/>
                </a:ext>
              </a:extLst>
            </p:cNvPr>
            <p:cNvSpPr/>
            <p:nvPr/>
          </p:nvSpPr>
          <p:spPr>
            <a:xfrm rot="-5400000">
              <a:off x="3498272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2" name="Полилиния 1411">
              <a:extLst>
                <a:ext uri="{FF2B5EF4-FFF2-40B4-BE49-F238E27FC236}">
                  <a16:creationId xmlns:a16="http://schemas.microsoft.com/office/drawing/2014/main" id="{455F2FC3-F5D1-8C10-CB93-0D336BB6E65D}"/>
                </a:ext>
              </a:extLst>
            </p:cNvPr>
            <p:cNvSpPr/>
            <p:nvPr/>
          </p:nvSpPr>
          <p:spPr>
            <a:xfrm>
              <a:off x="3913909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3" name="Полилиния 1412">
              <a:extLst>
                <a:ext uri="{FF2B5EF4-FFF2-40B4-BE49-F238E27FC236}">
                  <a16:creationId xmlns:a16="http://schemas.microsoft.com/office/drawing/2014/main" id="{38935F1F-245A-36C1-E22B-FA2F8593790C}"/>
                </a:ext>
              </a:extLst>
            </p:cNvPr>
            <p:cNvSpPr/>
            <p:nvPr/>
          </p:nvSpPr>
          <p:spPr>
            <a:xfrm rot="5400000">
              <a:off x="4121727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4" name="Полилиния 1413">
              <a:extLst>
                <a:ext uri="{FF2B5EF4-FFF2-40B4-BE49-F238E27FC236}">
                  <a16:creationId xmlns:a16="http://schemas.microsoft.com/office/drawing/2014/main" id="{0C8B9DE4-0445-8C2D-2BAC-8B8460FD926E}"/>
                </a:ext>
              </a:extLst>
            </p:cNvPr>
            <p:cNvSpPr/>
            <p:nvPr/>
          </p:nvSpPr>
          <p:spPr>
            <a:xfrm rot="-5400000">
              <a:off x="4537363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5" name="Полилиния 1414">
              <a:extLst>
                <a:ext uri="{FF2B5EF4-FFF2-40B4-BE49-F238E27FC236}">
                  <a16:creationId xmlns:a16="http://schemas.microsoft.com/office/drawing/2014/main" id="{BAFA29CB-1062-26E0-A5F2-09C9C709C8C0}"/>
                </a:ext>
              </a:extLst>
            </p:cNvPr>
            <p:cNvSpPr/>
            <p:nvPr/>
          </p:nvSpPr>
          <p:spPr>
            <a:xfrm rot="-5400000">
              <a:off x="6615545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6" name="Полилиния 1415">
              <a:extLst>
                <a:ext uri="{FF2B5EF4-FFF2-40B4-BE49-F238E27FC236}">
                  <a16:creationId xmlns:a16="http://schemas.microsoft.com/office/drawing/2014/main" id="{FE14404E-AF28-12CC-BD42-504B0CA0A1E8}"/>
                </a:ext>
              </a:extLst>
            </p:cNvPr>
            <p:cNvSpPr/>
            <p:nvPr/>
          </p:nvSpPr>
          <p:spPr>
            <a:xfrm>
              <a:off x="6823363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7" name="Полилиния 1416">
              <a:extLst>
                <a:ext uri="{FF2B5EF4-FFF2-40B4-BE49-F238E27FC236}">
                  <a16:creationId xmlns:a16="http://schemas.microsoft.com/office/drawing/2014/main" id="{254FAA25-BDE1-89DA-8FB3-AAC1513D16A4}"/>
                </a:ext>
              </a:extLst>
            </p:cNvPr>
            <p:cNvSpPr/>
            <p:nvPr/>
          </p:nvSpPr>
          <p:spPr>
            <a:xfrm rot="5400000">
              <a:off x="7654636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8" name="Полилиния 1417">
              <a:extLst>
                <a:ext uri="{FF2B5EF4-FFF2-40B4-BE49-F238E27FC236}">
                  <a16:creationId xmlns:a16="http://schemas.microsoft.com/office/drawing/2014/main" id="{FA3A9BB0-5BA5-CB51-A719-23F6094862DB}"/>
                </a:ext>
              </a:extLst>
            </p:cNvPr>
            <p:cNvSpPr/>
            <p:nvPr/>
          </p:nvSpPr>
          <p:spPr>
            <a:xfrm rot="5400000">
              <a:off x="8070272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9" name="Полилиния 1418">
              <a:extLst>
                <a:ext uri="{FF2B5EF4-FFF2-40B4-BE49-F238E27FC236}">
                  <a16:creationId xmlns:a16="http://schemas.microsoft.com/office/drawing/2014/main" id="{75EA5D65-488F-B2A2-A8BD-DDB0B60C8CDC}"/>
                </a:ext>
              </a:extLst>
            </p:cNvPr>
            <p:cNvSpPr/>
            <p:nvPr/>
          </p:nvSpPr>
          <p:spPr>
            <a:xfrm>
              <a:off x="8485909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0" name="Полилиния 1419">
              <a:extLst>
                <a:ext uri="{FF2B5EF4-FFF2-40B4-BE49-F238E27FC236}">
                  <a16:creationId xmlns:a16="http://schemas.microsoft.com/office/drawing/2014/main" id="{9965C91B-4EA1-2B33-72A9-E4455E965508}"/>
                </a:ext>
              </a:extLst>
            </p:cNvPr>
            <p:cNvSpPr/>
            <p:nvPr/>
          </p:nvSpPr>
          <p:spPr>
            <a:xfrm>
              <a:off x="8693727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1" name="Полилиния 1420">
              <a:extLst>
                <a:ext uri="{FF2B5EF4-FFF2-40B4-BE49-F238E27FC236}">
                  <a16:creationId xmlns:a16="http://schemas.microsoft.com/office/drawing/2014/main" id="{297EEDF3-9224-CEE1-E8FC-199671D1FD74}"/>
                </a:ext>
              </a:extLst>
            </p:cNvPr>
            <p:cNvSpPr/>
            <p:nvPr/>
          </p:nvSpPr>
          <p:spPr>
            <a:xfrm>
              <a:off x="8901545" y="2286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2" name="Полилиния 1421">
              <a:extLst>
                <a:ext uri="{FF2B5EF4-FFF2-40B4-BE49-F238E27FC236}">
                  <a16:creationId xmlns:a16="http://schemas.microsoft.com/office/drawing/2014/main" id="{E36ABED1-9206-F2AE-4EB5-396441445B8E}"/>
                </a:ext>
              </a:extLst>
            </p:cNvPr>
            <p:cNvSpPr/>
            <p:nvPr/>
          </p:nvSpPr>
          <p:spPr>
            <a:xfrm>
              <a:off x="3082636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3" name="Полилиния 1422">
              <a:extLst>
                <a:ext uri="{FF2B5EF4-FFF2-40B4-BE49-F238E27FC236}">
                  <a16:creationId xmlns:a16="http://schemas.microsoft.com/office/drawing/2014/main" id="{1DC8890C-A30B-A4C0-A259-52FFA60EAAC0}"/>
                </a:ext>
              </a:extLst>
            </p:cNvPr>
            <p:cNvSpPr/>
            <p:nvPr/>
          </p:nvSpPr>
          <p:spPr>
            <a:xfrm>
              <a:off x="3290454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4" name="Полилиния 1423">
              <a:extLst>
                <a:ext uri="{FF2B5EF4-FFF2-40B4-BE49-F238E27FC236}">
                  <a16:creationId xmlns:a16="http://schemas.microsoft.com/office/drawing/2014/main" id="{4D7147CF-EA02-7E54-6DFC-5A65778CBE75}"/>
                </a:ext>
              </a:extLst>
            </p:cNvPr>
            <p:cNvSpPr/>
            <p:nvPr/>
          </p:nvSpPr>
          <p:spPr>
            <a:xfrm>
              <a:off x="3498272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5" name="Полилиния 1424">
              <a:extLst>
                <a:ext uri="{FF2B5EF4-FFF2-40B4-BE49-F238E27FC236}">
                  <a16:creationId xmlns:a16="http://schemas.microsoft.com/office/drawing/2014/main" id="{307FABB0-17BC-4F2E-0968-FA78B748CF7F}"/>
                </a:ext>
              </a:extLst>
            </p:cNvPr>
            <p:cNvSpPr/>
            <p:nvPr/>
          </p:nvSpPr>
          <p:spPr>
            <a:xfrm rot="5400000">
              <a:off x="3706090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6" name="Полилиния 1425">
              <a:extLst>
                <a:ext uri="{FF2B5EF4-FFF2-40B4-BE49-F238E27FC236}">
                  <a16:creationId xmlns:a16="http://schemas.microsoft.com/office/drawing/2014/main" id="{63893DF3-B96A-B5A2-5B6A-C81254D0CF11}"/>
                </a:ext>
              </a:extLst>
            </p:cNvPr>
            <p:cNvSpPr/>
            <p:nvPr/>
          </p:nvSpPr>
          <p:spPr>
            <a:xfrm rot="-5400000">
              <a:off x="4329545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7" name="Полилиния 1426">
              <a:extLst>
                <a:ext uri="{FF2B5EF4-FFF2-40B4-BE49-F238E27FC236}">
                  <a16:creationId xmlns:a16="http://schemas.microsoft.com/office/drawing/2014/main" id="{087CF499-BFFD-40CD-62D5-E8DCCB030A93}"/>
                </a:ext>
              </a:extLst>
            </p:cNvPr>
            <p:cNvSpPr/>
            <p:nvPr/>
          </p:nvSpPr>
          <p:spPr>
            <a:xfrm>
              <a:off x="4537363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8" name="Полилиния 1427">
              <a:extLst>
                <a:ext uri="{FF2B5EF4-FFF2-40B4-BE49-F238E27FC236}">
                  <a16:creationId xmlns:a16="http://schemas.microsoft.com/office/drawing/2014/main" id="{7192C67D-2AC9-C418-72D7-4837307851BC}"/>
                </a:ext>
              </a:extLst>
            </p:cNvPr>
            <p:cNvSpPr/>
            <p:nvPr/>
          </p:nvSpPr>
          <p:spPr>
            <a:xfrm>
              <a:off x="4745181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9" name="Полилиния 1428">
              <a:extLst>
                <a:ext uri="{FF2B5EF4-FFF2-40B4-BE49-F238E27FC236}">
                  <a16:creationId xmlns:a16="http://schemas.microsoft.com/office/drawing/2014/main" id="{B636C8C1-2AAF-DA06-BE6B-7292056C2D48}"/>
                </a:ext>
              </a:extLst>
            </p:cNvPr>
            <p:cNvSpPr/>
            <p:nvPr/>
          </p:nvSpPr>
          <p:spPr>
            <a:xfrm>
              <a:off x="4953000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0" name="Полилиния 1429">
              <a:extLst>
                <a:ext uri="{FF2B5EF4-FFF2-40B4-BE49-F238E27FC236}">
                  <a16:creationId xmlns:a16="http://schemas.microsoft.com/office/drawing/2014/main" id="{974907C9-1AEC-FE56-37F5-A202CF5604E6}"/>
                </a:ext>
              </a:extLst>
            </p:cNvPr>
            <p:cNvSpPr/>
            <p:nvPr/>
          </p:nvSpPr>
          <p:spPr>
            <a:xfrm rot="5400000">
              <a:off x="5160818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1" name="Полилиния 1430">
              <a:extLst>
                <a:ext uri="{FF2B5EF4-FFF2-40B4-BE49-F238E27FC236}">
                  <a16:creationId xmlns:a16="http://schemas.microsoft.com/office/drawing/2014/main" id="{47A7450A-6748-543B-A377-275CD9C625BD}"/>
                </a:ext>
              </a:extLst>
            </p:cNvPr>
            <p:cNvSpPr/>
            <p:nvPr/>
          </p:nvSpPr>
          <p:spPr>
            <a:xfrm rot="5400000">
              <a:off x="6407727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2" name="Полилиния 1431">
              <a:extLst>
                <a:ext uri="{FF2B5EF4-FFF2-40B4-BE49-F238E27FC236}">
                  <a16:creationId xmlns:a16="http://schemas.microsoft.com/office/drawing/2014/main" id="{71AFA3D0-E355-81B3-8C81-49637FE63AC8}"/>
                </a:ext>
              </a:extLst>
            </p:cNvPr>
            <p:cNvSpPr/>
            <p:nvPr/>
          </p:nvSpPr>
          <p:spPr>
            <a:xfrm>
              <a:off x="6823363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3" name="Полилиния 1432">
              <a:extLst>
                <a:ext uri="{FF2B5EF4-FFF2-40B4-BE49-F238E27FC236}">
                  <a16:creationId xmlns:a16="http://schemas.microsoft.com/office/drawing/2014/main" id="{804332FB-F27B-E4BC-842A-3367BF6280F0}"/>
                </a:ext>
              </a:extLst>
            </p:cNvPr>
            <p:cNvSpPr/>
            <p:nvPr/>
          </p:nvSpPr>
          <p:spPr>
            <a:xfrm rot="-5400000">
              <a:off x="7239000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4" name="Полилиния 1433">
              <a:extLst>
                <a:ext uri="{FF2B5EF4-FFF2-40B4-BE49-F238E27FC236}">
                  <a16:creationId xmlns:a16="http://schemas.microsoft.com/office/drawing/2014/main" id="{15750D5E-DDF8-2CAF-A110-F588075F61E4}"/>
                </a:ext>
              </a:extLst>
            </p:cNvPr>
            <p:cNvSpPr/>
            <p:nvPr/>
          </p:nvSpPr>
          <p:spPr>
            <a:xfrm>
              <a:off x="7446818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5" name="Полилиния 1434">
              <a:extLst>
                <a:ext uri="{FF2B5EF4-FFF2-40B4-BE49-F238E27FC236}">
                  <a16:creationId xmlns:a16="http://schemas.microsoft.com/office/drawing/2014/main" id="{46E3EAEC-D25B-E476-3CA5-076CBCC86CC7}"/>
                </a:ext>
              </a:extLst>
            </p:cNvPr>
            <p:cNvSpPr/>
            <p:nvPr/>
          </p:nvSpPr>
          <p:spPr>
            <a:xfrm>
              <a:off x="8901545" y="2493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6" name="Полилиния 1435">
              <a:extLst>
                <a:ext uri="{FF2B5EF4-FFF2-40B4-BE49-F238E27FC236}">
                  <a16:creationId xmlns:a16="http://schemas.microsoft.com/office/drawing/2014/main" id="{07F4531B-B3D7-9AB7-F6CB-3CBDAE51D1FC}"/>
                </a:ext>
              </a:extLst>
            </p:cNvPr>
            <p:cNvSpPr/>
            <p:nvPr/>
          </p:nvSpPr>
          <p:spPr>
            <a:xfrm>
              <a:off x="3290454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7" name="Полилиния 1436">
              <a:extLst>
                <a:ext uri="{FF2B5EF4-FFF2-40B4-BE49-F238E27FC236}">
                  <a16:creationId xmlns:a16="http://schemas.microsoft.com/office/drawing/2014/main" id="{7A5836C8-DE2B-4BDF-B308-529DB9417FF9}"/>
                </a:ext>
              </a:extLst>
            </p:cNvPr>
            <p:cNvSpPr/>
            <p:nvPr/>
          </p:nvSpPr>
          <p:spPr>
            <a:xfrm rot="5400000">
              <a:off x="3498272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8" name="Полилиния 1437">
              <a:extLst>
                <a:ext uri="{FF2B5EF4-FFF2-40B4-BE49-F238E27FC236}">
                  <a16:creationId xmlns:a16="http://schemas.microsoft.com/office/drawing/2014/main" id="{8E09841A-3AE9-DDCD-C4EC-2829F5546839}"/>
                </a:ext>
              </a:extLst>
            </p:cNvPr>
            <p:cNvSpPr/>
            <p:nvPr/>
          </p:nvSpPr>
          <p:spPr>
            <a:xfrm rot="-5400000">
              <a:off x="3913909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9" name="Полилиния 1438">
              <a:extLst>
                <a:ext uri="{FF2B5EF4-FFF2-40B4-BE49-F238E27FC236}">
                  <a16:creationId xmlns:a16="http://schemas.microsoft.com/office/drawing/2014/main" id="{6862A2AE-1D91-AFB8-6B59-A50916FA49A8}"/>
                </a:ext>
              </a:extLst>
            </p:cNvPr>
            <p:cNvSpPr/>
            <p:nvPr/>
          </p:nvSpPr>
          <p:spPr>
            <a:xfrm>
              <a:off x="4745181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0" name="Полилиния 1439">
              <a:extLst>
                <a:ext uri="{FF2B5EF4-FFF2-40B4-BE49-F238E27FC236}">
                  <a16:creationId xmlns:a16="http://schemas.microsoft.com/office/drawing/2014/main" id="{0FB5C030-7469-D683-03EE-F705E727CC8D}"/>
                </a:ext>
              </a:extLst>
            </p:cNvPr>
            <p:cNvSpPr/>
            <p:nvPr/>
          </p:nvSpPr>
          <p:spPr>
            <a:xfrm rot="5400000">
              <a:off x="4953000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1" name="Полилиния 1440">
              <a:extLst>
                <a:ext uri="{FF2B5EF4-FFF2-40B4-BE49-F238E27FC236}">
                  <a16:creationId xmlns:a16="http://schemas.microsoft.com/office/drawing/2014/main" id="{66AB5111-FDA7-30EC-EA94-D536F16359B7}"/>
                </a:ext>
              </a:extLst>
            </p:cNvPr>
            <p:cNvSpPr/>
            <p:nvPr/>
          </p:nvSpPr>
          <p:spPr>
            <a:xfrm rot="5400000">
              <a:off x="5368636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2" name="Полилиния 1441">
              <a:extLst>
                <a:ext uri="{FF2B5EF4-FFF2-40B4-BE49-F238E27FC236}">
                  <a16:creationId xmlns:a16="http://schemas.microsoft.com/office/drawing/2014/main" id="{EEC056B1-ACB9-210B-FEA5-30C2F1CFC7EB}"/>
                </a:ext>
              </a:extLst>
            </p:cNvPr>
            <p:cNvSpPr/>
            <p:nvPr/>
          </p:nvSpPr>
          <p:spPr>
            <a:xfrm rot="-5400000">
              <a:off x="6199909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3" name="Полилиния 1442">
              <a:extLst>
                <a:ext uri="{FF2B5EF4-FFF2-40B4-BE49-F238E27FC236}">
                  <a16:creationId xmlns:a16="http://schemas.microsoft.com/office/drawing/2014/main" id="{46E1E0F6-A55B-8555-7316-4EB88D93BF17}"/>
                </a:ext>
              </a:extLst>
            </p:cNvPr>
            <p:cNvSpPr/>
            <p:nvPr/>
          </p:nvSpPr>
          <p:spPr>
            <a:xfrm rot="-5400000">
              <a:off x="6615545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4" name="Полилиния 1443">
              <a:extLst>
                <a:ext uri="{FF2B5EF4-FFF2-40B4-BE49-F238E27FC236}">
                  <a16:creationId xmlns:a16="http://schemas.microsoft.com/office/drawing/2014/main" id="{BFB9FE4A-58A5-88CD-B318-FF86FB5F76C0}"/>
                </a:ext>
              </a:extLst>
            </p:cNvPr>
            <p:cNvSpPr/>
            <p:nvPr/>
          </p:nvSpPr>
          <p:spPr>
            <a:xfrm>
              <a:off x="6823363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5" name="Полилиния 1444">
              <a:extLst>
                <a:ext uri="{FF2B5EF4-FFF2-40B4-BE49-F238E27FC236}">
                  <a16:creationId xmlns:a16="http://schemas.microsoft.com/office/drawing/2014/main" id="{2979C0DF-96BF-807B-546F-436DF3B5DC18}"/>
                </a:ext>
              </a:extLst>
            </p:cNvPr>
            <p:cNvSpPr/>
            <p:nvPr/>
          </p:nvSpPr>
          <p:spPr>
            <a:xfrm>
              <a:off x="7031181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6" name="Полилиния 1445">
              <a:extLst>
                <a:ext uri="{FF2B5EF4-FFF2-40B4-BE49-F238E27FC236}">
                  <a16:creationId xmlns:a16="http://schemas.microsoft.com/office/drawing/2014/main" id="{87CBF99E-FD67-B8EC-27DE-BDFA61486BE7}"/>
                </a:ext>
              </a:extLst>
            </p:cNvPr>
            <p:cNvSpPr/>
            <p:nvPr/>
          </p:nvSpPr>
          <p:spPr>
            <a:xfrm>
              <a:off x="7239000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7" name="Полилиния 1446">
              <a:extLst>
                <a:ext uri="{FF2B5EF4-FFF2-40B4-BE49-F238E27FC236}">
                  <a16:creationId xmlns:a16="http://schemas.microsoft.com/office/drawing/2014/main" id="{E54A71A7-6830-1FFB-F90A-012B6F7AA466}"/>
                </a:ext>
              </a:extLst>
            </p:cNvPr>
            <p:cNvSpPr/>
            <p:nvPr/>
          </p:nvSpPr>
          <p:spPr>
            <a:xfrm rot="5400000">
              <a:off x="7446818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8" name="Полилиния 1447">
              <a:extLst>
                <a:ext uri="{FF2B5EF4-FFF2-40B4-BE49-F238E27FC236}">
                  <a16:creationId xmlns:a16="http://schemas.microsoft.com/office/drawing/2014/main" id="{4BA6573C-114D-C258-8F9D-5F90AD4C8E32}"/>
                </a:ext>
              </a:extLst>
            </p:cNvPr>
            <p:cNvSpPr/>
            <p:nvPr/>
          </p:nvSpPr>
          <p:spPr>
            <a:xfrm rot="5400000">
              <a:off x="8070272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9" name="Полилиния 1448">
              <a:extLst>
                <a:ext uri="{FF2B5EF4-FFF2-40B4-BE49-F238E27FC236}">
                  <a16:creationId xmlns:a16="http://schemas.microsoft.com/office/drawing/2014/main" id="{A0D659D1-AEAA-1671-5E76-9C41162D1AF0}"/>
                </a:ext>
              </a:extLst>
            </p:cNvPr>
            <p:cNvSpPr/>
            <p:nvPr/>
          </p:nvSpPr>
          <p:spPr>
            <a:xfrm rot="-5400000">
              <a:off x="8693727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0" name="Полилиния 1449">
              <a:extLst>
                <a:ext uri="{FF2B5EF4-FFF2-40B4-BE49-F238E27FC236}">
                  <a16:creationId xmlns:a16="http://schemas.microsoft.com/office/drawing/2014/main" id="{E7916A28-729A-C079-5121-2E294FEBA473}"/>
                </a:ext>
              </a:extLst>
            </p:cNvPr>
            <p:cNvSpPr/>
            <p:nvPr/>
          </p:nvSpPr>
          <p:spPr>
            <a:xfrm>
              <a:off x="8901545" y="2701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1" name="Полилиния 1450">
              <a:extLst>
                <a:ext uri="{FF2B5EF4-FFF2-40B4-BE49-F238E27FC236}">
                  <a16:creationId xmlns:a16="http://schemas.microsoft.com/office/drawing/2014/main" id="{91799A53-6153-8A56-F043-7CAB6D6F0134}"/>
                </a:ext>
              </a:extLst>
            </p:cNvPr>
            <p:cNvSpPr/>
            <p:nvPr/>
          </p:nvSpPr>
          <p:spPr>
            <a:xfrm rot="-5400000">
              <a:off x="3082636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2" name="Полилиния 1451">
              <a:extLst>
                <a:ext uri="{FF2B5EF4-FFF2-40B4-BE49-F238E27FC236}">
                  <a16:creationId xmlns:a16="http://schemas.microsoft.com/office/drawing/2014/main" id="{4AEB0F54-A669-DB6C-42BF-C8E7EE72CFF4}"/>
                </a:ext>
              </a:extLst>
            </p:cNvPr>
            <p:cNvSpPr/>
            <p:nvPr/>
          </p:nvSpPr>
          <p:spPr>
            <a:xfrm>
              <a:off x="3290454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3" name="Полилиния 1452">
              <a:extLst>
                <a:ext uri="{FF2B5EF4-FFF2-40B4-BE49-F238E27FC236}">
                  <a16:creationId xmlns:a16="http://schemas.microsoft.com/office/drawing/2014/main" id="{F1D827F1-1D4B-221A-854A-E9A46DCA4847}"/>
                </a:ext>
              </a:extLst>
            </p:cNvPr>
            <p:cNvSpPr/>
            <p:nvPr/>
          </p:nvSpPr>
          <p:spPr>
            <a:xfrm>
              <a:off x="3913909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4" name="Полилиния 1453">
              <a:extLst>
                <a:ext uri="{FF2B5EF4-FFF2-40B4-BE49-F238E27FC236}">
                  <a16:creationId xmlns:a16="http://schemas.microsoft.com/office/drawing/2014/main" id="{0537FD22-320F-A702-0DB3-A4DF6F048D7E}"/>
                </a:ext>
              </a:extLst>
            </p:cNvPr>
            <p:cNvSpPr/>
            <p:nvPr/>
          </p:nvSpPr>
          <p:spPr>
            <a:xfrm rot="5400000">
              <a:off x="4329545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6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5" name="Полилиния 1454">
              <a:extLst>
                <a:ext uri="{FF2B5EF4-FFF2-40B4-BE49-F238E27FC236}">
                  <a16:creationId xmlns:a16="http://schemas.microsoft.com/office/drawing/2014/main" id="{0415C8AC-C8A0-9ECD-4A88-83BDE1CC7DBD}"/>
                </a:ext>
              </a:extLst>
            </p:cNvPr>
            <p:cNvSpPr/>
            <p:nvPr/>
          </p:nvSpPr>
          <p:spPr>
            <a:xfrm rot="5400000">
              <a:off x="4745181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6" name="Полилиния 1455">
              <a:extLst>
                <a:ext uri="{FF2B5EF4-FFF2-40B4-BE49-F238E27FC236}">
                  <a16:creationId xmlns:a16="http://schemas.microsoft.com/office/drawing/2014/main" id="{82721A05-6FF2-332F-3A61-9FE0F69ADE54}"/>
                </a:ext>
              </a:extLst>
            </p:cNvPr>
            <p:cNvSpPr/>
            <p:nvPr/>
          </p:nvSpPr>
          <p:spPr>
            <a:xfrm rot="-5400000">
              <a:off x="5160818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7" name="Полилиния 1456">
              <a:extLst>
                <a:ext uri="{FF2B5EF4-FFF2-40B4-BE49-F238E27FC236}">
                  <a16:creationId xmlns:a16="http://schemas.microsoft.com/office/drawing/2014/main" id="{2C5E867D-094F-AC6C-21DA-2D2CDE84C5E9}"/>
                </a:ext>
              </a:extLst>
            </p:cNvPr>
            <p:cNvSpPr/>
            <p:nvPr/>
          </p:nvSpPr>
          <p:spPr>
            <a:xfrm rot="-5400000">
              <a:off x="5576454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8" name="Полилиния 1457">
              <a:extLst>
                <a:ext uri="{FF2B5EF4-FFF2-40B4-BE49-F238E27FC236}">
                  <a16:creationId xmlns:a16="http://schemas.microsoft.com/office/drawing/2014/main" id="{F0D20AFE-07EC-42F4-61B8-03CF3988496C}"/>
                </a:ext>
              </a:extLst>
            </p:cNvPr>
            <p:cNvSpPr/>
            <p:nvPr/>
          </p:nvSpPr>
          <p:spPr>
            <a:xfrm rot="5400000">
              <a:off x="5784272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9" name="Полилиния 1458">
              <a:extLst>
                <a:ext uri="{FF2B5EF4-FFF2-40B4-BE49-F238E27FC236}">
                  <a16:creationId xmlns:a16="http://schemas.microsoft.com/office/drawing/2014/main" id="{365B66FE-9E45-D1C2-5968-22D9D55EB547}"/>
                </a:ext>
              </a:extLst>
            </p:cNvPr>
            <p:cNvSpPr/>
            <p:nvPr/>
          </p:nvSpPr>
          <p:spPr>
            <a:xfrm>
              <a:off x="6199909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0" name="Полилиния 1459">
              <a:extLst>
                <a:ext uri="{FF2B5EF4-FFF2-40B4-BE49-F238E27FC236}">
                  <a16:creationId xmlns:a16="http://schemas.microsoft.com/office/drawing/2014/main" id="{A55F7544-5710-D74C-203D-E33EBC237CC7}"/>
                </a:ext>
              </a:extLst>
            </p:cNvPr>
            <p:cNvSpPr/>
            <p:nvPr/>
          </p:nvSpPr>
          <p:spPr>
            <a:xfrm>
              <a:off x="6407727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1" name="Полилиния 1460">
              <a:extLst>
                <a:ext uri="{FF2B5EF4-FFF2-40B4-BE49-F238E27FC236}">
                  <a16:creationId xmlns:a16="http://schemas.microsoft.com/office/drawing/2014/main" id="{042514AB-0DA0-573F-6954-442C8BD01DBC}"/>
                </a:ext>
              </a:extLst>
            </p:cNvPr>
            <p:cNvSpPr/>
            <p:nvPr/>
          </p:nvSpPr>
          <p:spPr>
            <a:xfrm rot="5400000">
              <a:off x="6615545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2" name="Полилиния 1461">
              <a:extLst>
                <a:ext uri="{FF2B5EF4-FFF2-40B4-BE49-F238E27FC236}">
                  <a16:creationId xmlns:a16="http://schemas.microsoft.com/office/drawing/2014/main" id="{F576BC32-593B-7992-9E76-0D03C8DA1811}"/>
                </a:ext>
              </a:extLst>
            </p:cNvPr>
            <p:cNvSpPr/>
            <p:nvPr/>
          </p:nvSpPr>
          <p:spPr>
            <a:xfrm rot="5400000">
              <a:off x="7239000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3" name="Полилиния 1462">
              <a:extLst>
                <a:ext uri="{FF2B5EF4-FFF2-40B4-BE49-F238E27FC236}">
                  <a16:creationId xmlns:a16="http://schemas.microsoft.com/office/drawing/2014/main" id="{A31117EE-2326-B209-C20E-B330997DD4B7}"/>
                </a:ext>
              </a:extLst>
            </p:cNvPr>
            <p:cNvSpPr/>
            <p:nvPr/>
          </p:nvSpPr>
          <p:spPr>
            <a:xfrm rot="5400000">
              <a:off x="7862454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4" name="Полилиния 1463">
              <a:extLst>
                <a:ext uri="{FF2B5EF4-FFF2-40B4-BE49-F238E27FC236}">
                  <a16:creationId xmlns:a16="http://schemas.microsoft.com/office/drawing/2014/main" id="{43F87F37-94C8-B40C-FD06-70D8168BB057}"/>
                </a:ext>
              </a:extLst>
            </p:cNvPr>
            <p:cNvSpPr/>
            <p:nvPr/>
          </p:nvSpPr>
          <p:spPr>
            <a:xfrm rot="5400000">
              <a:off x="8278090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5" name="Полилиния 1464">
              <a:extLst>
                <a:ext uri="{FF2B5EF4-FFF2-40B4-BE49-F238E27FC236}">
                  <a16:creationId xmlns:a16="http://schemas.microsoft.com/office/drawing/2014/main" id="{4A50EC0F-3BCE-DA85-3C79-44D29BCB4258}"/>
                </a:ext>
              </a:extLst>
            </p:cNvPr>
            <p:cNvSpPr/>
            <p:nvPr/>
          </p:nvSpPr>
          <p:spPr>
            <a:xfrm>
              <a:off x="8901545" y="2909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6" name="Полилиния 1465">
              <a:extLst>
                <a:ext uri="{FF2B5EF4-FFF2-40B4-BE49-F238E27FC236}">
                  <a16:creationId xmlns:a16="http://schemas.microsoft.com/office/drawing/2014/main" id="{5FCDACB3-1C7E-AB75-951A-67B9192E0B00}"/>
                </a:ext>
              </a:extLst>
            </p:cNvPr>
            <p:cNvSpPr/>
            <p:nvPr/>
          </p:nvSpPr>
          <p:spPr>
            <a:xfrm>
              <a:off x="3082636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7" name="Полилиния 1466">
              <a:extLst>
                <a:ext uri="{FF2B5EF4-FFF2-40B4-BE49-F238E27FC236}">
                  <a16:creationId xmlns:a16="http://schemas.microsoft.com/office/drawing/2014/main" id="{F5BB7249-EAC8-9252-8727-F97474D59AD7}"/>
                </a:ext>
              </a:extLst>
            </p:cNvPr>
            <p:cNvSpPr/>
            <p:nvPr/>
          </p:nvSpPr>
          <p:spPr>
            <a:xfrm>
              <a:off x="3290454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8" name="Полилиния 1467">
              <a:extLst>
                <a:ext uri="{FF2B5EF4-FFF2-40B4-BE49-F238E27FC236}">
                  <a16:creationId xmlns:a16="http://schemas.microsoft.com/office/drawing/2014/main" id="{9D6206D1-6453-1DF4-C38C-7FE707A370DC}"/>
                </a:ext>
              </a:extLst>
            </p:cNvPr>
            <p:cNvSpPr/>
            <p:nvPr/>
          </p:nvSpPr>
          <p:spPr>
            <a:xfrm>
              <a:off x="3913909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9" name="Полилиния 1468">
              <a:extLst>
                <a:ext uri="{FF2B5EF4-FFF2-40B4-BE49-F238E27FC236}">
                  <a16:creationId xmlns:a16="http://schemas.microsoft.com/office/drawing/2014/main" id="{BF4D6779-8EFF-7830-BC1D-5FB5D62A1F61}"/>
                </a:ext>
              </a:extLst>
            </p:cNvPr>
            <p:cNvSpPr/>
            <p:nvPr/>
          </p:nvSpPr>
          <p:spPr>
            <a:xfrm rot="5400000">
              <a:off x="4121727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0" name="Полилиния 1469">
              <a:extLst>
                <a:ext uri="{FF2B5EF4-FFF2-40B4-BE49-F238E27FC236}">
                  <a16:creationId xmlns:a16="http://schemas.microsoft.com/office/drawing/2014/main" id="{DC61F435-9885-41BA-3AAF-B2594A67ADEA}"/>
                </a:ext>
              </a:extLst>
            </p:cNvPr>
            <p:cNvSpPr/>
            <p:nvPr/>
          </p:nvSpPr>
          <p:spPr>
            <a:xfrm rot="-5400000">
              <a:off x="4537363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1" name="Полилиния 1470">
              <a:extLst>
                <a:ext uri="{FF2B5EF4-FFF2-40B4-BE49-F238E27FC236}">
                  <a16:creationId xmlns:a16="http://schemas.microsoft.com/office/drawing/2014/main" id="{022C3B32-86DA-8A72-7CCB-22B3B5DEE59D}"/>
                </a:ext>
              </a:extLst>
            </p:cNvPr>
            <p:cNvSpPr/>
            <p:nvPr/>
          </p:nvSpPr>
          <p:spPr>
            <a:xfrm rot="-5400000">
              <a:off x="4953000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2" name="Полилиния 1471">
              <a:extLst>
                <a:ext uri="{FF2B5EF4-FFF2-40B4-BE49-F238E27FC236}">
                  <a16:creationId xmlns:a16="http://schemas.microsoft.com/office/drawing/2014/main" id="{7A3C76D8-F0D6-4E29-1916-E2976A903148}"/>
                </a:ext>
              </a:extLst>
            </p:cNvPr>
            <p:cNvSpPr/>
            <p:nvPr/>
          </p:nvSpPr>
          <p:spPr>
            <a:xfrm>
              <a:off x="5160818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3" name="Полилиния 1472">
              <a:extLst>
                <a:ext uri="{FF2B5EF4-FFF2-40B4-BE49-F238E27FC236}">
                  <a16:creationId xmlns:a16="http://schemas.microsoft.com/office/drawing/2014/main" id="{34AEB8E1-29A0-5E35-0BAE-40BBE735048F}"/>
                </a:ext>
              </a:extLst>
            </p:cNvPr>
            <p:cNvSpPr/>
            <p:nvPr/>
          </p:nvSpPr>
          <p:spPr>
            <a:xfrm>
              <a:off x="5368636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4" name="Полилиния 1473">
              <a:extLst>
                <a:ext uri="{FF2B5EF4-FFF2-40B4-BE49-F238E27FC236}">
                  <a16:creationId xmlns:a16="http://schemas.microsoft.com/office/drawing/2014/main" id="{6026E5DA-C3A3-AB91-D13C-CC328EE7C30F}"/>
                </a:ext>
              </a:extLst>
            </p:cNvPr>
            <p:cNvSpPr/>
            <p:nvPr/>
          </p:nvSpPr>
          <p:spPr>
            <a:xfrm rot="-5400000">
              <a:off x="5992090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5" name="Полилиния 1474">
              <a:extLst>
                <a:ext uri="{FF2B5EF4-FFF2-40B4-BE49-F238E27FC236}">
                  <a16:creationId xmlns:a16="http://schemas.microsoft.com/office/drawing/2014/main" id="{8962B9E7-54DF-546C-BA52-3D256352BED5}"/>
                </a:ext>
              </a:extLst>
            </p:cNvPr>
            <p:cNvSpPr/>
            <p:nvPr/>
          </p:nvSpPr>
          <p:spPr>
            <a:xfrm>
              <a:off x="6199909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6" name="Полилиния 1475">
              <a:extLst>
                <a:ext uri="{FF2B5EF4-FFF2-40B4-BE49-F238E27FC236}">
                  <a16:creationId xmlns:a16="http://schemas.microsoft.com/office/drawing/2014/main" id="{521D10C1-CE5D-C654-1F66-7698BB94817C}"/>
                </a:ext>
              </a:extLst>
            </p:cNvPr>
            <p:cNvSpPr/>
            <p:nvPr/>
          </p:nvSpPr>
          <p:spPr>
            <a:xfrm>
              <a:off x="6407727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7" name="Полилиния 1476">
              <a:extLst>
                <a:ext uri="{FF2B5EF4-FFF2-40B4-BE49-F238E27FC236}">
                  <a16:creationId xmlns:a16="http://schemas.microsoft.com/office/drawing/2014/main" id="{D953675F-53B2-DF71-D75E-09FE58A635F5}"/>
                </a:ext>
              </a:extLst>
            </p:cNvPr>
            <p:cNvSpPr/>
            <p:nvPr/>
          </p:nvSpPr>
          <p:spPr>
            <a:xfrm rot="5400000">
              <a:off x="6823363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8" name="Полилиния 1477">
              <a:extLst>
                <a:ext uri="{FF2B5EF4-FFF2-40B4-BE49-F238E27FC236}">
                  <a16:creationId xmlns:a16="http://schemas.microsoft.com/office/drawing/2014/main" id="{02104709-FE08-FEEC-1B6E-18290B7D6ABC}"/>
                </a:ext>
              </a:extLst>
            </p:cNvPr>
            <p:cNvSpPr/>
            <p:nvPr/>
          </p:nvSpPr>
          <p:spPr>
            <a:xfrm rot="5400000">
              <a:off x="7654636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9" name="Полилиния 1478">
              <a:extLst>
                <a:ext uri="{FF2B5EF4-FFF2-40B4-BE49-F238E27FC236}">
                  <a16:creationId xmlns:a16="http://schemas.microsoft.com/office/drawing/2014/main" id="{E0322BCC-710A-2582-12C0-89ACEE95E02B}"/>
                </a:ext>
              </a:extLst>
            </p:cNvPr>
            <p:cNvSpPr/>
            <p:nvPr/>
          </p:nvSpPr>
          <p:spPr>
            <a:xfrm rot="-5400000">
              <a:off x="8070272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0" name="Полилиния 1479">
              <a:extLst>
                <a:ext uri="{FF2B5EF4-FFF2-40B4-BE49-F238E27FC236}">
                  <a16:creationId xmlns:a16="http://schemas.microsoft.com/office/drawing/2014/main" id="{754098DC-0A94-3503-B896-F43B160D20E0}"/>
                </a:ext>
              </a:extLst>
            </p:cNvPr>
            <p:cNvSpPr/>
            <p:nvPr/>
          </p:nvSpPr>
          <p:spPr>
            <a:xfrm rot="5400000">
              <a:off x="8485909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1" name="Полилиния 1480">
              <a:extLst>
                <a:ext uri="{FF2B5EF4-FFF2-40B4-BE49-F238E27FC236}">
                  <a16:creationId xmlns:a16="http://schemas.microsoft.com/office/drawing/2014/main" id="{9C08A310-BF07-F87C-61B6-74F9389C548C}"/>
                </a:ext>
              </a:extLst>
            </p:cNvPr>
            <p:cNvSpPr/>
            <p:nvPr/>
          </p:nvSpPr>
          <p:spPr>
            <a:xfrm>
              <a:off x="8901545" y="3117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2" name="Полилиния 1481">
              <a:extLst>
                <a:ext uri="{FF2B5EF4-FFF2-40B4-BE49-F238E27FC236}">
                  <a16:creationId xmlns:a16="http://schemas.microsoft.com/office/drawing/2014/main" id="{79CAF1DA-488A-480E-EB82-A4EBBCB43D16}"/>
                </a:ext>
              </a:extLst>
            </p:cNvPr>
            <p:cNvSpPr/>
            <p:nvPr/>
          </p:nvSpPr>
          <p:spPr>
            <a:xfrm>
              <a:off x="3082636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3" name="Полилиния 1482">
              <a:extLst>
                <a:ext uri="{FF2B5EF4-FFF2-40B4-BE49-F238E27FC236}">
                  <a16:creationId xmlns:a16="http://schemas.microsoft.com/office/drawing/2014/main" id="{0BDB5BF0-B58B-EA37-E29A-6D7E088C2AA1}"/>
                </a:ext>
              </a:extLst>
            </p:cNvPr>
            <p:cNvSpPr/>
            <p:nvPr/>
          </p:nvSpPr>
          <p:spPr>
            <a:xfrm>
              <a:off x="3290454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4" name="Полилиния 1483">
              <a:extLst>
                <a:ext uri="{FF2B5EF4-FFF2-40B4-BE49-F238E27FC236}">
                  <a16:creationId xmlns:a16="http://schemas.microsoft.com/office/drawing/2014/main" id="{50249112-3DF0-026A-63AD-94B4DB249A78}"/>
                </a:ext>
              </a:extLst>
            </p:cNvPr>
            <p:cNvSpPr/>
            <p:nvPr/>
          </p:nvSpPr>
          <p:spPr>
            <a:xfrm>
              <a:off x="3498272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5" name="Полилиния 1484">
              <a:extLst>
                <a:ext uri="{FF2B5EF4-FFF2-40B4-BE49-F238E27FC236}">
                  <a16:creationId xmlns:a16="http://schemas.microsoft.com/office/drawing/2014/main" id="{05D2716B-94F3-3566-DEAB-12476FDC41ED}"/>
                </a:ext>
              </a:extLst>
            </p:cNvPr>
            <p:cNvSpPr/>
            <p:nvPr/>
          </p:nvSpPr>
          <p:spPr>
            <a:xfrm rot="-5400000">
              <a:off x="4329545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6" name="Полилиния 1485">
              <a:extLst>
                <a:ext uri="{FF2B5EF4-FFF2-40B4-BE49-F238E27FC236}">
                  <a16:creationId xmlns:a16="http://schemas.microsoft.com/office/drawing/2014/main" id="{0D1282A1-FEDA-0EB3-B996-1BC7EBE5E9E0}"/>
                </a:ext>
              </a:extLst>
            </p:cNvPr>
            <p:cNvSpPr/>
            <p:nvPr/>
          </p:nvSpPr>
          <p:spPr>
            <a:xfrm>
              <a:off x="4537363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7" name="Полилиния 1486">
              <a:extLst>
                <a:ext uri="{FF2B5EF4-FFF2-40B4-BE49-F238E27FC236}">
                  <a16:creationId xmlns:a16="http://schemas.microsoft.com/office/drawing/2014/main" id="{7E54FF8A-C1C8-34AE-FA11-73B898231E1A}"/>
                </a:ext>
              </a:extLst>
            </p:cNvPr>
            <p:cNvSpPr/>
            <p:nvPr/>
          </p:nvSpPr>
          <p:spPr>
            <a:xfrm>
              <a:off x="4745181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8" name="Полилиния 1487">
              <a:extLst>
                <a:ext uri="{FF2B5EF4-FFF2-40B4-BE49-F238E27FC236}">
                  <a16:creationId xmlns:a16="http://schemas.microsoft.com/office/drawing/2014/main" id="{B2442280-29E6-F037-D229-44AA775567E1}"/>
                </a:ext>
              </a:extLst>
            </p:cNvPr>
            <p:cNvSpPr/>
            <p:nvPr/>
          </p:nvSpPr>
          <p:spPr>
            <a:xfrm>
              <a:off x="4953000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9" name="Полилиния 1488">
              <a:extLst>
                <a:ext uri="{FF2B5EF4-FFF2-40B4-BE49-F238E27FC236}">
                  <a16:creationId xmlns:a16="http://schemas.microsoft.com/office/drawing/2014/main" id="{C19835A7-1718-5B23-848C-B033E41D3ECB}"/>
                </a:ext>
              </a:extLst>
            </p:cNvPr>
            <p:cNvSpPr/>
            <p:nvPr/>
          </p:nvSpPr>
          <p:spPr>
            <a:xfrm>
              <a:off x="5368636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0" name="Полилиния 1489">
              <a:extLst>
                <a:ext uri="{FF2B5EF4-FFF2-40B4-BE49-F238E27FC236}">
                  <a16:creationId xmlns:a16="http://schemas.microsoft.com/office/drawing/2014/main" id="{A2EEF3B7-0337-C620-F1B2-478AF5B04739}"/>
                </a:ext>
              </a:extLst>
            </p:cNvPr>
            <p:cNvSpPr/>
            <p:nvPr/>
          </p:nvSpPr>
          <p:spPr>
            <a:xfrm rot="-5400000">
              <a:off x="5784272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1" name="Полилиния 1490">
              <a:extLst>
                <a:ext uri="{FF2B5EF4-FFF2-40B4-BE49-F238E27FC236}">
                  <a16:creationId xmlns:a16="http://schemas.microsoft.com/office/drawing/2014/main" id="{18B52160-F267-C782-D760-6AF6E9E87A44}"/>
                </a:ext>
              </a:extLst>
            </p:cNvPr>
            <p:cNvSpPr/>
            <p:nvPr/>
          </p:nvSpPr>
          <p:spPr>
            <a:xfrm>
              <a:off x="5992090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2" name="Полилиния 1491">
              <a:extLst>
                <a:ext uri="{FF2B5EF4-FFF2-40B4-BE49-F238E27FC236}">
                  <a16:creationId xmlns:a16="http://schemas.microsoft.com/office/drawing/2014/main" id="{AD30C544-49E4-2F1E-E158-4719447DA90F}"/>
                </a:ext>
              </a:extLst>
            </p:cNvPr>
            <p:cNvSpPr/>
            <p:nvPr/>
          </p:nvSpPr>
          <p:spPr>
            <a:xfrm>
              <a:off x="6199909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3" name="Полилиния 1492">
              <a:extLst>
                <a:ext uri="{FF2B5EF4-FFF2-40B4-BE49-F238E27FC236}">
                  <a16:creationId xmlns:a16="http://schemas.microsoft.com/office/drawing/2014/main" id="{9E6E99F2-9474-0700-097E-CB98D9F9D7E1}"/>
                </a:ext>
              </a:extLst>
            </p:cNvPr>
            <p:cNvSpPr/>
            <p:nvPr/>
          </p:nvSpPr>
          <p:spPr>
            <a:xfrm>
              <a:off x="6407727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4" name="Полилиния 1493">
              <a:extLst>
                <a:ext uri="{FF2B5EF4-FFF2-40B4-BE49-F238E27FC236}">
                  <a16:creationId xmlns:a16="http://schemas.microsoft.com/office/drawing/2014/main" id="{173BA91A-F6C5-9922-2C7B-AD8F97EA395D}"/>
                </a:ext>
              </a:extLst>
            </p:cNvPr>
            <p:cNvSpPr/>
            <p:nvPr/>
          </p:nvSpPr>
          <p:spPr>
            <a:xfrm>
              <a:off x="6615545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5" name="Полилиния 1494">
              <a:extLst>
                <a:ext uri="{FF2B5EF4-FFF2-40B4-BE49-F238E27FC236}">
                  <a16:creationId xmlns:a16="http://schemas.microsoft.com/office/drawing/2014/main" id="{A9F62EB5-D899-664E-5C87-B747C938AB2F}"/>
                </a:ext>
              </a:extLst>
            </p:cNvPr>
            <p:cNvSpPr/>
            <p:nvPr/>
          </p:nvSpPr>
          <p:spPr>
            <a:xfrm rot="5400000">
              <a:off x="7239000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6" name="Полилиния 1495">
              <a:extLst>
                <a:ext uri="{FF2B5EF4-FFF2-40B4-BE49-F238E27FC236}">
                  <a16:creationId xmlns:a16="http://schemas.microsoft.com/office/drawing/2014/main" id="{410618B3-3B3F-41B9-A933-513403BFE2F3}"/>
                </a:ext>
              </a:extLst>
            </p:cNvPr>
            <p:cNvSpPr/>
            <p:nvPr/>
          </p:nvSpPr>
          <p:spPr>
            <a:xfrm rot="5400000">
              <a:off x="8070272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7" name="Полилиния 1496">
              <a:extLst>
                <a:ext uri="{FF2B5EF4-FFF2-40B4-BE49-F238E27FC236}">
                  <a16:creationId xmlns:a16="http://schemas.microsoft.com/office/drawing/2014/main" id="{CDD621B9-688A-F81F-DD8D-16DB358DA376}"/>
                </a:ext>
              </a:extLst>
            </p:cNvPr>
            <p:cNvSpPr/>
            <p:nvPr/>
          </p:nvSpPr>
          <p:spPr>
            <a:xfrm>
              <a:off x="8901545" y="3325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8" name="Полилиния 1497">
              <a:extLst>
                <a:ext uri="{FF2B5EF4-FFF2-40B4-BE49-F238E27FC236}">
                  <a16:creationId xmlns:a16="http://schemas.microsoft.com/office/drawing/2014/main" id="{84BAA970-9888-850F-D9CA-81E11363F65C}"/>
                </a:ext>
              </a:extLst>
            </p:cNvPr>
            <p:cNvSpPr/>
            <p:nvPr/>
          </p:nvSpPr>
          <p:spPr>
            <a:xfrm rot="5400000">
              <a:off x="3082636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9" name="Полилиния 1498">
              <a:extLst>
                <a:ext uri="{FF2B5EF4-FFF2-40B4-BE49-F238E27FC236}">
                  <a16:creationId xmlns:a16="http://schemas.microsoft.com/office/drawing/2014/main" id="{7F2D010A-906B-8D2E-6160-2521F303F6CD}"/>
                </a:ext>
              </a:extLst>
            </p:cNvPr>
            <p:cNvSpPr/>
            <p:nvPr/>
          </p:nvSpPr>
          <p:spPr>
            <a:xfrm>
              <a:off x="3498272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0" name="Полилиния 1499">
              <a:extLst>
                <a:ext uri="{FF2B5EF4-FFF2-40B4-BE49-F238E27FC236}">
                  <a16:creationId xmlns:a16="http://schemas.microsoft.com/office/drawing/2014/main" id="{BD99380F-37C7-B757-4DAE-F359F6F42405}"/>
                </a:ext>
              </a:extLst>
            </p:cNvPr>
            <p:cNvSpPr/>
            <p:nvPr/>
          </p:nvSpPr>
          <p:spPr>
            <a:xfrm rot="5400000">
              <a:off x="3913909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6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1" name="Полилиния 1500">
              <a:extLst>
                <a:ext uri="{FF2B5EF4-FFF2-40B4-BE49-F238E27FC236}">
                  <a16:creationId xmlns:a16="http://schemas.microsoft.com/office/drawing/2014/main" id="{02F3A922-9AB6-3E23-1DAA-032B36BCB51A}"/>
                </a:ext>
              </a:extLst>
            </p:cNvPr>
            <p:cNvSpPr/>
            <p:nvPr/>
          </p:nvSpPr>
          <p:spPr>
            <a:xfrm>
              <a:off x="4537363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2" name="Полилиния 1501">
              <a:extLst>
                <a:ext uri="{FF2B5EF4-FFF2-40B4-BE49-F238E27FC236}">
                  <a16:creationId xmlns:a16="http://schemas.microsoft.com/office/drawing/2014/main" id="{F2083F3D-6CA8-12AE-5655-5C184F273C7A}"/>
                </a:ext>
              </a:extLst>
            </p:cNvPr>
            <p:cNvSpPr/>
            <p:nvPr/>
          </p:nvSpPr>
          <p:spPr>
            <a:xfrm>
              <a:off x="4953000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3" name="Полилиния 1502">
              <a:extLst>
                <a:ext uri="{FF2B5EF4-FFF2-40B4-BE49-F238E27FC236}">
                  <a16:creationId xmlns:a16="http://schemas.microsoft.com/office/drawing/2014/main" id="{60FEA655-CC63-5008-2130-14C7E59D763D}"/>
                </a:ext>
              </a:extLst>
            </p:cNvPr>
            <p:cNvSpPr/>
            <p:nvPr/>
          </p:nvSpPr>
          <p:spPr>
            <a:xfrm>
              <a:off x="5160818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4" name="Полилиния 1503">
              <a:extLst>
                <a:ext uri="{FF2B5EF4-FFF2-40B4-BE49-F238E27FC236}">
                  <a16:creationId xmlns:a16="http://schemas.microsoft.com/office/drawing/2014/main" id="{85826371-C79B-6A97-81C4-4AF8472750E5}"/>
                </a:ext>
              </a:extLst>
            </p:cNvPr>
            <p:cNvSpPr/>
            <p:nvPr/>
          </p:nvSpPr>
          <p:spPr>
            <a:xfrm rot="5400000">
              <a:off x="5368636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5" name="Полилиния 1504">
              <a:extLst>
                <a:ext uri="{FF2B5EF4-FFF2-40B4-BE49-F238E27FC236}">
                  <a16:creationId xmlns:a16="http://schemas.microsoft.com/office/drawing/2014/main" id="{96C985C0-F24F-DA5A-0416-ABC21EBF2686}"/>
                </a:ext>
              </a:extLst>
            </p:cNvPr>
            <p:cNvSpPr/>
            <p:nvPr/>
          </p:nvSpPr>
          <p:spPr>
            <a:xfrm>
              <a:off x="5784272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6" name="Полилиния 1505">
              <a:extLst>
                <a:ext uri="{FF2B5EF4-FFF2-40B4-BE49-F238E27FC236}">
                  <a16:creationId xmlns:a16="http://schemas.microsoft.com/office/drawing/2014/main" id="{927C2D68-8CCF-AF38-2D3B-B274CDF18D49}"/>
                </a:ext>
              </a:extLst>
            </p:cNvPr>
            <p:cNvSpPr/>
            <p:nvPr/>
          </p:nvSpPr>
          <p:spPr>
            <a:xfrm>
              <a:off x="5992090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7" name="Полилиния 1506">
              <a:extLst>
                <a:ext uri="{FF2B5EF4-FFF2-40B4-BE49-F238E27FC236}">
                  <a16:creationId xmlns:a16="http://schemas.microsoft.com/office/drawing/2014/main" id="{B74E57DD-A692-806C-504A-4A52314F65F9}"/>
                </a:ext>
              </a:extLst>
            </p:cNvPr>
            <p:cNvSpPr/>
            <p:nvPr/>
          </p:nvSpPr>
          <p:spPr>
            <a:xfrm>
              <a:off x="6199909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8" name="Полилиния 1507">
              <a:extLst>
                <a:ext uri="{FF2B5EF4-FFF2-40B4-BE49-F238E27FC236}">
                  <a16:creationId xmlns:a16="http://schemas.microsoft.com/office/drawing/2014/main" id="{82001AA6-A8C9-F350-5B52-516D6F42FEFA}"/>
                </a:ext>
              </a:extLst>
            </p:cNvPr>
            <p:cNvSpPr/>
            <p:nvPr/>
          </p:nvSpPr>
          <p:spPr>
            <a:xfrm>
              <a:off x="6407727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9" name="Полилиния 1508">
              <a:extLst>
                <a:ext uri="{FF2B5EF4-FFF2-40B4-BE49-F238E27FC236}">
                  <a16:creationId xmlns:a16="http://schemas.microsoft.com/office/drawing/2014/main" id="{777CEE7E-4BF4-BF3A-85C7-E5C97A530FCC}"/>
                </a:ext>
              </a:extLst>
            </p:cNvPr>
            <p:cNvSpPr/>
            <p:nvPr/>
          </p:nvSpPr>
          <p:spPr>
            <a:xfrm>
              <a:off x="6615545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0" name="Полилиния 1509">
              <a:extLst>
                <a:ext uri="{FF2B5EF4-FFF2-40B4-BE49-F238E27FC236}">
                  <a16:creationId xmlns:a16="http://schemas.microsoft.com/office/drawing/2014/main" id="{D4B501B9-293B-3FBE-91E4-455EFEF89358}"/>
                </a:ext>
              </a:extLst>
            </p:cNvPr>
            <p:cNvSpPr/>
            <p:nvPr/>
          </p:nvSpPr>
          <p:spPr>
            <a:xfrm>
              <a:off x="6823363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1" name="Полилиния 1510">
              <a:extLst>
                <a:ext uri="{FF2B5EF4-FFF2-40B4-BE49-F238E27FC236}">
                  <a16:creationId xmlns:a16="http://schemas.microsoft.com/office/drawing/2014/main" id="{B943D338-36D1-4273-5592-57F6551F5CAD}"/>
                </a:ext>
              </a:extLst>
            </p:cNvPr>
            <p:cNvSpPr/>
            <p:nvPr/>
          </p:nvSpPr>
          <p:spPr>
            <a:xfrm rot="5400000">
              <a:off x="7862454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2" name="Полилиния 1511">
              <a:extLst>
                <a:ext uri="{FF2B5EF4-FFF2-40B4-BE49-F238E27FC236}">
                  <a16:creationId xmlns:a16="http://schemas.microsoft.com/office/drawing/2014/main" id="{78B03180-8CBE-DBCE-AAC9-90F744A808D9}"/>
                </a:ext>
              </a:extLst>
            </p:cNvPr>
            <p:cNvSpPr/>
            <p:nvPr/>
          </p:nvSpPr>
          <p:spPr>
            <a:xfrm rot="5400000">
              <a:off x="8278090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3" name="Полилиния 1512">
              <a:extLst>
                <a:ext uri="{FF2B5EF4-FFF2-40B4-BE49-F238E27FC236}">
                  <a16:creationId xmlns:a16="http://schemas.microsoft.com/office/drawing/2014/main" id="{E53126C0-E4CB-4569-172E-C74870D364F1}"/>
                </a:ext>
              </a:extLst>
            </p:cNvPr>
            <p:cNvSpPr/>
            <p:nvPr/>
          </p:nvSpPr>
          <p:spPr>
            <a:xfrm rot="5400000">
              <a:off x="8901545" y="3532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4" name="Полилиния 1513">
              <a:extLst>
                <a:ext uri="{FF2B5EF4-FFF2-40B4-BE49-F238E27FC236}">
                  <a16:creationId xmlns:a16="http://schemas.microsoft.com/office/drawing/2014/main" id="{680DBD78-C346-85AE-CE2B-EA29B3BEEF41}"/>
                </a:ext>
              </a:extLst>
            </p:cNvPr>
            <p:cNvSpPr/>
            <p:nvPr/>
          </p:nvSpPr>
          <p:spPr>
            <a:xfrm rot="5400000">
              <a:off x="3498272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5" name="Полилиния 1514">
              <a:extLst>
                <a:ext uri="{FF2B5EF4-FFF2-40B4-BE49-F238E27FC236}">
                  <a16:creationId xmlns:a16="http://schemas.microsoft.com/office/drawing/2014/main" id="{23D46190-38A2-69DB-C062-87B952E42766}"/>
                </a:ext>
              </a:extLst>
            </p:cNvPr>
            <p:cNvSpPr/>
            <p:nvPr/>
          </p:nvSpPr>
          <p:spPr>
            <a:xfrm rot="-5400000">
              <a:off x="4121727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6" name="Полилиния 1515">
              <a:extLst>
                <a:ext uri="{FF2B5EF4-FFF2-40B4-BE49-F238E27FC236}">
                  <a16:creationId xmlns:a16="http://schemas.microsoft.com/office/drawing/2014/main" id="{9C074106-F502-8C87-4988-AEFDA54E5A2C}"/>
                </a:ext>
              </a:extLst>
            </p:cNvPr>
            <p:cNvSpPr/>
            <p:nvPr/>
          </p:nvSpPr>
          <p:spPr>
            <a:xfrm>
              <a:off x="4329545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7" name="Полилиния 1516">
              <a:extLst>
                <a:ext uri="{FF2B5EF4-FFF2-40B4-BE49-F238E27FC236}">
                  <a16:creationId xmlns:a16="http://schemas.microsoft.com/office/drawing/2014/main" id="{92267768-A6F4-EECE-2F08-D6EEE1DEDDE2}"/>
                </a:ext>
              </a:extLst>
            </p:cNvPr>
            <p:cNvSpPr/>
            <p:nvPr/>
          </p:nvSpPr>
          <p:spPr>
            <a:xfrm>
              <a:off x="4537363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8" name="Полилиния 1517">
              <a:extLst>
                <a:ext uri="{FF2B5EF4-FFF2-40B4-BE49-F238E27FC236}">
                  <a16:creationId xmlns:a16="http://schemas.microsoft.com/office/drawing/2014/main" id="{09DBF82B-01CB-EBFA-2F4E-CC894E2A85B1}"/>
                </a:ext>
              </a:extLst>
            </p:cNvPr>
            <p:cNvSpPr/>
            <p:nvPr/>
          </p:nvSpPr>
          <p:spPr>
            <a:xfrm rot="5400000">
              <a:off x="4745181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9" name="Полилиния 1518">
              <a:extLst>
                <a:ext uri="{FF2B5EF4-FFF2-40B4-BE49-F238E27FC236}">
                  <a16:creationId xmlns:a16="http://schemas.microsoft.com/office/drawing/2014/main" id="{BED7F4B4-8CAB-C6F0-155F-E11D187990B3}"/>
                </a:ext>
              </a:extLst>
            </p:cNvPr>
            <p:cNvSpPr/>
            <p:nvPr/>
          </p:nvSpPr>
          <p:spPr>
            <a:xfrm rot="5400000">
              <a:off x="5160818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0" name="Полилиния 1519">
              <a:extLst>
                <a:ext uri="{FF2B5EF4-FFF2-40B4-BE49-F238E27FC236}">
                  <a16:creationId xmlns:a16="http://schemas.microsoft.com/office/drawing/2014/main" id="{F8C91D33-4756-74A7-4F78-D2202D3DC556}"/>
                </a:ext>
              </a:extLst>
            </p:cNvPr>
            <p:cNvSpPr/>
            <p:nvPr/>
          </p:nvSpPr>
          <p:spPr>
            <a:xfrm rot="-5400000">
              <a:off x="5576454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1" name="Полилиния 1520">
              <a:extLst>
                <a:ext uri="{FF2B5EF4-FFF2-40B4-BE49-F238E27FC236}">
                  <a16:creationId xmlns:a16="http://schemas.microsoft.com/office/drawing/2014/main" id="{F4B9588A-3CFE-FF76-4F55-5CB97C15EC9F}"/>
                </a:ext>
              </a:extLst>
            </p:cNvPr>
            <p:cNvSpPr/>
            <p:nvPr/>
          </p:nvSpPr>
          <p:spPr>
            <a:xfrm>
              <a:off x="5784272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2" name="Полилиния 1521">
              <a:extLst>
                <a:ext uri="{FF2B5EF4-FFF2-40B4-BE49-F238E27FC236}">
                  <a16:creationId xmlns:a16="http://schemas.microsoft.com/office/drawing/2014/main" id="{F0502043-0DB4-9406-78FF-175A736328F1}"/>
                </a:ext>
              </a:extLst>
            </p:cNvPr>
            <p:cNvSpPr/>
            <p:nvPr/>
          </p:nvSpPr>
          <p:spPr>
            <a:xfrm>
              <a:off x="5992090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3" name="Полилиния 1522">
              <a:extLst>
                <a:ext uri="{FF2B5EF4-FFF2-40B4-BE49-F238E27FC236}">
                  <a16:creationId xmlns:a16="http://schemas.microsoft.com/office/drawing/2014/main" id="{4001D9F4-02C6-E132-9549-06E150791E90}"/>
                </a:ext>
              </a:extLst>
            </p:cNvPr>
            <p:cNvSpPr/>
            <p:nvPr/>
          </p:nvSpPr>
          <p:spPr>
            <a:xfrm rot="5400000">
              <a:off x="6199909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4" name="Полилиния 1523">
              <a:extLst>
                <a:ext uri="{FF2B5EF4-FFF2-40B4-BE49-F238E27FC236}">
                  <a16:creationId xmlns:a16="http://schemas.microsoft.com/office/drawing/2014/main" id="{D8833865-5745-A7A2-E9FB-EF4858D6EFCD}"/>
                </a:ext>
              </a:extLst>
            </p:cNvPr>
            <p:cNvSpPr/>
            <p:nvPr/>
          </p:nvSpPr>
          <p:spPr>
            <a:xfrm>
              <a:off x="6823363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5" name="Полилиния 1524">
              <a:extLst>
                <a:ext uri="{FF2B5EF4-FFF2-40B4-BE49-F238E27FC236}">
                  <a16:creationId xmlns:a16="http://schemas.microsoft.com/office/drawing/2014/main" id="{4ACDE9B9-548A-DEFD-4EBA-A147C53D200E}"/>
                </a:ext>
              </a:extLst>
            </p:cNvPr>
            <p:cNvSpPr/>
            <p:nvPr/>
          </p:nvSpPr>
          <p:spPr>
            <a:xfrm>
              <a:off x="7031181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6" name="Полилиния 1525">
              <a:extLst>
                <a:ext uri="{FF2B5EF4-FFF2-40B4-BE49-F238E27FC236}">
                  <a16:creationId xmlns:a16="http://schemas.microsoft.com/office/drawing/2014/main" id="{02D3E6D6-E7C1-509A-FD64-2D3973D01B69}"/>
                </a:ext>
              </a:extLst>
            </p:cNvPr>
            <p:cNvSpPr/>
            <p:nvPr/>
          </p:nvSpPr>
          <p:spPr>
            <a:xfrm>
              <a:off x="7239000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7" name="Полилиния 1526">
              <a:extLst>
                <a:ext uri="{FF2B5EF4-FFF2-40B4-BE49-F238E27FC236}">
                  <a16:creationId xmlns:a16="http://schemas.microsoft.com/office/drawing/2014/main" id="{CBA10143-1F49-065D-1979-723627D2564C}"/>
                </a:ext>
              </a:extLst>
            </p:cNvPr>
            <p:cNvSpPr/>
            <p:nvPr/>
          </p:nvSpPr>
          <p:spPr>
            <a:xfrm rot="5400000">
              <a:off x="7446818" y="3740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8" name="Полилиния 1527">
              <a:extLst>
                <a:ext uri="{FF2B5EF4-FFF2-40B4-BE49-F238E27FC236}">
                  <a16:creationId xmlns:a16="http://schemas.microsoft.com/office/drawing/2014/main" id="{2E9DE248-5AF4-F131-6B31-947B5152F884}"/>
                </a:ext>
              </a:extLst>
            </p:cNvPr>
            <p:cNvSpPr/>
            <p:nvPr/>
          </p:nvSpPr>
          <p:spPr>
            <a:xfrm rot="-5400000">
              <a:off x="3082636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9" name="Полилиния 1528">
              <a:extLst>
                <a:ext uri="{FF2B5EF4-FFF2-40B4-BE49-F238E27FC236}">
                  <a16:creationId xmlns:a16="http://schemas.microsoft.com/office/drawing/2014/main" id="{C96F7F81-358B-C5C6-992A-B36061C8E161}"/>
                </a:ext>
              </a:extLst>
            </p:cNvPr>
            <p:cNvSpPr/>
            <p:nvPr/>
          </p:nvSpPr>
          <p:spPr>
            <a:xfrm rot="5400000">
              <a:off x="3290454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0" name="Полилиния 1529">
              <a:extLst>
                <a:ext uri="{FF2B5EF4-FFF2-40B4-BE49-F238E27FC236}">
                  <a16:creationId xmlns:a16="http://schemas.microsoft.com/office/drawing/2014/main" id="{FB819C81-FA37-F247-3935-B7460B583683}"/>
                </a:ext>
              </a:extLst>
            </p:cNvPr>
            <p:cNvSpPr/>
            <p:nvPr/>
          </p:nvSpPr>
          <p:spPr>
            <a:xfrm rot="-5400000">
              <a:off x="3913909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1" name="Полилиния 1530">
              <a:extLst>
                <a:ext uri="{FF2B5EF4-FFF2-40B4-BE49-F238E27FC236}">
                  <a16:creationId xmlns:a16="http://schemas.microsoft.com/office/drawing/2014/main" id="{9071BD11-F897-8C96-409E-AD4739E4909B}"/>
                </a:ext>
              </a:extLst>
            </p:cNvPr>
            <p:cNvSpPr/>
            <p:nvPr/>
          </p:nvSpPr>
          <p:spPr>
            <a:xfrm>
              <a:off x="4121727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2" name="Полилиния 1531">
              <a:extLst>
                <a:ext uri="{FF2B5EF4-FFF2-40B4-BE49-F238E27FC236}">
                  <a16:creationId xmlns:a16="http://schemas.microsoft.com/office/drawing/2014/main" id="{54E545CC-75CE-5382-6560-281C40165140}"/>
                </a:ext>
              </a:extLst>
            </p:cNvPr>
            <p:cNvSpPr/>
            <p:nvPr/>
          </p:nvSpPr>
          <p:spPr>
            <a:xfrm>
              <a:off x="5784272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3" name="Полилиния 1532">
              <a:extLst>
                <a:ext uri="{FF2B5EF4-FFF2-40B4-BE49-F238E27FC236}">
                  <a16:creationId xmlns:a16="http://schemas.microsoft.com/office/drawing/2014/main" id="{308EA293-9DBE-85D5-3F33-5669A3CC0F2A}"/>
                </a:ext>
              </a:extLst>
            </p:cNvPr>
            <p:cNvSpPr/>
            <p:nvPr/>
          </p:nvSpPr>
          <p:spPr>
            <a:xfrm rot="-5400000">
              <a:off x="6407727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4" name="Полилиния 1533">
              <a:extLst>
                <a:ext uri="{FF2B5EF4-FFF2-40B4-BE49-F238E27FC236}">
                  <a16:creationId xmlns:a16="http://schemas.microsoft.com/office/drawing/2014/main" id="{13C03A2E-F2DC-6CD5-817B-44EEADB16075}"/>
                </a:ext>
              </a:extLst>
            </p:cNvPr>
            <p:cNvSpPr/>
            <p:nvPr/>
          </p:nvSpPr>
          <p:spPr>
            <a:xfrm rot="5400000">
              <a:off x="6615545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5" name="Полилиния 1534">
              <a:extLst>
                <a:ext uri="{FF2B5EF4-FFF2-40B4-BE49-F238E27FC236}">
                  <a16:creationId xmlns:a16="http://schemas.microsoft.com/office/drawing/2014/main" id="{B7C39CBC-999B-E9F1-72BA-013349DE2A9A}"/>
                </a:ext>
              </a:extLst>
            </p:cNvPr>
            <p:cNvSpPr/>
            <p:nvPr/>
          </p:nvSpPr>
          <p:spPr>
            <a:xfrm rot="-5400000">
              <a:off x="7654636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6" name="Полилиния 1535">
              <a:extLst>
                <a:ext uri="{FF2B5EF4-FFF2-40B4-BE49-F238E27FC236}">
                  <a16:creationId xmlns:a16="http://schemas.microsoft.com/office/drawing/2014/main" id="{923EDF3E-D1A7-A27B-8C1B-FC0AA67FBDD5}"/>
                </a:ext>
              </a:extLst>
            </p:cNvPr>
            <p:cNvSpPr/>
            <p:nvPr/>
          </p:nvSpPr>
          <p:spPr>
            <a:xfrm>
              <a:off x="7862454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7" name="Полилиния 1536">
              <a:extLst>
                <a:ext uri="{FF2B5EF4-FFF2-40B4-BE49-F238E27FC236}">
                  <a16:creationId xmlns:a16="http://schemas.microsoft.com/office/drawing/2014/main" id="{629B621C-03B9-8E65-DC06-1434B471AA89}"/>
                </a:ext>
              </a:extLst>
            </p:cNvPr>
            <p:cNvSpPr/>
            <p:nvPr/>
          </p:nvSpPr>
          <p:spPr>
            <a:xfrm>
              <a:off x="8070272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8" name="Полилиния 1537">
              <a:extLst>
                <a:ext uri="{FF2B5EF4-FFF2-40B4-BE49-F238E27FC236}">
                  <a16:creationId xmlns:a16="http://schemas.microsoft.com/office/drawing/2014/main" id="{F74CCEE3-D77D-B15C-83F7-84657F7B9AF2}"/>
                </a:ext>
              </a:extLst>
            </p:cNvPr>
            <p:cNvSpPr/>
            <p:nvPr/>
          </p:nvSpPr>
          <p:spPr>
            <a:xfrm rot="-5400000">
              <a:off x="8901545" y="3948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9" name="Полилиния 1538">
              <a:extLst>
                <a:ext uri="{FF2B5EF4-FFF2-40B4-BE49-F238E27FC236}">
                  <a16:creationId xmlns:a16="http://schemas.microsoft.com/office/drawing/2014/main" id="{6E9E45F3-6072-7333-2BC6-07A9727292F1}"/>
                </a:ext>
              </a:extLst>
            </p:cNvPr>
            <p:cNvSpPr/>
            <p:nvPr/>
          </p:nvSpPr>
          <p:spPr>
            <a:xfrm>
              <a:off x="4121727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0" name="Полилиния 1539">
              <a:extLst>
                <a:ext uri="{FF2B5EF4-FFF2-40B4-BE49-F238E27FC236}">
                  <a16:creationId xmlns:a16="http://schemas.microsoft.com/office/drawing/2014/main" id="{3FD0C178-9C2A-3DAE-5515-F76903A57E18}"/>
                </a:ext>
              </a:extLst>
            </p:cNvPr>
            <p:cNvSpPr/>
            <p:nvPr/>
          </p:nvSpPr>
          <p:spPr>
            <a:xfrm>
              <a:off x="4329545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1" name="Полилиния 1540">
              <a:extLst>
                <a:ext uri="{FF2B5EF4-FFF2-40B4-BE49-F238E27FC236}">
                  <a16:creationId xmlns:a16="http://schemas.microsoft.com/office/drawing/2014/main" id="{EDC9CC2D-1311-75DF-E11E-024E2ED373E2}"/>
                </a:ext>
              </a:extLst>
            </p:cNvPr>
            <p:cNvSpPr/>
            <p:nvPr/>
          </p:nvSpPr>
          <p:spPr>
            <a:xfrm>
              <a:off x="4537363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2" name="Полилиния 1541">
              <a:extLst>
                <a:ext uri="{FF2B5EF4-FFF2-40B4-BE49-F238E27FC236}">
                  <a16:creationId xmlns:a16="http://schemas.microsoft.com/office/drawing/2014/main" id="{6DE2CD3F-B89C-A392-4B57-14ED4CA8E3BC}"/>
                </a:ext>
              </a:extLst>
            </p:cNvPr>
            <p:cNvSpPr/>
            <p:nvPr/>
          </p:nvSpPr>
          <p:spPr>
            <a:xfrm>
              <a:off x="4745181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3" name="Полилиния 1542">
              <a:extLst>
                <a:ext uri="{FF2B5EF4-FFF2-40B4-BE49-F238E27FC236}">
                  <a16:creationId xmlns:a16="http://schemas.microsoft.com/office/drawing/2014/main" id="{47468E05-A71F-F610-2D69-C9B32E7EAD53}"/>
                </a:ext>
              </a:extLst>
            </p:cNvPr>
            <p:cNvSpPr/>
            <p:nvPr/>
          </p:nvSpPr>
          <p:spPr>
            <a:xfrm>
              <a:off x="4953000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4" name="Полилиния 1543">
              <a:extLst>
                <a:ext uri="{FF2B5EF4-FFF2-40B4-BE49-F238E27FC236}">
                  <a16:creationId xmlns:a16="http://schemas.microsoft.com/office/drawing/2014/main" id="{6F358DC2-F229-A80C-C836-1D27DEA3F265}"/>
                </a:ext>
              </a:extLst>
            </p:cNvPr>
            <p:cNvSpPr/>
            <p:nvPr/>
          </p:nvSpPr>
          <p:spPr>
            <a:xfrm rot="-5400000">
              <a:off x="5368636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5" name="Полилиния 1544">
              <a:extLst>
                <a:ext uri="{FF2B5EF4-FFF2-40B4-BE49-F238E27FC236}">
                  <a16:creationId xmlns:a16="http://schemas.microsoft.com/office/drawing/2014/main" id="{D7484960-0388-1B3F-056E-30907801F26A}"/>
                </a:ext>
              </a:extLst>
            </p:cNvPr>
            <p:cNvSpPr/>
            <p:nvPr/>
          </p:nvSpPr>
          <p:spPr>
            <a:xfrm rot="5400000">
              <a:off x="5784272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6" name="Полилиния 1545">
              <a:extLst>
                <a:ext uri="{FF2B5EF4-FFF2-40B4-BE49-F238E27FC236}">
                  <a16:creationId xmlns:a16="http://schemas.microsoft.com/office/drawing/2014/main" id="{B27ACD24-1F9A-0AFC-269A-784A90C58D77}"/>
                </a:ext>
              </a:extLst>
            </p:cNvPr>
            <p:cNvSpPr/>
            <p:nvPr/>
          </p:nvSpPr>
          <p:spPr>
            <a:xfrm rot="5400000">
              <a:off x="6407727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7" name="Полилиния 1546">
              <a:extLst>
                <a:ext uri="{FF2B5EF4-FFF2-40B4-BE49-F238E27FC236}">
                  <a16:creationId xmlns:a16="http://schemas.microsoft.com/office/drawing/2014/main" id="{C8F29BAD-AC5E-7043-C336-93677C3D60AC}"/>
                </a:ext>
              </a:extLst>
            </p:cNvPr>
            <p:cNvSpPr/>
            <p:nvPr/>
          </p:nvSpPr>
          <p:spPr>
            <a:xfrm rot="5400000">
              <a:off x="6823363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8" name="Полилиния 1547">
              <a:extLst>
                <a:ext uri="{FF2B5EF4-FFF2-40B4-BE49-F238E27FC236}">
                  <a16:creationId xmlns:a16="http://schemas.microsoft.com/office/drawing/2014/main" id="{BDE21ADC-96CE-3EC7-0E25-3900BD933444}"/>
                </a:ext>
              </a:extLst>
            </p:cNvPr>
            <p:cNvSpPr/>
            <p:nvPr/>
          </p:nvSpPr>
          <p:spPr>
            <a:xfrm>
              <a:off x="8070272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9" name="Полилиния 1548">
              <a:extLst>
                <a:ext uri="{FF2B5EF4-FFF2-40B4-BE49-F238E27FC236}">
                  <a16:creationId xmlns:a16="http://schemas.microsoft.com/office/drawing/2014/main" id="{F2E4D474-2696-E217-EF1B-21F9FAF7F903}"/>
                </a:ext>
              </a:extLst>
            </p:cNvPr>
            <p:cNvSpPr/>
            <p:nvPr/>
          </p:nvSpPr>
          <p:spPr>
            <a:xfrm rot="5400000">
              <a:off x="8485909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0" name="Полилиния 1549">
              <a:extLst>
                <a:ext uri="{FF2B5EF4-FFF2-40B4-BE49-F238E27FC236}">
                  <a16:creationId xmlns:a16="http://schemas.microsoft.com/office/drawing/2014/main" id="{C5C5D245-7A50-A1DB-FF12-1FB3D3F5470C}"/>
                </a:ext>
              </a:extLst>
            </p:cNvPr>
            <p:cNvSpPr/>
            <p:nvPr/>
          </p:nvSpPr>
          <p:spPr>
            <a:xfrm rot="5400000">
              <a:off x="8901545" y="4156363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1" name="Полилиния 1550">
              <a:extLst>
                <a:ext uri="{FF2B5EF4-FFF2-40B4-BE49-F238E27FC236}">
                  <a16:creationId xmlns:a16="http://schemas.microsoft.com/office/drawing/2014/main" id="{5B94C0FA-2E25-D6BF-A219-9EA898CBDBE6}"/>
                </a:ext>
              </a:extLst>
            </p:cNvPr>
            <p:cNvSpPr/>
            <p:nvPr/>
          </p:nvSpPr>
          <p:spPr>
            <a:xfrm rot="-5400000">
              <a:off x="3913909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2" name="Полилиния 1551">
              <a:extLst>
                <a:ext uri="{FF2B5EF4-FFF2-40B4-BE49-F238E27FC236}">
                  <a16:creationId xmlns:a16="http://schemas.microsoft.com/office/drawing/2014/main" id="{E0D862F0-E8AC-E169-0116-9481FB32E9EA}"/>
                </a:ext>
              </a:extLst>
            </p:cNvPr>
            <p:cNvSpPr/>
            <p:nvPr/>
          </p:nvSpPr>
          <p:spPr>
            <a:xfrm>
              <a:off x="4121727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3" name="Полилиния 1552">
              <a:extLst>
                <a:ext uri="{FF2B5EF4-FFF2-40B4-BE49-F238E27FC236}">
                  <a16:creationId xmlns:a16="http://schemas.microsoft.com/office/drawing/2014/main" id="{4AD8CCF9-6BE4-5274-D3BC-86FB237E82A9}"/>
                </a:ext>
              </a:extLst>
            </p:cNvPr>
            <p:cNvSpPr/>
            <p:nvPr/>
          </p:nvSpPr>
          <p:spPr>
            <a:xfrm>
              <a:off x="495300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4" name="Полилиния 1553">
              <a:extLst>
                <a:ext uri="{FF2B5EF4-FFF2-40B4-BE49-F238E27FC236}">
                  <a16:creationId xmlns:a16="http://schemas.microsoft.com/office/drawing/2014/main" id="{272B3DF3-7EB5-4FDE-262C-C3BA2385C27B}"/>
                </a:ext>
              </a:extLst>
            </p:cNvPr>
            <p:cNvSpPr/>
            <p:nvPr/>
          </p:nvSpPr>
          <p:spPr>
            <a:xfrm>
              <a:off x="5160818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5" name="Полилиния 1554">
              <a:extLst>
                <a:ext uri="{FF2B5EF4-FFF2-40B4-BE49-F238E27FC236}">
                  <a16:creationId xmlns:a16="http://schemas.microsoft.com/office/drawing/2014/main" id="{231D18F4-2E6E-B390-2784-39D6DF05B989}"/>
                </a:ext>
              </a:extLst>
            </p:cNvPr>
            <p:cNvSpPr/>
            <p:nvPr/>
          </p:nvSpPr>
          <p:spPr>
            <a:xfrm>
              <a:off x="5368636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6" name="Полилиния 1555">
              <a:extLst>
                <a:ext uri="{FF2B5EF4-FFF2-40B4-BE49-F238E27FC236}">
                  <a16:creationId xmlns:a16="http://schemas.microsoft.com/office/drawing/2014/main" id="{EFC8D4C3-798D-C29F-DE8B-58EE63AE6A7D}"/>
                </a:ext>
              </a:extLst>
            </p:cNvPr>
            <p:cNvSpPr/>
            <p:nvPr/>
          </p:nvSpPr>
          <p:spPr>
            <a:xfrm rot="5400000">
              <a:off x="5576454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7" name="Полилиния 1556">
              <a:extLst>
                <a:ext uri="{FF2B5EF4-FFF2-40B4-BE49-F238E27FC236}">
                  <a16:creationId xmlns:a16="http://schemas.microsoft.com/office/drawing/2014/main" id="{B24C8222-FA3B-771F-C5C5-076F9CC84089}"/>
                </a:ext>
              </a:extLst>
            </p:cNvPr>
            <p:cNvSpPr/>
            <p:nvPr/>
          </p:nvSpPr>
          <p:spPr>
            <a:xfrm rot="-5400000">
              <a:off x="599209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8" name="Полилиния 1557">
              <a:extLst>
                <a:ext uri="{FF2B5EF4-FFF2-40B4-BE49-F238E27FC236}">
                  <a16:creationId xmlns:a16="http://schemas.microsoft.com/office/drawing/2014/main" id="{20F0D92F-8BA6-22AF-1213-68E3923631EF}"/>
                </a:ext>
              </a:extLst>
            </p:cNvPr>
            <p:cNvSpPr/>
            <p:nvPr/>
          </p:nvSpPr>
          <p:spPr>
            <a:xfrm rot="-5400000">
              <a:off x="6615545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9" name="Полилиния 1558">
              <a:extLst>
                <a:ext uri="{FF2B5EF4-FFF2-40B4-BE49-F238E27FC236}">
                  <a16:creationId xmlns:a16="http://schemas.microsoft.com/office/drawing/2014/main" id="{BBD2AA3E-AD37-C448-2F84-F0E07F5AC653}"/>
                </a:ext>
              </a:extLst>
            </p:cNvPr>
            <p:cNvSpPr/>
            <p:nvPr/>
          </p:nvSpPr>
          <p:spPr>
            <a:xfrm rot="-5400000">
              <a:off x="723900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0" name="Полилиния 1559">
              <a:extLst>
                <a:ext uri="{FF2B5EF4-FFF2-40B4-BE49-F238E27FC236}">
                  <a16:creationId xmlns:a16="http://schemas.microsoft.com/office/drawing/2014/main" id="{7B16B551-A667-DC70-455D-FB1E8F8FBB2D}"/>
                </a:ext>
              </a:extLst>
            </p:cNvPr>
            <p:cNvSpPr/>
            <p:nvPr/>
          </p:nvSpPr>
          <p:spPr>
            <a:xfrm>
              <a:off x="8070272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1" name="Полилиния 1560">
              <a:extLst>
                <a:ext uri="{FF2B5EF4-FFF2-40B4-BE49-F238E27FC236}">
                  <a16:creationId xmlns:a16="http://schemas.microsoft.com/office/drawing/2014/main" id="{4B8C06D1-458A-99E6-F255-F7A77092D12F}"/>
                </a:ext>
              </a:extLst>
            </p:cNvPr>
            <p:cNvSpPr/>
            <p:nvPr/>
          </p:nvSpPr>
          <p:spPr>
            <a:xfrm>
              <a:off x="8278090" y="4364181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2" name="Полилиния 1561">
              <a:extLst>
                <a:ext uri="{FF2B5EF4-FFF2-40B4-BE49-F238E27FC236}">
                  <a16:creationId xmlns:a16="http://schemas.microsoft.com/office/drawing/2014/main" id="{5EE1812F-11DB-C730-1F22-4F6126088158}"/>
                </a:ext>
              </a:extLst>
            </p:cNvPr>
            <p:cNvSpPr/>
            <p:nvPr/>
          </p:nvSpPr>
          <p:spPr>
            <a:xfrm rot="-5400000">
              <a:off x="3082636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3" name="Полилиния 1562">
              <a:extLst>
                <a:ext uri="{FF2B5EF4-FFF2-40B4-BE49-F238E27FC236}">
                  <a16:creationId xmlns:a16="http://schemas.microsoft.com/office/drawing/2014/main" id="{04EEC281-A769-2158-D7DB-F939DC8CD1C8}"/>
                </a:ext>
              </a:extLst>
            </p:cNvPr>
            <p:cNvSpPr/>
            <p:nvPr/>
          </p:nvSpPr>
          <p:spPr>
            <a:xfrm>
              <a:off x="3290454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4" name="Полилиния 1563">
              <a:extLst>
                <a:ext uri="{FF2B5EF4-FFF2-40B4-BE49-F238E27FC236}">
                  <a16:creationId xmlns:a16="http://schemas.microsoft.com/office/drawing/2014/main" id="{0F009085-4291-68AF-75F4-5B6F45C2DB65}"/>
                </a:ext>
              </a:extLst>
            </p:cNvPr>
            <p:cNvSpPr/>
            <p:nvPr/>
          </p:nvSpPr>
          <p:spPr>
            <a:xfrm>
              <a:off x="3498272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5" name="Полилиния 1564">
              <a:extLst>
                <a:ext uri="{FF2B5EF4-FFF2-40B4-BE49-F238E27FC236}">
                  <a16:creationId xmlns:a16="http://schemas.microsoft.com/office/drawing/2014/main" id="{A894A89C-78EB-C907-DFD0-55D38441E59E}"/>
                </a:ext>
              </a:extLst>
            </p:cNvPr>
            <p:cNvSpPr/>
            <p:nvPr/>
          </p:nvSpPr>
          <p:spPr>
            <a:xfrm>
              <a:off x="370609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6" name="Полилиния 1565">
              <a:extLst>
                <a:ext uri="{FF2B5EF4-FFF2-40B4-BE49-F238E27FC236}">
                  <a16:creationId xmlns:a16="http://schemas.microsoft.com/office/drawing/2014/main" id="{0894B238-07BE-73E2-0611-5F1847E39FD5}"/>
                </a:ext>
              </a:extLst>
            </p:cNvPr>
            <p:cNvSpPr/>
            <p:nvPr/>
          </p:nvSpPr>
          <p:spPr>
            <a:xfrm>
              <a:off x="3913909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7" name="Полилиния 1566">
              <a:extLst>
                <a:ext uri="{FF2B5EF4-FFF2-40B4-BE49-F238E27FC236}">
                  <a16:creationId xmlns:a16="http://schemas.microsoft.com/office/drawing/2014/main" id="{B7A3EBB5-AA59-C179-2CE0-76094ACAAB14}"/>
                </a:ext>
              </a:extLst>
            </p:cNvPr>
            <p:cNvSpPr/>
            <p:nvPr/>
          </p:nvSpPr>
          <p:spPr>
            <a:xfrm>
              <a:off x="4121727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8" name="Полилиния 1567">
              <a:extLst>
                <a:ext uri="{FF2B5EF4-FFF2-40B4-BE49-F238E27FC236}">
                  <a16:creationId xmlns:a16="http://schemas.microsoft.com/office/drawing/2014/main" id="{55D62B3F-ABEE-3992-760D-3E3DBEB300C4}"/>
                </a:ext>
              </a:extLst>
            </p:cNvPr>
            <p:cNvSpPr/>
            <p:nvPr/>
          </p:nvSpPr>
          <p:spPr>
            <a:xfrm rot="5400000">
              <a:off x="4329545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9" name="Полилиния 1568">
              <a:extLst>
                <a:ext uri="{FF2B5EF4-FFF2-40B4-BE49-F238E27FC236}">
                  <a16:creationId xmlns:a16="http://schemas.microsoft.com/office/drawing/2014/main" id="{98542F15-04E9-A5E8-BEAB-41647DCBF8C2}"/>
                </a:ext>
              </a:extLst>
            </p:cNvPr>
            <p:cNvSpPr/>
            <p:nvPr/>
          </p:nvSpPr>
          <p:spPr>
            <a:xfrm rot="-5400000">
              <a:off x="4745181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0" name="Полилиния 1569">
              <a:extLst>
                <a:ext uri="{FF2B5EF4-FFF2-40B4-BE49-F238E27FC236}">
                  <a16:creationId xmlns:a16="http://schemas.microsoft.com/office/drawing/2014/main" id="{A6D39FD6-1007-B918-2FBE-F0985A0895EE}"/>
                </a:ext>
              </a:extLst>
            </p:cNvPr>
            <p:cNvSpPr/>
            <p:nvPr/>
          </p:nvSpPr>
          <p:spPr>
            <a:xfrm>
              <a:off x="5160818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1" name="Полилиния 1570">
              <a:extLst>
                <a:ext uri="{FF2B5EF4-FFF2-40B4-BE49-F238E27FC236}">
                  <a16:creationId xmlns:a16="http://schemas.microsoft.com/office/drawing/2014/main" id="{93E73BD0-C7E6-F018-431B-0AAD460462C1}"/>
                </a:ext>
              </a:extLst>
            </p:cNvPr>
            <p:cNvSpPr/>
            <p:nvPr/>
          </p:nvSpPr>
          <p:spPr>
            <a:xfrm>
              <a:off x="599209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2" name="Полилиния 1571">
              <a:extLst>
                <a:ext uri="{FF2B5EF4-FFF2-40B4-BE49-F238E27FC236}">
                  <a16:creationId xmlns:a16="http://schemas.microsoft.com/office/drawing/2014/main" id="{0BE705F1-0CFF-0FD7-EDA3-3E1944364BDD}"/>
                </a:ext>
              </a:extLst>
            </p:cNvPr>
            <p:cNvSpPr/>
            <p:nvPr/>
          </p:nvSpPr>
          <p:spPr>
            <a:xfrm>
              <a:off x="6199909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3" name="Полилиния 1572">
              <a:extLst>
                <a:ext uri="{FF2B5EF4-FFF2-40B4-BE49-F238E27FC236}">
                  <a16:creationId xmlns:a16="http://schemas.microsoft.com/office/drawing/2014/main" id="{2CAEBAEF-F94E-2640-BD04-C0A282A9A4CF}"/>
                </a:ext>
              </a:extLst>
            </p:cNvPr>
            <p:cNvSpPr/>
            <p:nvPr/>
          </p:nvSpPr>
          <p:spPr>
            <a:xfrm>
              <a:off x="6615545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4" name="Полилиния 1573">
              <a:extLst>
                <a:ext uri="{FF2B5EF4-FFF2-40B4-BE49-F238E27FC236}">
                  <a16:creationId xmlns:a16="http://schemas.microsoft.com/office/drawing/2014/main" id="{73FAC3FF-9D43-D14B-FE0C-EF08B7EDF4AC}"/>
                </a:ext>
              </a:extLst>
            </p:cNvPr>
            <p:cNvSpPr/>
            <p:nvPr/>
          </p:nvSpPr>
          <p:spPr>
            <a:xfrm>
              <a:off x="723900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5" name="Полилиния 1574">
              <a:extLst>
                <a:ext uri="{FF2B5EF4-FFF2-40B4-BE49-F238E27FC236}">
                  <a16:creationId xmlns:a16="http://schemas.microsoft.com/office/drawing/2014/main" id="{1752BEAA-FC60-68D7-AA01-3A602EF6EA9D}"/>
                </a:ext>
              </a:extLst>
            </p:cNvPr>
            <p:cNvSpPr/>
            <p:nvPr/>
          </p:nvSpPr>
          <p:spPr>
            <a:xfrm>
              <a:off x="7446818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6" name="Полилиния 1575">
              <a:extLst>
                <a:ext uri="{FF2B5EF4-FFF2-40B4-BE49-F238E27FC236}">
                  <a16:creationId xmlns:a16="http://schemas.microsoft.com/office/drawing/2014/main" id="{B8EF8FCC-D433-37DA-A437-22EF15BA9434}"/>
                </a:ext>
              </a:extLst>
            </p:cNvPr>
            <p:cNvSpPr/>
            <p:nvPr/>
          </p:nvSpPr>
          <p:spPr>
            <a:xfrm>
              <a:off x="7654636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7" name="Полилиния 1576">
              <a:extLst>
                <a:ext uri="{FF2B5EF4-FFF2-40B4-BE49-F238E27FC236}">
                  <a16:creationId xmlns:a16="http://schemas.microsoft.com/office/drawing/2014/main" id="{E1928B0A-F1BA-CA18-0CBA-7D2EBE15225E}"/>
                </a:ext>
              </a:extLst>
            </p:cNvPr>
            <p:cNvSpPr/>
            <p:nvPr/>
          </p:nvSpPr>
          <p:spPr>
            <a:xfrm>
              <a:off x="7862454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8" name="Полилиния 1577">
              <a:extLst>
                <a:ext uri="{FF2B5EF4-FFF2-40B4-BE49-F238E27FC236}">
                  <a16:creationId xmlns:a16="http://schemas.microsoft.com/office/drawing/2014/main" id="{E8BE3D30-4AB2-E994-F53A-47A2BCD0F300}"/>
                </a:ext>
              </a:extLst>
            </p:cNvPr>
            <p:cNvSpPr/>
            <p:nvPr/>
          </p:nvSpPr>
          <p:spPr>
            <a:xfrm>
              <a:off x="8070272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9" name="Полилиния 1578">
              <a:extLst>
                <a:ext uri="{FF2B5EF4-FFF2-40B4-BE49-F238E27FC236}">
                  <a16:creationId xmlns:a16="http://schemas.microsoft.com/office/drawing/2014/main" id="{6A214863-1C8B-E3AD-2A70-0AF87D8AFAB1}"/>
                </a:ext>
              </a:extLst>
            </p:cNvPr>
            <p:cNvSpPr/>
            <p:nvPr/>
          </p:nvSpPr>
          <p:spPr>
            <a:xfrm rot="5400000">
              <a:off x="8278090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0" name="Полилиния 1579">
              <a:extLst>
                <a:ext uri="{FF2B5EF4-FFF2-40B4-BE49-F238E27FC236}">
                  <a16:creationId xmlns:a16="http://schemas.microsoft.com/office/drawing/2014/main" id="{17CE6E6B-4645-05D7-1ECE-54A354B7DD29}"/>
                </a:ext>
              </a:extLst>
            </p:cNvPr>
            <p:cNvSpPr/>
            <p:nvPr/>
          </p:nvSpPr>
          <p:spPr>
            <a:xfrm rot="-5400000">
              <a:off x="8901545" y="457200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1" name="Полилиния 1580">
              <a:extLst>
                <a:ext uri="{FF2B5EF4-FFF2-40B4-BE49-F238E27FC236}">
                  <a16:creationId xmlns:a16="http://schemas.microsoft.com/office/drawing/2014/main" id="{9F706105-505F-FCE7-0ADA-5DFABF3D5F36}"/>
                </a:ext>
              </a:extLst>
            </p:cNvPr>
            <p:cNvSpPr/>
            <p:nvPr/>
          </p:nvSpPr>
          <p:spPr>
            <a:xfrm rot="5400000">
              <a:off x="4745181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2" name="Полилиния 1581">
              <a:extLst>
                <a:ext uri="{FF2B5EF4-FFF2-40B4-BE49-F238E27FC236}">
                  <a16:creationId xmlns:a16="http://schemas.microsoft.com/office/drawing/2014/main" id="{2ADF0655-0F6A-A49F-384A-9FF98498C19C}"/>
                </a:ext>
              </a:extLst>
            </p:cNvPr>
            <p:cNvSpPr/>
            <p:nvPr/>
          </p:nvSpPr>
          <p:spPr>
            <a:xfrm rot="5400000">
              <a:off x="5160818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3" name="Полилиния 1582">
              <a:extLst>
                <a:ext uri="{FF2B5EF4-FFF2-40B4-BE49-F238E27FC236}">
                  <a16:creationId xmlns:a16="http://schemas.microsoft.com/office/drawing/2014/main" id="{BADD2496-15C9-57DB-73EE-5E64CEABC9A3}"/>
                </a:ext>
              </a:extLst>
            </p:cNvPr>
            <p:cNvSpPr/>
            <p:nvPr/>
          </p:nvSpPr>
          <p:spPr>
            <a:xfrm rot="-5400000">
              <a:off x="5784272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4" name="Полилиния 1583">
              <a:extLst>
                <a:ext uri="{FF2B5EF4-FFF2-40B4-BE49-F238E27FC236}">
                  <a16:creationId xmlns:a16="http://schemas.microsoft.com/office/drawing/2014/main" id="{3DA26D38-E707-05C4-5FC5-740E109395FA}"/>
                </a:ext>
              </a:extLst>
            </p:cNvPr>
            <p:cNvSpPr/>
            <p:nvPr/>
          </p:nvSpPr>
          <p:spPr>
            <a:xfrm>
              <a:off x="6199909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5" name="Полилиния 1584">
              <a:extLst>
                <a:ext uri="{FF2B5EF4-FFF2-40B4-BE49-F238E27FC236}">
                  <a16:creationId xmlns:a16="http://schemas.microsoft.com/office/drawing/2014/main" id="{86EA9AE0-4ACE-CF04-8A81-FDC94FE61AE0}"/>
                </a:ext>
              </a:extLst>
            </p:cNvPr>
            <p:cNvSpPr/>
            <p:nvPr/>
          </p:nvSpPr>
          <p:spPr>
            <a:xfrm>
              <a:off x="6407727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6" name="Полилиния 1585">
              <a:extLst>
                <a:ext uri="{FF2B5EF4-FFF2-40B4-BE49-F238E27FC236}">
                  <a16:creationId xmlns:a16="http://schemas.microsoft.com/office/drawing/2014/main" id="{2F7180D4-74EF-194B-AA75-E2025AC64CFA}"/>
                </a:ext>
              </a:extLst>
            </p:cNvPr>
            <p:cNvSpPr/>
            <p:nvPr/>
          </p:nvSpPr>
          <p:spPr>
            <a:xfrm>
              <a:off x="6615545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7" name="Полилиния 1586">
              <a:extLst>
                <a:ext uri="{FF2B5EF4-FFF2-40B4-BE49-F238E27FC236}">
                  <a16:creationId xmlns:a16="http://schemas.microsoft.com/office/drawing/2014/main" id="{D201F52F-C535-E8BC-F0F8-524162965E27}"/>
                </a:ext>
              </a:extLst>
            </p:cNvPr>
            <p:cNvSpPr/>
            <p:nvPr/>
          </p:nvSpPr>
          <p:spPr>
            <a:xfrm>
              <a:off x="6823363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8" name="Полилиния 1587">
              <a:extLst>
                <a:ext uri="{FF2B5EF4-FFF2-40B4-BE49-F238E27FC236}">
                  <a16:creationId xmlns:a16="http://schemas.microsoft.com/office/drawing/2014/main" id="{6C42A2C5-7139-E13F-B186-7CD74F14B47F}"/>
                </a:ext>
              </a:extLst>
            </p:cNvPr>
            <p:cNvSpPr/>
            <p:nvPr/>
          </p:nvSpPr>
          <p:spPr>
            <a:xfrm>
              <a:off x="7031181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9" name="Полилиния 1588">
              <a:extLst>
                <a:ext uri="{FF2B5EF4-FFF2-40B4-BE49-F238E27FC236}">
                  <a16:creationId xmlns:a16="http://schemas.microsoft.com/office/drawing/2014/main" id="{07DDBACE-11C4-7C1F-10F6-B239CD9B17A9}"/>
                </a:ext>
              </a:extLst>
            </p:cNvPr>
            <p:cNvSpPr/>
            <p:nvPr/>
          </p:nvSpPr>
          <p:spPr>
            <a:xfrm>
              <a:off x="7239000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0" name="Полилиния 1589">
              <a:extLst>
                <a:ext uri="{FF2B5EF4-FFF2-40B4-BE49-F238E27FC236}">
                  <a16:creationId xmlns:a16="http://schemas.microsoft.com/office/drawing/2014/main" id="{28CC2671-CEA5-9A21-0270-F15A493C790E}"/>
                </a:ext>
              </a:extLst>
            </p:cNvPr>
            <p:cNvSpPr/>
            <p:nvPr/>
          </p:nvSpPr>
          <p:spPr>
            <a:xfrm>
              <a:off x="8070272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1" name="Полилиния 1590">
              <a:extLst>
                <a:ext uri="{FF2B5EF4-FFF2-40B4-BE49-F238E27FC236}">
                  <a16:creationId xmlns:a16="http://schemas.microsoft.com/office/drawing/2014/main" id="{21CAD9B9-241F-316E-5117-1BE8F20ED117}"/>
                </a:ext>
              </a:extLst>
            </p:cNvPr>
            <p:cNvSpPr/>
            <p:nvPr/>
          </p:nvSpPr>
          <p:spPr>
            <a:xfrm rot="5400000">
              <a:off x="8485909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2" name="Полилиния 1591">
              <a:extLst>
                <a:ext uri="{FF2B5EF4-FFF2-40B4-BE49-F238E27FC236}">
                  <a16:creationId xmlns:a16="http://schemas.microsoft.com/office/drawing/2014/main" id="{548F2B9A-023E-D786-5013-C3489F6B15B1}"/>
                </a:ext>
              </a:extLst>
            </p:cNvPr>
            <p:cNvSpPr/>
            <p:nvPr/>
          </p:nvSpPr>
          <p:spPr>
            <a:xfrm>
              <a:off x="8901545" y="4779818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3" name="Полилиния 1592">
              <a:extLst>
                <a:ext uri="{FF2B5EF4-FFF2-40B4-BE49-F238E27FC236}">
                  <a16:creationId xmlns:a16="http://schemas.microsoft.com/office/drawing/2014/main" id="{949AB4B2-AA8B-E1F5-A2E3-7F7E28AB9FA6}"/>
                </a:ext>
              </a:extLst>
            </p:cNvPr>
            <p:cNvSpPr/>
            <p:nvPr/>
          </p:nvSpPr>
          <p:spPr>
            <a:xfrm rot="-5400000">
              <a:off x="5368636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4" name="Полилиния 1593">
              <a:extLst>
                <a:ext uri="{FF2B5EF4-FFF2-40B4-BE49-F238E27FC236}">
                  <a16:creationId xmlns:a16="http://schemas.microsoft.com/office/drawing/2014/main" id="{375A1816-28B3-0C21-2E65-4A32840136A9}"/>
                </a:ext>
              </a:extLst>
            </p:cNvPr>
            <p:cNvSpPr/>
            <p:nvPr/>
          </p:nvSpPr>
          <p:spPr>
            <a:xfrm>
              <a:off x="5576454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5" name="Полилиния 1594">
              <a:extLst>
                <a:ext uri="{FF2B5EF4-FFF2-40B4-BE49-F238E27FC236}">
                  <a16:creationId xmlns:a16="http://schemas.microsoft.com/office/drawing/2014/main" id="{415B3959-B0A7-F76D-C912-5A7EBBCAB32D}"/>
                </a:ext>
              </a:extLst>
            </p:cNvPr>
            <p:cNvSpPr/>
            <p:nvPr/>
          </p:nvSpPr>
          <p:spPr>
            <a:xfrm rot="5400000">
              <a:off x="5784272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6" name="Полилиния 1595">
              <a:extLst>
                <a:ext uri="{FF2B5EF4-FFF2-40B4-BE49-F238E27FC236}">
                  <a16:creationId xmlns:a16="http://schemas.microsoft.com/office/drawing/2014/main" id="{9E0305AB-C4EA-0721-BF21-C315D8954EC2}"/>
                </a:ext>
              </a:extLst>
            </p:cNvPr>
            <p:cNvSpPr/>
            <p:nvPr/>
          </p:nvSpPr>
          <p:spPr>
            <a:xfrm>
              <a:off x="6199909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7" name="Полилиния 1596">
              <a:extLst>
                <a:ext uri="{FF2B5EF4-FFF2-40B4-BE49-F238E27FC236}">
                  <a16:creationId xmlns:a16="http://schemas.microsoft.com/office/drawing/2014/main" id="{0E81D269-C428-E5BF-C72D-4F31483B2978}"/>
                </a:ext>
              </a:extLst>
            </p:cNvPr>
            <p:cNvSpPr/>
            <p:nvPr/>
          </p:nvSpPr>
          <p:spPr>
            <a:xfrm rot="5400000">
              <a:off x="6407727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8" name="Полилиния 1597">
              <a:extLst>
                <a:ext uri="{FF2B5EF4-FFF2-40B4-BE49-F238E27FC236}">
                  <a16:creationId xmlns:a16="http://schemas.microsoft.com/office/drawing/2014/main" id="{59C6CB1B-845C-2084-5CC2-99AD103D57C4}"/>
                </a:ext>
              </a:extLst>
            </p:cNvPr>
            <p:cNvSpPr/>
            <p:nvPr/>
          </p:nvSpPr>
          <p:spPr>
            <a:xfrm>
              <a:off x="6823363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9" name="Полилиния 1598">
              <a:extLst>
                <a:ext uri="{FF2B5EF4-FFF2-40B4-BE49-F238E27FC236}">
                  <a16:creationId xmlns:a16="http://schemas.microsoft.com/office/drawing/2014/main" id="{66126ED6-C22E-DA06-6415-847C117E8F24}"/>
                </a:ext>
              </a:extLst>
            </p:cNvPr>
            <p:cNvSpPr/>
            <p:nvPr/>
          </p:nvSpPr>
          <p:spPr>
            <a:xfrm>
              <a:off x="7031181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0" name="Полилиния 1599">
              <a:extLst>
                <a:ext uri="{FF2B5EF4-FFF2-40B4-BE49-F238E27FC236}">
                  <a16:creationId xmlns:a16="http://schemas.microsoft.com/office/drawing/2014/main" id="{6D34592C-4ABC-FD6C-826B-214CB47760D6}"/>
                </a:ext>
              </a:extLst>
            </p:cNvPr>
            <p:cNvSpPr/>
            <p:nvPr/>
          </p:nvSpPr>
          <p:spPr>
            <a:xfrm>
              <a:off x="7239000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1" name="Полилиния 1600">
              <a:extLst>
                <a:ext uri="{FF2B5EF4-FFF2-40B4-BE49-F238E27FC236}">
                  <a16:creationId xmlns:a16="http://schemas.microsoft.com/office/drawing/2014/main" id="{EB1CF7D5-9B1F-BC36-BBD7-DA54EEB05F4C}"/>
                </a:ext>
              </a:extLst>
            </p:cNvPr>
            <p:cNvSpPr/>
            <p:nvPr/>
          </p:nvSpPr>
          <p:spPr>
            <a:xfrm rot="5400000">
              <a:off x="7654636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2" name="Полилиния 1601">
              <a:extLst>
                <a:ext uri="{FF2B5EF4-FFF2-40B4-BE49-F238E27FC236}">
                  <a16:creationId xmlns:a16="http://schemas.microsoft.com/office/drawing/2014/main" id="{446B9D91-E0ED-4224-646E-D6135837BD70}"/>
                </a:ext>
              </a:extLst>
            </p:cNvPr>
            <p:cNvSpPr/>
            <p:nvPr/>
          </p:nvSpPr>
          <p:spPr>
            <a:xfrm>
              <a:off x="8070272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3" name="Полилиния 1602">
              <a:extLst>
                <a:ext uri="{FF2B5EF4-FFF2-40B4-BE49-F238E27FC236}">
                  <a16:creationId xmlns:a16="http://schemas.microsoft.com/office/drawing/2014/main" id="{55E58A6D-04E1-BD0F-0377-5741B6916F5D}"/>
                </a:ext>
              </a:extLst>
            </p:cNvPr>
            <p:cNvSpPr/>
            <p:nvPr/>
          </p:nvSpPr>
          <p:spPr>
            <a:xfrm>
              <a:off x="8901545" y="4987636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4" name="Полилиния 1603">
              <a:extLst>
                <a:ext uri="{FF2B5EF4-FFF2-40B4-BE49-F238E27FC236}">
                  <a16:creationId xmlns:a16="http://schemas.microsoft.com/office/drawing/2014/main" id="{6C150674-959C-B44C-267A-4F3FE0ACD0F5}"/>
                </a:ext>
              </a:extLst>
            </p:cNvPr>
            <p:cNvSpPr/>
            <p:nvPr/>
          </p:nvSpPr>
          <p:spPr>
            <a:xfrm rot="-5400000">
              <a:off x="495300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5" name="Полилиния 1604">
              <a:extLst>
                <a:ext uri="{FF2B5EF4-FFF2-40B4-BE49-F238E27FC236}">
                  <a16:creationId xmlns:a16="http://schemas.microsoft.com/office/drawing/2014/main" id="{E52D31F8-38AA-0E98-ED9E-9505C7B64822}"/>
                </a:ext>
              </a:extLst>
            </p:cNvPr>
            <p:cNvSpPr/>
            <p:nvPr/>
          </p:nvSpPr>
          <p:spPr>
            <a:xfrm>
              <a:off x="5160818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6" name="Полилиния 1605">
              <a:extLst>
                <a:ext uri="{FF2B5EF4-FFF2-40B4-BE49-F238E27FC236}">
                  <a16:creationId xmlns:a16="http://schemas.microsoft.com/office/drawing/2014/main" id="{AAF01059-279B-E482-7031-8AA71E233BDE}"/>
                </a:ext>
              </a:extLst>
            </p:cNvPr>
            <p:cNvSpPr/>
            <p:nvPr/>
          </p:nvSpPr>
          <p:spPr>
            <a:xfrm>
              <a:off x="5368636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7" name="Полилиния 1606">
              <a:extLst>
                <a:ext uri="{FF2B5EF4-FFF2-40B4-BE49-F238E27FC236}">
                  <a16:creationId xmlns:a16="http://schemas.microsoft.com/office/drawing/2014/main" id="{D1A8C69C-1FB6-E62C-5F4B-798D8FBF8BA8}"/>
                </a:ext>
              </a:extLst>
            </p:cNvPr>
            <p:cNvSpPr/>
            <p:nvPr/>
          </p:nvSpPr>
          <p:spPr>
            <a:xfrm rot="5400000">
              <a:off x="5576454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8" name="Полилиния 1607">
              <a:extLst>
                <a:ext uri="{FF2B5EF4-FFF2-40B4-BE49-F238E27FC236}">
                  <a16:creationId xmlns:a16="http://schemas.microsoft.com/office/drawing/2014/main" id="{6A4692A9-A3B5-9AC9-B58A-BC490660A716}"/>
                </a:ext>
              </a:extLst>
            </p:cNvPr>
            <p:cNvSpPr/>
            <p:nvPr/>
          </p:nvSpPr>
          <p:spPr>
            <a:xfrm rot="-5400000">
              <a:off x="599209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9" name="Полилиния 1608">
              <a:extLst>
                <a:ext uri="{FF2B5EF4-FFF2-40B4-BE49-F238E27FC236}">
                  <a16:creationId xmlns:a16="http://schemas.microsoft.com/office/drawing/2014/main" id="{BDAA4711-E89E-C269-4353-391CA43D93BE}"/>
                </a:ext>
              </a:extLst>
            </p:cNvPr>
            <p:cNvSpPr/>
            <p:nvPr/>
          </p:nvSpPr>
          <p:spPr>
            <a:xfrm>
              <a:off x="7031181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0" name="Полилиния 1609">
              <a:extLst>
                <a:ext uri="{FF2B5EF4-FFF2-40B4-BE49-F238E27FC236}">
                  <a16:creationId xmlns:a16="http://schemas.microsoft.com/office/drawing/2014/main" id="{F1E58AE5-87FB-1D7A-8AAF-57719C18ADAD}"/>
                </a:ext>
              </a:extLst>
            </p:cNvPr>
            <p:cNvSpPr/>
            <p:nvPr/>
          </p:nvSpPr>
          <p:spPr>
            <a:xfrm>
              <a:off x="723900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1" name="Полилиния 1610">
              <a:extLst>
                <a:ext uri="{FF2B5EF4-FFF2-40B4-BE49-F238E27FC236}">
                  <a16:creationId xmlns:a16="http://schemas.microsoft.com/office/drawing/2014/main" id="{B5538EE5-4BD2-80B2-5B3E-4A0603C6505A}"/>
                </a:ext>
              </a:extLst>
            </p:cNvPr>
            <p:cNvSpPr/>
            <p:nvPr/>
          </p:nvSpPr>
          <p:spPr>
            <a:xfrm>
              <a:off x="8070272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2" name="Полилиния 1611">
              <a:extLst>
                <a:ext uri="{FF2B5EF4-FFF2-40B4-BE49-F238E27FC236}">
                  <a16:creationId xmlns:a16="http://schemas.microsoft.com/office/drawing/2014/main" id="{73D263E1-191D-BE07-7D38-900F1F81886B}"/>
                </a:ext>
              </a:extLst>
            </p:cNvPr>
            <p:cNvSpPr/>
            <p:nvPr/>
          </p:nvSpPr>
          <p:spPr>
            <a:xfrm rot="5400000">
              <a:off x="8278090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3" name="Полилиния 1612">
              <a:extLst>
                <a:ext uri="{FF2B5EF4-FFF2-40B4-BE49-F238E27FC236}">
                  <a16:creationId xmlns:a16="http://schemas.microsoft.com/office/drawing/2014/main" id="{E449E393-3199-A9B4-31AA-1A70A2F87A46}"/>
                </a:ext>
              </a:extLst>
            </p:cNvPr>
            <p:cNvSpPr/>
            <p:nvPr/>
          </p:nvSpPr>
          <p:spPr>
            <a:xfrm rot="-5400000">
              <a:off x="8693727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4" name="Полилиния 1613">
              <a:extLst>
                <a:ext uri="{FF2B5EF4-FFF2-40B4-BE49-F238E27FC236}">
                  <a16:creationId xmlns:a16="http://schemas.microsoft.com/office/drawing/2014/main" id="{7A6904C8-5292-718F-70A7-377199E58D92}"/>
                </a:ext>
              </a:extLst>
            </p:cNvPr>
            <p:cNvSpPr/>
            <p:nvPr/>
          </p:nvSpPr>
          <p:spPr>
            <a:xfrm>
              <a:off x="8901545" y="5195454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5" name="Полилиния 1614">
              <a:extLst>
                <a:ext uri="{FF2B5EF4-FFF2-40B4-BE49-F238E27FC236}">
                  <a16:creationId xmlns:a16="http://schemas.microsoft.com/office/drawing/2014/main" id="{2ABDC518-CC6E-6BDA-4BDA-D7E538538587}"/>
                </a:ext>
              </a:extLst>
            </p:cNvPr>
            <p:cNvSpPr/>
            <p:nvPr/>
          </p:nvSpPr>
          <p:spPr>
            <a:xfrm rot="5400000">
              <a:off x="4745181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6" name="Полилиния 1615">
              <a:extLst>
                <a:ext uri="{FF2B5EF4-FFF2-40B4-BE49-F238E27FC236}">
                  <a16:creationId xmlns:a16="http://schemas.microsoft.com/office/drawing/2014/main" id="{E30863ED-CBD8-4B59-AF46-4C386D0CA6EA}"/>
                </a:ext>
              </a:extLst>
            </p:cNvPr>
            <p:cNvSpPr/>
            <p:nvPr/>
          </p:nvSpPr>
          <p:spPr>
            <a:xfrm rot="-5400000">
              <a:off x="5784272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7" name="Полилиния 1616">
              <a:extLst>
                <a:ext uri="{FF2B5EF4-FFF2-40B4-BE49-F238E27FC236}">
                  <a16:creationId xmlns:a16="http://schemas.microsoft.com/office/drawing/2014/main" id="{19DA1C59-90BB-188D-F2CC-B5114217085F}"/>
                </a:ext>
              </a:extLst>
            </p:cNvPr>
            <p:cNvSpPr/>
            <p:nvPr/>
          </p:nvSpPr>
          <p:spPr>
            <a:xfrm rot="5400000">
              <a:off x="5992090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8" name="Полилиния 1617">
              <a:extLst>
                <a:ext uri="{FF2B5EF4-FFF2-40B4-BE49-F238E27FC236}">
                  <a16:creationId xmlns:a16="http://schemas.microsoft.com/office/drawing/2014/main" id="{69F29B4D-DB67-0E63-FD11-1C1289427EB0}"/>
                </a:ext>
              </a:extLst>
            </p:cNvPr>
            <p:cNvSpPr/>
            <p:nvPr/>
          </p:nvSpPr>
          <p:spPr>
            <a:xfrm rot="5400000">
              <a:off x="6407727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103909 h 207818"/>
                <a:gd name="connsiteX2" fmla="*/ 103909 w 207818"/>
                <a:gd name="connsiteY2" fmla="*/ 207818 h 207818"/>
                <a:gd name="connsiteX3" fmla="*/ 207818 w 207818"/>
                <a:gd name="connsiteY3" fmla="*/ 207818 h 207818"/>
                <a:gd name="connsiteX4" fmla="*/ 207818 w 207818"/>
                <a:gd name="connsiteY4" fmla="*/ 103909 h 207818"/>
                <a:gd name="connsiteX5" fmla="*/ 103909 w 207818"/>
                <a:gd name="connsiteY5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103909"/>
                  </a:lnTo>
                  <a:cubicBezTo>
                    <a:pt x="0" y="161297"/>
                    <a:pt x="46522" y="207818"/>
                    <a:pt x="103909" y="207818"/>
                  </a:cubicBezTo>
                  <a:lnTo>
                    <a:pt x="207818" y="207818"/>
                  </a:lnTo>
                  <a:lnTo>
                    <a:pt x="207818" y="103909"/>
                  </a:lnTo>
                  <a:cubicBezTo>
                    <a:pt x="207818" y="46522"/>
                    <a:pt x="161297" y="0"/>
                    <a:pt x="103909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9" name="Полилиния 1618">
              <a:extLst>
                <a:ext uri="{FF2B5EF4-FFF2-40B4-BE49-F238E27FC236}">
                  <a16:creationId xmlns:a16="http://schemas.microsoft.com/office/drawing/2014/main" id="{8491B3E2-132C-6AE8-FBF5-AB72EDCD3344}"/>
                </a:ext>
              </a:extLst>
            </p:cNvPr>
            <p:cNvSpPr/>
            <p:nvPr/>
          </p:nvSpPr>
          <p:spPr>
            <a:xfrm>
              <a:off x="7031181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0" name="Полилиния 1619">
              <a:extLst>
                <a:ext uri="{FF2B5EF4-FFF2-40B4-BE49-F238E27FC236}">
                  <a16:creationId xmlns:a16="http://schemas.microsoft.com/office/drawing/2014/main" id="{FC78FCF8-A760-3732-8D44-857A1DEC138E}"/>
                </a:ext>
              </a:extLst>
            </p:cNvPr>
            <p:cNvSpPr/>
            <p:nvPr/>
          </p:nvSpPr>
          <p:spPr>
            <a:xfrm>
              <a:off x="7239000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1" name="Полилиния 1620">
              <a:extLst>
                <a:ext uri="{FF2B5EF4-FFF2-40B4-BE49-F238E27FC236}">
                  <a16:creationId xmlns:a16="http://schemas.microsoft.com/office/drawing/2014/main" id="{ECA47BEF-4F73-DA21-018A-63C363738E86}"/>
                </a:ext>
              </a:extLst>
            </p:cNvPr>
            <p:cNvSpPr/>
            <p:nvPr/>
          </p:nvSpPr>
          <p:spPr>
            <a:xfrm>
              <a:off x="7446818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2" name="Полилиния 1621">
              <a:extLst>
                <a:ext uri="{FF2B5EF4-FFF2-40B4-BE49-F238E27FC236}">
                  <a16:creationId xmlns:a16="http://schemas.microsoft.com/office/drawing/2014/main" id="{381E05E4-BAFD-5E29-EBF8-8079D077FDF0}"/>
                </a:ext>
              </a:extLst>
            </p:cNvPr>
            <p:cNvSpPr/>
            <p:nvPr/>
          </p:nvSpPr>
          <p:spPr>
            <a:xfrm>
              <a:off x="7654636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3" name="Полилиния 1622">
              <a:extLst>
                <a:ext uri="{FF2B5EF4-FFF2-40B4-BE49-F238E27FC236}">
                  <a16:creationId xmlns:a16="http://schemas.microsoft.com/office/drawing/2014/main" id="{1445A519-B48E-B90E-53AC-B35FA98370B0}"/>
                </a:ext>
              </a:extLst>
            </p:cNvPr>
            <p:cNvSpPr/>
            <p:nvPr/>
          </p:nvSpPr>
          <p:spPr>
            <a:xfrm>
              <a:off x="7862454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4" name="Полилиния 1623">
              <a:extLst>
                <a:ext uri="{FF2B5EF4-FFF2-40B4-BE49-F238E27FC236}">
                  <a16:creationId xmlns:a16="http://schemas.microsoft.com/office/drawing/2014/main" id="{63F948B0-6A9E-E002-BC88-DF012190BD9F}"/>
                </a:ext>
              </a:extLst>
            </p:cNvPr>
            <p:cNvSpPr/>
            <p:nvPr/>
          </p:nvSpPr>
          <p:spPr>
            <a:xfrm rot="5400000">
              <a:off x="8070272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5" name="Полилиния 1624">
              <a:extLst>
                <a:ext uri="{FF2B5EF4-FFF2-40B4-BE49-F238E27FC236}">
                  <a16:creationId xmlns:a16="http://schemas.microsoft.com/office/drawing/2014/main" id="{C2DD768F-3120-FAA2-CE88-2B01DB283E2A}"/>
                </a:ext>
              </a:extLst>
            </p:cNvPr>
            <p:cNvSpPr/>
            <p:nvPr/>
          </p:nvSpPr>
          <p:spPr>
            <a:xfrm>
              <a:off x="8693727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6" name="Полилиния 1625">
              <a:extLst>
                <a:ext uri="{FF2B5EF4-FFF2-40B4-BE49-F238E27FC236}">
                  <a16:creationId xmlns:a16="http://schemas.microsoft.com/office/drawing/2014/main" id="{AFB2988D-499A-A7AF-5B25-A4E21D528C9C}"/>
                </a:ext>
              </a:extLst>
            </p:cNvPr>
            <p:cNvSpPr/>
            <p:nvPr/>
          </p:nvSpPr>
          <p:spPr>
            <a:xfrm rot="5400000">
              <a:off x="8901545" y="5403272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7" name="Полилиния 1626">
              <a:extLst>
                <a:ext uri="{FF2B5EF4-FFF2-40B4-BE49-F238E27FC236}">
                  <a16:creationId xmlns:a16="http://schemas.microsoft.com/office/drawing/2014/main" id="{59BBB9E1-265A-4763-F5E6-D97370763A93}"/>
                </a:ext>
              </a:extLst>
            </p:cNvPr>
            <p:cNvSpPr/>
            <p:nvPr/>
          </p:nvSpPr>
          <p:spPr>
            <a:xfrm rot="-5400000">
              <a:off x="5160818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8" name="Полилиния 1627">
              <a:extLst>
                <a:ext uri="{FF2B5EF4-FFF2-40B4-BE49-F238E27FC236}">
                  <a16:creationId xmlns:a16="http://schemas.microsoft.com/office/drawing/2014/main" id="{5A78DE1C-6BCE-8C73-9828-8F9AF4B6F295}"/>
                </a:ext>
              </a:extLst>
            </p:cNvPr>
            <p:cNvSpPr/>
            <p:nvPr/>
          </p:nvSpPr>
          <p:spPr>
            <a:xfrm>
              <a:off x="5368636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9" name="Полилиния 1628">
              <a:extLst>
                <a:ext uri="{FF2B5EF4-FFF2-40B4-BE49-F238E27FC236}">
                  <a16:creationId xmlns:a16="http://schemas.microsoft.com/office/drawing/2014/main" id="{B92C94E9-801A-73ED-FE16-952738E5B2AC}"/>
                </a:ext>
              </a:extLst>
            </p:cNvPr>
            <p:cNvSpPr/>
            <p:nvPr/>
          </p:nvSpPr>
          <p:spPr>
            <a:xfrm>
              <a:off x="5576454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0" name="Полилиния 1629">
              <a:extLst>
                <a:ext uri="{FF2B5EF4-FFF2-40B4-BE49-F238E27FC236}">
                  <a16:creationId xmlns:a16="http://schemas.microsoft.com/office/drawing/2014/main" id="{5C70919A-5DB5-3EEA-06FE-25A8DC2F17B4}"/>
                </a:ext>
              </a:extLst>
            </p:cNvPr>
            <p:cNvSpPr/>
            <p:nvPr/>
          </p:nvSpPr>
          <p:spPr>
            <a:xfrm>
              <a:off x="5784272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1" name="Полилиния 1630">
              <a:extLst>
                <a:ext uri="{FF2B5EF4-FFF2-40B4-BE49-F238E27FC236}">
                  <a16:creationId xmlns:a16="http://schemas.microsoft.com/office/drawing/2014/main" id="{62341FB0-DFCC-75F5-14FE-02DF272F6B59}"/>
                </a:ext>
              </a:extLst>
            </p:cNvPr>
            <p:cNvSpPr/>
            <p:nvPr/>
          </p:nvSpPr>
          <p:spPr>
            <a:xfrm rot="-5400000">
              <a:off x="6615545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2" name="Полилиния 1631">
              <a:extLst>
                <a:ext uri="{FF2B5EF4-FFF2-40B4-BE49-F238E27FC236}">
                  <a16:creationId xmlns:a16="http://schemas.microsoft.com/office/drawing/2014/main" id="{66A51CBE-E299-8CB8-D3EF-68A164EF0139}"/>
                </a:ext>
              </a:extLst>
            </p:cNvPr>
            <p:cNvSpPr/>
            <p:nvPr/>
          </p:nvSpPr>
          <p:spPr>
            <a:xfrm>
              <a:off x="6823363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3" name="Полилиния 1632">
              <a:extLst>
                <a:ext uri="{FF2B5EF4-FFF2-40B4-BE49-F238E27FC236}">
                  <a16:creationId xmlns:a16="http://schemas.microsoft.com/office/drawing/2014/main" id="{E4C27A56-ACDB-ACAC-B448-E39C1997CA79}"/>
                </a:ext>
              </a:extLst>
            </p:cNvPr>
            <p:cNvSpPr/>
            <p:nvPr/>
          </p:nvSpPr>
          <p:spPr>
            <a:xfrm rot="5400000">
              <a:off x="7862454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4" name="Полилиния 1633">
              <a:extLst>
                <a:ext uri="{FF2B5EF4-FFF2-40B4-BE49-F238E27FC236}">
                  <a16:creationId xmlns:a16="http://schemas.microsoft.com/office/drawing/2014/main" id="{45E30FAF-70B0-CE94-AC6D-DE6D5FB0AA5B}"/>
                </a:ext>
              </a:extLst>
            </p:cNvPr>
            <p:cNvSpPr/>
            <p:nvPr/>
          </p:nvSpPr>
          <p:spPr>
            <a:xfrm rot="-5400000">
              <a:off x="8278090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5" name="Полилиния 1634">
              <a:extLst>
                <a:ext uri="{FF2B5EF4-FFF2-40B4-BE49-F238E27FC236}">
                  <a16:creationId xmlns:a16="http://schemas.microsoft.com/office/drawing/2014/main" id="{BCD049B6-00F6-C211-2CA8-C7A7B298CA11}"/>
                </a:ext>
              </a:extLst>
            </p:cNvPr>
            <p:cNvSpPr/>
            <p:nvPr/>
          </p:nvSpPr>
          <p:spPr>
            <a:xfrm>
              <a:off x="8485909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6" name="Полилиния 1635">
              <a:extLst>
                <a:ext uri="{FF2B5EF4-FFF2-40B4-BE49-F238E27FC236}">
                  <a16:creationId xmlns:a16="http://schemas.microsoft.com/office/drawing/2014/main" id="{68273CE3-4915-3692-6123-E340E1A3237C}"/>
                </a:ext>
              </a:extLst>
            </p:cNvPr>
            <p:cNvSpPr/>
            <p:nvPr/>
          </p:nvSpPr>
          <p:spPr>
            <a:xfrm>
              <a:off x="8693727" y="5611090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7" name="Полилиния 1636">
              <a:extLst>
                <a:ext uri="{FF2B5EF4-FFF2-40B4-BE49-F238E27FC236}">
                  <a16:creationId xmlns:a16="http://schemas.microsoft.com/office/drawing/2014/main" id="{AC229264-B2D9-7ADF-DCBA-0A913E2468AD}"/>
                </a:ext>
              </a:extLst>
            </p:cNvPr>
            <p:cNvSpPr/>
            <p:nvPr/>
          </p:nvSpPr>
          <p:spPr>
            <a:xfrm rot="-5400000">
              <a:off x="495300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8" name="Полилиния 1637">
              <a:extLst>
                <a:ext uri="{FF2B5EF4-FFF2-40B4-BE49-F238E27FC236}">
                  <a16:creationId xmlns:a16="http://schemas.microsoft.com/office/drawing/2014/main" id="{68553443-287F-65A2-21BE-8EFD780B658D}"/>
                </a:ext>
              </a:extLst>
            </p:cNvPr>
            <p:cNvSpPr/>
            <p:nvPr/>
          </p:nvSpPr>
          <p:spPr>
            <a:xfrm rot="5400000">
              <a:off x="5160818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9" name="Полилиния 1638">
              <a:extLst>
                <a:ext uri="{FF2B5EF4-FFF2-40B4-BE49-F238E27FC236}">
                  <a16:creationId xmlns:a16="http://schemas.microsoft.com/office/drawing/2014/main" id="{93DB5272-C060-1C00-A3E1-336A3BF24F1B}"/>
                </a:ext>
              </a:extLst>
            </p:cNvPr>
            <p:cNvSpPr/>
            <p:nvPr/>
          </p:nvSpPr>
          <p:spPr>
            <a:xfrm>
              <a:off x="5784272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0" name="Полилиния 1639">
              <a:extLst>
                <a:ext uri="{FF2B5EF4-FFF2-40B4-BE49-F238E27FC236}">
                  <a16:creationId xmlns:a16="http://schemas.microsoft.com/office/drawing/2014/main" id="{F7EBAAB8-862D-4E52-F0B5-8ECF6DE84EEE}"/>
                </a:ext>
              </a:extLst>
            </p:cNvPr>
            <p:cNvSpPr/>
            <p:nvPr/>
          </p:nvSpPr>
          <p:spPr>
            <a:xfrm>
              <a:off x="599209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1" name="Полилиния 1640">
              <a:extLst>
                <a:ext uri="{FF2B5EF4-FFF2-40B4-BE49-F238E27FC236}">
                  <a16:creationId xmlns:a16="http://schemas.microsoft.com/office/drawing/2014/main" id="{28504FF6-5799-BAF6-FF3A-A89F936C642D}"/>
                </a:ext>
              </a:extLst>
            </p:cNvPr>
            <p:cNvSpPr/>
            <p:nvPr/>
          </p:nvSpPr>
          <p:spPr>
            <a:xfrm>
              <a:off x="6199909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2" name="Полилиния 1641">
              <a:extLst>
                <a:ext uri="{FF2B5EF4-FFF2-40B4-BE49-F238E27FC236}">
                  <a16:creationId xmlns:a16="http://schemas.microsoft.com/office/drawing/2014/main" id="{5D115656-031E-358B-8EBE-98A2BA7F3A89}"/>
                </a:ext>
              </a:extLst>
            </p:cNvPr>
            <p:cNvSpPr/>
            <p:nvPr/>
          </p:nvSpPr>
          <p:spPr>
            <a:xfrm>
              <a:off x="6823363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3" name="Полилиния 1642">
              <a:extLst>
                <a:ext uri="{FF2B5EF4-FFF2-40B4-BE49-F238E27FC236}">
                  <a16:creationId xmlns:a16="http://schemas.microsoft.com/office/drawing/2014/main" id="{D08E5505-92F6-F51A-225E-48DC8CEC956B}"/>
                </a:ext>
              </a:extLst>
            </p:cNvPr>
            <p:cNvSpPr/>
            <p:nvPr/>
          </p:nvSpPr>
          <p:spPr>
            <a:xfrm>
              <a:off x="7031181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4" name="Полилиния 1643">
              <a:extLst>
                <a:ext uri="{FF2B5EF4-FFF2-40B4-BE49-F238E27FC236}">
                  <a16:creationId xmlns:a16="http://schemas.microsoft.com/office/drawing/2014/main" id="{B0E31FE2-B0C7-A6C7-7875-3EC8E9C9CCD2}"/>
                </a:ext>
              </a:extLst>
            </p:cNvPr>
            <p:cNvSpPr/>
            <p:nvPr/>
          </p:nvSpPr>
          <p:spPr>
            <a:xfrm>
              <a:off x="723900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5" name="Полилиния 1644">
              <a:extLst>
                <a:ext uri="{FF2B5EF4-FFF2-40B4-BE49-F238E27FC236}">
                  <a16:creationId xmlns:a16="http://schemas.microsoft.com/office/drawing/2014/main" id="{908E7ADF-7572-7751-CAEA-1D24BF220A8E}"/>
                </a:ext>
              </a:extLst>
            </p:cNvPr>
            <p:cNvSpPr/>
            <p:nvPr/>
          </p:nvSpPr>
          <p:spPr>
            <a:xfrm>
              <a:off x="7446818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6" name="Полилиния 1645">
              <a:extLst>
                <a:ext uri="{FF2B5EF4-FFF2-40B4-BE49-F238E27FC236}">
                  <a16:creationId xmlns:a16="http://schemas.microsoft.com/office/drawing/2014/main" id="{3C3FD391-5416-B548-1FA1-5298B9CE0BCD}"/>
                </a:ext>
              </a:extLst>
            </p:cNvPr>
            <p:cNvSpPr/>
            <p:nvPr/>
          </p:nvSpPr>
          <p:spPr>
            <a:xfrm>
              <a:off x="8278090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7" name="Полилиния 1646">
              <a:extLst>
                <a:ext uri="{FF2B5EF4-FFF2-40B4-BE49-F238E27FC236}">
                  <a16:creationId xmlns:a16="http://schemas.microsoft.com/office/drawing/2014/main" id="{1FF6A6DA-8D02-78DC-73BB-59909CAFE187}"/>
                </a:ext>
              </a:extLst>
            </p:cNvPr>
            <p:cNvSpPr/>
            <p:nvPr/>
          </p:nvSpPr>
          <p:spPr>
            <a:xfrm>
              <a:off x="8485909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8" name="Полилиния 1647">
              <a:extLst>
                <a:ext uri="{FF2B5EF4-FFF2-40B4-BE49-F238E27FC236}">
                  <a16:creationId xmlns:a16="http://schemas.microsoft.com/office/drawing/2014/main" id="{0138C9D6-30EB-6B43-B5E6-F7DF0631FE44}"/>
                </a:ext>
              </a:extLst>
            </p:cNvPr>
            <p:cNvSpPr/>
            <p:nvPr/>
          </p:nvSpPr>
          <p:spPr>
            <a:xfrm>
              <a:off x="8693727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9" name="Полилиния 1648">
              <a:extLst>
                <a:ext uri="{FF2B5EF4-FFF2-40B4-BE49-F238E27FC236}">
                  <a16:creationId xmlns:a16="http://schemas.microsoft.com/office/drawing/2014/main" id="{0BE92DA6-31A0-2F4C-BB57-FB746E4EFF1B}"/>
                </a:ext>
              </a:extLst>
            </p:cNvPr>
            <p:cNvSpPr/>
            <p:nvPr/>
          </p:nvSpPr>
          <p:spPr>
            <a:xfrm>
              <a:off x="8901545" y="5818909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0" name="Полилиния 1649">
              <a:extLst>
                <a:ext uri="{FF2B5EF4-FFF2-40B4-BE49-F238E27FC236}">
                  <a16:creationId xmlns:a16="http://schemas.microsoft.com/office/drawing/2014/main" id="{1E54BB95-8D9B-D285-B979-CA30845D0750}"/>
                </a:ext>
              </a:extLst>
            </p:cNvPr>
            <p:cNvSpPr/>
            <p:nvPr/>
          </p:nvSpPr>
          <p:spPr>
            <a:xfrm rot="-5400000">
              <a:off x="4745181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1" name="Полилиния 1650">
              <a:extLst>
                <a:ext uri="{FF2B5EF4-FFF2-40B4-BE49-F238E27FC236}">
                  <a16:creationId xmlns:a16="http://schemas.microsoft.com/office/drawing/2014/main" id="{C60FAF20-EE4E-80BE-716B-817FF4FA1E6A}"/>
                </a:ext>
              </a:extLst>
            </p:cNvPr>
            <p:cNvSpPr/>
            <p:nvPr/>
          </p:nvSpPr>
          <p:spPr>
            <a:xfrm>
              <a:off x="4953000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2" name="Полилиния 1651">
              <a:extLst>
                <a:ext uri="{FF2B5EF4-FFF2-40B4-BE49-F238E27FC236}">
                  <a16:creationId xmlns:a16="http://schemas.microsoft.com/office/drawing/2014/main" id="{B3C64FD5-8B9A-92CA-16F0-8489925D66F0}"/>
                </a:ext>
              </a:extLst>
            </p:cNvPr>
            <p:cNvSpPr/>
            <p:nvPr/>
          </p:nvSpPr>
          <p:spPr>
            <a:xfrm rot="-5400000">
              <a:off x="5368636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3" name="Полилиния 1652">
              <a:extLst>
                <a:ext uri="{FF2B5EF4-FFF2-40B4-BE49-F238E27FC236}">
                  <a16:creationId xmlns:a16="http://schemas.microsoft.com/office/drawing/2014/main" id="{478C52DA-E86C-D5B4-65AD-4BF9CB715552}"/>
                </a:ext>
              </a:extLst>
            </p:cNvPr>
            <p:cNvSpPr/>
            <p:nvPr/>
          </p:nvSpPr>
          <p:spPr>
            <a:xfrm rot="5400000">
              <a:off x="5576454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4" name="Полилиния 1653">
              <a:extLst>
                <a:ext uri="{FF2B5EF4-FFF2-40B4-BE49-F238E27FC236}">
                  <a16:creationId xmlns:a16="http://schemas.microsoft.com/office/drawing/2014/main" id="{A5AD4AD3-D264-FBD7-375C-FDF93310DBE6}"/>
                </a:ext>
              </a:extLst>
            </p:cNvPr>
            <p:cNvSpPr/>
            <p:nvPr/>
          </p:nvSpPr>
          <p:spPr>
            <a:xfrm>
              <a:off x="6199909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5" name="Полилиния 1654">
              <a:extLst>
                <a:ext uri="{FF2B5EF4-FFF2-40B4-BE49-F238E27FC236}">
                  <a16:creationId xmlns:a16="http://schemas.microsoft.com/office/drawing/2014/main" id="{8A5DC6FE-F605-1231-B0F8-E0815D8CAD9D}"/>
                </a:ext>
              </a:extLst>
            </p:cNvPr>
            <p:cNvSpPr/>
            <p:nvPr/>
          </p:nvSpPr>
          <p:spPr>
            <a:xfrm>
              <a:off x="6407727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6" name="Полилиния 1655">
              <a:extLst>
                <a:ext uri="{FF2B5EF4-FFF2-40B4-BE49-F238E27FC236}">
                  <a16:creationId xmlns:a16="http://schemas.microsoft.com/office/drawing/2014/main" id="{78BC1BD1-AF70-D502-E4AE-B81A5B15DE27}"/>
                </a:ext>
              </a:extLst>
            </p:cNvPr>
            <p:cNvSpPr/>
            <p:nvPr/>
          </p:nvSpPr>
          <p:spPr>
            <a:xfrm>
              <a:off x="6615545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7" name="Полилиния 1656">
              <a:extLst>
                <a:ext uri="{FF2B5EF4-FFF2-40B4-BE49-F238E27FC236}">
                  <a16:creationId xmlns:a16="http://schemas.microsoft.com/office/drawing/2014/main" id="{E01FA868-DA95-E294-0110-807AE040FD16}"/>
                </a:ext>
              </a:extLst>
            </p:cNvPr>
            <p:cNvSpPr/>
            <p:nvPr/>
          </p:nvSpPr>
          <p:spPr>
            <a:xfrm rot="5400000">
              <a:off x="6823363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8" name="Полилиния 1657">
              <a:extLst>
                <a:ext uri="{FF2B5EF4-FFF2-40B4-BE49-F238E27FC236}">
                  <a16:creationId xmlns:a16="http://schemas.microsoft.com/office/drawing/2014/main" id="{012EB892-502F-AE0E-D83D-D25F3BFD10EF}"/>
                </a:ext>
              </a:extLst>
            </p:cNvPr>
            <p:cNvSpPr/>
            <p:nvPr/>
          </p:nvSpPr>
          <p:spPr>
            <a:xfrm>
              <a:off x="7239000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9" name="Полилиния 1658">
              <a:extLst>
                <a:ext uri="{FF2B5EF4-FFF2-40B4-BE49-F238E27FC236}">
                  <a16:creationId xmlns:a16="http://schemas.microsoft.com/office/drawing/2014/main" id="{DBEB7DA5-BC90-CD8F-9A37-422E47727092}"/>
                </a:ext>
              </a:extLst>
            </p:cNvPr>
            <p:cNvSpPr/>
            <p:nvPr/>
          </p:nvSpPr>
          <p:spPr>
            <a:xfrm>
              <a:off x="7446818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0" name="Полилиния 1659">
              <a:extLst>
                <a:ext uri="{FF2B5EF4-FFF2-40B4-BE49-F238E27FC236}">
                  <a16:creationId xmlns:a16="http://schemas.microsoft.com/office/drawing/2014/main" id="{D7F4169C-5579-6790-657B-1AD1F435B498}"/>
                </a:ext>
              </a:extLst>
            </p:cNvPr>
            <p:cNvSpPr/>
            <p:nvPr/>
          </p:nvSpPr>
          <p:spPr>
            <a:xfrm>
              <a:off x="7654636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1" name="Полилиния 1660">
              <a:extLst>
                <a:ext uri="{FF2B5EF4-FFF2-40B4-BE49-F238E27FC236}">
                  <a16:creationId xmlns:a16="http://schemas.microsoft.com/office/drawing/2014/main" id="{CEE59843-D664-052E-9212-C9E0B1DFEDB8}"/>
                </a:ext>
              </a:extLst>
            </p:cNvPr>
            <p:cNvSpPr/>
            <p:nvPr/>
          </p:nvSpPr>
          <p:spPr>
            <a:xfrm rot="5400000">
              <a:off x="7862454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2" name="Полилиния 1661">
              <a:extLst>
                <a:ext uri="{FF2B5EF4-FFF2-40B4-BE49-F238E27FC236}">
                  <a16:creationId xmlns:a16="http://schemas.microsoft.com/office/drawing/2014/main" id="{A3637622-2444-A288-3DF0-F075C8EEAA25}"/>
                </a:ext>
              </a:extLst>
            </p:cNvPr>
            <p:cNvSpPr/>
            <p:nvPr/>
          </p:nvSpPr>
          <p:spPr>
            <a:xfrm>
              <a:off x="8278090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3" name="Полилиния 1662">
              <a:extLst>
                <a:ext uri="{FF2B5EF4-FFF2-40B4-BE49-F238E27FC236}">
                  <a16:creationId xmlns:a16="http://schemas.microsoft.com/office/drawing/2014/main" id="{3D2F8E99-0515-666B-F2EE-12A7D7EB4CCA}"/>
                </a:ext>
              </a:extLst>
            </p:cNvPr>
            <p:cNvSpPr/>
            <p:nvPr/>
          </p:nvSpPr>
          <p:spPr>
            <a:xfrm>
              <a:off x="8693727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4" name="Полилиния 1663">
              <a:extLst>
                <a:ext uri="{FF2B5EF4-FFF2-40B4-BE49-F238E27FC236}">
                  <a16:creationId xmlns:a16="http://schemas.microsoft.com/office/drawing/2014/main" id="{F36C0B41-A7E2-CFD8-09FB-A46E84C0DE9E}"/>
                </a:ext>
              </a:extLst>
            </p:cNvPr>
            <p:cNvSpPr/>
            <p:nvPr/>
          </p:nvSpPr>
          <p:spPr>
            <a:xfrm rot="5400000">
              <a:off x="8901545" y="6026727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5" name="Полилиния 1664">
              <a:extLst>
                <a:ext uri="{FF2B5EF4-FFF2-40B4-BE49-F238E27FC236}">
                  <a16:creationId xmlns:a16="http://schemas.microsoft.com/office/drawing/2014/main" id="{B912AA2D-2662-761A-03C7-9BB7C3243DD1}"/>
                </a:ext>
              </a:extLst>
            </p:cNvPr>
            <p:cNvSpPr/>
            <p:nvPr/>
          </p:nvSpPr>
          <p:spPr>
            <a:xfrm>
              <a:off x="4953000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6" name="Полилиния 1665">
              <a:extLst>
                <a:ext uri="{FF2B5EF4-FFF2-40B4-BE49-F238E27FC236}">
                  <a16:creationId xmlns:a16="http://schemas.microsoft.com/office/drawing/2014/main" id="{0F816682-DC90-CB3C-406A-270920064C31}"/>
                </a:ext>
              </a:extLst>
            </p:cNvPr>
            <p:cNvSpPr/>
            <p:nvPr/>
          </p:nvSpPr>
          <p:spPr>
            <a:xfrm rot="5400000">
              <a:off x="5160818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7" name="Полилиния 1666">
              <a:extLst>
                <a:ext uri="{FF2B5EF4-FFF2-40B4-BE49-F238E27FC236}">
                  <a16:creationId xmlns:a16="http://schemas.microsoft.com/office/drawing/2014/main" id="{62882DEC-5BFA-B625-0723-417368E73A1F}"/>
                </a:ext>
              </a:extLst>
            </p:cNvPr>
            <p:cNvSpPr/>
            <p:nvPr/>
          </p:nvSpPr>
          <p:spPr>
            <a:xfrm>
              <a:off x="6407727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207818 w 207818"/>
                <a:gd name="connsiteY1" fmla="*/ 0 h 207818"/>
                <a:gd name="connsiteX2" fmla="*/ 207818 w 207818"/>
                <a:gd name="connsiteY2" fmla="*/ 207818 h 207818"/>
                <a:gd name="connsiteX3" fmla="*/ 0 w 207818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207818" y="0"/>
                  </a:lnTo>
                  <a:lnTo>
                    <a:pt x="207818" y="207818"/>
                  </a:lnTo>
                  <a:lnTo>
                    <a:pt x="0" y="207818"/>
                  </a:lnTo>
                  <a:close/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8" name="Полилиния 1667">
              <a:extLst>
                <a:ext uri="{FF2B5EF4-FFF2-40B4-BE49-F238E27FC236}">
                  <a16:creationId xmlns:a16="http://schemas.microsoft.com/office/drawing/2014/main" id="{3DDE11AC-67C0-8C4B-7F2C-D59ED58F72B8}"/>
                </a:ext>
              </a:extLst>
            </p:cNvPr>
            <p:cNvSpPr/>
            <p:nvPr/>
          </p:nvSpPr>
          <p:spPr>
            <a:xfrm rot="5400000">
              <a:off x="6615545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9" name="Полилиния 1668">
              <a:extLst>
                <a:ext uri="{FF2B5EF4-FFF2-40B4-BE49-F238E27FC236}">
                  <a16:creationId xmlns:a16="http://schemas.microsoft.com/office/drawing/2014/main" id="{CA6D3803-754B-AAEE-0E20-4C77975ADD4D}"/>
                </a:ext>
              </a:extLst>
            </p:cNvPr>
            <p:cNvSpPr/>
            <p:nvPr/>
          </p:nvSpPr>
          <p:spPr>
            <a:xfrm rot="5400000">
              <a:off x="7239000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0" name="Полилиния 1669">
              <a:extLst>
                <a:ext uri="{FF2B5EF4-FFF2-40B4-BE49-F238E27FC236}">
                  <a16:creationId xmlns:a16="http://schemas.microsoft.com/office/drawing/2014/main" id="{9830119D-90F0-2EC6-4FAF-498A056284D8}"/>
                </a:ext>
              </a:extLst>
            </p:cNvPr>
            <p:cNvSpPr/>
            <p:nvPr/>
          </p:nvSpPr>
          <p:spPr>
            <a:xfrm rot="5400000">
              <a:off x="7654636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1" name="Полилиния 1670">
              <a:extLst>
                <a:ext uri="{FF2B5EF4-FFF2-40B4-BE49-F238E27FC236}">
                  <a16:creationId xmlns:a16="http://schemas.microsoft.com/office/drawing/2014/main" id="{3D91ED63-6C1B-1A1A-DA60-9311E2FA940B}"/>
                </a:ext>
              </a:extLst>
            </p:cNvPr>
            <p:cNvSpPr/>
            <p:nvPr/>
          </p:nvSpPr>
          <p:spPr>
            <a:xfrm rot="-5400000">
              <a:off x="8070272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2" name="Полилиния 1671">
              <a:extLst>
                <a:ext uri="{FF2B5EF4-FFF2-40B4-BE49-F238E27FC236}">
                  <a16:creationId xmlns:a16="http://schemas.microsoft.com/office/drawing/2014/main" id="{C0AC77B1-AB32-6C56-DCE8-21B742726C8F}"/>
                </a:ext>
              </a:extLst>
            </p:cNvPr>
            <p:cNvSpPr/>
            <p:nvPr/>
          </p:nvSpPr>
          <p:spPr>
            <a:xfrm rot="5400000">
              <a:off x="8278090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3" name="Полилиния 1672">
              <a:extLst>
                <a:ext uri="{FF2B5EF4-FFF2-40B4-BE49-F238E27FC236}">
                  <a16:creationId xmlns:a16="http://schemas.microsoft.com/office/drawing/2014/main" id="{093C0B2C-8E92-1878-ED5F-DBBD8F17B84C}"/>
                </a:ext>
              </a:extLst>
            </p:cNvPr>
            <p:cNvSpPr/>
            <p:nvPr/>
          </p:nvSpPr>
          <p:spPr>
            <a:xfrm rot="5400000">
              <a:off x="8693727" y="6234545"/>
              <a:ext cx="207818" cy="207818"/>
            </a:xfrm>
            <a:custGeom>
              <a:avLst/>
              <a:gdLst>
                <a:gd name="connsiteX0" fmla="*/ 0 w 207818"/>
                <a:gd name="connsiteY0" fmla="*/ 0 h 207818"/>
                <a:gd name="connsiteX1" fmla="*/ 0 w 207818"/>
                <a:gd name="connsiteY1" fmla="*/ 207818 h 207818"/>
                <a:gd name="connsiteX2" fmla="*/ 207818 w 207818"/>
                <a:gd name="connsiteY2" fmla="*/ 207818 h 207818"/>
                <a:gd name="connsiteX3" fmla="*/ 0 w 207818"/>
                <a:gd name="connsiteY3" fmla="*/ 0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18" h="207818">
                  <a:moveTo>
                    <a:pt x="0" y="0"/>
                  </a:moveTo>
                  <a:lnTo>
                    <a:pt x="0" y="207818"/>
                  </a:lnTo>
                  <a:lnTo>
                    <a:pt x="207818" y="207818"/>
                  </a:lnTo>
                  <a:cubicBezTo>
                    <a:pt x="207818" y="93043"/>
                    <a:pt x="114775" y="0"/>
                    <a:pt x="0" y="0"/>
                  </a:cubicBezTo>
                </a:path>
              </a:pathLst>
            </a:custGeom>
            <a:grpFill/>
            <a:ln w="29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674" name="Группа 1673">
            <a:extLst>
              <a:ext uri="{FF2B5EF4-FFF2-40B4-BE49-F238E27FC236}">
                <a16:creationId xmlns:a16="http://schemas.microsoft.com/office/drawing/2014/main" id="{A7B8BA5F-A26E-4E6F-8BAF-5BA8E30F411A}"/>
              </a:ext>
            </a:extLst>
          </p:cNvPr>
          <p:cNvGrpSpPr/>
          <p:nvPr/>
        </p:nvGrpSpPr>
        <p:grpSpPr>
          <a:xfrm>
            <a:off x="686002" y="-5876465"/>
            <a:ext cx="3945470" cy="4947082"/>
            <a:chOff x="686002" y="584200"/>
            <a:chExt cx="3945470" cy="4947082"/>
          </a:xfrm>
        </p:grpSpPr>
        <p:pic>
          <p:nvPicPr>
            <p:cNvPr id="1675" name="Рисунок 1674">
              <a:extLst>
                <a:ext uri="{FF2B5EF4-FFF2-40B4-BE49-F238E27FC236}">
                  <a16:creationId xmlns:a16="http://schemas.microsoft.com/office/drawing/2014/main" id="{0689C30D-250A-F536-3FAA-AF8F2EBA99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86002" y="1585812"/>
              <a:ext cx="3945470" cy="3945470"/>
            </a:xfrm>
            <a:prstGeom prst="roundRect">
              <a:avLst>
                <a:gd name="adj" fmla="val 10465"/>
              </a:avLst>
            </a:prstGeom>
          </p:spPr>
        </p:pic>
        <p:sp>
          <p:nvSpPr>
            <p:cNvPr id="1676" name="Скругленный прямоугольник 1675">
              <a:extLst>
                <a:ext uri="{FF2B5EF4-FFF2-40B4-BE49-F238E27FC236}">
                  <a16:creationId xmlns:a16="http://schemas.microsoft.com/office/drawing/2014/main" id="{E3B62498-3702-E716-0C75-6A2704A38BB7}"/>
                </a:ext>
              </a:extLst>
            </p:cNvPr>
            <p:cNvSpPr/>
            <p:nvPr/>
          </p:nvSpPr>
          <p:spPr>
            <a:xfrm>
              <a:off x="686002" y="584200"/>
              <a:ext cx="3793233" cy="702365"/>
            </a:xfrm>
            <a:prstGeom prst="roundRect">
              <a:avLst>
                <a:gd name="adj" fmla="val 50000"/>
              </a:avLst>
            </a:prstGeom>
            <a:solidFill>
              <a:srgbClr val="620CFD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latin typeface="Unbounded Medium" panose="020B0305040102020103" pitchFamily="34" charset="0"/>
                </a:rPr>
                <a:t>СВ</a:t>
              </a:r>
              <a:r>
                <a:rPr lang="ru-RU" sz="1600" dirty="0">
                  <a:latin typeface="Unbounded Medium" panose="020B0305040102020103" pitchFamily="34" charset="0"/>
                </a:rPr>
                <a:t>ЯЖИТЕСЬ СО МНО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9676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2.59259E-6 L 0.06576 2.59259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2.59259E-6 L 0.06575 2.59259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1.11111E-6 L 0.06576 1.11111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1.11111E-6 L 0.06576 1.11111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3.7037E-7 L 0.06576 -3.7037E-7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3.7037E-7 L 0.06575 -3.7037E-7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Прямоугольник 353">
            <a:extLst>
              <a:ext uri="{FF2B5EF4-FFF2-40B4-BE49-F238E27FC236}">
                <a16:creationId xmlns:a16="http://schemas.microsoft.com/office/drawing/2014/main" id="{A5148ED9-DD37-DFE1-6973-97BF6D9E1D28}"/>
              </a:ext>
            </a:extLst>
          </p:cNvPr>
          <p:cNvSpPr/>
          <p:nvPr/>
        </p:nvSpPr>
        <p:spPr>
          <a:xfrm>
            <a:off x="-1744068" y="0"/>
            <a:ext cx="2276613" cy="713338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Видео 5">
            <a:hlinkClick r:id="" action="ppaction://media"/>
            <a:extLst>
              <a:ext uri="{FF2B5EF4-FFF2-40B4-BE49-F238E27FC236}">
                <a16:creationId xmlns:a16="http://schemas.microsoft.com/office/drawing/2014/main" id="{4B1015BE-1EF6-C081-3F90-123B5EAE696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32545" y="0"/>
            <a:ext cx="12192000" cy="6858000"/>
          </a:xfrm>
          <a:prstGeom prst="rect">
            <a:avLst/>
          </a:prstGeom>
        </p:spPr>
      </p:pic>
      <p:grpSp>
        <p:nvGrpSpPr>
          <p:cNvPr id="8" name="Group 73">
            <a:extLst>
              <a:ext uri="{FF2B5EF4-FFF2-40B4-BE49-F238E27FC236}">
                <a16:creationId xmlns:a16="http://schemas.microsoft.com/office/drawing/2014/main" id="{E5A1831E-A947-DB10-3B71-AC6D7597237F}"/>
              </a:ext>
            </a:extLst>
          </p:cNvPr>
          <p:cNvGrpSpPr/>
          <p:nvPr/>
        </p:nvGrpSpPr>
        <p:grpSpPr>
          <a:xfrm>
            <a:off x="-5859768" y="-299247"/>
            <a:ext cx="8012418" cy="7157247"/>
            <a:chOff x="-2" y="0"/>
            <a:chExt cx="6428641" cy="6858000"/>
          </a:xfrm>
        </p:grpSpPr>
        <p:sp>
          <p:nvSpPr>
            <p:cNvPr id="9" name="Rectangle 36">
              <a:extLst>
                <a:ext uri="{FF2B5EF4-FFF2-40B4-BE49-F238E27FC236}">
                  <a16:creationId xmlns:a16="http://schemas.microsoft.com/office/drawing/2014/main" id="{9AF2A627-1DDD-693C-14D8-5380920BB26F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497D19C-7815-02D7-E7DF-316A3A50B81F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1" name="Rectangle 31">
              <a:extLst>
                <a:ext uri="{FF2B5EF4-FFF2-40B4-BE49-F238E27FC236}">
                  <a16:creationId xmlns:a16="http://schemas.microsoft.com/office/drawing/2014/main" id="{42724591-200D-7C18-2F5A-2E49C598A630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2" name="Rectangle 32">
              <a:extLst>
                <a:ext uri="{FF2B5EF4-FFF2-40B4-BE49-F238E27FC236}">
                  <a16:creationId xmlns:a16="http://schemas.microsoft.com/office/drawing/2014/main" id="{6846C0F3-FF49-40F6-1274-F7F3510CB0C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3" name="Rectangle 33">
              <a:extLst>
                <a:ext uri="{FF2B5EF4-FFF2-40B4-BE49-F238E27FC236}">
                  <a16:creationId xmlns:a16="http://schemas.microsoft.com/office/drawing/2014/main" id="{3BA9757C-5529-9D9B-4474-868587EC424A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4" name="Rectangle 34">
              <a:extLst>
                <a:ext uri="{FF2B5EF4-FFF2-40B4-BE49-F238E27FC236}">
                  <a16:creationId xmlns:a16="http://schemas.microsoft.com/office/drawing/2014/main" id="{7476E11C-C54F-B530-F9C8-1CFE498C1A9D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5" name="Rectangle 35">
              <a:extLst>
                <a:ext uri="{FF2B5EF4-FFF2-40B4-BE49-F238E27FC236}">
                  <a16:creationId xmlns:a16="http://schemas.microsoft.com/office/drawing/2014/main" id="{FD825FD6-08F5-75B0-96B1-77E0B67DE6BE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6" name="Rectangle 37">
              <a:extLst>
                <a:ext uri="{FF2B5EF4-FFF2-40B4-BE49-F238E27FC236}">
                  <a16:creationId xmlns:a16="http://schemas.microsoft.com/office/drawing/2014/main" id="{4C6B3C7C-0BA2-640B-2AB5-D4B7A1948621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7" name="Rectangle 48">
              <a:extLst>
                <a:ext uri="{FF2B5EF4-FFF2-40B4-BE49-F238E27FC236}">
                  <a16:creationId xmlns:a16="http://schemas.microsoft.com/office/drawing/2014/main" id="{C4D2068F-D612-A854-D0CC-82DBF2D71D3B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18" name="Rectangle 49">
              <a:extLst>
                <a:ext uri="{FF2B5EF4-FFF2-40B4-BE49-F238E27FC236}">
                  <a16:creationId xmlns:a16="http://schemas.microsoft.com/office/drawing/2014/main" id="{6E36FCC9-AE9F-FF67-B33D-02CBF00E290C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D7D231DD-DB08-C9A5-7C3F-F55507692440}"/>
              </a:ext>
            </a:extLst>
          </p:cNvPr>
          <p:cNvGrpSpPr/>
          <p:nvPr/>
        </p:nvGrpSpPr>
        <p:grpSpPr>
          <a:xfrm rot="19740494">
            <a:off x="14205212" y="4820311"/>
            <a:ext cx="3515826" cy="2037689"/>
            <a:chOff x="3798277" y="833242"/>
            <a:chExt cx="10676641" cy="6187927"/>
          </a:xfrm>
        </p:grpSpPr>
        <p:grpSp>
          <p:nvGrpSpPr>
            <p:cNvPr id="3" name="Группа 2">
              <a:extLst>
                <a:ext uri="{FF2B5EF4-FFF2-40B4-BE49-F238E27FC236}">
                  <a16:creationId xmlns:a16="http://schemas.microsoft.com/office/drawing/2014/main" id="{CB2DE076-70B0-A8DE-62B2-1D1A5CD1BE17}"/>
                </a:ext>
              </a:extLst>
            </p:cNvPr>
            <p:cNvGrpSpPr/>
            <p:nvPr/>
          </p:nvGrpSpPr>
          <p:grpSpPr>
            <a:xfrm>
              <a:off x="5416678" y="1306242"/>
              <a:ext cx="6775322" cy="4971268"/>
              <a:chOff x="5416678" y="1347338"/>
              <a:chExt cx="6775322" cy="4971268"/>
            </a:xfrm>
          </p:grpSpPr>
          <p:pic>
            <p:nvPicPr>
              <p:cNvPr id="5" name="Рисунок 4">
                <a:extLst>
                  <a:ext uri="{FF2B5EF4-FFF2-40B4-BE49-F238E27FC236}">
                    <a16:creationId xmlns:a16="http://schemas.microsoft.com/office/drawing/2014/main" id="{841268F5-49F0-6D8F-55C9-7952A4D787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416678" y="1347338"/>
                <a:ext cx="6775322" cy="4234576"/>
              </a:xfrm>
              <a:prstGeom prst="rect">
                <a:avLst/>
              </a:prstGeom>
            </p:spPr>
          </p:pic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E86AD2AE-97F5-070E-ED18-4363A9ABCC5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61644" b="14892"/>
              <a:stretch/>
            </p:blipFill>
            <p:spPr>
              <a:xfrm>
                <a:off x="5416678" y="5325018"/>
                <a:ext cx="6775322" cy="993588"/>
              </a:xfrm>
              <a:prstGeom prst="rect">
                <a:avLst/>
              </a:prstGeom>
            </p:spPr>
          </p:pic>
        </p:grpSp>
        <p:pic>
          <p:nvPicPr>
            <p:cNvPr id="4" name="Picture 4">
              <a:extLst>
                <a:ext uri="{FF2B5EF4-FFF2-40B4-BE49-F238E27FC236}">
                  <a16:creationId xmlns:a16="http://schemas.microsoft.com/office/drawing/2014/main" id="{BDD64DBB-21E0-215E-1EE1-02AB75E7A3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3" r="1"/>
            <a:stretch/>
          </p:blipFill>
          <p:spPr>
            <a:xfrm>
              <a:off x="3798277" y="833242"/>
              <a:ext cx="10676641" cy="6187927"/>
            </a:xfrm>
            <a:prstGeom prst="rect">
              <a:avLst/>
            </a:prstGeom>
          </p:spPr>
        </p:pic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F4A668DE-074C-8A70-6047-893C5FE144DA}"/>
              </a:ext>
            </a:extLst>
          </p:cNvPr>
          <p:cNvSpPr txBox="1"/>
          <p:nvPr/>
        </p:nvSpPr>
        <p:spPr>
          <a:xfrm>
            <a:off x="-12239014" y="1134499"/>
            <a:ext cx="11389623" cy="3445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КАКИЕ 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ЗЕНТАЦИИ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ЕЛАЮТ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АВКУ 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МПАНИИ </a:t>
            </a:r>
            <a:b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3200" b="1" dirty="0"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ЕГОДНЯ</a:t>
            </a:r>
          </a:p>
        </p:txBody>
      </p:sp>
      <p:grpSp>
        <p:nvGrpSpPr>
          <p:cNvPr id="353" name="Группа 352">
            <a:extLst>
              <a:ext uri="{FF2B5EF4-FFF2-40B4-BE49-F238E27FC236}">
                <a16:creationId xmlns:a16="http://schemas.microsoft.com/office/drawing/2014/main" id="{945344BC-5288-8447-CC57-97A8CE09E6A7}"/>
              </a:ext>
            </a:extLst>
          </p:cNvPr>
          <p:cNvGrpSpPr/>
          <p:nvPr/>
        </p:nvGrpSpPr>
        <p:grpSpPr>
          <a:xfrm>
            <a:off x="686002" y="955459"/>
            <a:ext cx="3945470" cy="4947082"/>
            <a:chOff x="686002" y="584200"/>
            <a:chExt cx="3945470" cy="4947082"/>
          </a:xfrm>
        </p:grpSpPr>
        <p:pic>
          <p:nvPicPr>
            <p:cNvPr id="22" name="Рисунок 21">
              <a:extLst>
                <a:ext uri="{FF2B5EF4-FFF2-40B4-BE49-F238E27FC236}">
                  <a16:creationId xmlns:a16="http://schemas.microsoft.com/office/drawing/2014/main" id="{2FA7E37B-8CB0-4673-C62A-07E538B17C4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86002" y="1585812"/>
              <a:ext cx="3945470" cy="3945470"/>
            </a:xfrm>
            <a:prstGeom prst="roundRect">
              <a:avLst>
                <a:gd name="adj" fmla="val 10465"/>
              </a:avLst>
            </a:prstGeom>
          </p:spPr>
        </p:pic>
        <p:sp>
          <p:nvSpPr>
            <p:cNvPr id="352" name="Скругленный прямоугольник 351">
              <a:extLst>
                <a:ext uri="{FF2B5EF4-FFF2-40B4-BE49-F238E27FC236}">
                  <a16:creationId xmlns:a16="http://schemas.microsoft.com/office/drawing/2014/main" id="{8B88571E-080A-9DA7-B601-5BE0F038CDDF}"/>
                </a:ext>
              </a:extLst>
            </p:cNvPr>
            <p:cNvSpPr/>
            <p:nvPr/>
          </p:nvSpPr>
          <p:spPr>
            <a:xfrm>
              <a:off x="686002" y="584200"/>
              <a:ext cx="3793233" cy="702365"/>
            </a:xfrm>
            <a:prstGeom prst="roundRect">
              <a:avLst>
                <a:gd name="adj" fmla="val 50000"/>
              </a:avLst>
            </a:prstGeom>
            <a:solidFill>
              <a:srgbClr val="620CFD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latin typeface="Unbounded Medium" panose="020B0305040102020103" pitchFamily="34" charset="0"/>
                </a:rPr>
                <a:t>СВ</a:t>
              </a:r>
              <a:r>
                <a:rPr lang="ru-RU" sz="1600" dirty="0">
                  <a:latin typeface="Unbounded Medium" panose="020B0305040102020103" pitchFamily="34" charset="0"/>
                </a:rPr>
                <a:t>ЯЖИТЕСЬ СО МНО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5138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33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3.33333E-6 L 0.06576 3.33333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9" repeatCount="indefinite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10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" fill="hold">
                      <p:stCondLst>
                        <p:cond delay="0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4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0DCFD">
                <a:alpha val="0"/>
              </a:srgbClr>
            </a:gs>
            <a:gs pos="0">
              <a:srgbClr val="C0DCFD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73C5A9F-05D5-A74E-6290-40D4369391B8}"/>
              </a:ext>
            </a:extLst>
          </p:cNvPr>
          <p:cNvGrpSpPr/>
          <p:nvPr/>
        </p:nvGrpSpPr>
        <p:grpSpPr>
          <a:xfrm>
            <a:off x="611777" y="590256"/>
            <a:ext cx="558372" cy="288805"/>
            <a:chOff x="5488146" y="2818363"/>
            <a:chExt cx="1215135" cy="6285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EB8A6405-DC26-8287-D063-8FDA2953A603}"/>
                </a:ext>
              </a:extLst>
            </p:cNvPr>
            <p:cNvSpPr/>
            <p:nvPr/>
          </p:nvSpPr>
          <p:spPr>
            <a:xfrm>
              <a:off x="5488146" y="2818363"/>
              <a:ext cx="1215135" cy="628500"/>
            </a:xfrm>
            <a:custGeom>
              <a:avLst/>
              <a:gdLst>
                <a:gd name="connsiteX0" fmla="*/ 1188061 w 1215135"/>
                <a:gd name="connsiteY0" fmla="*/ 3870 h 628500"/>
                <a:gd name="connsiteX1" fmla="*/ 1188061 w 1215135"/>
                <a:gd name="connsiteY1" fmla="*/ 3870 h 628500"/>
                <a:gd name="connsiteX2" fmla="*/ 1129041 w 1215135"/>
                <a:gd name="connsiteY2" fmla="*/ 25384 h 628500"/>
                <a:gd name="connsiteX3" fmla="*/ 920947 w 1215135"/>
                <a:gd name="connsiteY3" fmla="*/ 439097 h 628500"/>
                <a:gd name="connsiteX4" fmla="*/ 845458 w 1215135"/>
                <a:gd name="connsiteY4" fmla="*/ 516585 h 628500"/>
                <a:gd name="connsiteX5" fmla="*/ 738841 w 1215135"/>
                <a:gd name="connsiteY5" fmla="*/ 473462 h 628500"/>
                <a:gd name="connsiteX6" fmla="*/ 562541 w 1215135"/>
                <a:gd name="connsiteY6" fmla="*/ 119435 h 628500"/>
                <a:gd name="connsiteX7" fmla="*/ 384528 w 1215135"/>
                <a:gd name="connsiteY7" fmla="*/ 348 h 628500"/>
                <a:gd name="connsiteX8" fmla="*/ 219652 w 1215135"/>
                <a:gd name="connsiteY8" fmla="*/ 136570 h 628500"/>
                <a:gd name="connsiteX9" fmla="*/ 6037 w 1215135"/>
                <a:gd name="connsiteY9" fmla="*/ 560564 h 628500"/>
                <a:gd name="connsiteX10" fmla="*/ 27075 w 1215135"/>
                <a:gd name="connsiteY10" fmla="*/ 624630 h 628500"/>
                <a:gd name="connsiteX11" fmla="*/ 86095 w 1215135"/>
                <a:gd name="connsiteY11" fmla="*/ 603116 h 628500"/>
                <a:gd name="connsiteX12" fmla="*/ 294189 w 1215135"/>
                <a:gd name="connsiteY12" fmla="*/ 189403 h 628500"/>
                <a:gd name="connsiteX13" fmla="*/ 369678 w 1215135"/>
                <a:gd name="connsiteY13" fmla="*/ 111915 h 628500"/>
                <a:gd name="connsiteX14" fmla="*/ 476295 w 1215135"/>
                <a:gd name="connsiteY14" fmla="*/ 155038 h 628500"/>
                <a:gd name="connsiteX15" fmla="*/ 652785 w 1215135"/>
                <a:gd name="connsiteY15" fmla="*/ 509826 h 628500"/>
                <a:gd name="connsiteX16" fmla="*/ 817947 w 1215135"/>
                <a:gd name="connsiteY16" fmla="*/ 628438 h 628500"/>
                <a:gd name="connsiteX17" fmla="*/ 830607 w 1215135"/>
                <a:gd name="connsiteY17" fmla="*/ 628152 h 628500"/>
                <a:gd name="connsiteX18" fmla="*/ 995484 w 1215135"/>
                <a:gd name="connsiteY18" fmla="*/ 491930 h 628500"/>
                <a:gd name="connsiteX19" fmla="*/ 1209099 w 1215135"/>
                <a:gd name="connsiteY19" fmla="*/ 67936 h 628500"/>
                <a:gd name="connsiteX20" fmla="*/ 1188061 w 1215135"/>
                <a:gd name="connsiteY20" fmla="*/ 3870 h 62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5135" h="628500">
                  <a:moveTo>
                    <a:pt x="1188061" y="3870"/>
                  </a:moveTo>
                  <a:lnTo>
                    <a:pt x="1188061" y="3870"/>
                  </a:lnTo>
                  <a:cubicBezTo>
                    <a:pt x="1165786" y="-5935"/>
                    <a:pt x="1139798" y="3489"/>
                    <a:pt x="1129041" y="25384"/>
                  </a:cubicBezTo>
                  <a:cubicBezTo>
                    <a:pt x="1073733" y="138189"/>
                    <a:pt x="963498" y="349329"/>
                    <a:pt x="920947" y="439097"/>
                  </a:cubicBezTo>
                  <a:cubicBezTo>
                    <a:pt x="902765" y="477460"/>
                    <a:pt x="878776" y="506113"/>
                    <a:pt x="845458" y="516585"/>
                  </a:cubicBezTo>
                  <a:cubicBezTo>
                    <a:pt x="804239" y="529531"/>
                    <a:pt x="766542" y="517727"/>
                    <a:pt x="738841" y="473462"/>
                  </a:cubicBezTo>
                  <a:cubicBezTo>
                    <a:pt x="715899" y="436717"/>
                    <a:pt x="562541" y="119435"/>
                    <a:pt x="562541" y="119435"/>
                  </a:cubicBezTo>
                  <a:cubicBezTo>
                    <a:pt x="519609" y="39473"/>
                    <a:pt x="460398" y="-4126"/>
                    <a:pt x="384528" y="348"/>
                  </a:cubicBezTo>
                  <a:cubicBezTo>
                    <a:pt x="311324" y="4536"/>
                    <a:pt x="258492" y="56988"/>
                    <a:pt x="219652" y="136570"/>
                  </a:cubicBezTo>
                  <a:cubicBezTo>
                    <a:pt x="173103" y="231955"/>
                    <a:pt x="31168" y="516870"/>
                    <a:pt x="6037" y="560564"/>
                  </a:cubicBezTo>
                  <a:cubicBezTo>
                    <a:pt x="-7385" y="583887"/>
                    <a:pt x="2420" y="613778"/>
                    <a:pt x="27075" y="624630"/>
                  </a:cubicBezTo>
                  <a:cubicBezTo>
                    <a:pt x="49350" y="634435"/>
                    <a:pt x="75338" y="625011"/>
                    <a:pt x="86095" y="603116"/>
                  </a:cubicBezTo>
                  <a:cubicBezTo>
                    <a:pt x="141403" y="490311"/>
                    <a:pt x="251638" y="279171"/>
                    <a:pt x="294189" y="189403"/>
                  </a:cubicBezTo>
                  <a:cubicBezTo>
                    <a:pt x="312371" y="151040"/>
                    <a:pt x="336360" y="122387"/>
                    <a:pt x="369678" y="111915"/>
                  </a:cubicBezTo>
                  <a:cubicBezTo>
                    <a:pt x="410897" y="98969"/>
                    <a:pt x="448594" y="110773"/>
                    <a:pt x="476295" y="155038"/>
                  </a:cubicBezTo>
                  <a:cubicBezTo>
                    <a:pt x="499237" y="191783"/>
                    <a:pt x="651072" y="506685"/>
                    <a:pt x="652785" y="509826"/>
                  </a:cubicBezTo>
                  <a:cubicBezTo>
                    <a:pt x="694290" y="594549"/>
                    <a:pt x="758546" y="628723"/>
                    <a:pt x="817947" y="628438"/>
                  </a:cubicBezTo>
                  <a:cubicBezTo>
                    <a:pt x="822135" y="628533"/>
                    <a:pt x="826324" y="628438"/>
                    <a:pt x="830607" y="628152"/>
                  </a:cubicBezTo>
                  <a:cubicBezTo>
                    <a:pt x="903812" y="623964"/>
                    <a:pt x="956645" y="571512"/>
                    <a:pt x="995484" y="491930"/>
                  </a:cubicBezTo>
                  <a:cubicBezTo>
                    <a:pt x="1042033" y="396545"/>
                    <a:pt x="1183968" y="111630"/>
                    <a:pt x="1209099" y="67936"/>
                  </a:cubicBezTo>
                  <a:cubicBezTo>
                    <a:pt x="1222521" y="44613"/>
                    <a:pt x="1212716" y="14817"/>
                    <a:pt x="1188061" y="387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401014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04D6CCEF-24A1-196D-81D6-13DA5883C529}"/>
                </a:ext>
              </a:extLst>
            </p:cNvPr>
            <p:cNvSpPr/>
            <p:nvPr/>
          </p:nvSpPr>
          <p:spPr>
            <a:xfrm>
              <a:off x="5795916" y="3216907"/>
              <a:ext cx="167891" cy="88530"/>
            </a:xfrm>
            <a:custGeom>
              <a:avLst/>
              <a:gdLst>
                <a:gd name="connsiteX0" fmla="*/ 83993 w 167891"/>
                <a:gd name="connsiteY0" fmla="*/ 88530 h 88530"/>
                <a:gd name="connsiteX1" fmla="*/ 166146 w 167891"/>
                <a:gd name="connsiteY1" fmla="*/ 33128 h 88530"/>
                <a:gd name="connsiteX2" fmla="*/ 143490 w 167891"/>
                <a:gd name="connsiteY2" fmla="*/ 0 h 88530"/>
                <a:gd name="connsiteX3" fmla="*/ 24402 w 167891"/>
                <a:gd name="connsiteY3" fmla="*/ 0 h 88530"/>
                <a:gd name="connsiteX4" fmla="*/ 1746 w 167891"/>
                <a:gd name="connsiteY4" fmla="*/ 33128 h 88530"/>
                <a:gd name="connsiteX5" fmla="*/ 83993 w 167891"/>
                <a:gd name="connsiteY5" fmla="*/ 88530 h 8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91" h="88530">
                  <a:moveTo>
                    <a:pt x="83993" y="88530"/>
                  </a:moveTo>
                  <a:cubicBezTo>
                    <a:pt x="121214" y="88530"/>
                    <a:pt x="153104" y="65589"/>
                    <a:pt x="166146" y="33128"/>
                  </a:cubicBezTo>
                  <a:cubicBezTo>
                    <a:pt x="172524" y="17230"/>
                    <a:pt x="160625" y="0"/>
                    <a:pt x="143490" y="0"/>
                  </a:cubicBezTo>
                  <a:lnTo>
                    <a:pt x="24402" y="0"/>
                  </a:lnTo>
                  <a:cubicBezTo>
                    <a:pt x="7267" y="0"/>
                    <a:pt x="-4632" y="17325"/>
                    <a:pt x="1746" y="33128"/>
                  </a:cubicBezTo>
                  <a:cubicBezTo>
                    <a:pt x="14978" y="65589"/>
                    <a:pt x="46773" y="88530"/>
                    <a:pt x="83993" y="88530"/>
                  </a:cubicBezTo>
                  <a:close/>
                </a:path>
              </a:pathLst>
            </a:custGeom>
            <a:gradFill>
              <a:gsLst>
                <a:gs pos="0">
                  <a:srgbClr val="9E00E9"/>
                </a:gs>
                <a:gs pos="17530">
                  <a:srgbClr val="9903E9"/>
                </a:gs>
                <a:gs pos="37090">
                  <a:srgbClr val="8C0BE9"/>
                </a:gs>
                <a:gs pos="57630">
                  <a:srgbClr val="7619E9"/>
                </a:gs>
                <a:gs pos="78700">
                  <a:srgbClr val="572CEA"/>
                </a:gs>
                <a:gs pos="92070">
                  <a:srgbClr val="3F3BEA"/>
                </a:gs>
              </a:gsLst>
              <a:lin ang="20097449" scaled="1"/>
            </a:gradFill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" name="Рисунок 3">
            <a:extLst>
              <a:ext uri="{FF2B5EF4-FFF2-40B4-BE49-F238E27FC236}">
                <a16:creationId xmlns:a16="http://schemas.microsoft.com/office/drawing/2014/main" id="{0335A694-80C0-9223-FB6C-E2BCCDA4E9F5}"/>
              </a:ext>
            </a:extLst>
          </p:cNvPr>
          <p:cNvGrpSpPr/>
          <p:nvPr/>
        </p:nvGrpSpPr>
        <p:grpSpPr>
          <a:xfrm>
            <a:off x="1295028" y="672430"/>
            <a:ext cx="1511561" cy="135519"/>
            <a:chOff x="4388406" y="3732954"/>
            <a:chExt cx="3414679" cy="30614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10AAB2FA-10FB-2EB9-4CD5-63578AA51E73}"/>
                </a:ext>
              </a:extLst>
            </p:cNvPr>
            <p:cNvSpPr/>
            <p:nvPr/>
          </p:nvSpPr>
          <p:spPr>
            <a:xfrm>
              <a:off x="4388406" y="3733716"/>
              <a:ext cx="288049" cy="304335"/>
            </a:xfrm>
            <a:custGeom>
              <a:avLst/>
              <a:gdLst>
                <a:gd name="connsiteX0" fmla="*/ 279778 w 288049"/>
                <a:gd name="connsiteY0" fmla="*/ 4664 h 304335"/>
                <a:gd name="connsiteX1" fmla="*/ 264357 w 288049"/>
                <a:gd name="connsiteY1" fmla="*/ 0 h 304335"/>
                <a:gd name="connsiteX2" fmla="*/ 246651 w 288049"/>
                <a:gd name="connsiteY2" fmla="*/ 5236 h 304335"/>
                <a:gd name="connsiteX3" fmla="*/ 235703 w 288049"/>
                <a:gd name="connsiteY3" fmla="*/ 20657 h 304335"/>
                <a:gd name="connsiteX4" fmla="*/ 145174 w 288049"/>
                <a:gd name="connsiteY4" fmla="*/ 231702 h 304335"/>
                <a:gd name="connsiteX5" fmla="*/ 54264 w 288049"/>
                <a:gd name="connsiteY5" fmla="*/ 21038 h 304335"/>
                <a:gd name="connsiteX6" fmla="*/ 43887 w 288049"/>
                <a:gd name="connsiteY6" fmla="*/ 5236 h 304335"/>
                <a:gd name="connsiteX7" fmla="*/ 25515 w 288049"/>
                <a:gd name="connsiteY7" fmla="*/ 0 h 304335"/>
                <a:gd name="connsiteX8" fmla="*/ 9522 w 288049"/>
                <a:gd name="connsiteY8" fmla="*/ 4664 h 304335"/>
                <a:gd name="connsiteX9" fmla="*/ 669 w 288049"/>
                <a:gd name="connsiteY9" fmla="*/ 17325 h 304335"/>
                <a:gd name="connsiteX10" fmla="*/ 3240 w 288049"/>
                <a:gd name="connsiteY10" fmla="*/ 35888 h 304335"/>
                <a:gd name="connsiteX11" fmla="*/ 113379 w 288049"/>
                <a:gd name="connsiteY11" fmla="*/ 283297 h 304335"/>
                <a:gd name="connsiteX12" fmla="*/ 125373 w 288049"/>
                <a:gd name="connsiteY12" fmla="*/ 299099 h 304335"/>
                <a:gd name="connsiteX13" fmla="*/ 144127 w 288049"/>
                <a:gd name="connsiteY13" fmla="*/ 304335 h 304335"/>
                <a:gd name="connsiteX14" fmla="*/ 162880 w 288049"/>
                <a:gd name="connsiteY14" fmla="*/ 299099 h 304335"/>
                <a:gd name="connsiteX15" fmla="*/ 174494 w 288049"/>
                <a:gd name="connsiteY15" fmla="*/ 283297 h 304335"/>
                <a:gd name="connsiteX16" fmla="*/ 284633 w 288049"/>
                <a:gd name="connsiteY16" fmla="*/ 35888 h 304335"/>
                <a:gd name="connsiteX17" fmla="*/ 287584 w 288049"/>
                <a:gd name="connsiteY17" fmla="*/ 17325 h 304335"/>
                <a:gd name="connsiteX18" fmla="*/ 279778 w 288049"/>
                <a:gd name="connsiteY18" fmla="*/ 4664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049" h="304335">
                  <a:moveTo>
                    <a:pt x="279778" y="4664"/>
                  </a:moveTo>
                  <a:cubicBezTo>
                    <a:pt x="275685" y="1523"/>
                    <a:pt x="270544" y="0"/>
                    <a:pt x="264357" y="0"/>
                  </a:cubicBezTo>
                  <a:cubicBezTo>
                    <a:pt x="256741" y="0"/>
                    <a:pt x="250839" y="1713"/>
                    <a:pt x="246651" y="5236"/>
                  </a:cubicBezTo>
                  <a:cubicBezTo>
                    <a:pt x="242462" y="8758"/>
                    <a:pt x="238750" y="13898"/>
                    <a:pt x="235703" y="20657"/>
                  </a:cubicBezTo>
                  <a:lnTo>
                    <a:pt x="145174" y="231702"/>
                  </a:lnTo>
                  <a:lnTo>
                    <a:pt x="54264" y="21038"/>
                  </a:lnTo>
                  <a:cubicBezTo>
                    <a:pt x="51408" y="13994"/>
                    <a:pt x="47981" y="8758"/>
                    <a:pt x="43887" y="5236"/>
                  </a:cubicBezTo>
                  <a:cubicBezTo>
                    <a:pt x="39794" y="1713"/>
                    <a:pt x="33702" y="0"/>
                    <a:pt x="25515" y="0"/>
                  </a:cubicBezTo>
                  <a:cubicBezTo>
                    <a:pt x="19327" y="0"/>
                    <a:pt x="13996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40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3" y="299099"/>
                  </a:cubicBezTo>
                  <a:cubicBezTo>
                    <a:pt x="130324" y="302622"/>
                    <a:pt x="136606" y="304335"/>
                    <a:pt x="144127" y="304335"/>
                  </a:cubicBezTo>
                  <a:cubicBezTo>
                    <a:pt x="152028" y="304335"/>
                    <a:pt x="158311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5" y="28844"/>
                    <a:pt x="288726" y="22656"/>
                    <a:pt x="287584" y="17325"/>
                  </a:cubicBezTo>
                  <a:cubicBezTo>
                    <a:pt x="286442" y="11994"/>
                    <a:pt x="283776" y="7806"/>
                    <a:pt x="279778" y="4664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92D17E-DBA9-44CD-60EA-2E7BEA99D85C}"/>
                </a:ext>
              </a:extLst>
            </p:cNvPr>
            <p:cNvSpPr/>
            <p:nvPr/>
          </p:nvSpPr>
          <p:spPr>
            <a:xfrm>
              <a:off x="4715210" y="3735905"/>
              <a:ext cx="200002" cy="298909"/>
            </a:xfrm>
            <a:custGeom>
              <a:avLst/>
              <a:gdLst>
                <a:gd name="connsiteX0" fmla="*/ 176490 w 200002"/>
                <a:gd name="connsiteY0" fmla="*/ 252835 h 298909"/>
                <a:gd name="connsiteX1" fmla="*/ 54070 w 200002"/>
                <a:gd name="connsiteY1" fmla="*/ 252835 h 298909"/>
                <a:gd name="connsiteX2" fmla="*/ 54070 w 200002"/>
                <a:gd name="connsiteY2" fmla="*/ 27416 h 298909"/>
                <a:gd name="connsiteX3" fmla="*/ 47121 w 200002"/>
                <a:gd name="connsiteY3" fmla="*/ 6949 h 298909"/>
                <a:gd name="connsiteX4" fmla="*/ 27035 w 200002"/>
                <a:gd name="connsiteY4" fmla="*/ 0 h 298909"/>
                <a:gd name="connsiteX5" fmla="*/ 6949 w 200002"/>
                <a:gd name="connsiteY5" fmla="*/ 6949 h 298909"/>
                <a:gd name="connsiteX6" fmla="*/ 0 w 200002"/>
                <a:gd name="connsiteY6" fmla="*/ 27416 h 298909"/>
                <a:gd name="connsiteX7" fmla="*/ 0 w 200002"/>
                <a:gd name="connsiteY7" fmla="*/ 271017 h 298909"/>
                <a:gd name="connsiteX8" fmla="*/ 7140 w 200002"/>
                <a:gd name="connsiteY8" fmla="*/ 291484 h 298909"/>
                <a:gd name="connsiteX9" fmla="*/ 27416 w 200002"/>
                <a:gd name="connsiteY9" fmla="*/ 298909 h 298909"/>
                <a:gd name="connsiteX10" fmla="*/ 176394 w 200002"/>
                <a:gd name="connsiteY10" fmla="*/ 298909 h 298909"/>
                <a:gd name="connsiteX11" fmla="*/ 193910 w 200002"/>
                <a:gd name="connsiteY11" fmla="*/ 292817 h 298909"/>
                <a:gd name="connsiteX12" fmla="*/ 200003 w 200002"/>
                <a:gd name="connsiteY12" fmla="*/ 275682 h 298909"/>
                <a:gd name="connsiteX13" fmla="*/ 193910 w 200002"/>
                <a:gd name="connsiteY13" fmla="*/ 258833 h 298909"/>
                <a:gd name="connsiteX14" fmla="*/ 176490 w 200002"/>
                <a:gd name="connsiteY14" fmla="*/ 252835 h 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02" h="298909">
                  <a:moveTo>
                    <a:pt x="176490" y="252835"/>
                  </a:moveTo>
                  <a:lnTo>
                    <a:pt x="54070" y="252835"/>
                  </a:lnTo>
                  <a:lnTo>
                    <a:pt x="54070" y="27416"/>
                  </a:lnTo>
                  <a:cubicBezTo>
                    <a:pt x="54070" y="18373"/>
                    <a:pt x="51786" y="11614"/>
                    <a:pt x="47121" y="6949"/>
                  </a:cubicBezTo>
                  <a:cubicBezTo>
                    <a:pt x="42457" y="2285"/>
                    <a:pt x="35793" y="0"/>
                    <a:pt x="27035" y="0"/>
                  </a:cubicBezTo>
                  <a:cubicBezTo>
                    <a:pt x="18277" y="0"/>
                    <a:pt x="11614" y="2285"/>
                    <a:pt x="6949" y="6949"/>
                  </a:cubicBezTo>
                  <a:cubicBezTo>
                    <a:pt x="2285" y="11614"/>
                    <a:pt x="0" y="18373"/>
                    <a:pt x="0" y="27416"/>
                  </a:cubicBezTo>
                  <a:lnTo>
                    <a:pt x="0" y="271017"/>
                  </a:lnTo>
                  <a:cubicBezTo>
                    <a:pt x="0" y="279775"/>
                    <a:pt x="2380" y="286534"/>
                    <a:pt x="7140" y="291484"/>
                  </a:cubicBezTo>
                  <a:cubicBezTo>
                    <a:pt x="11899" y="296434"/>
                    <a:pt x="18658" y="298909"/>
                    <a:pt x="27416" y="298909"/>
                  </a:cubicBezTo>
                  <a:lnTo>
                    <a:pt x="176394" y="298909"/>
                  </a:lnTo>
                  <a:cubicBezTo>
                    <a:pt x="184010" y="298909"/>
                    <a:pt x="189817" y="296910"/>
                    <a:pt x="193910" y="292817"/>
                  </a:cubicBezTo>
                  <a:cubicBezTo>
                    <a:pt x="198004" y="288724"/>
                    <a:pt x="200003" y="283012"/>
                    <a:pt x="200003" y="275682"/>
                  </a:cubicBezTo>
                  <a:cubicBezTo>
                    <a:pt x="200003" y="268352"/>
                    <a:pt x="197908" y="262736"/>
                    <a:pt x="193910" y="258833"/>
                  </a:cubicBezTo>
                  <a:cubicBezTo>
                    <a:pt x="189912" y="254739"/>
                    <a:pt x="184105" y="252835"/>
                    <a:pt x="176490" y="25283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C0859B6-03AE-DC0B-3332-B31EB0F24FE2}"/>
                </a:ext>
              </a:extLst>
            </p:cNvPr>
            <p:cNvSpPr/>
            <p:nvPr/>
          </p:nvSpPr>
          <p:spPr>
            <a:xfrm>
              <a:off x="4925096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7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8FCBFA47-AA35-6E52-34CE-B0B813EBB545}"/>
                </a:ext>
              </a:extLst>
            </p:cNvPr>
            <p:cNvSpPr/>
            <p:nvPr/>
          </p:nvSpPr>
          <p:spPr>
            <a:xfrm>
              <a:off x="5260196" y="3737142"/>
              <a:ext cx="266733" cy="297671"/>
            </a:xfrm>
            <a:custGeom>
              <a:avLst/>
              <a:gdLst>
                <a:gd name="connsiteX0" fmla="*/ 110616 w 266733"/>
                <a:gd name="connsiteY0" fmla="*/ 0 h 297671"/>
                <a:gd name="connsiteX1" fmla="*/ 28749 w 266733"/>
                <a:gd name="connsiteY1" fmla="*/ 0 h 297671"/>
                <a:gd name="connsiteX2" fmla="*/ 7425 w 266733"/>
                <a:gd name="connsiteY2" fmla="*/ 7425 h 297671"/>
                <a:gd name="connsiteX3" fmla="*/ 0 w 266733"/>
                <a:gd name="connsiteY3" fmla="*/ 28749 h 297671"/>
                <a:gd name="connsiteX4" fmla="*/ 0 w 266733"/>
                <a:gd name="connsiteY4" fmla="*/ 268923 h 297671"/>
                <a:gd name="connsiteX5" fmla="*/ 7425 w 266733"/>
                <a:gd name="connsiteY5" fmla="*/ 290246 h 297671"/>
                <a:gd name="connsiteX6" fmla="*/ 28749 w 266733"/>
                <a:gd name="connsiteY6" fmla="*/ 297672 h 297671"/>
                <a:gd name="connsiteX7" fmla="*/ 110616 w 266733"/>
                <a:gd name="connsiteY7" fmla="*/ 297672 h 297671"/>
                <a:gd name="connsiteX8" fmla="*/ 177061 w 266733"/>
                <a:gd name="connsiteY8" fmla="*/ 287772 h 297671"/>
                <a:gd name="connsiteX9" fmla="*/ 225991 w 266733"/>
                <a:gd name="connsiteY9" fmla="*/ 258833 h 297671"/>
                <a:gd name="connsiteX10" fmla="*/ 256358 w 266733"/>
                <a:gd name="connsiteY10" fmla="*/ 212188 h 297671"/>
                <a:gd name="connsiteX11" fmla="*/ 266734 w 266733"/>
                <a:gd name="connsiteY11" fmla="*/ 148693 h 297671"/>
                <a:gd name="connsiteX12" fmla="*/ 225991 w 266733"/>
                <a:gd name="connsiteY12" fmla="*/ 38554 h 297671"/>
                <a:gd name="connsiteX13" fmla="*/ 110616 w 266733"/>
                <a:gd name="connsiteY13" fmla="*/ 0 h 297671"/>
                <a:gd name="connsiteX14" fmla="*/ 203906 w 266733"/>
                <a:gd name="connsiteY14" fmla="*/ 194386 h 297671"/>
                <a:gd name="connsiteX15" fmla="*/ 184676 w 266733"/>
                <a:gd name="connsiteY15" fmla="*/ 226847 h 297671"/>
                <a:gd name="connsiteX16" fmla="*/ 152596 w 266733"/>
                <a:gd name="connsiteY16" fmla="*/ 246267 h 297671"/>
                <a:gd name="connsiteX17" fmla="*/ 107189 w 266733"/>
                <a:gd name="connsiteY17" fmla="*/ 252835 h 297671"/>
                <a:gd name="connsiteX18" fmla="*/ 53975 w 266733"/>
                <a:gd name="connsiteY18" fmla="*/ 252835 h 297671"/>
                <a:gd name="connsiteX19" fmla="*/ 53975 w 266733"/>
                <a:gd name="connsiteY19" fmla="*/ 44741 h 297671"/>
                <a:gd name="connsiteX20" fmla="*/ 107189 w 266733"/>
                <a:gd name="connsiteY20" fmla="*/ 44741 h 297671"/>
                <a:gd name="connsiteX21" fmla="*/ 184486 w 266733"/>
                <a:gd name="connsiteY21" fmla="*/ 70444 h 297671"/>
                <a:gd name="connsiteX22" fmla="*/ 210188 w 266733"/>
                <a:gd name="connsiteY22" fmla="*/ 148503 h 297671"/>
                <a:gd name="connsiteX23" fmla="*/ 203906 w 266733"/>
                <a:gd name="connsiteY23" fmla="*/ 194386 h 29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6733" h="297671">
                  <a:moveTo>
                    <a:pt x="110616" y="0"/>
                  </a:moveTo>
                  <a:lnTo>
                    <a:pt x="28749" y="0"/>
                  </a:lnTo>
                  <a:cubicBezTo>
                    <a:pt x="19420" y="0"/>
                    <a:pt x="12375" y="2475"/>
                    <a:pt x="7425" y="7425"/>
                  </a:cubicBezTo>
                  <a:cubicBezTo>
                    <a:pt x="2475" y="12375"/>
                    <a:pt x="0" y="19420"/>
                    <a:pt x="0" y="28749"/>
                  </a:cubicBezTo>
                  <a:lnTo>
                    <a:pt x="0" y="268923"/>
                  </a:lnTo>
                  <a:cubicBezTo>
                    <a:pt x="0" y="278252"/>
                    <a:pt x="2475" y="285296"/>
                    <a:pt x="7425" y="290246"/>
                  </a:cubicBezTo>
                  <a:cubicBezTo>
                    <a:pt x="12375" y="295197"/>
                    <a:pt x="19420" y="297672"/>
                    <a:pt x="28749" y="297672"/>
                  </a:cubicBezTo>
                  <a:lnTo>
                    <a:pt x="110616" y="297672"/>
                  </a:lnTo>
                  <a:cubicBezTo>
                    <a:pt x="135651" y="297672"/>
                    <a:pt x="157832" y="294340"/>
                    <a:pt x="177061" y="287772"/>
                  </a:cubicBezTo>
                  <a:cubicBezTo>
                    <a:pt x="196290" y="281203"/>
                    <a:pt x="212663" y="271493"/>
                    <a:pt x="225991" y="258833"/>
                  </a:cubicBezTo>
                  <a:cubicBezTo>
                    <a:pt x="239318" y="246172"/>
                    <a:pt x="249504" y="230655"/>
                    <a:pt x="256358" y="212188"/>
                  </a:cubicBezTo>
                  <a:cubicBezTo>
                    <a:pt x="263212" y="193720"/>
                    <a:pt x="266734" y="172587"/>
                    <a:pt x="266734" y="148693"/>
                  </a:cubicBezTo>
                  <a:cubicBezTo>
                    <a:pt x="266734" y="100810"/>
                    <a:pt x="253121" y="64161"/>
                    <a:pt x="225991" y="38554"/>
                  </a:cubicBezTo>
                  <a:cubicBezTo>
                    <a:pt x="198860" y="12756"/>
                    <a:pt x="160402" y="0"/>
                    <a:pt x="110616" y="0"/>
                  </a:cubicBezTo>
                  <a:close/>
                  <a:moveTo>
                    <a:pt x="203906" y="194386"/>
                  </a:moveTo>
                  <a:cubicBezTo>
                    <a:pt x="199717" y="207428"/>
                    <a:pt x="193244" y="218280"/>
                    <a:pt x="184676" y="226847"/>
                  </a:cubicBezTo>
                  <a:cubicBezTo>
                    <a:pt x="176109" y="235415"/>
                    <a:pt x="165447" y="241888"/>
                    <a:pt x="152596" y="246267"/>
                  </a:cubicBezTo>
                  <a:cubicBezTo>
                    <a:pt x="139745" y="250646"/>
                    <a:pt x="124704" y="252835"/>
                    <a:pt x="107189" y="252835"/>
                  </a:cubicBezTo>
                  <a:lnTo>
                    <a:pt x="53975" y="252835"/>
                  </a:lnTo>
                  <a:lnTo>
                    <a:pt x="53975" y="44741"/>
                  </a:lnTo>
                  <a:lnTo>
                    <a:pt x="107189" y="44741"/>
                  </a:lnTo>
                  <a:cubicBezTo>
                    <a:pt x="141554" y="44741"/>
                    <a:pt x="167256" y="53309"/>
                    <a:pt x="184486" y="70444"/>
                  </a:cubicBezTo>
                  <a:cubicBezTo>
                    <a:pt x="201621" y="87579"/>
                    <a:pt x="210188" y="113662"/>
                    <a:pt x="210188" y="148503"/>
                  </a:cubicBezTo>
                  <a:cubicBezTo>
                    <a:pt x="210188" y="166018"/>
                    <a:pt x="208094" y="181249"/>
                    <a:pt x="203906" y="194386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49720F3-1DB2-060F-BD10-76588747643A}"/>
                </a:ext>
              </a:extLst>
            </p:cNvPr>
            <p:cNvSpPr/>
            <p:nvPr/>
          </p:nvSpPr>
          <p:spPr>
            <a:xfrm>
              <a:off x="5675224" y="3733811"/>
              <a:ext cx="292253" cy="304335"/>
            </a:xfrm>
            <a:custGeom>
              <a:avLst/>
              <a:gdLst>
                <a:gd name="connsiteX0" fmla="*/ 176793 w 292253"/>
                <a:gd name="connsiteY0" fmla="*/ 22752 h 304335"/>
                <a:gd name="connsiteX1" fmla="*/ 163466 w 292253"/>
                <a:gd name="connsiteY1" fmla="*/ 5236 h 304335"/>
                <a:gd name="connsiteX2" fmla="*/ 145950 w 292253"/>
                <a:gd name="connsiteY2" fmla="*/ 0 h 304335"/>
                <a:gd name="connsiteX3" fmla="*/ 128053 w 292253"/>
                <a:gd name="connsiteY3" fmla="*/ 5236 h 304335"/>
                <a:gd name="connsiteX4" fmla="*/ 114726 w 292253"/>
                <a:gd name="connsiteY4" fmla="*/ 22752 h 304335"/>
                <a:gd name="connsiteX5" fmla="*/ 3254 w 292253"/>
                <a:gd name="connsiteY5" fmla="*/ 269685 h 304335"/>
                <a:gd name="connsiteX6" fmla="*/ 303 w 292253"/>
                <a:gd name="connsiteY6" fmla="*/ 287200 h 304335"/>
                <a:gd name="connsiteX7" fmla="*/ 7728 w 292253"/>
                <a:gd name="connsiteY7" fmla="*/ 299671 h 304335"/>
                <a:gd name="connsiteX8" fmla="*/ 24006 w 292253"/>
                <a:gd name="connsiteY8" fmla="*/ 304335 h 304335"/>
                <a:gd name="connsiteX9" fmla="*/ 40856 w 292253"/>
                <a:gd name="connsiteY9" fmla="*/ 298814 h 304335"/>
                <a:gd name="connsiteX10" fmla="*/ 52279 w 292253"/>
                <a:gd name="connsiteY10" fmla="*/ 281108 h 304335"/>
                <a:gd name="connsiteX11" fmla="*/ 73031 w 292253"/>
                <a:gd name="connsiteY11" fmla="*/ 232178 h 304335"/>
                <a:gd name="connsiteX12" fmla="*/ 218202 w 292253"/>
                <a:gd name="connsiteY12" fmla="*/ 232178 h 304335"/>
                <a:gd name="connsiteX13" fmla="*/ 239240 w 292253"/>
                <a:gd name="connsiteY13" fmla="*/ 281108 h 304335"/>
                <a:gd name="connsiteX14" fmla="*/ 250854 w 292253"/>
                <a:gd name="connsiteY14" fmla="*/ 298624 h 304335"/>
                <a:gd name="connsiteX15" fmla="*/ 269226 w 292253"/>
                <a:gd name="connsiteY15" fmla="*/ 304335 h 304335"/>
                <a:gd name="connsiteX16" fmla="*/ 284838 w 292253"/>
                <a:gd name="connsiteY16" fmla="*/ 299861 h 304335"/>
                <a:gd name="connsiteX17" fmla="*/ 291978 w 292253"/>
                <a:gd name="connsiteY17" fmla="*/ 287391 h 304335"/>
                <a:gd name="connsiteX18" fmla="*/ 288646 w 292253"/>
                <a:gd name="connsiteY18" fmla="*/ 269685 h 304335"/>
                <a:gd name="connsiteX19" fmla="*/ 176793 w 292253"/>
                <a:gd name="connsiteY19" fmla="*/ 22752 h 304335"/>
                <a:gd name="connsiteX20" fmla="*/ 145093 w 292253"/>
                <a:gd name="connsiteY20" fmla="*/ 61971 h 304335"/>
                <a:gd name="connsiteX21" fmla="*/ 145950 w 292253"/>
                <a:gd name="connsiteY21" fmla="*/ 61971 h 304335"/>
                <a:gd name="connsiteX22" fmla="*/ 199735 w 292253"/>
                <a:gd name="connsiteY22" fmla="*/ 189055 h 304335"/>
                <a:gd name="connsiteX23" fmla="*/ 91689 w 292253"/>
                <a:gd name="connsiteY23" fmla="*/ 189055 h 304335"/>
                <a:gd name="connsiteX24" fmla="*/ 145093 w 292253"/>
                <a:gd name="connsiteY24" fmla="*/ 61971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253" h="304335">
                  <a:moveTo>
                    <a:pt x="176793" y="22752"/>
                  </a:moveTo>
                  <a:cubicBezTo>
                    <a:pt x="173175" y="14565"/>
                    <a:pt x="168701" y="8758"/>
                    <a:pt x="163466" y="5236"/>
                  </a:cubicBezTo>
                  <a:cubicBezTo>
                    <a:pt x="158230" y="1714"/>
                    <a:pt x="152423" y="0"/>
                    <a:pt x="145950" y="0"/>
                  </a:cubicBezTo>
                  <a:cubicBezTo>
                    <a:pt x="139191" y="0"/>
                    <a:pt x="133194" y="1714"/>
                    <a:pt x="128053" y="5236"/>
                  </a:cubicBezTo>
                  <a:cubicBezTo>
                    <a:pt x="122818" y="8758"/>
                    <a:pt x="118439" y="14565"/>
                    <a:pt x="114726" y="22752"/>
                  </a:cubicBezTo>
                  <a:lnTo>
                    <a:pt x="3254" y="269685"/>
                  </a:lnTo>
                  <a:cubicBezTo>
                    <a:pt x="398" y="276158"/>
                    <a:pt x="-554" y="281965"/>
                    <a:pt x="303" y="287200"/>
                  </a:cubicBezTo>
                  <a:cubicBezTo>
                    <a:pt x="1160" y="292436"/>
                    <a:pt x="3635" y="296530"/>
                    <a:pt x="7728" y="299671"/>
                  </a:cubicBezTo>
                  <a:cubicBezTo>
                    <a:pt x="11822" y="302812"/>
                    <a:pt x="17248" y="304335"/>
                    <a:pt x="24006" y="304335"/>
                  </a:cubicBezTo>
                  <a:cubicBezTo>
                    <a:pt x="31336" y="304335"/>
                    <a:pt x="36953" y="302527"/>
                    <a:pt x="40856" y="298814"/>
                  </a:cubicBezTo>
                  <a:cubicBezTo>
                    <a:pt x="44759" y="295197"/>
                    <a:pt x="48566" y="289295"/>
                    <a:pt x="52279" y="281108"/>
                  </a:cubicBezTo>
                  <a:lnTo>
                    <a:pt x="73031" y="232178"/>
                  </a:lnTo>
                  <a:lnTo>
                    <a:pt x="218202" y="232178"/>
                  </a:lnTo>
                  <a:lnTo>
                    <a:pt x="239240" y="281108"/>
                  </a:lnTo>
                  <a:cubicBezTo>
                    <a:pt x="242572" y="289009"/>
                    <a:pt x="246475" y="294816"/>
                    <a:pt x="250854" y="298624"/>
                  </a:cubicBezTo>
                  <a:cubicBezTo>
                    <a:pt x="255233" y="302432"/>
                    <a:pt x="261325" y="304335"/>
                    <a:pt x="269226" y="304335"/>
                  </a:cubicBezTo>
                  <a:cubicBezTo>
                    <a:pt x="275699" y="304335"/>
                    <a:pt x="280935" y="302907"/>
                    <a:pt x="284838" y="299861"/>
                  </a:cubicBezTo>
                  <a:cubicBezTo>
                    <a:pt x="288741" y="296910"/>
                    <a:pt x="291121" y="292722"/>
                    <a:pt x="291978" y="287391"/>
                  </a:cubicBezTo>
                  <a:cubicBezTo>
                    <a:pt x="292834" y="282060"/>
                    <a:pt x="291692" y="276158"/>
                    <a:pt x="288646" y="269685"/>
                  </a:cubicBezTo>
                  <a:lnTo>
                    <a:pt x="176793" y="22752"/>
                  </a:lnTo>
                  <a:close/>
                  <a:moveTo>
                    <a:pt x="145093" y="61971"/>
                  </a:moveTo>
                  <a:lnTo>
                    <a:pt x="145950" y="61971"/>
                  </a:lnTo>
                  <a:lnTo>
                    <a:pt x="199735" y="189055"/>
                  </a:lnTo>
                  <a:lnTo>
                    <a:pt x="91689" y="189055"/>
                  </a:lnTo>
                  <a:lnTo>
                    <a:pt x="145093" y="61971"/>
                  </a:ln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2061759-474D-BFFA-B7BF-E82043971040}"/>
                </a:ext>
              </a:extLst>
            </p:cNvPr>
            <p:cNvSpPr/>
            <p:nvPr/>
          </p:nvSpPr>
          <p:spPr>
            <a:xfrm>
              <a:off x="6010230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4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5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8" y="10091"/>
                    <a:pt x="41505" y="6092"/>
                    <a:pt x="38268" y="3712"/>
                  </a:cubicBezTo>
                  <a:cubicBezTo>
                    <a:pt x="35032" y="1333"/>
                    <a:pt x="30177" y="95"/>
                    <a:pt x="23704" y="95"/>
                  </a:cubicBezTo>
                  <a:cubicBezTo>
                    <a:pt x="16659" y="95"/>
                    <a:pt x="10948" y="2380"/>
                    <a:pt x="6568" y="7044"/>
                  </a:cubicBezTo>
                  <a:cubicBezTo>
                    <a:pt x="2190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90" y="293293"/>
                    <a:pt x="6568" y="297767"/>
                  </a:cubicBezTo>
                  <a:cubicBezTo>
                    <a:pt x="10948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5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9391B00D-948C-78EE-263C-076CC2EBFA94}"/>
                </a:ext>
              </a:extLst>
            </p:cNvPr>
            <p:cNvSpPr/>
            <p:nvPr/>
          </p:nvSpPr>
          <p:spPr>
            <a:xfrm>
              <a:off x="6292289" y="3737142"/>
              <a:ext cx="265210" cy="301003"/>
            </a:xfrm>
            <a:custGeom>
              <a:avLst/>
              <a:gdLst>
                <a:gd name="connsiteX0" fmla="*/ 241888 w 265210"/>
                <a:gd name="connsiteY0" fmla="*/ 0 h 301003"/>
                <a:gd name="connsiteX1" fmla="*/ 23227 w 265210"/>
                <a:gd name="connsiteY1" fmla="*/ 0 h 301003"/>
                <a:gd name="connsiteX2" fmla="*/ 6093 w 265210"/>
                <a:gd name="connsiteY2" fmla="*/ 5712 h 301003"/>
                <a:gd name="connsiteX3" fmla="*/ 0 w 265210"/>
                <a:gd name="connsiteY3" fmla="*/ 22371 h 301003"/>
                <a:gd name="connsiteX4" fmla="*/ 6093 w 265210"/>
                <a:gd name="connsiteY4" fmla="*/ 39030 h 301003"/>
                <a:gd name="connsiteX5" fmla="*/ 23227 w 265210"/>
                <a:gd name="connsiteY5" fmla="*/ 45122 h 301003"/>
                <a:gd name="connsiteX6" fmla="*/ 105570 w 265210"/>
                <a:gd name="connsiteY6" fmla="*/ 45122 h 301003"/>
                <a:gd name="connsiteX7" fmla="*/ 105570 w 265210"/>
                <a:gd name="connsiteY7" fmla="*/ 273112 h 301003"/>
                <a:gd name="connsiteX8" fmla="*/ 112519 w 265210"/>
                <a:gd name="connsiteY8" fmla="*/ 293578 h 301003"/>
                <a:gd name="connsiteX9" fmla="*/ 132605 w 265210"/>
                <a:gd name="connsiteY9" fmla="*/ 301003 h 301003"/>
                <a:gd name="connsiteX10" fmla="*/ 152882 w 265210"/>
                <a:gd name="connsiteY10" fmla="*/ 293578 h 301003"/>
                <a:gd name="connsiteX11" fmla="*/ 159641 w 265210"/>
                <a:gd name="connsiteY11" fmla="*/ 273112 h 301003"/>
                <a:gd name="connsiteX12" fmla="*/ 159641 w 265210"/>
                <a:gd name="connsiteY12" fmla="*/ 45122 h 301003"/>
                <a:gd name="connsiteX13" fmla="*/ 241983 w 265210"/>
                <a:gd name="connsiteY13" fmla="*/ 45122 h 301003"/>
                <a:gd name="connsiteX14" fmla="*/ 259118 w 265210"/>
                <a:gd name="connsiteY14" fmla="*/ 39030 h 301003"/>
                <a:gd name="connsiteX15" fmla="*/ 265211 w 265210"/>
                <a:gd name="connsiteY15" fmla="*/ 22371 h 301003"/>
                <a:gd name="connsiteX16" fmla="*/ 259118 w 265210"/>
                <a:gd name="connsiteY16" fmla="*/ 5712 h 301003"/>
                <a:gd name="connsiteX17" fmla="*/ 241888 w 265210"/>
                <a:gd name="connsiteY17" fmla="*/ 0 h 30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5210" h="301003">
                  <a:moveTo>
                    <a:pt x="241888" y="0"/>
                  </a:moveTo>
                  <a:lnTo>
                    <a:pt x="23227" y="0"/>
                  </a:lnTo>
                  <a:cubicBezTo>
                    <a:pt x="15898" y="0"/>
                    <a:pt x="10186" y="1904"/>
                    <a:pt x="6093" y="5712"/>
                  </a:cubicBezTo>
                  <a:cubicBezTo>
                    <a:pt x="1999" y="9519"/>
                    <a:pt x="0" y="15041"/>
                    <a:pt x="0" y="22371"/>
                  </a:cubicBezTo>
                  <a:cubicBezTo>
                    <a:pt x="0" y="29415"/>
                    <a:pt x="1999" y="34936"/>
                    <a:pt x="6093" y="39030"/>
                  </a:cubicBezTo>
                  <a:cubicBezTo>
                    <a:pt x="10186" y="43123"/>
                    <a:pt x="15898" y="45122"/>
                    <a:pt x="23227" y="45122"/>
                  </a:cubicBezTo>
                  <a:lnTo>
                    <a:pt x="105570" y="45122"/>
                  </a:lnTo>
                  <a:lnTo>
                    <a:pt x="105570" y="273112"/>
                  </a:lnTo>
                  <a:cubicBezTo>
                    <a:pt x="105570" y="281870"/>
                    <a:pt x="107855" y="288628"/>
                    <a:pt x="112519" y="293578"/>
                  </a:cubicBezTo>
                  <a:cubicBezTo>
                    <a:pt x="117184" y="298529"/>
                    <a:pt x="123847" y="301003"/>
                    <a:pt x="132605" y="301003"/>
                  </a:cubicBezTo>
                  <a:cubicBezTo>
                    <a:pt x="141649" y="301003"/>
                    <a:pt x="148407" y="298529"/>
                    <a:pt x="152882" y="293578"/>
                  </a:cubicBezTo>
                  <a:cubicBezTo>
                    <a:pt x="157356" y="288628"/>
                    <a:pt x="159641" y="281870"/>
                    <a:pt x="159641" y="273112"/>
                  </a:cubicBezTo>
                  <a:lnTo>
                    <a:pt x="159641" y="45122"/>
                  </a:lnTo>
                  <a:lnTo>
                    <a:pt x="241983" y="45122"/>
                  </a:lnTo>
                  <a:cubicBezTo>
                    <a:pt x="249313" y="45122"/>
                    <a:pt x="255025" y="43123"/>
                    <a:pt x="259118" y="39030"/>
                  </a:cubicBezTo>
                  <a:cubicBezTo>
                    <a:pt x="263211" y="34936"/>
                    <a:pt x="265211" y="29415"/>
                    <a:pt x="265211" y="22371"/>
                  </a:cubicBezTo>
                  <a:cubicBezTo>
                    <a:pt x="265211" y="15041"/>
                    <a:pt x="263116" y="9519"/>
                    <a:pt x="259118" y="5712"/>
                  </a:cubicBezTo>
                  <a:cubicBezTo>
                    <a:pt x="254835" y="1904"/>
                    <a:pt x="249123" y="0"/>
                    <a:pt x="241888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A556426-4820-35DC-F58D-292AA2350DCB}"/>
                </a:ext>
              </a:extLst>
            </p:cNvPr>
            <p:cNvSpPr/>
            <p:nvPr/>
          </p:nvSpPr>
          <p:spPr>
            <a:xfrm>
              <a:off x="6560356" y="3732954"/>
              <a:ext cx="286248" cy="306143"/>
            </a:xfrm>
            <a:custGeom>
              <a:avLst/>
              <a:gdLst>
                <a:gd name="connsiteX0" fmla="*/ 218661 w 286248"/>
                <a:gd name="connsiteY0" fmla="*/ 18753 h 306143"/>
                <a:gd name="connsiteX1" fmla="*/ 143077 w 286248"/>
                <a:gd name="connsiteY1" fmla="*/ 0 h 306143"/>
                <a:gd name="connsiteX2" fmla="*/ 84151 w 286248"/>
                <a:gd name="connsiteY2" fmla="*/ 10757 h 306143"/>
                <a:gd name="connsiteX3" fmla="*/ 39030 w 286248"/>
                <a:gd name="connsiteY3" fmla="*/ 41600 h 306143"/>
                <a:gd name="connsiteX4" fmla="*/ 10091 w 286248"/>
                <a:gd name="connsiteY4" fmla="*/ 89768 h 306143"/>
                <a:gd name="connsiteX5" fmla="*/ 0 w 286248"/>
                <a:gd name="connsiteY5" fmla="*/ 152882 h 306143"/>
                <a:gd name="connsiteX6" fmla="*/ 17706 w 286248"/>
                <a:gd name="connsiteY6" fmla="*/ 233701 h 306143"/>
                <a:gd name="connsiteX7" fmla="*/ 67778 w 286248"/>
                <a:gd name="connsiteY7" fmla="*/ 287105 h 306143"/>
                <a:gd name="connsiteX8" fmla="*/ 143172 w 286248"/>
                <a:gd name="connsiteY8" fmla="*/ 306144 h 306143"/>
                <a:gd name="connsiteX9" fmla="*/ 202097 w 286248"/>
                <a:gd name="connsiteY9" fmla="*/ 295387 h 306143"/>
                <a:gd name="connsiteX10" fmla="*/ 247219 w 286248"/>
                <a:gd name="connsiteY10" fmla="*/ 264354 h 306143"/>
                <a:gd name="connsiteX11" fmla="*/ 276158 w 286248"/>
                <a:gd name="connsiteY11" fmla="*/ 215805 h 306143"/>
                <a:gd name="connsiteX12" fmla="*/ 286248 w 286248"/>
                <a:gd name="connsiteY12" fmla="*/ 152501 h 306143"/>
                <a:gd name="connsiteX13" fmla="*/ 268542 w 286248"/>
                <a:gd name="connsiteY13" fmla="*/ 71872 h 306143"/>
                <a:gd name="connsiteX14" fmla="*/ 218661 w 286248"/>
                <a:gd name="connsiteY14" fmla="*/ 18753 h 306143"/>
                <a:gd name="connsiteX15" fmla="*/ 219232 w 286248"/>
                <a:gd name="connsiteY15" fmla="*/ 210189 h 306143"/>
                <a:gd name="connsiteX16" fmla="*/ 189722 w 286248"/>
                <a:gd name="connsiteY16" fmla="*/ 246933 h 306143"/>
                <a:gd name="connsiteX17" fmla="*/ 143077 w 286248"/>
                <a:gd name="connsiteY17" fmla="*/ 259594 h 306143"/>
                <a:gd name="connsiteX18" fmla="*/ 79296 w 286248"/>
                <a:gd name="connsiteY18" fmla="*/ 231322 h 306143"/>
                <a:gd name="connsiteX19" fmla="*/ 56545 w 286248"/>
                <a:gd name="connsiteY19" fmla="*/ 152787 h 306143"/>
                <a:gd name="connsiteX20" fmla="*/ 66921 w 286248"/>
                <a:gd name="connsiteY20" fmla="*/ 95194 h 306143"/>
                <a:gd name="connsiteX21" fmla="*/ 96717 w 286248"/>
                <a:gd name="connsiteY21" fmla="*/ 58925 h 306143"/>
                <a:gd name="connsiteX22" fmla="*/ 143172 w 286248"/>
                <a:gd name="connsiteY22" fmla="*/ 46455 h 306143"/>
                <a:gd name="connsiteX23" fmla="*/ 207142 w 286248"/>
                <a:gd name="connsiteY23" fmla="*/ 74346 h 306143"/>
                <a:gd name="connsiteX24" fmla="*/ 229703 w 286248"/>
                <a:gd name="connsiteY24" fmla="*/ 152882 h 306143"/>
                <a:gd name="connsiteX25" fmla="*/ 219232 w 286248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248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778" y="287105"/>
                  </a:cubicBezTo>
                  <a:cubicBezTo>
                    <a:pt x="89387" y="299766"/>
                    <a:pt x="114423" y="306144"/>
                    <a:pt x="143172" y="306144"/>
                  </a:cubicBezTo>
                  <a:cubicBezTo>
                    <a:pt x="164876" y="306144"/>
                    <a:pt x="184486" y="302527"/>
                    <a:pt x="202097" y="295387"/>
                  </a:cubicBezTo>
                  <a:cubicBezTo>
                    <a:pt x="219708" y="288247"/>
                    <a:pt x="234748" y="277871"/>
                    <a:pt x="247219" y="264354"/>
                  </a:cubicBezTo>
                  <a:cubicBezTo>
                    <a:pt x="259689" y="250836"/>
                    <a:pt x="269399" y="234653"/>
                    <a:pt x="276158" y="215805"/>
                  </a:cubicBezTo>
                  <a:cubicBezTo>
                    <a:pt x="282917" y="196956"/>
                    <a:pt x="286248" y="175823"/>
                    <a:pt x="286248" y="152501"/>
                  </a:cubicBezTo>
                  <a:cubicBezTo>
                    <a:pt x="286248" y="121563"/>
                    <a:pt x="280346" y="94623"/>
                    <a:pt x="268542" y="71872"/>
                  </a:cubicBezTo>
                  <a:cubicBezTo>
                    <a:pt x="256738" y="49120"/>
                    <a:pt x="239984" y="31224"/>
                    <a:pt x="218661" y="18753"/>
                  </a:cubicBezTo>
                  <a:close/>
                  <a:moveTo>
                    <a:pt x="219232" y="210189"/>
                  </a:moveTo>
                  <a:cubicBezTo>
                    <a:pt x="212378" y="226276"/>
                    <a:pt x="202478" y="238461"/>
                    <a:pt x="189722" y="246933"/>
                  </a:cubicBezTo>
                  <a:cubicBezTo>
                    <a:pt x="176870" y="255406"/>
                    <a:pt x="161354" y="259594"/>
                    <a:pt x="143077" y="259594"/>
                  </a:cubicBezTo>
                  <a:cubicBezTo>
                    <a:pt x="115756" y="259594"/>
                    <a:pt x="94528" y="250170"/>
                    <a:pt x="79296" y="231322"/>
                  </a:cubicBezTo>
                  <a:cubicBezTo>
                    <a:pt x="64066" y="212473"/>
                    <a:pt x="56545" y="186295"/>
                    <a:pt x="56545" y="152787"/>
                  </a:cubicBezTo>
                  <a:cubicBezTo>
                    <a:pt x="56545" y="130321"/>
                    <a:pt x="59972" y="111092"/>
                    <a:pt x="66921" y="95194"/>
                  </a:cubicBezTo>
                  <a:cubicBezTo>
                    <a:pt x="73775" y="79297"/>
                    <a:pt x="83771" y="67207"/>
                    <a:pt x="96717" y="58925"/>
                  </a:cubicBezTo>
                  <a:cubicBezTo>
                    <a:pt x="109663" y="50643"/>
                    <a:pt x="125180" y="46455"/>
                    <a:pt x="143172" y="46455"/>
                  </a:cubicBezTo>
                  <a:cubicBezTo>
                    <a:pt x="170778" y="46455"/>
                    <a:pt x="192101" y="55784"/>
                    <a:pt x="207142" y="74346"/>
                  </a:cubicBezTo>
                  <a:cubicBezTo>
                    <a:pt x="222183" y="92909"/>
                    <a:pt x="229703" y="119088"/>
                    <a:pt x="229703" y="152882"/>
                  </a:cubicBezTo>
                  <a:cubicBezTo>
                    <a:pt x="229608" y="174967"/>
                    <a:pt x="226181" y="194101"/>
                    <a:pt x="219232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8F96D043-E252-4B00-08C8-7B8FB0BFA88C}"/>
                </a:ext>
              </a:extLst>
            </p:cNvPr>
            <p:cNvSpPr/>
            <p:nvPr/>
          </p:nvSpPr>
          <p:spPr>
            <a:xfrm>
              <a:off x="6901341" y="3733716"/>
              <a:ext cx="250740" cy="304525"/>
            </a:xfrm>
            <a:custGeom>
              <a:avLst/>
              <a:gdLst>
                <a:gd name="connsiteX0" fmla="*/ 225895 w 250740"/>
                <a:gd name="connsiteY0" fmla="*/ 0 h 304525"/>
                <a:gd name="connsiteX1" fmla="*/ 207142 w 250740"/>
                <a:gd name="connsiteY1" fmla="*/ 6759 h 304525"/>
                <a:gd name="connsiteX2" fmla="*/ 200574 w 250740"/>
                <a:gd name="connsiteY2" fmla="*/ 25797 h 304525"/>
                <a:gd name="connsiteX3" fmla="*/ 200574 w 250740"/>
                <a:gd name="connsiteY3" fmla="*/ 211236 h 304525"/>
                <a:gd name="connsiteX4" fmla="*/ 49882 w 250740"/>
                <a:gd name="connsiteY4" fmla="*/ 15707 h 304525"/>
                <a:gd name="connsiteX5" fmla="*/ 38268 w 250740"/>
                <a:gd name="connsiteY5" fmla="*/ 3712 h 304525"/>
                <a:gd name="connsiteX6" fmla="*/ 23703 w 250740"/>
                <a:gd name="connsiteY6" fmla="*/ 95 h 304525"/>
                <a:gd name="connsiteX7" fmla="*/ 6568 w 250740"/>
                <a:gd name="connsiteY7" fmla="*/ 7044 h 304525"/>
                <a:gd name="connsiteX8" fmla="*/ 0 w 250740"/>
                <a:gd name="connsiteY8" fmla="*/ 27130 h 304525"/>
                <a:gd name="connsiteX9" fmla="*/ 0 w 250740"/>
                <a:gd name="connsiteY9" fmla="*/ 278347 h 304525"/>
                <a:gd name="connsiteX10" fmla="*/ 6568 w 250740"/>
                <a:gd name="connsiteY10" fmla="*/ 297767 h 304525"/>
                <a:gd name="connsiteX11" fmla="*/ 25322 w 250740"/>
                <a:gd name="connsiteY11" fmla="*/ 304526 h 304525"/>
                <a:gd name="connsiteX12" fmla="*/ 43884 w 250740"/>
                <a:gd name="connsiteY12" fmla="*/ 297767 h 304525"/>
                <a:gd name="connsiteX13" fmla="*/ 50167 w 250740"/>
                <a:gd name="connsiteY13" fmla="*/ 278347 h 304525"/>
                <a:gd name="connsiteX14" fmla="*/ 50167 w 250740"/>
                <a:gd name="connsiteY14" fmla="*/ 92243 h 304525"/>
                <a:gd name="connsiteX15" fmla="*/ 200859 w 250740"/>
                <a:gd name="connsiteY15" fmla="*/ 288342 h 304525"/>
                <a:gd name="connsiteX16" fmla="*/ 213330 w 250740"/>
                <a:gd name="connsiteY16" fmla="*/ 300623 h 304525"/>
                <a:gd name="connsiteX17" fmla="*/ 228751 w 250740"/>
                <a:gd name="connsiteY17" fmla="*/ 304430 h 304525"/>
                <a:gd name="connsiteX18" fmla="*/ 244839 w 250740"/>
                <a:gd name="connsiteY18" fmla="*/ 297672 h 304525"/>
                <a:gd name="connsiteX19" fmla="*/ 250741 w 250740"/>
                <a:gd name="connsiteY19" fmla="*/ 279109 h 304525"/>
                <a:gd name="connsiteX20" fmla="*/ 250741 w 250740"/>
                <a:gd name="connsiteY20" fmla="*/ 25797 h 304525"/>
                <a:gd name="connsiteX21" fmla="*/ 244363 w 250740"/>
                <a:gd name="connsiteY21" fmla="*/ 6759 h 304525"/>
                <a:gd name="connsiteX22" fmla="*/ 225895 w 250740"/>
                <a:gd name="connsiteY22" fmla="*/ 0 h 3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740" h="304525">
                  <a:moveTo>
                    <a:pt x="225895" y="0"/>
                  </a:moveTo>
                  <a:cubicBezTo>
                    <a:pt x="217709" y="0"/>
                    <a:pt x="211521" y="2285"/>
                    <a:pt x="207142" y="6759"/>
                  </a:cubicBezTo>
                  <a:cubicBezTo>
                    <a:pt x="202763" y="11233"/>
                    <a:pt x="200574" y="17611"/>
                    <a:pt x="200574" y="25797"/>
                  </a:cubicBezTo>
                  <a:lnTo>
                    <a:pt x="200574" y="211236"/>
                  </a:lnTo>
                  <a:lnTo>
                    <a:pt x="49882" y="15707"/>
                  </a:lnTo>
                  <a:cubicBezTo>
                    <a:pt x="45407" y="10091"/>
                    <a:pt x="41504" y="6092"/>
                    <a:pt x="38268" y="3712"/>
                  </a:cubicBezTo>
                  <a:cubicBezTo>
                    <a:pt x="35031" y="1333"/>
                    <a:pt x="30176" y="95"/>
                    <a:pt x="23703" y="95"/>
                  </a:cubicBezTo>
                  <a:cubicBezTo>
                    <a:pt x="16659" y="95"/>
                    <a:pt x="10947" y="2380"/>
                    <a:pt x="6568" y="7044"/>
                  </a:cubicBezTo>
                  <a:cubicBezTo>
                    <a:pt x="2189" y="11709"/>
                    <a:pt x="0" y="18372"/>
                    <a:pt x="0" y="27130"/>
                  </a:cubicBezTo>
                  <a:lnTo>
                    <a:pt x="0" y="278347"/>
                  </a:lnTo>
                  <a:cubicBezTo>
                    <a:pt x="0" y="286820"/>
                    <a:pt x="2189" y="293293"/>
                    <a:pt x="6568" y="297767"/>
                  </a:cubicBezTo>
                  <a:cubicBezTo>
                    <a:pt x="10947" y="302241"/>
                    <a:pt x="17135" y="304526"/>
                    <a:pt x="25322" y="304526"/>
                  </a:cubicBezTo>
                  <a:cubicBezTo>
                    <a:pt x="33508" y="304526"/>
                    <a:pt x="39696" y="302241"/>
                    <a:pt x="43884" y="297767"/>
                  </a:cubicBezTo>
                  <a:cubicBezTo>
                    <a:pt x="48073" y="293293"/>
                    <a:pt x="50167" y="286820"/>
                    <a:pt x="50167" y="278347"/>
                  </a:cubicBezTo>
                  <a:lnTo>
                    <a:pt x="50167" y="92243"/>
                  </a:lnTo>
                  <a:lnTo>
                    <a:pt x="200859" y="288342"/>
                  </a:lnTo>
                  <a:cubicBezTo>
                    <a:pt x="205334" y="293959"/>
                    <a:pt x="209522" y="298052"/>
                    <a:pt x="213330" y="300623"/>
                  </a:cubicBezTo>
                  <a:cubicBezTo>
                    <a:pt x="217138" y="303193"/>
                    <a:pt x="222278" y="304430"/>
                    <a:pt x="228751" y="304430"/>
                  </a:cubicBezTo>
                  <a:cubicBezTo>
                    <a:pt x="235510" y="304430"/>
                    <a:pt x="240841" y="302146"/>
                    <a:pt x="244839" y="297672"/>
                  </a:cubicBezTo>
                  <a:cubicBezTo>
                    <a:pt x="248742" y="293197"/>
                    <a:pt x="250741" y="287010"/>
                    <a:pt x="250741" y="279109"/>
                  </a:cubicBezTo>
                  <a:lnTo>
                    <a:pt x="250741" y="25797"/>
                  </a:lnTo>
                  <a:cubicBezTo>
                    <a:pt x="250741" y="17611"/>
                    <a:pt x="248647" y="11328"/>
                    <a:pt x="244363" y="6759"/>
                  </a:cubicBezTo>
                  <a:cubicBezTo>
                    <a:pt x="240270" y="2285"/>
                    <a:pt x="234082" y="0"/>
                    <a:pt x="225895" y="0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BFA3DFAE-AF96-2C7C-899F-F5F64E870940}"/>
                </a:ext>
              </a:extLst>
            </p:cNvPr>
            <p:cNvSpPr/>
            <p:nvPr/>
          </p:nvSpPr>
          <p:spPr>
            <a:xfrm>
              <a:off x="7207389" y="3732954"/>
              <a:ext cx="286153" cy="306143"/>
            </a:xfrm>
            <a:custGeom>
              <a:avLst/>
              <a:gdLst>
                <a:gd name="connsiteX0" fmla="*/ 218661 w 286153"/>
                <a:gd name="connsiteY0" fmla="*/ 18753 h 306143"/>
                <a:gd name="connsiteX1" fmla="*/ 143077 w 286153"/>
                <a:gd name="connsiteY1" fmla="*/ 0 h 306143"/>
                <a:gd name="connsiteX2" fmla="*/ 84151 w 286153"/>
                <a:gd name="connsiteY2" fmla="*/ 10757 h 306143"/>
                <a:gd name="connsiteX3" fmla="*/ 39030 w 286153"/>
                <a:gd name="connsiteY3" fmla="*/ 41600 h 306143"/>
                <a:gd name="connsiteX4" fmla="*/ 10091 w 286153"/>
                <a:gd name="connsiteY4" fmla="*/ 89768 h 306143"/>
                <a:gd name="connsiteX5" fmla="*/ 0 w 286153"/>
                <a:gd name="connsiteY5" fmla="*/ 152882 h 306143"/>
                <a:gd name="connsiteX6" fmla="*/ 17706 w 286153"/>
                <a:gd name="connsiteY6" fmla="*/ 233701 h 306143"/>
                <a:gd name="connsiteX7" fmla="*/ 67683 w 286153"/>
                <a:gd name="connsiteY7" fmla="*/ 287105 h 306143"/>
                <a:gd name="connsiteX8" fmla="*/ 143077 w 286153"/>
                <a:gd name="connsiteY8" fmla="*/ 306144 h 306143"/>
                <a:gd name="connsiteX9" fmla="*/ 202002 w 286153"/>
                <a:gd name="connsiteY9" fmla="*/ 295387 h 306143"/>
                <a:gd name="connsiteX10" fmla="*/ 247124 w 286153"/>
                <a:gd name="connsiteY10" fmla="*/ 264354 h 306143"/>
                <a:gd name="connsiteX11" fmla="*/ 276063 w 286153"/>
                <a:gd name="connsiteY11" fmla="*/ 215805 h 306143"/>
                <a:gd name="connsiteX12" fmla="*/ 286153 w 286153"/>
                <a:gd name="connsiteY12" fmla="*/ 152501 h 306143"/>
                <a:gd name="connsiteX13" fmla="*/ 268447 w 286153"/>
                <a:gd name="connsiteY13" fmla="*/ 71872 h 306143"/>
                <a:gd name="connsiteX14" fmla="*/ 218661 w 286153"/>
                <a:gd name="connsiteY14" fmla="*/ 18753 h 306143"/>
                <a:gd name="connsiteX15" fmla="*/ 219327 w 286153"/>
                <a:gd name="connsiteY15" fmla="*/ 210189 h 306143"/>
                <a:gd name="connsiteX16" fmla="*/ 189817 w 286153"/>
                <a:gd name="connsiteY16" fmla="*/ 246933 h 306143"/>
                <a:gd name="connsiteX17" fmla="*/ 143172 w 286153"/>
                <a:gd name="connsiteY17" fmla="*/ 259594 h 306143"/>
                <a:gd name="connsiteX18" fmla="*/ 79392 w 286153"/>
                <a:gd name="connsiteY18" fmla="*/ 231322 h 306143"/>
                <a:gd name="connsiteX19" fmla="*/ 56641 w 286153"/>
                <a:gd name="connsiteY19" fmla="*/ 152787 h 306143"/>
                <a:gd name="connsiteX20" fmla="*/ 67017 w 286153"/>
                <a:gd name="connsiteY20" fmla="*/ 95194 h 306143"/>
                <a:gd name="connsiteX21" fmla="*/ 96812 w 286153"/>
                <a:gd name="connsiteY21" fmla="*/ 58925 h 306143"/>
                <a:gd name="connsiteX22" fmla="*/ 143267 w 286153"/>
                <a:gd name="connsiteY22" fmla="*/ 46455 h 306143"/>
                <a:gd name="connsiteX23" fmla="*/ 207237 w 286153"/>
                <a:gd name="connsiteY23" fmla="*/ 74346 h 306143"/>
                <a:gd name="connsiteX24" fmla="*/ 229798 w 286153"/>
                <a:gd name="connsiteY24" fmla="*/ 152882 h 306143"/>
                <a:gd name="connsiteX25" fmla="*/ 219327 w 286153"/>
                <a:gd name="connsiteY25" fmla="*/ 210189 h 3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6153" h="306143">
                  <a:moveTo>
                    <a:pt x="218661" y="18753"/>
                  </a:moveTo>
                  <a:cubicBezTo>
                    <a:pt x="197242" y="6283"/>
                    <a:pt x="172111" y="0"/>
                    <a:pt x="143077" y="0"/>
                  </a:cubicBezTo>
                  <a:cubicBezTo>
                    <a:pt x="121372" y="0"/>
                    <a:pt x="101762" y="3617"/>
                    <a:pt x="84151" y="10757"/>
                  </a:cubicBezTo>
                  <a:cubicBezTo>
                    <a:pt x="66541" y="17897"/>
                    <a:pt x="51500" y="28178"/>
                    <a:pt x="39030" y="41600"/>
                  </a:cubicBezTo>
                  <a:cubicBezTo>
                    <a:pt x="26464" y="54927"/>
                    <a:pt x="16849" y="71015"/>
                    <a:pt x="10091" y="89768"/>
                  </a:cubicBezTo>
                  <a:cubicBezTo>
                    <a:pt x="3332" y="108521"/>
                    <a:pt x="0" y="129559"/>
                    <a:pt x="0" y="152882"/>
                  </a:cubicBezTo>
                  <a:cubicBezTo>
                    <a:pt x="0" y="183820"/>
                    <a:pt x="5902" y="210760"/>
                    <a:pt x="17706" y="233701"/>
                  </a:cubicBezTo>
                  <a:cubicBezTo>
                    <a:pt x="29510" y="256643"/>
                    <a:pt x="46169" y="274444"/>
                    <a:pt x="67683" y="287105"/>
                  </a:cubicBezTo>
                  <a:cubicBezTo>
                    <a:pt x="89197" y="299766"/>
                    <a:pt x="114328" y="306144"/>
                    <a:pt x="143077" y="306144"/>
                  </a:cubicBezTo>
                  <a:cubicBezTo>
                    <a:pt x="164781" y="306144"/>
                    <a:pt x="184391" y="302527"/>
                    <a:pt x="202002" y="295387"/>
                  </a:cubicBezTo>
                  <a:cubicBezTo>
                    <a:pt x="219613" y="288247"/>
                    <a:pt x="234653" y="277871"/>
                    <a:pt x="247124" y="264354"/>
                  </a:cubicBezTo>
                  <a:cubicBezTo>
                    <a:pt x="259594" y="250836"/>
                    <a:pt x="269304" y="234653"/>
                    <a:pt x="276063" y="215805"/>
                  </a:cubicBezTo>
                  <a:cubicBezTo>
                    <a:pt x="282821" y="196956"/>
                    <a:pt x="286153" y="175823"/>
                    <a:pt x="286153" y="152501"/>
                  </a:cubicBezTo>
                  <a:cubicBezTo>
                    <a:pt x="286153" y="121563"/>
                    <a:pt x="280251" y="94623"/>
                    <a:pt x="268447" y="71872"/>
                  </a:cubicBezTo>
                  <a:cubicBezTo>
                    <a:pt x="256738" y="48930"/>
                    <a:pt x="240079" y="31224"/>
                    <a:pt x="218661" y="18753"/>
                  </a:cubicBezTo>
                  <a:close/>
                  <a:moveTo>
                    <a:pt x="219327" y="210189"/>
                  </a:moveTo>
                  <a:cubicBezTo>
                    <a:pt x="212473" y="226276"/>
                    <a:pt x="202573" y="238461"/>
                    <a:pt x="189817" y="246933"/>
                  </a:cubicBezTo>
                  <a:cubicBezTo>
                    <a:pt x="176966" y="255406"/>
                    <a:pt x="161449" y="259594"/>
                    <a:pt x="143172" y="259594"/>
                  </a:cubicBezTo>
                  <a:cubicBezTo>
                    <a:pt x="115851" y="259594"/>
                    <a:pt x="94623" y="250170"/>
                    <a:pt x="79392" y="231322"/>
                  </a:cubicBezTo>
                  <a:cubicBezTo>
                    <a:pt x="64161" y="212473"/>
                    <a:pt x="56641" y="186295"/>
                    <a:pt x="56641" y="152787"/>
                  </a:cubicBezTo>
                  <a:cubicBezTo>
                    <a:pt x="56641" y="130321"/>
                    <a:pt x="60067" y="111092"/>
                    <a:pt x="67017" y="95194"/>
                  </a:cubicBezTo>
                  <a:cubicBezTo>
                    <a:pt x="73871" y="79297"/>
                    <a:pt x="83866" y="67207"/>
                    <a:pt x="96812" y="58925"/>
                  </a:cubicBezTo>
                  <a:cubicBezTo>
                    <a:pt x="109759" y="50643"/>
                    <a:pt x="125180" y="46455"/>
                    <a:pt x="143267" y="46455"/>
                  </a:cubicBezTo>
                  <a:cubicBezTo>
                    <a:pt x="170873" y="46455"/>
                    <a:pt x="192197" y="55784"/>
                    <a:pt x="207237" y="74346"/>
                  </a:cubicBezTo>
                  <a:cubicBezTo>
                    <a:pt x="222278" y="92909"/>
                    <a:pt x="229798" y="119088"/>
                    <a:pt x="229798" y="152882"/>
                  </a:cubicBezTo>
                  <a:cubicBezTo>
                    <a:pt x="229703" y="174967"/>
                    <a:pt x="226276" y="194101"/>
                    <a:pt x="219327" y="210189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DEA5065-B2FA-FF60-3F0A-F6E8685F14EA}"/>
                </a:ext>
              </a:extLst>
            </p:cNvPr>
            <p:cNvSpPr/>
            <p:nvPr/>
          </p:nvSpPr>
          <p:spPr>
            <a:xfrm>
              <a:off x="7514958" y="3733716"/>
              <a:ext cx="288127" cy="304335"/>
            </a:xfrm>
            <a:custGeom>
              <a:avLst/>
              <a:gdLst>
                <a:gd name="connsiteX0" fmla="*/ 287679 w 288127"/>
                <a:gd name="connsiteY0" fmla="*/ 17325 h 304335"/>
                <a:gd name="connsiteX1" fmla="*/ 279873 w 288127"/>
                <a:gd name="connsiteY1" fmla="*/ 4664 h 304335"/>
                <a:gd name="connsiteX2" fmla="*/ 264452 w 288127"/>
                <a:gd name="connsiteY2" fmla="*/ 0 h 304335"/>
                <a:gd name="connsiteX3" fmla="*/ 246746 w 288127"/>
                <a:gd name="connsiteY3" fmla="*/ 5236 h 304335"/>
                <a:gd name="connsiteX4" fmla="*/ 235798 w 288127"/>
                <a:gd name="connsiteY4" fmla="*/ 20657 h 304335"/>
                <a:gd name="connsiteX5" fmla="*/ 145269 w 288127"/>
                <a:gd name="connsiteY5" fmla="*/ 231702 h 304335"/>
                <a:gd name="connsiteX6" fmla="*/ 54359 w 288127"/>
                <a:gd name="connsiteY6" fmla="*/ 21038 h 304335"/>
                <a:gd name="connsiteX7" fmla="*/ 43982 w 288127"/>
                <a:gd name="connsiteY7" fmla="*/ 5236 h 304335"/>
                <a:gd name="connsiteX8" fmla="*/ 25610 w 288127"/>
                <a:gd name="connsiteY8" fmla="*/ 0 h 304335"/>
                <a:gd name="connsiteX9" fmla="*/ 9522 w 288127"/>
                <a:gd name="connsiteY9" fmla="*/ 4664 h 304335"/>
                <a:gd name="connsiteX10" fmla="*/ 669 w 288127"/>
                <a:gd name="connsiteY10" fmla="*/ 17325 h 304335"/>
                <a:gd name="connsiteX11" fmla="*/ 3239 w 288127"/>
                <a:gd name="connsiteY11" fmla="*/ 35888 h 304335"/>
                <a:gd name="connsiteX12" fmla="*/ 113379 w 288127"/>
                <a:gd name="connsiteY12" fmla="*/ 283297 h 304335"/>
                <a:gd name="connsiteX13" fmla="*/ 125374 w 288127"/>
                <a:gd name="connsiteY13" fmla="*/ 299099 h 304335"/>
                <a:gd name="connsiteX14" fmla="*/ 144127 w 288127"/>
                <a:gd name="connsiteY14" fmla="*/ 304335 h 304335"/>
                <a:gd name="connsiteX15" fmla="*/ 162880 w 288127"/>
                <a:gd name="connsiteY15" fmla="*/ 299099 h 304335"/>
                <a:gd name="connsiteX16" fmla="*/ 174494 w 288127"/>
                <a:gd name="connsiteY16" fmla="*/ 283297 h 304335"/>
                <a:gd name="connsiteX17" fmla="*/ 284633 w 288127"/>
                <a:gd name="connsiteY17" fmla="*/ 35888 h 304335"/>
                <a:gd name="connsiteX18" fmla="*/ 287679 w 288127"/>
                <a:gd name="connsiteY18" fmla="*/ 17325 h 30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127" h="304335">
                  <a:moveTo>
                    <a:pt x="287679" y="17325"/>
                  </a:moveTo>
                  <a:cubicBezTo>
                    <a:pt x="286537" y="11994"/>
                    <a:pt x="283967" y="7806"/>
                    <a:pt x="279873" y="4664"/>
                  </a:cubicBezTo>
                  <a:cubicBezTo>
                    <a:pt x="275780" y="1523"/>
                    <a:pt x="270639" y="0"/>
                    <a:pt x="264452" y="0"/>
                  </a:cubicBezTo>
                  <a:cubicBezTo>
                    <a:pt x="256836" y="0"/>
                    <a:pt x="250934" y="1713"/>
                    <a:pt x="246746" y="5236"/>
                  </a:cubicBezTo>
                  <a:cubicBezTo>
                    <a:pt x="242557" y="8758"/>
                    <a:pt x="238845" y="13898"/>
                    <a:pt x="235798" y="20657"/>
                  </a:cubicBezTo>
                  <a:lnTo>
                    <a:pt x="145269" y="231702"/>
                  </a:lnTo>
                  <a:lnTo>
                    <a:pt x="54359" y="21038"/>
                  </a:lnTo>
                  <a:cubicBezTo>
                    <a:pt x="51503" y="13994"/>
                    <a:pt x="48076" y="8758"/>
                    <a:pt x="43982" y="5236"/>
                  </a:cubicBezTo>
                  <a:cubicBezTo>
                    <a:pt x="39889" y="1713"/>
                    <a:pt x="33797" y="0"/>
                    <a:pt x="25610" y="0"/>
                  </a:cubicBezTo>
                  <a:cubicBezTo>
                    <a:pt x="19423" y="0"/>
                    <a:pt x="14092" y="1523"/>
                    <a:pt x="9522" y="4664"/>
                  </a:cubicBezTo>
                  <a:cubicBezTo>
                    <a:pt x="5048" y="7806"/>
                    <a:pt x="2097" y="11994"/>
                    <a:pt x="669" y="17325"/>
                  </a:cubicBezTo>
                  <a:cubicBezTo>
                    <a:pt x="-759" y="22656"/>
                    <a:pt x="98" y="28844"/>
                    <a:pt x="3239" y="35888"/>
                  </a:cubicBezTo>
                  <a:lnTo>
                    <a:pt x="113379" y="283297"/>
                  </a:lnTo>
                  <a:cubicBezTo>
                    <a:pt x="116520" y="290342"/>
                    <a:pt x="120519" y="295577"/>
                    <a:pt x="125374" y="299099"/>
                  </a:cubicBezTo>
                  <a:cubicBezTo>
                    <a:pt x="130323" y="302622"/>
                    <a:pt x="136606" y="304335"/>
                    <a:pt x="144127" y="304335"/>
                  </a:cubicBezTo>
                  <a:cubicBezTo>
                    <a:pt x="152028" y="304335"/>
                    <a:pt x="158215" y="302622"/>
                    <a:pt x="162880" y="299099"/>
                  </a:cubicBezTo>
                  <a:cubicBezTo>
                    <a:pt x="167544" y="295577"/>
                    <a:pt x="171352" y="290342"/>
                    <a:pt x="174494" y="283297"/>
                  </a:cubicBezTo>
                  <a:lnTo>
                    <a:pt x="284633" y="35888"/>
                  </a:lnTo>
                  <a:cubicBezTo>
                    <a:pt x="287774" y="28844"/>
                    <a:pt x="288821" y="22656"/>
                    <a:pt x="287679" y="17325"/>
                  </a:cubicBezTo>
                  <a:close/>
                </a:path>
              </a:pathLst>
            </a:custGeom>
            <a:grpFill/>
            <a:ln w="95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B301E2-FB65-FB63-8B60-23BC108102EA}"/>
              </a:ext>
            </a:extLst>
          </p:cNvPr>
          <p:cNvSpPr txBox="1"/>
          <p:nvPr/>
        </p:nvSpPr>
        <p:spPr>
          <a:xfrm>
            <a:off x="513614" y="1220703"/>
            <a:ext cx="11389623" cy="15029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5500"/>
              </a:lnSpc>
            </a:pP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ЧЕЛОВЕК</a:t>
            </a:r>
            <a:b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</a:br>
            <a:r>
              <a:rPr lang="ru-RU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Unbounded SemiBold" panose="020B0305040102020103" pitchFamily="34" charset="0"/>
              </a:rPr>
              <a:t>ЗАПОМИНАЕТ</a:t>
            </a:r>
          </a:p>
        </p:txBody>
      </p:sp>
      <p:sp>
        <p:nvSpPr>
          <p:cNvPr id="3" name="Oval 132">
            <a:extLst>
              <a:ext uri="{FF2B5EF4-FFF2-40B4-BE49-F238E27FC236}">
                <a16:creationId xmlns:a16="http://schemas.microsoft.com/office/drawing/2014/main" id="{0FCC6B9E-C89F-637C-4374-B8BA7742A6F8}"/>
              </a:ext>
            </a:extLst>
          </p:cNvPr>
          <p:cNvSpPr/>
          <p:nvPr/>
        </p:nvSpPr>
        <p:spPr>
          <a:xfrm>
            <a:off x="-1552515" y="4081265"/>
            <a:ext cx="4116282" cy="4116282"/>
          </a:xfrm>
          <a:prstGeom prst="ellipse">
            <a:avLst/>
          </a:prstGeom>
          <a:gradFill flip="none" rotWithShape="1">
            <a:gsLst>
              <a:gs pos="100000">
                <a:schemeClr val="accent2">
                  <a:lumMod val="20000"/>
                  <a:lumOff val="80000"/>
                  <a:alpha val="0"/>
                </a:schemeClr>
              </a:gs>
              <a:gs pos="0">
                <a:srgbClr val="C0DCFD"/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Oval 131">
            <a:extLst>
              <a:ext uri="{FF2B5EF4-FFF2-40B4-BE49-F238E27FC236}">
                <a16:creationId xmlns:a16="http://schemas.microsoft.com/office/drawing/2014/main" id="{276EEF5D-F78C-B26E-DECD-C77D3F1482D1}"/>
              </a:ext>
            </a:extLst>
          </p:cNvPr>
          <p:cNvSpPr/>
          <p:nvPr/>
        </p:nvSpPr>
        <p:spPr>
          <a:xfrm>
            <a:off x="7084494" y="-1500448"/>
            <a:ext cx="6485696" cy="6485696"/>
          </a:xfrm>
          <a:prstGeom prst="ellipse">
            <a:avLst/>
          </a:prstGeom>
          <a:gradFill flip="none" rotWithShape="1">
            <a:gsLst>
              <a:gs pos="100000">
                <a:srgbClr val="C0DCFD">
                  <a:alpha val="0"/>
                </a:srgbClr>
              </a:gs>
              <a:gs pos="0">
                <a:srgbClr val="620CFD">
                  <a:alpha val="28632"/>
                </a:srgbClr>
              </a:gs>
            </a:gsLst>
            <a:lin ang="5400000" scaled="1"/>
            <a:tileRect/>
          </a:gradFill>
          <a:ln w="25400">
            <a:noFill/>
            <a:round/>
            <a:headEnd/>
            <a:tailEnd/>
          </a:ln>
          <a:effectLst>
            <a:softEdge rad="266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9" name="Group 73">
            <a:extLst>
              <a:ext uri="{FF2B5EF4-FFF2-40B4-BE49-F238E27FC236}">
                <a16:creationId xmlns:a16="http://schemas.microsoft.com/office/drawing/2014/main" id="{35E67D2F-B7C3-B295-35E6-FC63796E3A00}"/>
              </a:ext>
            </a:extLst>
          </p:cNvPr>
          <p:cNvGrpSpPr/>
          <p:nvPr/>
        </p:nvGrpSpPr>
        <p:grpSpPr>
          <a:xfrm>
            <a:off x="7507895" y="0"/>
            <a:ext cx="9429752" cy="6858000"/>
            <a:chOff x="-2" y="0"/>
            <a:chExt cx="6428641" cy="6858000"/>
          </a:xfrm>
        </p:grpSpPr>
        <p:sp>
          <p:nvSpPr>
            <p:cNvPr id="30" name="Rectangle 36">
              <a:extLst>
                <a:ext uri="{FF2B5EF4-FFF2-40B4-BE49-F238E27FC236}">
                  <a16:creationId xmlns:a16="http://schemas.microsoft.com/office/drawing/2014/main" id="{6B639D09-947B-C295-89E5-D3A7FED4C562}"/>
                </a:ext>
              </a:extLst>
            </p:cNvPr>
            <p:cNvSpPr/>
            <p:nvPr/>
          </p:nvSpPr>
          <p:spPr>
            <a:xfrm>
              <a:off x="384737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C53A0486-4FEC-606C-49B2-3FDFBA486CDC}"/>
                </a:ext>
              </a:extLst>
            </p:cNvPr>
            <p:cNvSpPr/>
            <p:nvPr/>
          </p:nvSpPr>
          <p:spPr>
            <a:xfrm>
              <a:off x="-2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CB477ED-8E12-B1BF-B8A7-3C0791AD06EE}"/>
                </a:ext>
              </a:extLst>
            </p:cNvPr>
            <p:cNvSpPr/>
            <p:nvPr/>
          </p:nvSpPr>
          <p:spPr>
            <a:xfrm>
              <a:off x="641228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941091D-EDDA-A164-26A5-C572323EC7A5}"/>
                </a:ext>
              </a:extLst>
            </p:cNvPr>
            <p:cNvSpPr/>
            <p:nvPr/>
          </p:nvSpPr>
          <p:spPr>
            <a:xfrm>
              <a:off x="128245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200F815-13CC-7E6B-07CF-6C3058F6FC6E}"/>
                </a:ext>
              </a:extLst>
            </p:cNvPr>
            <p:cNvSpPr/>
            <p:nvPr/>
          </p:nvSpPr>
          <p:spPr>
            <a:xfrm>
              <a:off x="192368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128BDE-2C15-EEFD-DC03-849CC99CC0F5}"/>
                </a:ext>
              </a:extLst>
            </p:cNvPr>
            <p:cNvSpPr/>
            <p:nvPr/>
          </p:nvSpPr>
          <p:spPr>
            <a:xfrm>
              <a:off x="256491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F04D5FF-393F-4F2F-7D30-44C7741775D5}"/>
                </a:ext>
              </a:extLst>
            </p:cNvPr>
            <p:cNvSpPr/>
            <p:nvPr/>
          </p:nvSpPr>
          <p:spPr>
            <a:xfrm>
              <a:off x="320614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7" name="Rectangle 37">
              <a:extLst>
                <a:ext uri="{FF2B5EF4-FFF2-40B4-BE49-F238E27FC236}">
                  <a16:creationId xmlns:a16="http://schemas.microsoft.com/office/drawing/2014/main" id="{E77182A8-0D9D-1D4B-7DE2-D3C02E6B9837}"/>
                </a:ext>
              </a:extLst>
            </p:cNvPr>
            <p:cNvSpPr/>
            <p:nvPr/>
          </p:nvSpPr>
          <p:spPr>
            <a:xfrm>
              <a:off x="44886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8" name="Rectangle 48">
              <a:extLst>
                <a:ext uri="{FF2B5EF4-FFF2-40B4-BE49-F238E27FC236}">
                  <a16:creationId xmlns:a16="http://schemas.microsoft.com/office/drawing/2014/main" id="{2D657C40-FF42-B366-A67D-3943F761017E}"/>
                </a:ext>
              </a:extLst>
            </p:cNvPr>
            <p:cNvSpPr/>
            <p:nvPr/>
          </p:nvSpPr>
          <p:spPr>
            <a:xfrm>
              <a:off x="5138007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  <p:sp>
          <p:nvSpPr>
            <p:cNvPr id="39" name="Rectangle 49">
              <a:extLst>
                <a:ext uri="{FF2B5EF4-FFF2-40B4-BE49-F238E27FC236}">
                  <a16:creationId xmlns:a16="http://schemas.microsoft.com/office/drawing/2014/main" id="{A4E5D924-F2E5-0073-3EFE-88569B3773E2}"/>
                </a:ext>
              </a:extLst>
            </p:cNvPr>
            <p:cNvSpPr/>
            <p:nvPr/>
          </p:nvSpPr>
          <p:spPr>
            <a:xfrm>
              <a:off x="5787409" y="0"/>
              <a:ext cx="641230" cy="685800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accent1">
                    <a:lumMod val="30000"/>
                    <a:lumOff val="70000"/>
                    <a:alpha val="1000"/>
                  </a:schemeClr>
                </a:gs>
              </a:gsLst>
              <a:lin ang="0" scaled="0"/>
            </a:gradFill>
            <a:ln w="25400">
              <a:gradFill>
                <a:gsLst>
                  <a:gs pos="43000">
                    <a:schemeClr val="bg1">
                      <a:alpha val="2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1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400">
                <a:solidFill>
                  <a:srgbClr val="435368"/>
                </a:solidFill>
              </a:endParaRPr>
            </a:p>
          </p:txBody>
        </p:sp>
      </p:grpSp>
      <p:sp>
        <p:nvSpPr>
          <p:cNvPr id="45" name="Rectangle: Rounded Corners 70">
            <a:extLst>
              <a:ext uri="{FF2B5EF4-FFF2-40B4-BE49-F238E27FC236}">
                <a16:creationId xmlns:a16="http://schemas.microsoft.com/office/drawing/2014/main" id="{8A62F481-7B00-FDFB-AFA5-6899929C5A13}"/>
              </a:ext>
            </a:extLst>
          </p:cNvPr>
          <p:cNvSpPr/>
          <p:nvPr/>
        </p:nvSpPr>
        <p:spPr>
          <a:xfrm rot="10800000">
            <a:off x="8963996" y="2126974"/>
            <a:ext cx="2583322" cy="3729962"/>
          </a:xfrm>
          <a:prstGeom prst="roundRect">
            <a:avLst>
              <a:gd name="adj" fmla="val 13536"/>
            </a:avLst>
          </a:prstGeom>
          <a:solidFill>
            <a:schemeClr val="bg1">
              <a:alpha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rgbClr val="435368"/>
              </a:solidFill>
            </a:endParaRP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9AFDD577-E4C7-ECF0-3995-8A85BA1E1B64}"/>
              </a:ext>
            </a:extLst>
          </p:cNvPr>
          <p:cNvSpPr/>
          <p:nvPr/>
        </p:nvSpPr>
        <p:spPr>
          <a:xfrm>
            <a:off x="4417926" y="5740165"/>
            <a:ext cx="284229" cy="284229"/>
          </a:xfrm>
          <a:prstGeom prst="ellipse">
            <a:avLst/>
          </a:prstGeom>
          <a:solidFill>
            <a:srgbClr val="A16D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Овал 46">
            <a:extLst>
              <a:ext uri="{FF2B5EF4-FFF2-40B4-BE49-F238E27FC236}">
                <a16:creationId xmlns:a16="http://schemas.microsoft.com/office/drawing/2014/main" id="{643D3635-EF8F-0234-F307-27FF2F248B9A}"/>
              </a:ext>
            </a:extLst>
          </p:cNvPr>
          <p:cNvSpPr/>
          <p:nvPr/>
        </p:nvSpPr>
        <p:spPr>
          <a:xfrm>
            <a:off x="468479" y="4393189"/>
            <a:ext cx="284229" cy="284229"/>
          </a:xfrm>
          <a:prstGeom prst="ellipse">
            <a:avLst/>
          </a:prstGeom>
          <a:solidFill>
            <a:srgbClr val="A16D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B9DD599F-25FF-6A6B-8A34-F033DC21A19C}"/>
              </a:ext>
            </a:extLst>
          </p:cNvPr>
          <p:cNvCxnSpPr>
            <a:stCxn id="46" idx="4"/>
          </p:cNvCxnSpPr>
          <p:nvPr/>
        </p:nvCxnSpPr>
        <p:spPr>
          <a:xfrm flipH="1">
            <a:off x="4560040" y="6024394"/>
            <a:ext cx="1" cy="2173153"/>
          </a:xfrm>
          <a:prstGeom prst="line">
            <a:avLst/>
          </a:prstGeom>
          <a:ln w="28575">
            <a:solidFill>
              <a:srgbClr val="A16D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700AA3C1-EDD6-A498-5800-43ABA44EB283}"/>
              </a:ext>
            </a:extLst>
          </p:cNvPr>
          <p:cNvCxnSpPr>
            <a:cxnSpLocks/>
          </p:cNvCxnSpPr>
          <p:nvPr/>
        </p:nvCxnSpPr>
        <p:spPr>
          <a:xfrm flipH="1">
            <a:off x="-1486560" y="4539167"/>
            <a:ext cx="1955039" cy="0"/>
          </a:xfrm>
          <a:prstGeom prst="line">
            <a:avLst/>
          </a:prstGeom>
          <a:ln w="28575">
            <a:solidFill>
              <a:srgbClr val="A16D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643BE960-F61A-D6F6-A87C-70AC72D71606}"/>
              </a:ext>
            </a:extLst>
          </p:cNvPr>
          <p:cNvGrpSpPr/>
          <p:nvPr/>
        </p:nvGrpSpPr>
        <p:grpSpPr>
          <a:xfrm>
            <a:off x="-8865660" y="3135112"/>
            <a:ext cx="8028864" cy="2800382"/>
            <a:chOff x="611774" y="3135112"/>
            <a:chExt cx="8028864" cy="2800382"/>
          </a:xfrm>
        </p:grpSpPr>
        <p:sp>
          <p:nvSpPr>
            <p:cNvPr id="8" name="Rectangle: Rounded Corners 70">
              <a:extLst>
                <a:ext uri="{FF2B5EF4-FFF2-40B4-BE49-F238E27FC236}">
                  <a16:creationId xmlns:a16="http://schemas.microsoft.com/office/drawing/2014/main" id="{B6ADE273-E6B0-FBBC-0E1B-A7BCC3893952}"/>
                </a:ext>
              </a:extLst>
            </p:cNvPr>
            <p:cNvSpPr/>
            <p:nvPr/>
          </p:nvSpPr>
          <p:spPr>
            <a:xfrm rot="10800000">
              <a:off x="611774" y="3189949"/>
              <a:ext cx="8028864" cy="266698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507FDBC-367B-17FF-FB0D-FFC92F715AA7}"/>
                </a:ext>
              </a:extLst>
            </p:cNvPr>
            <p:cNvSpPr txBox="1"/>
            <p:nvPr/>
          </p:nvSpPr>
          <p:spPr>
            <a:xfrm>
              <a:off x="856599" y="3135112"/>
              <a:ext cx="5328966" cy="28003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166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0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5F23A9C-90DF-4AC2-FBDE-93D6DAB69067}"/>
                </a:ext>
              </a:extLst>
            </p:cNvPr>
            <p:cNvSpPr txBox="1"/>
            <p:nvPr/>
          </p:nvSpPr>
          <p:spPr>
            <a:xfrm>
              <a:off x="4391383" y="3397454"/>
              <a:ext cx="1562915" cy="10711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60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E472BCB-F4BB-BB40-E804-391A75F36DA2}"/>
                </a:ext>
              </a:extLst>
            </p:cNvPr>
            <p:cNvSpPr txBox="1"/>
            <p:nvPr/>
          </p:nvSpPr>
          <p:spPr>
            <a:xfrm>
              <a:off x="5311385" y="4207474"/>
              <a:ext cx="3166727" cy="13569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5080"/>
                </a:lnSpc>
              </a:pPr>
              <a:r>
                <a:rPr lang="ru-RU" sz="40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</a:t>
              </a: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гда </a:t>
              </a:r>
              <a:b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слушает</a:t>
              </a: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09F263B4-A41B-1992-6A80-B6930BC0AC2D}"/>
              </a:ext>
            </a:extLst>
          </p:cNvPr>
          <p:cNvGrpSpPr/>
          <p:nvPr/>
        </p:nvGrpSpPr>
        <p:grpSpPr>
          <a:xfrm>
            <a:off x="658019" y="3121242"/>
            <a:ext cx="8028864" cy="2800382"/>
            <a:chOff x="611774" y="3135112"/>
            <a:chExt cx="8028864" cy="2800382"/>
          </a:xfrm>
        </p:grpSpPr>
        <p:sp>
          <p:nvSpPr>
            <p:cNvPr id="21" name="Rectangle: Rounded Corners 70">
              <a:extLst>
                <a:ext uri="{FF2B5EF4-FFF2-40B4-BE49-F238E27FC236}">
                  <a16:creationId xmlns:a16="http://schemas.microsoft.com/office/drawing/2014/main" id="{7C46770B-3BBD-D1DE-1F04-3AFC434040F7}"/>
                </a:ext>
              </a:extLst>
            </p:cNvPr>
            <p:cNvSpPr/>
            <p:nvPr/>
          </p:nvSpPr>
          <p:spPr>
            <a:xfrm rot="10800000">
              <a:off x="611774" y="3189949"/>
              <a:ext cx="8028864" cy="266698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F067BAA-254A-A0CA-2804-1730D7C5B020}"/>
                </a:ext>
              </a:extLst>
            </p:cNvPr>
            <p:cNvSpPr txBox="1"/>
            <p:nvPr/>
          </p:nvSpPr>
          <p:spPr>
            <a:xfrm>
              <a:off x="856599" y="3135112"/>
              <a:ext cx="5328966" cy="28003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166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0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B57033B-F114-6D16-8E79-5F97F362ACD5}"/>
                </a:ext>
              </a:extLst>
            </p:cNvPr>
            <p:cNvSpPr txBox="1"/>
            <p:nvPr/>
          </p:nvSpPr>
          <p:spPr>
            <a:xfrm>
              <a:off x="4391383" y="3397454"/>
              <a:ext cx="1562915" cy="10711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60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9010182-DACD-3D2F-03C8-35A2580A52B3}"/>
                </a:ext>
              </a:extLst>
            </p:cNvPr>
            <p:cNvSpPr txBox="1"/>
            <p:nvPr/>
          </p:nvSpPr>
          <p:spPr>
            <a:xfrm>
              <a:off x="5311385" y="4207474"/>
              <a:ext cx="3166727" cy="13569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5080"/>
                </a:lnSpc>
              </a:pPr>
              <a:r>
                <a:rPr lang="ru-RU" sz="40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</a:t>
              </a: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гда </a:t>
              </a:r>
              <a:b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смотрит</a:t>
              </a:r>
            </a:p>
          </p:txBody>
        </p:sp>
      </p:grpSp>
      <p:grpSp>
        <p:nvGrpSpPr>
          <p:cNvPr id="12" name="!!22">
            <a:extLst>
              <a:ext uri="{FF2B5EF4-FFF2-40B4-BE49-F238E27FC236}">
                <a16:creationId xmlns:a16="http://schemas.microsoft.com/office/drawing/2014/main" id="{2E46EDF0-C49F-365A-3798-4C3CB0D9E3A8}"/>
              </a:ext>
            </a:extLst>
          </p:cNvPr>
          <p:cNvGrpSpPr/>
          <p:nvPr/>
        </p:nvGrpSpPr>
        <p:grpSpPr>
          <a:xfrm>
            <a:off x="9525009" y="2344332"/>
            <a:ext cx="1522123" cy="3151278"/>
            <a:chOff x="462140" y="237525"/>
            <a:chExt cx="2514031" cy="5204844"/>
          </a:xfrm>
          <a:solidFill>
            <a:srgbClr val="620CFD"/>
          </a:solidFill>
        </p:grpSpPr>
        <p:sp>
          <p:nvSpPr>
            <p:cNvPr id="25" name="Shape 653">
              <a:extLst>
                <a:ext uri="{FF2B5EF4-FFF2-40B4-BE49-F238E27FC236}">
                  <a16:creationId xmlns:a16="http://schemas.microsoft.com/office/drawing/2014/main" id="{16D5F6F8-F58E-5577-74D1-543280CC0857}"/>
                </a:ext>
              </a:extLst>
            </p:cNvPr>
            <p:cNvSpPr/>
            <p:nvPr/>
          </p:nvSpPr>
          <p:spPr>
            <a:xfrm>
              <a:off x="1022384" y="5168864"/>
              <a:ext cx="1291983" cy="273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grpFill/>
            <a:ln w="12700" cap="flat">
              <a:solidFill>
                <a:srgbClr val="620CFD"/>
              </a:solidFill>
              <a:miter lim="400000"/>
            </a:ln>
            <a:effectLst/>
          </p:spPr>
          <p:txBody>
            <a:bodyPr lIns="67733" tIns="67733" rIns="67733" bIns="67733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>
                  <a:solidFill>
                    <a:srgbClr val="FFFFFF"/>
                  </a:solidFill>
                </a:defRPr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26" name="Shape 654">
              <a:extLst>
                <a:ext uri="{FF2B5EF4-FFF2-40B4-BE49-F238E27FC236}">
                  <a16:creationId xmlns:a16="http://schemas.microsoft.com/office/drawing/2014/main" id="{5EE0A55E-8BF8-2EA7-F935-F7592161B3C0}"/>
                </a:ext>
              </a:extLst>
            </p:cNvPr>
            <p:cNvSpPr/>
            <p:nvPr/>
          </p:nvSpPr>
          <p:spPr>
            <a:xfrm>
              <a:off x="1605475" y="2980351"/>
              <a:ext cx="124627" cy="23617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60" h="21600" extrusionOk="0">
                  <a:moveTo>
                    <a:pt x="9775" y="0"/>
                  </a:moveTo>
                  <a:cubicBezTo>
                    <a:pt x="18916" y="3066"/>
                    <a:pt x="21600" y="6186"/>
                    <a:pt x="17768" y="9291"/>
                  </a:cubicBezTo>
                  <a:cubicBezTo>
                    <a:pt x="13700" y="12586"/>
                    <a:pt x="2266" y="15856"/>
                    <a:pt x="3600" y="19171"/>
                  </a:cubicBezTo>
                  <a:cubicBezTo>
                    <a:pt x="3695" y="19405"/>
                    <a:pt x="3852" y="19639"/>
                    <a:pt x="3818" y="19872"/>
                  </a:cubicBezTo>
                  <a:cubicBezTo>
                    <a:pt x="3731" y="20455"/>
                    <a:pt x="2449" y="21035"/>
                    <a:pt x="0" y="21600"/>
                  </a:cubicBezTo>
                </a:path>
              </a:pathLst>
            </a:custGeom>
            <a:grpFill/>
            <a:ln w="76200" cap="flat">
              <a:solidFill>
                <a:srgbClr val="620CFD"/>
              </a:solidFill>
              <a:prstDash val="solid"/>
              <a:miter lim="400000"/>
            </a:ln>
            <a:effectLst/>
          </p:spPr>
          <p:txBody>
            <a:bodyPr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/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grpSp>
          <p:nvGrpSpPr>
            <p:cNvPr id="40" name="Group 657">
              <a:extLst>
                <a:ext uri="{FF2B5EF4-FFF2-40B4-BE49-F238E27FC236}">
                  <a16:creationId xmlns:a16="http://schemas.microsoft.com/office/drawing/2014/main" id="{A6D7FD1B-5BDD-A1EF-7E97-3404AD828770}"/>
                </a:ext>
              </a:extLst>
            </p:cNvPr>
            <p:cNvGrpSpPr/>
            <p:nvPr/>
          </p:nvGrpSpPr>
          <p:grpSpPr>
            <a:xfrm rot="19138440">
              <a:off x="462140" y="2406127"/>
              <a:ext cx="1056654" cy="1803441"/>
              <a:chOff x="0" y="0"/>
              <a:chExt cx="1056654" cy="1803439"/>
            </a:xfrm>
            <a:grpFill/>
          </p:grpSpPr>
          <p:sp>
            <p:nvSpPr>
              <p:cNvPr id="48" name="Shape 655">
                <a:extLst>
                  <a:ext uri="{FF2B5EF4-FFF2-40B4-BE49-F238E27FC236}">
                    <a16:creationId xmlns:a16="http://schemas.microsoft.com/office/drawing/2014/main" id="{7476CF6E-2B78-348A-44C5-B220EDAE3105}"/>
                  </a:ext>
                </a:extLst>
              </p:cNvPr>
              <p:cNvSpPr/>
              <p:nvPr/>
            </p:nvSpPr>
            <p:spPr>
              <a:xfrm rot="21300000" flipH="1">
                <a:off x="73693" y="36330"/>
                <a:ext cx="909268" cy="173077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34" h="21600" extrusionOk="0">
                    <a:moveTo>
                      <a:pt x="6073" y="21422"/>
                    </a:moveTo>
                    <a:cubicBezTo>
                      <a:pt x="1992" y="18123"/>
                      <a:pt x="-94" y="14441"/>
                      <a:pt x="3" y="10711"/>
                    </a:cubicBezTo>
                    <a:cubicBezTo>
                      <a:pt x="101" y="6957"/>
                      <a:pt x="2407" y="3275"/>
                      <a:pt x="6709" y="0"/>
                    </a:cubicBezTo>
                    <a:cubicBezTo>
                      <a:pt x="15604" y="2159"/>
                      <a:pt x="21164" y="6163"/>
                      <a:pt x="21331" y="10528"/>
                    </a:cubicBezTo>
                    <a:cubicBezTo>
                      <a:pt x="21506" y="15126"/>
                      <a:pt x="15701" y="19388"/>
                      <a:pt x="6249" y="21600"/>
                    </a:cubicBezTo>
                    <a:lnTo>
                      <a:pt x="6073" y="21422"/>
                    </a:lnTo>
                    <a:close/>
                  </a:path>
                </a:pathLst>
              </a:custGeom>
              <a:grpFill/>
              <a:ln w="12700" cap="flat">
                <a:solidFill>
                  <a:srgbClr val="620CFD"/>
                </a:solidFill>
                <a:miter lim="400000"/>
              </a:ln>
              <a:effectLst/>
            </p:spPr>
            <p:txBody>
              <a:bodyPr lIns="0" tIns="0" rIns="0" bIns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 sz="3200"/>
                </a:pPr>
                <a:endParaRPr sz="4267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51" name="Shape 656">
                <a:extLst>
                  <a:ext uri="{FF2B5EF4-FFF2-40B4-BE49-F238E27FC236}">
                    <a16:creationId xmlns:a16="http://schemas.microsoft.com/office/drawing/2014/main" id="{A836FE26-715C-E1DC-7356-994E1CE4C1CF}"/>
                  </a:ext>
                </a:extLst>
              </p:cNvPr>
              <p:cNvSpPr/>
              <p:nvPr/>
            </p:nvSpPr>
            <p:spPr>
              <a:xfrm>
                <a:off x="590065" y="25055"/>
                <a:ext cx="397908" cy="172243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182" h="21600" extrusionOk="0">
                    <a:moveTo>
                      <a:pt x="1571" y="0"/>
                    </a:moveTo>
                    <a:cubicBezTo>
                      <a:pt x="1295" y="39"/>
                      <a:pt x="1058" y="85"/>
                      <a:pt x="786" y="124"/>
                    </a:cubicBezTo>
                    <a:cubicBezTo>
                      <a:pt x="-136" y="2929"/>
                      <a:pt x="-261" y="5746"/>
                      <a:pt x="484" y="8555"/>
                    </a:cubicBezTo>
                    <a:cubicBezTo>
                      <a:pt x="1656" y="12978"/>
                      <a:pt x="4882" y="17351"/>
                      <a:pt x="10106" y="21590"/>
                    </a:cubicBezTo>
                    <a:cubicBezTo>
                      <a:pt x="10141" y="21593"/>
                      <a:pt x="10171" y="21597"/>
                      <a:pt x="10206" y="21600"/>
                    </a:cubicBezTo>
                    <a:lnTo>
                      <a:pt x="10528" y="21411"/>
                    </a:lnTo>
                    <a:cubicBezTo>
                      <a:pt x="18148" y="17918"/>
                      <a:pt x="21339" y="14136"/>
                      <a:pt x="19808" y="10407"/>
                    </a:cubicBezTo>
                    <a:cubicBezTo>
                      <a:pt x="18267" y="6654"/>
                      <a:pt x="11994" y="3077"/>
                      <a:pt x="1571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rgbClr val="620CFD"/>
                </a:solidFill>
                <a:miter lim="400000"/>
              </a:ln>
              <a:effectLst/>
            </p:spPr>
            <p:txBody>
              <a:bodyPr lIns="0" tIns="0" rIns="0" bIns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 sz="3200"/>
                </a:pPr>
                <a:endParaRPr sz="4267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endParaRPr>
              </a:p>
            </p:txBody>
          </p:sp>
        </p:grpSp>
        <p:sp>
          <p:nvSpPr>
            <p:cNvPr id="41" name="Shape 658">
              <a:extLst>
                <a:ext uri="{FF2B5EF4-FFF2-40B4-BE49-F238E27FC236}">
                  <a16:creationId xmlns:a16="http://schemas.microsoft.com/office/drawing/2014/main" id="{11943A66-BB1B-93FE-CFB4-571F20CE0707}"/>
                </a:ext>
              </a:extLst>
            </p:cNvPr>
            <p:cNvSpPr/>
            <p:nvPr/>
          </p:nvSpPr>
          <p:spPr>
            <a:xfrm rot="1980000">
              <a:off x="1749007" y="4122297"/>
              <a:ext cx="323935" cy="7596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34" h="21600" extrusionOk="0">
                  <a:moveTo>
                    <a:pt x="6073" y="21422"/>
                  </a:moveTo>
                  <a:cubicBezTo>
                    <a:pt x="1992" y="18123"/>
                    <a:pt x="-94" y="14441"/>
                    <a:pt x="3" y="10711"/>
                  </a:cubicBezTo>
                  <a:cubicBezTo>
                    <a:pt x="101" y="6957"/>
                    <a:pt x="2407" y="3275"/>
                    <a:pt x="6709" y="0"/>
                  </a:cubicBezTo>
                  <a:cubicBezTo>
                    <a:pt x="15604" y="2159"/>
                    <a:pt x="21164" y="6163"/>
                    <a:pt x="21331" y="10528"/>
                  </a:cubicBezTo>
                  <a:cubicBezTo>
                    <a:pt x="21506" y="15126"/>
                    <a:pt x="15701" y="19388"/>
                    <a:pt x="6249" y="21600"/>
                  </a:cubicBezTo>
                  <a:lnTo>
                    <a:pt x="6073" y="21422"/>
                  </a:lnTo>
                  <a:close/>
                </a:path>
              </a:pathLst>
            </a:custGeom>
            <a:grpFill/>
            <a:ln w="12700" cap="flat">
              <a:solidFill>
                <a:srgbClr val="620CFD"/>
              </a:solidFill>
              <a:miter lim="400000"/>
            </a:ln>
            <a:effectLst/>
          </p:spPr>
          <p:txBody>
            <a:bodyPr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200"/>
              </a:pPr>
              <a:endParaRPr sz="42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grpSp>
          <p:nvGrpSpPr>
            <p:cNvPr id="42" name="Group 661">
              <a:extLst>
                <a:ext uri="{FF2B5EF4-FFF2-40B4-BE49-F238E27FC236}">
                  <a16:creationId xmlns:a16="http://schemas.microsoft.com/office/drawing/2014/main" id="{B69885E2-F85C-FA4B-0916-6743DF40B757}"/>
                </a:ext>
              </a:extLst>
            </p:cNvPr>
            <p:cNvGrpSpPr/>
            <p:nvPr/>
          </p:nvGrpSpPr>
          <p:grpSpPr>
            <a:xfrm rot="1975701">
              <a:off x="1212830" y="237525"/>
              <a:ext cx="1763341" cy="3009571"/>
              <a:chOff x="0" y="0"/>
              <a:chExt cx="1763340" cy="3009571"/>
            </a:xfrm>
            <a:grpFill/>
          </p:grpSpPr>
          <p:sp>
            <p:nvSpPr>
              <p:cNvPr id="43" name="Shape 659">
                <a:extLst>
                  <a:ext uri="{FF2B5EF4-FFF2-40B4-BE49-F238E27FC236}">
                    <a16:creationId xmlns:a16="http://schemas.microsoft.com/office/drawing/2014/main" id="{11209BE9-8A71-3499-A9F0-717D5FE48C20}"/>
                  </a:ext>
                </a:extLst>
              </p:cNvPr>
              <p:cNvSpPr/>
              <p:nvPr/>
            </p:nvSpPr>
            <p:spPr>
              <a:xfrm rot="21300000" flipH="1">
                <a:off x="122979" y="60628"/>
                <a:ext cx="1517382" cy="288831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34" h="21600" extrusionOk="0">
                    <a:moveTo>
                      <a:pt x="6073" y="21422"/>
                    </a:moveTo>
                    <a:cubicBezTo>
                      <a:pt x="1992" y="18123"/>
                      <a:pt x="-94" y="14441"/>
                      <a:pt x="3" y="10711"/>
                    </a:cubicBezTo>
                    <a:cubicBezTo>
                      <a:pt x="101" y="6957"/>
                      <a:pt x="2407" y="3275"/>
                      <a:pt x="6709" y="0"/>
                    </a:cubicBezTo>
                    <a:cubicBezTo>
                      <a:pt x="15604" y="2159"/>
                      <a:pt x="21164" y="6163"/>
                      <a:pt x="21331" y="10528"/>
                    </a:cubicBezTo>
                    <a:cubicBezTo>
                      <a:pt x="21506" y="15126"/>
                      <a:pt x="15701" y="19388"/>
                      <a:pt x="6249" y="21600"/>
                    </a:cubicBezTo>
                    <a:lnTo>
                      <a:pt x="6073" y="21422"/>
                    </a:lnTo>
                    <a:close/>
                  </a:path>
                </a:pathLst>
              </a:custGeom>
              <a:grpFill/>
              <a:ln w="12700" cap="flat">
                <a:solidFill>
                  <a:srgbClr val="620CFD"/>
                </a:solidFill>
                <a:miter lim="400000"/>
              </a:ln>
              <a:effectLst/>
            </p:spPr>
            <p:txBody>
              <a:bodyPr lIns="0" tIns="0" rIns="0" bIns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 sz="3200"/>
                </a:pPr>
                <a:endParaRPr sz="4267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44" name="Shape 660">
                <a:extLst>
                  <a:ext uri="{FF2B5EF4-FFF2-40B4-BE49-F238E27FC236}">
                    <a16:creationId xmlns:a16="http://schemas.microsoft.com/office/drawing/2014/main" id="{49CDA24F-AE94-BDBC-DA40-6B8D7D199269}"/>
                  </a:ext>
                </a:extLst>
              </p:cNvPr>
              <p:cNvSpPr/>
              <p:nvPr/>
            </p:nvSpPr>
            <p:spPr>
              <a:xfrm>
                <a:off x="984698" y="41812"/>
                <a:ext cx="664027" cy="28743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182" h="21600" extrusionOk="0">
                    <a:moveTo>
                      <a:pt x="1571" y="0"/>
                    </a:moveTo>
                    <a:cubicBezTo>
                      <a:pt x="1295" y="39"/>
                      <a:pt x="1058" y="85"/>
                      <a:pt x="786" y="124"/>
                    </a:cubicBezTo>
                    <a:cubicBezTo>
                      <a:pt x="-136" y="2929"/>
                      <a:pt x="-261" y="5746"/>
                      <a:pt x="484" y="8555"/>
                    </a:cubicBezTo>
                    <a:cubicBezTo>
                      <a:pt x="1656" y="12978"/>
                      <a:pt x="4882" y="17351"/>
                      <a:pt x="10106" y="21590"/>
                    </a:cubicBezTo>
                    <a:cubicBezTo>
                      <a:pt x="10141" y="21593"/>
                      <a:pt x="10171" y="21597"/>
                      <a:pt x="10206" y="21600"/>
                    </a:cubicBezTo>
                    <a:lnTo>
                      <a:pt x="10528" y="21411"/>
                    </a:lnTo>
                    <a:cubicBezTo>
                      <a:pt x="18148" y="17918"/>
                      <a:pt x="21339" y="14136"/>
                      <a:pt x="19808" y="10407"/>
                    </a:cubicBezTo>
                    <a:cubicBezTo>
                      <a:pt x="18267" y="6654"/>
                      <a:pt x="11994" y="3077"/>
                      <a:pt x="1571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rgbClr val="620CFD"/>
                </a:solidFill>
                <a:miter lim="400000"/>
              </a:ln>
              <a:effectLst/>
            </p:spPr>
            <p:txBody>
              <a:bodyPr lIns="0" tIns="0" rIns="0" bIns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 sz="3200"/>
                </a:pPr>
                <a:endParaRPr sz="4267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endParaRPr>
              </a:p>
            </p:txBody>
          </p:sp>
        </p:grpSp>
      </p:grp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D8766249-999E-29FC-098D-16D78942CCEB}"/>
              </a:ext>
            </a:extLst>
          </p:cNvPr>
          <p:cNvGrpSpPr/>
          <p:nvPr/>
        </p:nvGrpSpPr>
        <p:grpSpPr>
          <a:xfrm>
            <a:off x="658018" y="7875525"/>
            <a:ext cx="10875964" cy="2800382"/>
            <a:chOff x="611773" y="3135112"/>
            <a:chExt cx="10875964" cy="2800382"/>
          </a:xfrm>
        </p:grpSpPr>
        <p:sp>
          <p:nvSpPr>
            <p:cNvPr id="53" name="Rectangle: Rounded Corners 70">
              <a:extLst>
                <a:ext uri="{FF2B5EF4-FFF2-40B4-BE49-F238E27FC236}">
                  <a16:creationId xmlns:a16="http://schemas.microsoft.com/office/drawing/2014/main" id="{3FF84A70-42FD-4422-62EF-F7074C030F00}"/>
                </a:ext>
              </a:extLst>
            </p:cNvPr>
            <p:cNvSpPr/>
            <p:nvPr/>
          </p:nvSpPr>
          <p:spPr>
            <a:xfrm rot="10800000">
              <a:off x="611773" y="3189948"/>
              <a:ext cx="10612187" cy="2666987"/>
            </a:xfrm>
            <a:prstGeom prst="roundRect">
              <a:avLst>
                <a:gd name="adj" fmla="val 13536"/>
              </a:avLst>
            </a:prstGeom>
            <a:solidFill>
              <a:schemeClr val="bg1">
                <a:alpha val="50000"/>
              </a:schemeClr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rgbClr val="435368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7C6D1BA1-EE13-29A0-21FB-4899C5E0303C}"/>
                </a:ext>
              </a:extLst>
            </p:cNvPr>
            <p:cNvSpPr txBox="1"/>
            <p:nvPr/>
          </p:nvSpPr>
          <p:spPr>
            <a:xfrm>
              <a:off x="856599" y="3135112"/>
              <a:ext cx="5328966" cy="28003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166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60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DBBB2A20-185E-AB36-4224-25161B6EF3DA}"/>
                </a:ext>
              </a:extLst>
            </p:cNvPr>
            <p:cNvSpPr txBox="1"/>
            <p:nvPr/>
          </p:nvSpPr>
          <p:spPr>
            <a:xfrm>
              <a:off x="4391383" y="3397454"/>
              <a:ext cx="1562915" cy="10711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6000" b="1" dirty="0">
                  <a:solidFill>
                    <a:srgbClr val="620CFD"/>
                  </a:solidFill>
                  <a:latin typeface="Unbounded SemiBol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ru-RU" sz="13800" b="1" dirty="0">
                <a:solidFill>
                  <a:srgbClr val="620CFD"/>
                </a:solidFill>
                <a:effectLst/>
                <a:latin typeface="Unbounded SemiBold" panose="020B03050401020201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28567F86-97E2-281B-AB19-D9308CB07872}"/>
                </a:ext>
              </a:extLst>
            </p:cNvPr>
            <p:cNvSpPr txBox="1"/>
            <p:nvPr/>
          </p:nvSpPr>
          <p:spPr>
            <a:xfrm>
              <a:off x="5311385" y="4207474"/>
              <a:ext cx="6176352" cy="13569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5080"/>
                </a:lnSpc>
              </a:pPr>
              <a:r>
                <a:rPr lang="ru-RU" sz="4000" dirty="0"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</a:t>
              </a: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гда </a:t>
              </a:r>
              <a:b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ru-RU" sz="4000" dirty="0">
                  <a:effectLst/>
                  <a:latin typeface="Unbounded" panose="020B03050401020201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взаимодействуе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584455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1.11111E-6 L 0.06576 1.11111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5</TotalTime>
  <Words>2328</Words>
  <Application>Microsoft Macintosh PowerPoint</Application>
  <PresentationFormat>Широкоэкранный</PresentationFormat>
  <Paragraphs>666</Paragraphs>
  <Slides>86</Slides>
  <Notes>83</Notes>
  <HiddenSlides>0</HiddenSlides>
  <MMClips>4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6</vt:i4>
      </vt:variant>
    </vt:vector>
  </HeadingPairs>
  <TitlesOfParts>
    <vt:vector size="103" baseType="lpstr">
      <vt:lpstr>Arial</vt:lpstr>
      <vt:lpstr>Bebas Neue Regular</vt:lpstr>
      <vt:lpstr>Calibri</vt:lpstr>
      <vt:lpstr>Calibri Light</vt:lpstr>
      <vt:lpstr>Cera CY</vt:lpstr>
      <vt:lpstr>Helvetica</vt:lpstr>
      <vt:lpstr>Montserrat</vt:lpstr>
      <vt:lpstr>Poppins SemiBold</vt:lpstr>
      <vt:lpstr>Tahoma</vt:lpstr>
      <vt:lpstr>Unbounded</vt:lpstr>
      <vt:lpstr>Unbounded Black</vt:lpstr>
      <vt:lpstr>Unbounded Blond</vt:lpstr>
      <vt:lpstr>Unbounded ExtraBold</vt:lpstr>
      <vt:lpstr>Unbounded Medium</vt:lpstr>
      <vt:lpstr>Unbounded SemiBold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icrosoft Office User</dc:creator>
  <cp:lastModifiedBy>Microsoft Office User</cp:lastModifiedBy>
  <cp:revision>17</cp:revision>
  <dcterms:created xsi:type="dcterms:W3CDTF">2024-07-16T07:12:02Z</dcterms:created>
  <dcterms:modified xsi:type="dcterms:W3CDTF">2024-07-19T13:18:46Z</dcterms:modified>
</cp:coreProperties>
</file>